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Masters/slideMaster20.xml" ContentType="application/vnd.openxmlformats-officedocument.presentationml.slideMaster+xml"/>
  <Override PartName="/ppt/slideMasters/slideMaster21.xml" ContentType="application/vnd.openxmlformats-officedocument.presentationml.slideMaster+xml"/>
  <Override PartName="/ppt/slideMasters/slideMaster22.xml" ContentType="application/vnd.openxmlformats-officedocument.presentationml.slideMaster+xml"/>
  <Override PartName="/ppt/slideMasters/slideMaster23.xml" ContentType="application/vnd.openxmlformats-officedocument.presentationml.slideMaster+xml"/>
  <Override PartName="/ppt/slideMasters/slideMaster2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heme/themeOverride1.xml" ContentType="application/vnd.openxmlformats-officedocument.themeOverride+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theme/themeOverride2.xml" ContentType="application/vnd.openxmlformats-officedocument.themeOverride+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3.xml" ContentType="application/vnd.openxmlformats-officedocument.theme+xml"/>
  <Override PartName="/ppt/theme/themeOverride3.xml" ContentType="application/vnd.openxmlformats-officedocument.themeOverride+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4.xml" ContentType="application/vnd.openxmlformats-officedocument.theme+xml"/>
  <Override PartName="/ppt/theme/themeOverride4.xml" ContentType="application/vnd.openxmlformats-officedocument.themeOverride+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heme/theme5.xml" ContentType="application/vnd.openxmlformats-officedocument.theme+xml"/>
  <Override PartName="/ppt/theme/themeOverride5.xml" ContentType="application/vnd.openxmlformats-officedocument.themeOverride+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theme/theme6.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theme/theme7.xml" ContentType="application/vnd.openxmlformats-officedocument.theme+xml"/>
  <Override PartName="/ppt/theme/themeOverride6.xml" ContentType="application/vnd.openxmlformats-officedocument.themeOverride+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theme/theme8.xml" ContentType="application/vnd.openxmlformats-officedocument.theme+xml"/>
  <Override PartName="/ppt/theme/themeOverride7.xml" ContentType="application/vnd.openxmlformats-officedocument.themeOverride+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theme/theme9.xml" ContentType="application/vnd.openxmlformats-officedocument.theme+xml"/>
  <Override PartName="/ppt/theme/themeOverride8.xml" ContentType="application/vnd.openxmlformats-officedocument.themeOverride+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theme/theme10.xml" ContentType="application/vnd.openxmlformats-officedocument.them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theme/theme11.xml" ContentType="application/vnd.openxmlformats-officedocument.theme+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theme/theme12.xml" ContentType="application/vnd.openxmlformats-officedocument.theme+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theme/theme13.xml" ContentType="application/vnd.openxmlformats-officedocument.theme+xml"/>
  <Override PartName="/ppt/theme/themeOverride9.xml" ContentType="application/vnd.openxmlformats-officedocument.themeOverride+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theme/theme14.xml" ContentType="application/vnd.openxmlformats-officedocument.theme+xml"/>
  <Override PartName="/ppt/theme/themeOverride10.xml" ContentType="application/vnd.openxmlformats-officedocument.themeOverride+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theme/theme15.xml" ContentType="application/vnd.openxmlformats-officedocument.theme+xml"/>
  <Override PartName="/ppt/theme/themeOverride11.xml" ContentType="application/vnd.openxmlformats-officedocument.themeOverride+xml"/>
  <Override PartName="/ppt/tags/tag139.xml" ContentType="application/vnd.openxmlformats-officedocument.presentationml.tags+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theme/theme16.xml" ContentType="application/vnd.openxmlformats-officedocument.theme+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theme/theme17.xml" ContentType="application/vnd.openxmlformats-officedocument.theme+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theme/theme18.xml" ContentType="application/vnd.openxmlformats-officedocument.theme+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theme/theme19.xml" ContentType="application/vnd.openxmlformats-officedocument.theme+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theme/theme20.xml" ContentType="application/vnd.openxmlformats-officedocument.theme+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theme/theme21.xml" ContentType="application/vnd.openxmlformats-officedocument.theme+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theme/theme22.xml" ContentType="application/vnd.openxmlformats-officedocument.theme+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theme/theme23.xml" ContentType="application/vnd.openxmlformats-officedocument.theme+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theme/theme24.xml" ContentType="application/vnd.openxmlformats-officedocument.theme+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heme/theme25.xml" ContentType="application/vnd.openxmlformats-officedocument.theme+xml"/>
  <Override PartName="/ppt/theme/theme26.xml" ContentType="application/vnd.openxmlformats-officedocument.them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9" r:id="rId4"/>
    <p:sldMasterId id="2147483706" r:id="rId5"/>
    <p:sldMasterId id="2147483710" r:id="rId6"/>
    <p:sldMasterId id="2147483724" r:id="rId7"/>
    <p:sldMasterId id="2147483742" r:id="rId8"/>
    <p:sldMasterId id="2147483754" r:id="rId9"/>
    <p:sldMasterId id="2147483798" r:id="rId10"/>
    <p:sldMasterId id="2147483943" r:id="rId11"/>
    <p:sldMasterId id="2147483972" r:id="rId12"/>
    <p:sldMasterId id="2147483982" r:id="rId13"/>
    <p:sldMasterId id="2147484047" r:id="rId14"/>
    <p:sldMasterId id="2147484060" r:id="rId15"/>
    <p:sldMasterId id="2147484080" r:id="rId16"/>
    <p:sldMasterId id="2147484098" r:id="rId17"/>
    <p:sldMasterId id="2147484107" r:id="rId18"/>
    <p:sldMasterId id="2147484116" r:id="rId19"/>
    <p:sldMasterId id="2147484131" r:id="rId20"/>
    <p:sldMasterId id="2147484205" r:id="rId21"/>
    <p:sldMasterId id="2147484273" r:id="rId22"/>
    <p:sldMasterId id="2147484309" r:id="rId23"/>
    <p:sldMasterId id="2147484376" r:id="rId24"/>
    <p:sldMasterId id="2147484418" r:id="rId25"/>
    <p:sldMasterId id="2147484493" r:id="rId26"/>
    <p:sldMasterId id="2147484538" r:id="rId27"/>
  </p:sldMasterIdLst>
  <p:notesMasterIdLst>
    <p:notesMasterId r:id="rId98"/>
  </p:notesMasterIdLst>
  <p:handoutMasterIdLst>
    <p:handoutMasterId r:id="rId99"/>
  </p:handoutMasterIdLst>
  <p:sldIdLst>
    <p:sldId id="543" r:id="rId28"/>
    <p:sldId id="1785" r:id="rId29"/>
    <p:sldId id="1911" r:id="rId30"/>
    <p:sldId id="1776" r:id="rId31"/>
    <p:sldId id="1882" r:id="rId32"/>
    <p:sldId id="1855" r:id="rId33"/>
    <p:sldId id="1864" r:id="rId34"/>
    <p:sldId id="1865" r:id="rId35"/>
    <p:sldId id="1866" r:id="rId36"/>
    <p:sldId id="1856" r:id="rId37"/>
    <p:sldId id="1857" r:id="rId38"/>
    <p:sldId id="1859" r:id="rId39"/>
    <p:sldId id="1860" r:id="rId40"/>
    <p:sldId id="1867" r:id="rId41"/>
    <p:sldId id="1868" r:id="rId42"/>
    <p:sldId id="1870" r:id="rId43"/>
    <p:sldId id="1871" r:id="rId44"/>
    <p:sldId id="1858" r:id="rId45"/>
    <p:sldId id="1861" r:id="rId46"/>
    <p:sldId id="1863" r:id="rId47"/>
    <p:sldId id="1872" r:id="rId48"/>
    <p:sldId id="1873" r:id="rId49"/>
    <p:sldId id="1853" r:id="rId50"/>
    <p:sldId id="1850" r:id="rId51"/>
    <p:sldId id="1847" r:id="rId52"/>
    <p:sldId id="1881" r:id="rId53"/>
    <p:sldId id="1815" r:id="rId54"/>
    <p:sldId id="1843" r:id="rId55"/>
    <p:sldId id="1849" r:id="rId56"/>
    <p:sldId id="1851" r:id="rId57"/>
    <p:sldId id="1852" r:id="rId58"/>
    <p:sldId id="1848" r:id="rId59"/>
    <p:sldId id="1875" r:id="rId60"/>
    <p:sldId id="1880" r:id="rId61"/>
    <p:sldId id="1878" r:id="rId62"/>
    <p:sldId id="1907" r:id="rId63"/>
    <p:sldId id="1838" r:id="rId64"/>
    <p:sldId id="1879" r:id="rId65"/>
    <p:sldId id="1862" r:id="rId66"/>
    <p:sldId id="1902" r:id="rId67"/>
    <p:sldId id="1901" r:id="rId68"/>
    <p:sldId id="1903" r:id="rId69"/>
    <p:sldId id="1913" r:id="rId70"/>
    <p:sldId id="1914" r:id="rId71"/>
    <p:sldId id="1909" r:id="rId72"/>
    <p:sldId id="1912" r:id="rId73"/>
    <p:sldId id="1910" r:id="rId74"/>
    <p:sldId id="1908" r:id="rId75"/>
    <p:sldId id="1816" r:id="rId76"/>
    <p:sldId id="1876" r:id="rId77"/>
    <p:sldId id="1884" r:id="rId78"/>
    <p:sldId id="1885" r:id="rId79"/>
    <p:sldId id="1800" r:id="rId80"/>
    <p:sldId id="1781" r:id="rId81"/>
    <p:sldId id="1814" r:id="rId82"/>
    <p:sldId id="1897" r:id="rId83"/>
    <p:sldId id="1898" r:id="rId84"/>
    <p:sldId id="1899" r:id="rId85"/>
    <p:sldId id="1883" r:id="rId86"/>
    <p:sldId id="1818" r:id="rId87"/>
    <p:sldId id="1819" r:id="rId88"/>
    <p:sldId id="1820" r:id="rId89"/>
    <p:sldId id="1823" r:id="rId90"/>
    <p:sldId id="1824" r:id="rId91"/>
    <p:sldId id="1825" r:id="rId92"/>
    <p:sldId id="1826" r:id="rId93"/>
    <p:sldId id="1877" r:id="rId94"/>
    <p:sldId id="1827" r:id="rId95"/>
    <p:sldId id="1828" r:id="rId96"/>
    <p:sldId id="1830" r:id="rId97"/>
  </p:sldIdLst>
  <p:sldSz cx="12192000" cy="6858000"/>
  <p:notesSz cx="7010400" cy="9296400"/>
  <p:defaultTextStyle>
    <a:defPPr>
      <a:defRPr lang="en-US"/>
    </a:defPPr>
    <a:lvl1pPr marL="0" algn="l" defTabSz="914253" rtl="0" eaLnBrk="1" latinLnBrk="0" hangingPunct="1">
      <a:defRPr sz="1800" kern="1200">
        <a:solidFill>
          <a:schemeClr val="tx1"/>
        </a:solidFill>
        <a:latin typeface="+mn-lt"/>
        <a:ea typeface="+mn-ea"/>
        <a:cs typeface="+mn-cs"/>
      </a:defRPr>
    </a:lvl1pPr>
    <a:lvl2pPr marL="457127" algn="l" defTabSz="914253" rtl="0" eaLnBrk="1" latinLnBrk="0" hangingPunct="1">
      <a:defRPr sz="1800" kern="1200">
        <a:solidFill>
          <a:schemeClr val="tx1"/>
        </a:solidFill>
        <a:latin typeface="+mn-lt"/>
        <a:ea typeface="+mn-ea"/>
        <a:cs typeface="+mn-cs"/>
      </a:defRPr>
    </a:lvl2pPr>
    <a:lvl3pPr marL="914253" algn="l" defTabSz="914253" rtl="0" eaLnBrk="1" latinLnBrk="0" hangingPunct="1">
      <a:defRPr sz="1800" kern="1200">
        <a:solidFill>
          <a:schemeClr val="tx1"/>
        </a:solidFill>
        <a:latin typeface="+mn-lt"/>
        <a:ea typeface="+mn-ea"/>
        <a:cs typeface="+mn-cs"/>
      </a:defRPr>
    </a:lvl3pPr>
    <a:lvl4pPr marL="1371380" algn="l" defTabSz="914253" rtl="0" eaLnBrk="1" latinLnBrk="0" hangingPunct="1">
      <a:defRPr sz="1800" kern="1200">
        <a:solidFill>
          <a:schemeClr val="tx1"/>
        </a:solidFill>
        <a:latin typeface="+mn-lt"/>
        <a:ea typeface="+mn-ea"/>
        <a:cs typeface="+mn-cs"/>
      </a:defRPr>
    </a:lvl4pPr>
    <a:lvl5pPr marL="1828507" algn="l" defTabSz="914253" rtl="0" eaLnBrk="1" latinLnBrk="0" hangingPunct="1">
      <a:defRPr sz="1800" kern="1200">
        <a:solidFill>
          <a:schemeClr val="tx1"/>
        </a:solidFill>
        <a:latin typeface="+mn-lt"/>
        <a:ea typeface="+mn-ea"/>
        <a:cs typeface="+mn-cs"/>
      </a:defRPr>
    </a:lvl5pPr>
    <a:lvl6pPr marL="2285633" algn="l" defTabSz="914253" rtl="0" eaLnBrk="1" latinLnBrk="0" hangingPunct="1">
      <a:defRPr sz="1800" kern="1200">
        <a:solidFill>
          <a:schemeClr val="tx1"/>
        </a:solidFill>
        <a:latin typeface="+mn-lt"/>
        <a:ea typeface="+mn-ea"/>
        <a:cs typeface="+mn-cs"/>
      </a:defRPr>
    </a:lvl6pPr>
    <a:lvl7pPr marL="2742760" algn="l" defTabSz="914253" rtl="0" eaLnBrk="1" latinLnBrk="0" hangingPunct="1">
      <a:defRPr sz="1800" kern="1200">
        <a:solidFill>
          <a:schemeClr val="tx1"/>
        </a:solidFill>
        <a:latin typeface="+mn-lt"/>
        <a:ea typeface="+mn-ea"/>
        <a:cs typeface="+mn-cs"/>
      </a:defRPr>
    </a:lvl7pPr>
    <a:lvl8pPr marL="3199887" algn="l" defTabSz="914253" rtl="0" eaLnBrk="1" latinLnBrk="0" hangingPunct="1">
      <a:defRPr sz="1800" kern="1200">
        <a:solidFill>
          <a:schemeClr val="tx1"/>
        </a:solidFill>
        <a:latin typeface="+mn-lt"/>
        <a:ea typeface="+mn-ea"/>
        <a:cs typeface="+mn-cs"/>
      </a:defRPr>
    </a:lvl8pPr>
    <a:lvl9pPr marL="3657013" algn="l" defTabSz="914253"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Peredo, Karla Joana [CCC-OT_LTM]" initials="PKJ[" lastIdx="11" clrIdx="0"/>
  <p:cmAuthor id="1" name="Kurchenko, Ekaterina" initials="KE" lastIdx="4" clrIdx="1"/>
  <p:cmAuthor id="2" name="Cano, Paola [GCB-RTLB]" initials="CP[" lastIdx="4" clrIdx="4"/>
  <p:cmAuthor id="3" name="Dusermex" initials="D" lastIdx="1" clrIdx="3"/>
  <p:cmAuthor id="4" name="Peredo, Karla Joana [GCB-OT]" initials="PKJ[" lastIdx="1" clrIdx="5"/>
  <p:cmAuthor id="5" name="Hernandez, Ana (MX - Mexico)" initials="HA(-M" lastIdx="2" clrIdx="7"/>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5277F"/>
    <a:srgbClr val="0067B7"/>
    <a:srgbClr val="F26F27"/>
    <a:srgbClr val="0079D1"/>
    <a:srgbClr val="87CBD8"/>
    <a:srgbClr val="EE4328"/>
    <a:srgbClr val="F36F26"/>
    <a:srgbClr val="85CCD9"/>
    <a:srgbClr val="7B184F"/>
    <a:srgbClr val="EE4228"/>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Estilo medio 2 - Énfasis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D7B26C5-4107-4FEC-AEDC-1716B250A1EF}" styleName="Estilo claro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7E9639D4-E3E2-4D34-9284-5A2195B3D0D7}" styleName="Estilo claro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793D81CF-94F2-401A-BA57-92F5A7B2D0C5}" styleName="Estilo medio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2D5ABB26-0587-4C30-8999-92F81FD0307C}" styleName="Sin estilo ni cuadrícula">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5266" autoAdjust="0"/>
    <p:restoredTop sz="90882" autoAdjust="0"/>
  </p:normalViewPr>
  <p:slideViewPr>
    <p:cSldViewPr snapToGrid="0" snapToObjects="1">
      <p:cViewPr varScale="1">
        <p:scale>
          <a:sx n="140" d="100"/>
          <a:sy n="140" d="100"/>
        </p:scale>
        <p:origin x="936" y="192"/>
      </p:cViewPr>
      <p:guideLst>
        <p:guide orient="horz" pos="2160"/>
        <p:guide pos="3840"/>
      </p:guideLst>
    </p:cSldViewPr>
  </p:slideViewPr>
  <p:outlineViewPr>
    <p:cViewPr>
      <p:scale>
        <a:sx n="33" d="100"/>
        <a:sy n="33" d="100"/>
      </p:scale>
      <p:origin x="0" y="0"/>
    </p:cViewPr>
  </p:outlineViewPr>
  <p:notesTextViewPr>
    <p:cViewPr>
      <p:scale>
        <a:sx n="3" d="2"/>
        <a:sy n="3" d="2"/>
      </p:scale>
      <p:origin x="0" y="0"/>
    </p:cViewPr>
  </p:notesTextViewPr>
  <p:sorterViewPr>
    <p:cViewPr>
      <p:scale>
        <a:sx n="100" d="100"/>
        <a:sy n="100" d="100"/>
      </p:scale>
      <p:origin x="0" y="0"/>
    </p:cViewPr>
  </p:sorterViewPr>
  <p:notesViewPr>
    <p:cSldViewPr snapToGrid="0" snapToObjects="1">
      <p:cViewPr varScale="1">
        <p:scale>
          <a:sx n="78" d="100"/>
          <a:sy n="78" d="100"/>
        </p:scale>
        <p:origin x="2010" y="96"/>
      </p:cViewPr>
      <p:guideLst/>
    </p:cSldViewPr>
  </p:notes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Master" Target="slideMasters/slideMaster23.xml"/><Relationship Id="rId21" Type="http://schemas.openxmlformats.org/officeDocument/2006/relationships/slideMaster" Target="slideMasters/slideMaster18.xml"/><Relationship Id="rId42" Type="http://schemas.openxmlformats.org/officeDocument/2006/relationships/slide" Target="slides/slide15.xml"/><Relationship Id="rId47" Type="http://schemas.openxmlformats.org/officeDocument/2006/relationships/slide" Target="slides/slide20.xml"/><Relationship Id="rId63" Type="http://schemas.openxmlformats.org/officeDocument/2006/relationships/slide" Target="slides/slide36.xml"/><Relationship Id="rId68" Type="http://schemas.openxmlformats.org/officeDocument/2006/relationships/slide" Target="slides/slide41.xml"/><Relationship Id="rId84" Type="http://schemas.openxmlformats.org/officeDocument/2006/relationships/slide" Target="slides/slide57.xml"/><Relationship Id="rId89" Type="http://schemas.openxmlformats.org/officeDocument/2006/relationships/slide" Target="slides/slide62.xml"/><Relationship Id="rId16" Type="http://schemas.openxmlformats.org/officeDocument/2006/relationships/slideMaster" Target="slideMasters/slideMaster13.xml"/><Relationship Id="rId11" Type="http://schemas.openxmlformats.org/officeDocument/2006/relationships/slideMaster" Target="slideMasters/slideMaster8.xml"/><Relationship Id="rId32" Type="http://schemas.openxmlformats.org/officeDocument/2006/relationships/slide" Target="slides/slide5.xml"/><Relationship Id="rId37" Type="http://schemas.openxmlformats.org/officeDocument/2006/relationships/slide" Target="slides/slide10.xml"/><Relationship Id="rId53" Type="http://schemas.openxmlformats.org/officeDocument/2006/relationships/slide" Target="slides/slide26.xml"/><Relationship Id="rId58" Type="http://schemas.openxmlformats.org/officeDocument/2006/relationships/slide" Target="slides/slide31.xml"/><Relationship Id="rId74" Type="http://schemas.openxmlformats.org/officeDocument/2006/relationships/slide" Target="slides/slide47.xml"/><Relationship Id="rId79" Type="http://schemas.openxmlformats.org/officeDocument/2006/relationships/slide" Target="slides/slide52.xml"/><Relationship Id="rId102" Type="http://schemas.openxmlformats.org/officeDocument/2006/relationships/viewProps" Target="viewProps.xml"/><Relationship Id="rId5" Type="http://schemas.openxmlformats.org/officeDocument/2006/relationships/slideMaster" Target="slideMasters/slideMaster2.xml"/><Relationship Id="rId90" Type="http://schemas.openxmlformats.org/officeDocument/2006/relationships/slide" Target="slides/slide63.xml"/><Relationship Id="rId95" Type="http://schemas.openxmlformats.org/officeDocument/2006/relationships/slide" Target="slides/slide68.xml"/><Relationship Id="rId22" Type="http://schemas.openxmlformats.org/officeDocument/2006/relationships/slideMaster" Target="slideMasters/slideMaster19.xml"/><Relationship Id="rId27" Type="http://schemas.openxmlformats.org/officeDocument/2006/relationships/slideMaster" Target="slideMasters/slideMaster24.xml"/><Relationship Id="rId43" Type="http://schemas.openxmlformats.org/officeDocument/2006/relationships/slide" Target="slides/slide16.xml"/><Relationship Id="rId48" Type="http://schemas.openxmlformats.org/officeDocument/2006/relationships/slide" Target="slides/slide21.xml"/><Relationship Id="rId64" Type="http://schemas.openxmlformats.org/officeDocument/2006/relationships/slide" Target="slides/slide37.xml"/><Relationship Id="rId69" Type="http://schemas.openxmlformats.org/officeDocument/2006/relationships/slide" Target="slides/slide42.xml"/><Relationship Id="rId80" Type="http://schemas.openxmlformats.org/officeDocument/2006/relationships/slide" Target="slides/slide53.xml"/><Relationship Id="rId85" Type="http://schemas.openxmlformats.org/officeDocument/2006/relationships/slide" Target="slides/slide58.xml"/><Relationship Id="rId12" Type="http://schemas.openxmlformats.org/officeDocument/2006/relationships/slideMaster" Target="slideMasters/slideMaster9.xml"/><Relationship Id="rId17" Type="http://schemas.openxmlformats.org/officeDocument/2006/relationships/slideMaster" Target="slideMasters/slideMaster14.xml"/><Relationship Id="rId25" Type="http://schemas.openxmlformats.org/officeDocument/2006/relationships/slideMaster" Target="slideMasters/slideMaster22.xml"/><Relationship Id="rId33" Type="http://schemas.openxmlformats.org/officeDocument/2006/relationships/slide" Target="slides/slide6.xml"/><Relationship Id="rId38" Type="http://schemas.openxmlformats.org/officeDocument/2006/relationships/slide" Target="slides/slide11.xml"/><Relationship Id="rId46" Type="http://schemas.openxmlformats.org/officeDocument/2006/relationships/slide" Target="slides/slide19.xml"/><Relationship Id="rId59" Type="http://schemas.openxmlformats.org/officeDocument/2006/relationships/slide" Target="slides/slide32.xml"/><Relationship Id="rId67" Type="http://schemas.openxmlformats.org/officeDocument/2006/relationships/slide" Target="slides/slide40.xml"/><Relationship Id="rId103" Type="http://schemas.openxmlformats.org/officeDocument/2006/relationships/theme" Target="theme/theme1.xml"/><Relationship Id="rId20" Type="http://schemas.openxmlformats.org/officeDocument/2006/relationships/slideMaster" Target="slideMasters/slideMaster17.xml"/><Relationship Id="rId41" Type="http://schemas.openxmlformats.org/officeDocument/2006/relationships/slide" Target="slides/slide14.xml"/><Relationship Id="rId54" Type="http://schemas.openxmlformats.org/officeDocument/2006/relationships/slide" Target="slides/slide27.xml"/><Relationship Id="rId62" Type="http://schemas.openxmlformats.org/officeDocument/2006/relationships/slide" Target="slides/slide35.xml"/><Relationship Id="rId70" Type="http://schemas.openxmlformats.org/officeDocument/2006/relationships/slide" Target="slides/slide43.xml"/><Relationship Id="rId75" Type="http://schemas.openxmlformats.org/officeDocument/2006/relationships/slide" Target="slides/slide48.xml"/><Relationship Id="rId83" Type="http://schemas.openxmlformats.org/officeDocument/2006/relationships/slide" Target="slides/slide56.xml"/><Relationship Id="rId88" Type="http://schemas.openxmlformats.org/officeDocument/2006/relationships/slide" Target="slides/slide61.xml"/><Relationship Id="rId91" Type="http://schemas.openxmlformats.org/officeDocument/2006/relationships/slide" Target="slides/slide64.xml"/><Relationship Id="rId96" Type="http://schemas.openxmlformats.org/officeDocument/2006/relationships/slide" Target="slides/slide69.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Master" Target="slideMasters/slideMaster12.xml"/><Relationship Id="rId23" Type="http://schemas.openxmlformats.org/officeDocument/2006/relationships/slideMaster" Target="slideMasters/slideMaster20.xml"/><Relationship Id="rId28" Type="http://schemas.openxmlformats.org/officeDocument/2006/relationships/slide" Target="slides/slide1.xml"/><Relationship Id="rId36" Type="http://schemas.openxmlformats.org/officeDocument/2006/relationships/slide" Target="slides/slide9.xml"/><Relationship Id="rId49" Type="http://schemas.openxmlformats.org/officeDocument/2006/relationships/slide" Target="slides/slide22.xml"/><Relationship Id="rId57" Type="http://schemas.openxmlformats.org/officeDocument/2006/relationships/slide" Target="slides/slide30.xml"/><Relationship Id="rId10" Type="http://schemas.openxmlformats.org/officeDocument/2006/relationships/slideMaster" Target="slideMasters/slideMaster7.xml"/><Relationship Id="rId31" Type="http://schemas.openxmlformats.org/officeDocument/2006/relationships/slide" Target="slides/slide4.xml"/><Relationship Id="rId44" Type="http://schemas.openxmlformats.org/officeDocument/2006/relationships/slide" Target="slides/slide17.xml"/><Relationship Id="rId52" Type="http://schemas.openxmlformats.org/officeDocument/2006/relationships/slide" Target="slides/slide25.xml"/><Relationship Id="rId60" Type="http://schemas.openxmlformats.org/officeDocument/2006/relationships/slide" Target="slides/slide33.xml"/><Relationship Id="rId65" Type="http://schemas.openxmlformats.org/officeDocument/2006/relationships/slide" Target="slides/slide38.xml"/><Relationship Id="rId73" Type="http://schemas.openxmlformats.org/officeDocument/2006/relationships/slide" Target="slides/slide46.xml"/><Relationship Id="rId78" Type="http://schemas.openxmlformats.org/officeDocument/2006/relationships/slide" Target="slides/slide51.xml"/><Relationship Id="rId81" Type="http://schemas.openxmlformats.org/officeDocument/2006/relationships/slide" Target="slides/slide54.xml"/><Relationship Id="rId86" Type="http://schemas.openxmlformats.org/officeDocument/2006/relationships/slide" Target="slides/slide59.xml"/><Relationship Id="rId94" Type="http://schemas.openxmlformats.org/officeDocument/2006/relationships/slide" Target="slides/slide67.xml"/><Relationship Id="rId99" Type="http://schemas.openxmlformats.org/officeDocument/2006/relationships/handoutMaster" Target="handoutMasters/handoutMaster1.xml"/><Relationship Id="rId101"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Master" Target="slideMasters/slideMaster6.xml"/><Relationship Id="rId13" Type="http://schemas.openxmlformats.org/officeDocument/2006/relationships/slideMaster" Target="slideMasters/slideMaster10.xml"/><Relationship Id="rId18" Type="http://schemas.openxmlformats.org/officeDocument/2006/relationships/slideMaster" Target="slideMasters/slideMaster15.xml"/><Relationship Id="rId39" Type="http://schemas.openxmlformats.org/officeDocument/2006/relationships/slide" Target="slides/slide12.xml"/><Relationship Id="rId34" Type="http://schemas.openxmlformats.org/officeDocument/2006/relationships/slide" Target="slides/slide7.xml"/><Relationship Id="rId50" Type="http://schemas.openxmlformats.org/officeDocument/2006/relationships/slide" Target="slides/slide23.xml"/><Relationship Id="rId55" Type="http://schemas.openxmlformats.org/officeDocument/2006/relationships/slide" Target="slides/slide28.xml"/><Relationship Id="rId76" Type="http://schemas.openxmlformats.org/officeDocument/2006/relationships/slide" Target="slides/slide49.xml"/><Relationship Id="rId97" Type="http://schemas.openxmlformats.org/officeDocument/2006/relationships/slide" Target="slides/slide70.xml"/><Relationship Id="rId104" Type="http://schemas.openxmlformats.org/officeDocument/2006/relationships/tableStyles" Target="tableStyles.xml"/><Relationship Id="rId7" Type="http://schemas.openxmlformats.org/officeDocument/2006/relationships/slideMaster" Target="slideMasters/slideMaster4.xml"/><Relationship Id="rId71" Type="http://schemas.openxmlformats.org/officeDocument/2006/relationships/slide" Target="slides/slide44.xml"/><Relationship Id="rId92" Type="http://schemas.openxmlformats.org/officeDocument/2006/relationships/slide" Target="slides/slide65.xml"/><Relationship Id="rId2" Type="http://schemas.openxmlformats.org/officeDocument/2006/relationships/customXml" Target="../customXml/item2.xml"/><Relationship Id="rId29" Type="http://schemas.openxmlformats.org/officeDocument/2006/relationships/slide" Target="slides/slide2.xml"/><Relationship Id="rId24" Type="http://schemas.openxmlformats.org/officeDocument/2006/relationships/slideMaster" Target="slideMasters/slideMaster21.xml"/><Relationship Id="rId40" Type="http://schemas.openxmlformats.org/officeDocument/2006/relationships/slide" Target="slides/slide13.xml"/><Relationship Id="rId45" Type="http://schemas.openxmlformats.org/officeDocument/2006/relationships/slide" Target="slides/slide18.xml"/><Relationship Id="rId66" Type="http://schemas.openxmlformats.org/officeDocument/2006/relationships/slide" Target="slides/slide39.xml"/><Relationship Id="rId87" Type="http://schemas.openxmlformats.org/officeDocument/2006/relationships/slide" Target="slides/slide60.xml"/><Relationship Id="rId61" Type="http://schemas.openxmlformats.org/officeDocument/2006/relationships/slide" Target="slides/slide34.xml"/><Relationship Id="rId82" Type="http://schemas.openxmlformats.org/officeDocument/2006/relationships/slide" Target="slides/slide55.xml"/><Relationship Id="rId19" Type="http://schemas.openxmlformats.org/officeDocument/2006/relationships/slideMaster" Target="slideMasters/slideMaster16.xml"/><Relationship Id="rId14" Type="http://schemas.openxmlformats.org/officeDocument/2006/relationships/slideMaster" Target="slideMasters/slideMaster11.xml"/><Relationship Id="rId30" Type="http://schemas.openxmlformats.org/officeDocument/2006/relationships/slide" Target="slides/slide3.xml"/><Relationship Id="rId35" Type="http://schemas.openxmlformats.org/officeDocument/2006/relationships/slide" Target="slides/slide8.xml"/><Relationship Id="rId56" Type="http://schemas.openxmlformats.org/officeDocument/2006/relationships/slide" Target="slides/slide29.xml"/><Relationship Id="rId77" Type="http://schemas.openxmlformats.org/officeDocument/2006/relationships/slide" Target="slides/slide50.xml"/><Relationship Id="rId100" Type="http://schemas.openxmlformats.org/officeDocument/2006/relationships/commentAuthors" Target="commentAuthors.xml"/><Relationship Id="rId8" Type="http://schemas.openxmlformats.org/officeDocument/2006/relationships/slideMaster" Target="slideMasters/slideMaster5.xml"/><Relationship Id="rId51" Type="http://schemas.openxmlformats.org/officeDocument/2006/relationships/slide" Target="slides/slide24.xml"/><Relationship Id="rId72" Type="http://schemas.openxmlformats.org/officeDocument/2006/relationships/slide" Target="slides/slide45.xml"/><Relationship Id="rId93" Type="http://schemas.openxmlformats.org/officeDocument/2006/relationships/slide" Target="slides/slide66.xml"/><Relationship Id="rId98" Type="http://schemas.openxmlformats.org/officeDocument/2006/relationships/notesMaster" Target="notesMasters/notesMaster1.xml"/><Relationship Id="rId3" Type="http://schemas.openxmlformats.org/officeDocument/2006/relationships/customXml" Target="../customXml/item3.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0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0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0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0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0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0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0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0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0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0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1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1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1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1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1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1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1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17.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11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1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2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2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2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2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2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2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2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2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2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2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3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3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3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3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3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3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3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3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3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3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4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4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4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4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4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4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4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4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4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4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5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5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5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5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5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5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5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5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5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5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6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6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6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6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6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6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6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6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6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6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7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7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7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7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7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7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7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7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7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7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8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8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8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8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8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8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8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8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8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8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9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9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9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9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9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9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9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9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9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9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0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0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0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0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0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0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0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0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0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0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1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1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1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1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1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1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1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1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1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1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2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2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2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2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2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2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2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2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2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2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3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3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3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3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3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3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3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3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3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3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4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4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4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6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6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6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6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6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6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6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6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6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7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7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7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7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7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7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7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7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7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7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8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8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8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8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8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8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8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8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8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89.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9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9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9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9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9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9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9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9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9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99.vml.rels><?xml version="1.0" encoding="UTF-8" standalone="yes"?>
<Relationships xmlns="http://schemas.openxmlformats.org/package/2006/relationships"><Relationship Id="rId1" Type="http://schemas.openxmlformats.org/officeDocument/2006/relationships/image" Target="../media/image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2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6434"/>
          </a:xfrm>
          <a:prstGeom prst="rect">
            <a:avLst/>
          </a:prstGeom>
        </p:spPr>
        <p:txBody>
          <a:bodyPr vert="horz" lIns="93177" tIns="46589" rIns="93177" bIns="46589" rtlCol="0"/>
          <a:lstStyle>
            <a:lvl1pPr algn="l">
              <a:defRPr sz="1200"/>
            </a:lvl1pPr>
          </a:lstStyle>
          <a:p>
            <a:endParaRPr lang="en-US"/>
          </a:p>
        </p:txBody>
      </p:sp>
      <p:sp>
        <p:nvSpPr>
          <p:cNvPr id="3" name="Date Placeholder 2"/>
          <p:cNvSpPr>
            <a:spLocks noGrp="1"/>
          </p:cNvSpPr>
          <p:nvPr>
            <p:ph type="dt" sz="quarter" idx="1"/>
          </p:nvPr>
        </p:nvSpPr>
        <p:spPr>
          <a:xfrm>
            <a:off x="3970938" y="0"/>
            <a:ext cx="3037840" cy="466434"/>
          </a:xfrm>
          <a:prstGeom prst="rect">
            <a:avLst/>
          </a:prstGeom>
        </p:spPr>
        <p:txBody>
          <a:bodyPr vert="horz" lIns="93177" tIns="46589" rIns="93177" bIns="46589" rtlCol="0"/>
          <a:lstStyle>
            <a:lvl1pPr algn="r">
              <a:defRPr sz="1200"/>
            </a:lvl1pPr>
          </a:lstStyle>
          <a:p>
            <a:fld id="{74B3BEBB-2B3E-2044-94C4-AD43D5BFFC3B}" type="datetimeFigureOut">
              <a:rPr lang="en-US" smtClean="0"/>
              <a:t>9/5/19</a:t>
            </a:fld>
            <a:endParaRPr lang="en-US"/>
          </a:p>
        </p:txBody>
      </p:sp>
      <p:sp>
        <p:nvSpPr>
          <p:cNvPr id="4" name="Footer Placeholder 3"/>
          <p:cNvSpPr>
            <a:spLocks noGrp="1"/>
          </p:cNvSpPr>
          <p:nvPr>
            <p:ph type="ftr" sz="quarter" idx="2"/>
          </p:nvPr>
        </p:nvSpPr>
        <p:spPr>
          <a:xfrm>
            <a:off x="0" y="8829967"/>
            <a:ext cx="3037840" cy="466433"/>
          </a:xfrm>
          <a:prstGeom prst="rect">
            <a:avLst/>
          </a:prstGeom>
        </p:spPr>
        <p:txBody>
          <a:bodyPr vert="horz" lIns="93177" tIns="46589" rIns="93177" bIns="46589" rtlCol="0" anchor="b"/>
          <a:lstStyle>
            <a:lvl1pPr algn="l">
              <a:defRPr sz="1200"/>
            </a:lvl1pPr>
          </a:lstStyle>
          <a:p>
            <a:endParaRPr lang="en-US"/>
          </a:p>
        </p:txBody>
      </p:sp>
      <p:sp>
        <p:nvSpPr>
          <p:cNvPr id="5" name="Slide Number Placeholder 4"/>
          <p:cNvSpPr>
            <a:spLocks noGrp="1"/>
          </p:cNvSpPr>
          <p:nvPr>
            <p:ph type="sldNum" sz="quarter" idx="3"/>
          </p:nvPr>
        </p:nvSpPr>
        <p:spPr>
          <a:xfrm>
            <a:off x="3970938" y="8829967"/>
            <a:ext cx="3037840" cy="466433"/>
          </a:xfrm>
          <a:prstGeom prst="rect">
            <a:avLst/>
          </a:prstGeom>
        </p:spPr>
        <p:txBody>
          <a:bodyPr vert="horz" lIns="93177" tIns="46589" rIns="93177" bIns="46589" rtlCol="0" anchor="b"/>
          <a:lstStyle>
            <a:lvl1pPr algn="r">
              <a:defRPr sz="1200"/>
            </a:lvl1pPr>
          </a:lstStyle>
          <a:p>
            <a:fld id="{96F95C16-7D9F-B24D-929D-2F4D68B8DACE}" type="slidenum">
              <a:rPr lang="en-US" smtClean="0"/>
              <a:t>‹#›</a:t>
            </a:fld>
            <a:endParaRPr lang="en-US"/>
          </a:p>
        </p:txBody>
      </p:sp>
    </p:spTree>
    <p:extLst>
      <p:ext uri="{BB962C8B-B14F-4D97-AF65-F5344CB8AC3E}">
        <p14:creationId xmlns:p14="http://schemas.microsoft.com/office/powerpoint/2010/main" val="78089441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6434"/>
          </a:xfrm>
          <a:prstGeom prst="rect">
            <a:avLst/>
          </a:prstGeom>
        </p:spPr>
        <p:txBody>
          <a:bodyPr vert="horz" lIns="93177" tIns="46589" rIns="93177" bIns="46589" rtlCol="0"/>
          <a:lstStyle>
            <a:lvl1pPr algn="l">
              <a:defRPr sz="1200"/>
            </a:lvl1pPr>
          </a:lstStyle>
          <a:p>
            <a:endParaRPr lang="en-US"/>
          </a:p>
        </p:txBody>
      </p:sp>
      <p:sp>
        <p:nvSpPr>
          <p:cNvPr id="3" name="Date Placeholder 2"/>
          <p:cNvSpPr>
            <a:spLocks noGrp="1"/>
          </p:cNvSpPr>
          <p:nvPr>
            <p:ph type="dt" idx="1"/>
          </p:nvPr>
        </p:nvSpPr>
        <p:spPr>
          <a:xfrm>
            <a:off x="3970938" y="0"/>
            <a:ext cx="3037840" cy="466434"/>
          </a:xfrm>
          <a:prstGeom prst="rect">
            <a:avLst/>
          </a:prstGeom>
        </p:spPr>
        <p:txBody>
          <a:bodyPr vert="horz" lIns="93177" tIns="46589" rIns="93177" bIns="46589" rtlCol="0"/>
          <a:lstStyle>
            <a:lvl1pPr algn="r">
              <a:defRPr sz="1200"/>
            </a:lvl1pPr>
          </a:lstStyle>
          <a:p>
            <a:fld id="{0A4653ED-03D2-7542-AE1B-FB47779A335F}" type="datetimeFigureOut">
              <a:rPr lang="en-US" smtClean="0"/>
              <a:t>9/5/19</a:t>
            </a:fld>
            <a:endParaRPr lang="en-US"/>
          </a:p>
        </p:txBody>
      </p:sp>
      <p:sp>
        <p:nvSpPr>
          <p:cNvPr id="4" name="Slide Image Placeholder 3"/>
          <p:cNvSpPr>
            <a:spLocks noGrp="1" noRot="1" noChangeAspect="1"/>
          </p:cNvSpPr>
          <p:nvPr>
            <p:ph type="sldImg" idx="2"/>
          </p:nvPr>
        </p:nvSpPr>
        <p:spPr>
          <a:xfrm>
            <a:off x="717550" y="1162050"/>
            <a:ext cx="5575300" cy="3136900"/>
          </a:xfrm>
          <a:prstGeom prst="rect">
            <a:avLst/>
          </a:prstGeom>
          <a:noFill/>
          <a:ln w="12700">
            <a:solidFill>
              <a:prstClr val="black"/>
            </a:solidFill>
          </a:ln>
        </p:spPr>
        <p:txBody>
          <a:bodyPr vert="horz" lIns="93177" tIns="46589" rIns="93177" bIns="46589" rtlCol="0" anchor="ctr"/>
          <a:lstStyle/>
          <a:p>
            <a:endParaRPr lang="en-US"/>
          </a:p>
        </p:txBody>
      </p:sp>
      <p:sp>
        <p:nvSpPr>
          <p:cNvPr id="5" name="Notes Placeholder 4"/>
          <p:cNvSpPr>
            <a:spLocks noGrp="1"/>
          </p:cNvSpPr>
          <p:nvPr>
            <p:ph type="body" sz="quarter" idx="3"/>
          </p:nvPr>
        </p:nvSpPr>
        <p:spPr>
          <a:xfrm>
            <a:off x="701040" y="4473892"/>
            <a:ext cx="5608320" cy="3660458"/>
          </a:xfrm>
          <a:prstGeom prst="rect">
            <a:avLst/>
          </a:prstGeom>
        </p:spPr>
        <p:txBody>
          <a:bodyPr vert="horz" lIns="93177" tIns="46589" rIns="93177" bIns="46589"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967"/>
            <a:ext cx="3037840" cy="466433"/>
          </a:xfrm>
          <a:prstGeom prst="rect">
            <a:avLst/>
          </a:prstGeom>
        </p:spPr>
        <p:txBody>
          <a:bodyPr vert="horz" lIns="93177" tIns="46589" rIns="93177" bIns="46589" rtlCol="0" anchor="b"/>
          <a:lstStyle>
            <a:lvl1pPr algn="l">
              <a:defRPr sz="1200"/>
            </a:lvl1pPr>
          </a:lstStyle>
          <a:p>
            <a:endParaRPr lang="en-US"/>
          </a:p>
        </p:txBody>
      </p:sp>
      <p:sp>
        <p:nvSpPr>
          <p:cNvPr id="7" name="Slide Number Placeholder 6"/>
          <p:cNvSpPr>
            <a:spLocks noGrp="1"/>
          </p:cNvSpPr>
          <p:nvPr>
            <p:ph type="sldNum" sz="quarter" idx="5"/>
          </p:nvPr>
        </p:nvSpPr>
        <p:spPr>
          <a:xfrm>
            <a:off x="3970938" y="8829967"/>
            <a:ext cx="3037840" cy="466433"/>
          </a:xfrm>
          <a:prstGeom prst="rect">
            <a:avLst/>
          </a:prstGeom>
        </p:spPr>
        <p:txBody>
          <a:bodyPr vert="horz" lIns="93177" tIns="46589" rIns="93177" bIns="46589" rtlCol="0" anchor="b"/>
          <a:lstStyle>
            <a:lvl1pPr algn="r">
              <a:defRPr sz="1200"/>
            </a:lvl1pPr>
          </a:lstStyle>
          <a:p>
            <a:fld id="{86AFAD0A-972D-3147-9D91-3BAFCEED8135}" type="slidenum">
              <a:rPr lang="en-US" smtClean="0"/>
              <a:t>‹#›</a:t>
            </a:fld>
            <a:endParaRPr lang="en-US"/>
          </a:p>
        </p:txBody>
      </p:sp>
    </p:spTree>
    <p:extLst>
      <p:ext uri="{BB962C8B-B14F-4D97-AF65-F5344CB8AC3E}">
        <p14:creationId xmlns:p14="http://schemas.microsoft.com/office/powerpoint/2010/main" val="1082102548"/>
      </p:ext>
    </p:extLst>
  </p:cSld>
  <p:clrMap bg1="lt1" tx1="dk1" bg2="lt2" tx2="dk2" accent1="accent1" accent2="accent2" accent3="accent3" accent4="accent4" accent5="accent5" accent6="accent6" hlink="hlink" folHlink="folHlink"/>
  <p:notesStyle>
    <a:lvl1pPr marL="0" algn="l" defTabSz="914253" rtl="0" eaLnBrk="1" latinLnBrk="0" hangingPunct="1">
      <a:defRPr sz="1200" kern="1200">
        <a:solidFill>
          <a:schemeClr val="tx1"/>
        </a:solidFill>
        <a:latin typeface="+mn-lt"/>
        <a:ea typeface="+mn-ea"/>
        <a:cs typeface="+mn-cs"/>
      </a:defRPr>
    </a:lvl1pPr>
    <a:lvl2pPr marL="457127" algn="l" defTabSz="914253" rtl="0" eaLnBrk="1" latinLnBrk="0" hangingPunct="1">
      <a:defRPr sz="1200" kern="1200">
        <a:solidFill>
          <a:schemeClr val="tx1"/>
        </a:solidFill>
        <a:latin typeface="+mn-lt"/>
        <a:ea typeface="+mn-ea"/>
        <a:cs typeface="+mn-cs"/>
      </a:defRPr>
    </a:lvl2pPr>
    <a:lvl3pPr marL="914253" algn="l" defTabSz="914253" rtl="0" eaLnBrk="1" latinLnBrk="0" hangingPunct="1">
      <a:defRPr sz="1200" kern="1200">
        <a:solidFill>
          <a:schemeClr val="tx1"/>
        </a:solidFill>
        <a:latin typeface="+mn-lt"/>
        <a:ea typeface="+mn-ea"/>
        <a:cs typeface="+mn-cs"/>
      </a:defRPr>
    </a:lvl3pPr>
    <a:lvl4pPr marL="1371380" algn="l" defTabSz="914253" rtl="0" eaLnBrk="1" latinLnBrk="0" hangingPunct="1">
      <a:defRPr sz="1200" kern="1200">
        <a:solidFill>
          <a:schemeClr val="tx1"/>
        </a:solidFill>
        <a:latin typeface="+mn-lt"/>
        <a:ea typeface="+mn-ea"/>
        <a:cs typeface="+mn-cs"/>
      </a:defRPr>
    </a:lvl4pPr>
    <a:lvl5pPr marL="1828507" algn="l" defTabSz="914253" rtl="0" eaLnBrk="1" latinLnBrk="0" hangingPunct="1">
      <a:defRPr sz="1200" kern="1200">
        <a:solidFill>
          <a:schemeClr val="tx1"/>
        </a:solidFill>
        <a:latin typeface="+mn-lt"/>
        <a:ea typeface="+mn-ea"/>
        <a:cs typeface="+mn-cs"/>
      </a:defRPr>
    </a:lvl5pPr>
    <a:lvl6pPr marL="2285633" algn="l" defTabSz="914253" rtl="0" eaLnBrk="1" latinLnBrk="0" hangingPunct="1">
      <a:defRPr sz="1200" kern="1200">
        <a:solidFill>
          <a:schemeClr val="tx1"/>
        </a:solidFill>
        <a:latin typeface="+mn-lt"/>
        <a:ea typeface="+mn-ea"/>
        <a:cs typeface="+mn-cs"/>
      </a:defRPr>
    </a:lvl6pPr>
    <a:lvl7pPr marL="2742760" algn="l" defTabSz="914253" rtl="0" eaLnBrk="1" latinLnBrk="0" hangingPunct="1">
      <a:defRPr sz="1200" kern="1200">
        <a:solidFill>
          <a:schemeClr val="tx1"/>
        </a:solidFill>
        <a:latin typeface="+mn-lt"/>
        <a:ea typeface="+mn-ea"/>
        <a:cs typeface="+mn-cs"/>
      </a:defRPr>
    </a:lvl7pPr>
    <a:lvl8pPr marL="3199887" algn="l" defTabSz="914253" rtl="0" eaLnBrk="1" latinLnBrk="0" hangingPunct="1">
      <a:defRPr sz="1200" kern="1200">
        <a:solidFill>
          <a:schemeClr val="tx1"/>
        </a:solidFill>
        <a:latin typeface="+mn-lt"/>
        <a:ea typeface="+mn-ea"/>
        <a:cs typeface="+mn-cs"/>
      </a:defRPr>
    </a:lvl8pPr>
    <a:lvl9pPr marL="3657013" algn="l" defTabSz="914253"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slideMaster" Target="../slideMasters/slideMaster1.xml"/><Relationship Id="rId1" Type="http://schemas.openxmlformats.org/officeDocument/2006/relationships/themeOverride" Target="../theme/themeOverride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0.xml.rels><?xml version="1.0" encoding="UTF-8" standalone="yes"?>
<Relationships xmlns="http://schemas.openxmlformats.org/package/2006/relationships"><Relationship Id="rId3" Type="http://schemas.openxmlformats.org/officeDocument/2006/relationships/tags" Target="../tags/tag51.xml"/><Relationship Id="rId2" Type="http://schemas.openxmlformats.org/officeDocument/2006/relationships/tags" Target="../tags/tag50.xml"/><Relationship Id="rId1" Type="http://schemas.openxmlformats.org/officeDocument/2006/relationships/vmlDrawing" Target="../drawings/vmlDrawing32.vml"/><Relationship Id="rId6" Type="http://schemas.openxmlformats.org/officeDocument/2006/relationships/image" Target="../media/image5.emf"/><Relationship Id="rId5" Type="http://schemas.openxmlformats.org/officeDocument/2006/relationships/oleObject" Target="../embeddings/oleObject32.bin"/><Relationship Id="rId4" Type="http://schemas.openxmlformats.org/officeDocument/2006/relationships/slideMaster" Target="../slideMasters/slideMaster10.xml"/></Relationships>
</file>

<file path=ppt/slideLayouts/_rels/slideLayout101.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52.xml"/><Relationship Id="rId1" Type="http://schemas.openxmlformats.org/officeDocument/2006/relationships/vmlDrawing" Target="../drawings/vmlDrawing33.vml"/><Relationship Id="rId6" Type="http://schemas.openxmlformats.org/officeDocument/2006/relationships/image" Target="../media/image13.png"/><Relationship Id="rId5" Type="http://schemas.openxmlformats.org/officeDocument/2006/relationships/image" Target="../media/image5.emf"/><Relationship Id="rId4" Type="http://schemas.openxmlformats.org/officeDocument/2006/relationships/oleObject" Target="../embeddings/oleObject33.bin"/></Relationships>
</file>

<file path=ppt/slideLayouts/_rels/slideLayout102.xml.rels><?xml version="1.0" encoding="UTF-8" standalone="yes"?>
<Relationships xmlns="http://schemas.openxmlformats.org/package/2006/relationships"><Relationship Id="rId3" Type="http://schemas.openxmlformats.org/officeDocument/2006/relationships/tags" Target="../tags/tag54.xml"/><Relationship Id="rId2" Type="http://schemas.openxmlformats.org/officeDocument/2006/relationships/tags" Target="../tags/tag53.xml"/><Relationship Id="rId1" Type="http://schemas.openxmlformats.org/officeDocument/2006/relationships/vmlDrawing" Target="../drawings/vmlDrawing34.vml"/><Relationship Id="rId6" Type="http://schemas.openxmlformats.org/officeDocument/2006/relationships/image" Target="../media/image5.emf"/><Relationship Id="rId5" Type="http://schemas.openxmlformats.org/officeDocument/2006/relationships/oleObject" Target="../embeddings/oleObject34.bin"/><Relationship Id="rId4" Type="http://schemas.openxmlformats.org/officeDocument/2006/relationships/slideMaster" Target="../slideMasters/slideMaster10.xml"/></Relationships>
</file>

<file path=ppt/slideLayouts/_rels/slideLayout103.xml.rels><?xml version="1.0" encoding="UTF-8" standalone="yes"?>
<Relationships xmlns="http://schemas.openxmlformats.org/package/2006/relationships"><Relationship Id="rId3" Type="http://schemas.openxmlformats.org/officeDocument/2006/relationships/tags" Target="../tags/tag56.xml"/><Relationship Id="rId2" Type="http://schemas.openxmlformats.org/officeDocument/2006/relationships/tags" Target="../tags/tag55.xml"/><Relationship Id="rId1" Type="http://schemas.openxmlformats.org/officeDocument/2006/relationships/vmlDrawing" Target="../drawings/vmlDrawing35.vml"/><Relationship Id="rId6" Type="http://schemas.openxmlformats.org/officeDocument/2006/relationships/image" Target="../media/image5.emf"/><Relationship Id="rId5" Type="http://schemas.openxmlformats.org/officeDocument/2006/relationships/oleObject" Target="../embeddings/oleObject35.bin"/><Relationship Id="rId4" Type="http://schemas.openxmlformats.org/officeDocument/2006/relationships/slideMaster" Target="../slideMasters/slideMaster10.xml"/></Relationships>
</file>

<file path=ppt/slideLayouts/_rels/slideLayout104.xml.rels><?xml version="1.0" encoding="UTF-8" standalone="yes"?>
<Relationships xmlns="http://schemas.openxmlformats.org/package/2006/relationships"><Relationship Id="rId3" Type="http://schemas.openxmlformats.org/officeDocument/2006/relationships/tags" Target="../tags/tag58.xml"/><Relationship Id="rId2" Type="http://schemas.openxmlformats.org/officeDocument/2006/relationships/tags" Target="../tags/tag57.xml"/><Relationship Id="rId1" Type="http://schemas.openxmlformats.org/officeDocument/2006/relationships/vmlDrawing" Target="../drawings/vmlDrawing36.vml"/><Relationship Id="rId6" Type="http://schemas.openxmlformats.org/officeDocument/2006/relationships/image" Target="../media/image5.emf"/><Relationship Id="rId5" Type="http://schemas.openxmlformats.org/officeDocument/2006/relationships/oleObject" Target="../embeddings/oleObject36.bin"/><Relationship Id="rId4" Type="http://schemas.openxmlformats.org/officeDocument/2006/relationships/slideMaster" Target="../slideMasters/slideMaster10.xml"/></Relationships>
</file>

<file path=ppt/slideLayouts/_rels/slideLayout105.xml.rels><?xml version="1.0" encoding="UTF-8" standalone="yes"?>
<Relationships xmlns="http://schemas.openxmlformats.org/package/2006/relationships"><Relationship Id="rId3" Type="http://schemas.openxmlformats.org/officeDocument/2006/relationships/tags" Target="../tags/tag60.xml"/><Relationship Id="rId2" Type="http://schemas.openxmlformats.org/officeDocument/2006/relationships/tags" Target="../tags/tag59.xml"/><Relationship Id="rId1" Type="http://schemas.openxmlformats.org/officeDocument/2006/relationships/vmlDrawing" Target="../drawings/vmlDrawing37.vml"/><Relationship Id="rId6" Type="http://schemas.openxmlformats.org/officeDocument/2006/relationships/image" Target="../media/image5.emf"/><Relationship Id="rId5" Type="http://schemas.openxmlformats.org/officeDocument/2006/relationships/oleObject" Target="../embeddings/oleObject37.bin"/><Relationship Id="rId4" Type="http://schemas.openxmlformats.org/officeDocument/2006/relationships/slideMaster" Target="../slideMasters/slideMaster10.xml"/></Relationships>
</file>

<file path=ppt/slideLayouts/_rels/slideLayout106.xml.rels><?xml version="1.0" encoding="UTF-8" standalone="yes"?>
<Relationships xmlns="http://schemas.openxmlformats.org/package/2006/relationships"><Relationship Id="rId3" Type="http://schemas.openxmlformats.org/officeDocument/2006/relationships/slideMaster" Target="../slideMasters/slideMaster10.xml"/><Relationship Id="rId7" Type="http://schemas.openxmlformats.org/officeDocument/2006/relationships/image" Target="../media/image9.jpeg"/><Relationship Id="rId2" Type="http://schemas.openxmlformats.org/officeDocument/2006/relationships/tags" Target="../tags/tag61.xml"/><Relationship Id="rId1" Type="http://schemas.openxmlformats.org/officeDocument/2006/relationships/vmlDrawing" Target="../drawings/vmlDrawing38.vml"/><Relationship Id="rId6" Type="http://schemas.openxmlformats.org/officeDocument/2006/relationships/image" Target="../media/image8.jpeg"/><Relationship Id="rId5" Type="http://schemas.openxmlformats.org/officeDocument/2006/relationships/image" Target="../media/image5.emf"/><Relationship Id="rId4" Type="http://schemas.openxmlformats.org/officeDocument/2006/relationships/oleObject" Target="../embeddings/oleObject38.bin"/></Relationships>
</file>

<file path=ppt/slideLayouts/_rels/slideLayout107.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tags" Target="../tags/tag63.xml"/><Relationship Id="rId7" Type="http://schemas.openxmlformats.org/officeDocument/2006/relationships/image" Target="../media/image6.jpeg"/><Relationship Id="rId2" Type="http://schemas.openxmlformats.org/officeDocument/2006/relationships/tags" Target="../tags/tag62.xml"/><Relationship Id="rId1" Type="http://schemas.openxmlformats.org/officeDocument/2006/relationships/vmlDrawing" Target="../drawings/vmlDrawing39.vml"/><Relationship Id="rId6" Type="http://schemas.openxmlformats.org/officeDocument/2006/relationships/image" Target="../media/image5.emf"/><Relationship Id="rId5" Type="http://schemas.openxmlformats.org/officeDocument/2006/relationships/oleObject" Target="../embeddings/oleObject39.bin"/><Relationship Id="rId4" Type="http://schemas.openxmlformats.org/officeDocument/2006/relationships/slideMaster" Target="../slideMasters/slideMaster10.xml"/></Relationships>
</file>

<file path=ppt/slideLayouts/_rels/slideLayout108.xml.rels><?xml version="1.0" encoding="UTF-8" standalone="yes"?>
<Relationships xmlns="http://schemas.openxmlformats.org/package/2006/relationships"><Relationship Id="rId3" Type="http://schemas.openxmlformats.org/officeDocument/2006/relationships/tags" Target="../tags/tag65.xml"/><Relationship Id="rId2" Type="http://schemas.openxmlformats.org/officeDocument/2006/relationships/tags" Target="../tags/tag64.xml"/><Relationship Id="rId1" Type="http://schemas.openxmlformats.org/officeDocument/2006/relationships/vmlDrawing" Target="../drawings/vmlDrawing40.vml"/><Relationship Id="rId6" Type="http://schemas.openxmlformats.org/officeDocument/2006/relationships/image" Target="../media/image5.emf"/><Relationship Id="rId5" Type="http://schemas.openxmlformats.org/officeDocument/2006/relationships/oleObject" Target="../embeddings/oleObject40.bin"/><Relationship Id="rId4" Type="http://schemas.openxmlformats.org/officeDocument/2006/relationships/slideMaster" Target="../slideMasters/slideMaster10.xml"/></Relationships>
</file>

<file path=ppt/slideLayouts/_rels/slideLayout109.xml.rels><?xml version="1.0" encoding="UTF-8" standalone="yes"?>
<Relationships xmlns="http://schemas.openxmlformats.org/package/2006/relationships"><Relationship Id="rId3" Type="http://schemas.openxmlformats.org/officeDocument/2006/relationships/tags" Target="../tags/tag67.xml"/><Relationship Id="rId2" Type="http://schemas.openxmlformats.org/officeDocument/2006/relationships/tags" Target="../tags/tag66.xml"/><Relationship Id="rId1" Type="http://schemas.openxmlformats.org/officeDocument/2006/relationships/vmlDrawing" Target="../drawings/vmlDrawing41.vml"/><Relationship Id="rId6" Type="http://schemas.openxmlformats.org/officeDocument/2006/relationships/image" Target="../media/image5.emf"/><Relationship Id="rId5" Type="http://schemas.openxmlformats.org/officeDocument/2006/relationships/oleObject" Target="../embeddings/oleObject41.bin"/><Relationship Id="rId4" Type="http://schemas.openxmlformats.org/officeDocument/2006/relationships/slideMaster" Target="../slideMasters/slideMaster10.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2.xml"/><Relationship Id="rId1" Type="http://schemas.openxmlformats.org/officeDocument/2006/relationships/themeOverride" Target="../theme/themeOverride2.xml"/></Relationships>
</file>

<file path=ppt/slideLayouts/_rels/slideLayout110.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68.xml"/><Relationship Id="rId1" Type="http://schemas.openxmlformats.org/officeDocument/2006/relationships/vmlDrawing" Target="../drawings/vmlDrawing42.vml"/><Relationship Id="rId5" Type="http://schemas.openxmlformats.org/officeDocument/2006/relationships/image" Target="../media/image5.emf"/><Relationship Id="rId4" Type="http://schemas.openxmlformats.org/officeDocument/2006/relationships/oleObject" Target="../embeddings/oleObject42.bin"/></Relationships>
</file>

<file path=ppt/slideLayouts/_rels/slideLayout111.xml.rels><?xml version="1.0" encoding="UTF-8" standalone="yes"?>
<Relationships xmlns="http://schemas.openxmlformats.org/package/2006/relationships"><Relationship Id="rId3" Type="http://schemas.openxmlformats.org/officeDocument/2006/relationships/tags" Target="../tags/tag70.xml"/><Relationship Id="rId7" Type="http://schemas.openxmlformats.org/officeDocument/2006/relationships/image" Target="../media/image13.png"/><Relationship Id="rId2" Type="http://schemas.openxmlformats.org/officeDocument/2006/relationships/tags" Target="../tags/tag69.xml"/><Relationship Id="rId1" Type="http://schemas.openxmlformats.org/officeDocument/2006/relationships/vmlDrawing" Target="../drawings/vmlDrawing43.vml"/><Relationship Id="rId6" Type="http://schemas.openxmlformats.org/officeDocument/2006/relationships/image" Target="../media/image5.emf"/><Relationship Id="rId5" Type="http://schemas.openxmlformats.org/officeDocument/2006/relationships/oleObject" Target="../embeddings/oleObject43.bin"/><Relationship Id="rId4" Type="http://schemas.openxmlformats.org/officeDocument/2006/relationships/slideMaster" Target="../slideMasters/slideMaster10.xml"/></Relationships>
</file>

<file path=ppt/slideLayouts/_rels/slideLayout112.xml.rels><?xml version="1.0" encoding="UTF-8" standalone="yes"?>
<Relationships xmlns="http://schemas.openxmlformats.org/package/2006/relationships"><Relationship Id="rId3" Type="http://schemas.openxmlformats.org/officeDocument/2006/relationships/tags" Target="../tags/tag72.xml"/><Relationship Id="rId7" Type="http://schemas.openxmlformats.org/officeDocument/2006/relationships/image" Target="../media/image13.png"/><Relationship Id="rId2" Type="http://schemas.openxmlformats.org/officeDocument/2006/relationships/tags" Target="../tags/tag71.xml"/><Relationship Id="rId1" Type="http://schemas.openxmlformats.org/officeDocument/2006/relationships/vmlDrawing" Target="../drawings/vmlDrawing44.vml"/><Relationship Id="rId6" Type="http://schemas.openxmlformats.org/officeDocument/2006/relationships/image" Target="../media/image5.emf"/><Relationship Id="rId5" Type="http://schemas.openxmlformats.org/officeDocument/2006/relationships/oleObject" Target="../embeddings/oleObject44.bin"/><Relationship Id="rId4" Type="http://schemas.openxmlformats.org/officeDocument/2006/relationships/slideMaster" Target="../slideMasters/slideMaster10.xml"/></Relationships>
</file>

<file path=ppt/slideLayouts/_rels/slideLayout113.xml.rels><?xml version="1.0" encoding="UTF-8" standalone="yes"?>
<Relationships xmlns="http://schemas.openxmlformats.org/package/2006/relationships"><Relationship Id="rId3" Type="http://schemas.openxmlformats.org/officeDocument/2006/relationships/tags" Target="../tags/tag74.xml"/><Relationship Id="rId7" Type="http://schemas.openxmlformats.org/officeDocument/2006/relationships/image" Target="../media/image13.png"/><Relationship Id="rId2" Type="http://schemas.openxmlformats.org/officeDocument/2006/relationships/tags" Target="../tags/tag73.xml"/><Relationship Id="rId1" Type="http://schemas.openxmlformats.org/officeDocument/2006/relationships/vmlDrawing" Target="../drawings/vmlDrawing45.vml"/><Relationship Id="rId6" Type="http://schemas.openxmlformats.org/officeDocument/2006/relationships/image" Target="../media/image5.emf"/><Relationship Id="rId5" Type="http://schemas.openxmlformats.org/officeDocument/2006/relationships/oleObject" Target="../embeddings/oleObject45.bin"/><Relationship Id="rId4" Type="http://schemas.openxmlformats.org/officeDocument/2006/relationships/slideMaster" Target="../slideMasters/slideMaster10.xml"/></Relationships>
</file>

<file path=ppt/slideLayouts/_rels/slideLayout114.xml.rels><?xml version="1.0" encoding="UTF-8" standalone="yes"?>
<Relationships xmlns="http://schemas.openxmlformats.org/package/2006/relationships"><Relationship Id="rId3" Type="http://schemas.openxmlformats.org/officeDocument/2006/relationships/tags" Target="../tags/tag76.xml"/><Relationship Id="rId7" Type="http://schemas.openxmlformats.org/officeDocument/2006/relationships/image" Target="../media/image13.png"/><Relationship Id="rId2" Type="http://schemas.openxmlformats.org/officeDocument/2006/relationships/tags" Target="../tags/tag75.xml"/><Relationship Id="rId1" Type="http://schemas.openxmlformats.org/officeDocument/2006/relationships/vmlDrawing" Target="../drawings/vmlDrawing46.vml"/><Relationship Id="rId6" Type="http://schemas.openxmlformats.org/officeDocument/2006/relationships/image" Target="../media/image5.emf"/><Relationship Id="rId5" Type="http://schemas.openxmlformats.org/officeDocument/2006/relationships/oleObject" Target="../embeddings/oleObject46.bin"/><Relationship Id="rId4" Type="http://schemas.openxmlformats.org/officeDocument/2006/relationships/slideMaster" Target="../slideMasters/slideMaster10.xml"/></Relationships>
</file>

<file path=ppt/slideLayouts/_rels/slideLayout115.xml.rels><?xml version="1.0" encoding="UTF-8" standalone="yes"?>
<Relationships xmlns="http://schemas.openxmlformats.org/package/2006/relationships"><Relationship Id="rId3" Type="http://schemas.openxmlformats.org/officeDocument/2006/relationships/tags" Target="../tags/tag78.xml"/><Relationship Id="rId7" Type="http://schemas.openxmlformats.org/officeDocument/2006/relationships/image" Target="../media/image13.png"/><Relationship Id="rId2" Type="http://schemas.openxmlformats.org/officeDocument/2006/relationships/tags" Target="../tags/tag77.xml"/><Relationship Id="rId1" Type="http://schemas.openxmlformats.org/officeDocument/2006/relationships/vmlDrawing" Target="../drawings/vmlDrawing47.vml"/><Relationship Id="rId6" Type="http://schemas.openxmlformats.org/officeDocument/2006/relationships/image" Target="../media/image5.emf"/><Relationship Id="rId5" Type="http://schemas.openxmlformats.org/officeDocument/2006/relationships/oleObject" Target="../embeddings/oleObject47.bin"/><Relationship Id="rId4" Type="http://schemas.openxmlformats.org/officeDocument/2006/relationships/slideMaster" Target="../slideMasters/slideMaster10.xml"/></Relationships>
</file>

<file path=ppt/slideLayouts/_rels/slideLayout116.xml.rels><?xml version="1.0" encoding="UTF-8" standalone="yes"?>
<Relationships xmlns="http://schemas.openxmlformats.org/package/2006/relationships"><Relationship Id="rId3" Type="http://schemas.openxmlformats.org/officeDocument/2006/relationships/tags" Target="../tags/tag80.xml"/><Relationship Id="rId7" Type="http://schemas.openxmlformats.org/officeDocument/2006/relationships/image" Target="../media/image13.png"/><Relationship Id="rId2" Type="http://schemas.openxmlformats.org/officeDocument/2006/relationships/tags" Target="../tags/tag79.xml"/><Relationship Id="rId1" Type="http://schemas.openxmlformats.org/officeDocument/2006/relationships/vmlDrawing" Target="../drawings/vmlDrawing48.vml"/><Relationship Id="rId6" Type="http://schemas.openxmlformats.org/officeDocument/2006/relationships/image" Target="../media/image5.emf"/><Relationship Id="rId5" Type="http://schemas.openxmlformats.org/officeDocument/2006/relationships/oleObject" Target="../embeddings/oleObject48.bin"/><Relationship Id="rId4" Type="http://schemas.openxmlformats.org/officeDocument/2006/relationships/slideMaster" Target="../slideMasters/slideMaster10.xml"/></Relationships>
</file>

<file path=ppt/slideLayouts/_rels/slideLayout117.xml.rels><?xml version="1.0" encoding="UTF-8" standalone="yes"?>
<Relationships xmlns="http://schemas.openxmlformats.org/package/2006/relationships"><Relationship Id="rId3" Type="http://schemas.openxmlformats.org/officeDocument/2006/relationships/tags" Target="../tags/tag82.xml"/><Relationship Id="rId7" Type="http://schemas.openxmlformats.org/officeDocument/2006/relationships/image" Target="../media/image14.png"/><Relationship Id="rId2" Type="http://schemas.openxmlformats.org/officeDocument/2006/relationships/tags" Target="../tags/tag81.xml"/><Relationship Id="rId1" Type="http://schemas.openxmlformats.org/officeDocument/2006/relationships/vmlDrawing" Target="../drawings/vmlDrawing49.vml"/><Relationship Id="rId6" Type="http://schemas.openxmlformats.org/officeDocument/2006/relationships/image" Target="../media/image5.emf"/><Relationship Id="rId5" Type="http://schemas.openxmlformats.org/officeDocument/2006/relationships/oleObject" Target="../embeddings/oleObject49.bin"/><Relationship Id="rId4" Type="http://schemas.openxmlformats.org/officeDocument/2006/relationships/slideMaster" Target="../slideMasters/slideMaster10.xml"/></Relationships>
</file>

<file path=ppt/slideLayouts/_rels/slideLayout118.xml.rels><?xml version="1.0" encoding="UTF-8" standalone="yes"?>
<Relationships xmlns="http://schemas.openxmlformats.org/package/2006/relationships"><Relationship Id="rId3" Type="http://schemas.openxmlformats.org/officeDocument/2006/relationships/tags" Target="../tags/tag84.xml"/><Relationship Id="rId7" Type="http://schemas.openxmlformats.org/officeDocument/2006/relationships/image" Target="../media/image15.png"/><Relationship Id="rId2" Type="http://schemas.openxmlformats.org/officeDocument/2006/relationships/tags" Target="../tags/tag83.xml"/><Relationship Id="rId1" Type="http://schemas.openxmlformats.org/officeDocument/2006/relationships/vmlDrawing" Target="../drawings/vmlDrawing50.vml"/><Relationship Id="rId6" Type="http://schemas.openxmlformats.org/officeDocument/2006/relationships/image" Target="../media/image5.emf"/><Relationship Id="rId5" Type="http://schemas.openxmlformats.org/officeDocument/2006/relationships/oleObject" Target="../embeddings/oleObject50.bin"/><Relationship Id="rId4" Type="http://schemas.openxmlformats.org/officeDocument/2006/relationships/slideMaster" Target="../slideMasters/slideMaster10.xml"/></Relationships>
</file>

<file path=ppt/slideLayouts/_rels/slideLayout119.xml.rels><?xml version="1.0" encoding="UTF-8" standalone="yes"?>
<Relationships xmlns="http://schemas.openxmlformats.org/package/2006/relationships"><Relationship Id="rId3" Type="http://schemas.openxmlformats.org/officeDocument/2006/relationships/tags" Target="../tags/tag86.xml"/><Relationship Id="rId7" Type="http://schemas.openxmlformats.org/officeDocument/2006/relationships/image" Target="../media/image16.png"/><Relationship Id="rId2" Type="http://schemas.openxmlformats.org/officeDocument/2006/relationships/tags" Target="../tags/tag85.xml"/><Relationship Id="rId1" Type="http://schemas.openxmlformats.org/officeDocument/2006/relationships/vmlDrawing" Target="../drawings/vmlDrawing51.vml"/><Relationship Id="rId6" Type="http://schemas.openxmlformats.org/officeDocument/2006/relationships/image" Target="../media/image5.emf"/><Relationship Id="rId5" Type="http://schemas.openxmlformats.org/officeDocument/2006/relationships/oleObject" Target="../embeddings/oleObject51.bin"/><Relationship Id="rId4" Type="http://schemas.openxmlformats.org/officeDocument/2006/relationships/slideMaster" Target="../slideMasters/slideMaster10.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0.xml.rels><?xml version="1.0" encoding="UTF-8" standalone="yes"?>
<Relationships xmlns="http://schemas.openxmlformats.org/package/2006/relationships"><Relationship Id="rId3" Type="http://schemas.openxmlformats.org/officeDocument/2006/relationships/tags" Target="../tags/tag88.xml"/><Relationship Id="rId7" Type="http://schemas.openxmlformats.org/officeDocument/2006/relationships/image" Target="../media/image15.png"/><Relationship Id="rId2" Type="http://schemas.openxmlformats.org/officeDocument/2006/relationships/tags" Target="../tags/tag87.xml"/><Relationship Id="rId1" Type="http://schemas.openxmlformats.org/officeDocument/2006/relationships/vmlDrawing" Target="../drawings/vmlDrawing52.vml"/><Relationship Id="rId6" Type="http://schemas.openxmlformats.org/officeDocument/2006/relationships/image" Target="../media/image5.emf"/><Relationship Id="rId5" Type="http://schemas.openxmlformats.org/officeDocument/2006/relationships/oleObject" Target="../embeddings/oleObject52.bin"/><Relationship Id="rId4" Type="http://schemas.openxmlformats.org/officeDocument/2006/relationships/slideMaster" Target="../slideMasters/slideMaster10.xml"/></Relationships>
</file>

<file path=ppt/slideLayouts/_rels/slideLayout121.xml.rels><?xml version="1.0" encoding="UTF-8" standalone="yes"?>
<Relationships xmlns="http://schemas.openxmlformats.org/package/2006/relationships"><Relationship Id="rId3" Type="http://schemas.openxmlformats.org/officeDocument/2006/relationships/tags" Target="../tags/tag90.xml"/><Relationship Id="rId7" Type="http://schemas.openxmlformats.org/officeDocument/2006/relationships/image" Target="../media/image14.png"/><Relationship Id="rId2" Type="http://schemas.openxmlformats.org/officeDocument/2006/relationships/tags" Target="../tags/tag89.xml"/><Relationship Id="rId1" Type="http://schemas.openxmlformats.org/officeDocument/2006/relationships/vmlDrawing" Target="../drawings/vmlDrawing53.vml"/><Relationship Id="rId6" Type="http://schemas.openxmlformats.org/officeDocument/2006/relationships/image" Target="../media/image5.emf"/><Relationship Id="rId5" Type="http://schemas.openxmlformats.org/officeDocument/2006/relationships/oleObject" Target="../embeddings/oleObject53.bin"/><Relationship Id="rId4" Type="http://schemas.openxmlformats.org/officeDocument/2006/relationships/slideMaster" Target="../slideMasters/slideMaster10.xml"/></Relationships>
</file>

<file path=ppt/slideLayouts/_rels/slideLayout122.xml.rels><?xml version="1.0" encoding="UTF-8" standalone="yes"?>
<Relationships xmlns="http://schemas.openxmlformats.org/package/2006/relationships"><Relationship Id="rId3" Type="http://schemas.openxmlformats.org/officeDocument/2006/relationships/tags" Target="../tags/tag92.xml"/><Relationship Id="rId7" Type="http://schemas.openxmlformats.org/officeDocument/2006/relationships/image" Target="../media/image15.png"/><Relationship Id="rId2" Type="http://schemas.openxmlformats.org/officeDocument/2006/relationships/tags" Target="../tags/tag91.xml"/><Relationship Id="rId1" Type="http://schemas.openxmlformats.org/officeDocument/2006/relationships/vmlDrawing" Target="../drawings/vmlDrawing54.vml"/><Relationship Id="rId6" Type="http://schemas.openxmlformats.org/officeDocument/2006/relationships/image" Target="../media/image5.emf"/><Relationship Id="rId5" Type="http://schemas.openxmlformats.org/officeDocument/2006/relationships/oleObject" Target="../embeddings/oleObject54.bin"/><Relationship Id="rId4" Type="http://schemas.openxmlformats.org/officeDocument/2006/relationships/slideMaster" Target="../slideMasters/slideMaster10.xml"/></Relationships>
</file>

<file path=ppt/slideLayouts/_rels/slideLayout123.xml.rels><?xml version="1.0" encoding="UTF-8" standalone="yes"?>
<Relationships xmlns="http://schemas.openxmlformats.org/package/2006/relationships"><Relationship Id="rId3" Type="http://schemas.openxmlformats.org/officeDocument/2006/relationships/tags" Target="../tags/tag94.xml"/><Relationship Id="rId7" Type="http://schemas.openxmlformats.org/officeDocument/2006/relationships/image" Target="../media/image14.png"/><Relationship Id="rId2" Type="http://schemas.openxmlformats.org/officeDocument/2006/relationships/tags" Target="../tags/tag93.xml"/><Relationship Id="rId1" Type="http://schemas.openxmlformats.org/officeDocument/2006/relationships/vmlDrawing" Target="../drawings/vmlDrawing55.vml"/><Relationship Id="rId6" Type="http://schemas.openxmlformats.org/officeDocument/2006/relationships/image" Target="../media/image5.emf"/><Relationship Id="rId5" Type="http://schemas.openxmlformats.org/officeDocument/2006/relationships/oleObject" Target="../embeddings/oleObject55.bin"/><Relationship Id="rId4" Type="http://schemas.openxmlformats.org/officeDocument/2006/relationships/slideMaster" Target="../slideMasters/slideMaster10.xml"/></Relationships>
</file>

<file path=ppt/slideLayouts/_rels/slideLayout124.xml.rels><?xml version="1.0" encoding="UTF-8" standalone="yes"?>
<Relationships xmlns="http://schemas.openxmlformats.org/package/2006/relationships"><Relationship Id="rId3" Type="http://schemas.openxmlformats.org/officeDocument/2006/relationships/tags" Target="../tags/tag96.xml"/><Relationship Id="rId7" Type="http://schemas.openxmlformats.org/officeDocument/2006/relationships/image" Target="../media/image15.png"/><Relationship Id="rId2" Type="http://schemas.openxmlformats.org/officeDocument/2006/relationships/tags" Target="../tags/tag95.xml"/><Relationship Id="rId1" Type="http://schemas.openxmlformats.org/officeDocument/2006/relationships/vmlDrawing" Target="../drawings/vmlDrawing56.vml"/><Relationship Id="rId6" Type="http://schemas.openxmlformats.org/officeDocument/2006/relationships/image" Target="../media/image5.emf"/><Relationship Id="rId5" Type="http://schemas.openxmlformats.org/officeDocument/2006/relationships/oleObject" Target="../embeddings/oleObject56.bin"/><Relationship Id="rId4" Type="http://schemas.openxmlformats.org/officeDocument/2006/relationships/slideMaster" Target="../slideMasters/slideMaster10.xml"/></Relationships>
</file>

<file path=ppt/slideLayouts/_rels/slideLayout125.xml.rels><?xml version="1.0" encoding="UTF-8" standalone="yes"?>
<Relationships xmlns="http://schemas.openxmlformats.org/package/2006/relationships"><Relationship Id="rId3" Type="http://schemas.openxmlformats.org/officeDocument/2006/relationships/tags" Target="../tags/tag98.xml"/><Relationship Id="rId2" Type="http://schemas.openxmlformats.org/officeDocument/2006/relationships/tags" Target="../tags/tag97.xml"/><Relationship Id="rId1" Type="http://schemas.openxmlformats.org/officeDocument/2006/relationships/vmlDrawing" Target="../drawings/vmlDrawing57.vml"/><Relationship Id="rId6" Type="http://schemas.openxmlformats.org/officeDocument/2006/relationships/image" Target="../media/image5.emf"/><Relationship Id="rId5" Type="http://schemas.openxmlformats.org/officeDocument/2006/relationships/oleObject" Target="../embeddings/oleObject57.bin"/><Relationship Id="rId4" Type="http://schemas.openxmlformats.org/officeDocument/2006/relationships/slideMaster" Target="../slideMasters/slideMaster10.xml"/></Relationships>
</file>

<file path=ppt/slideLayouts/_rels/slideLayout126.xml.rels><?xml version="1.0" encoding="UTF-8" standalone="yes"?>
<Relationships xmlns="http://schemas.openxmlformats.org/package/2006/relationships"><Relationship Id="rId3" Type="http://schemas.openxmlformats.org/officeDocument/2006/relationships/tags" Target="../tags/tag100.xml"/><Relationship Id="rId2" Type="http://schemas.openxmlformats.org/officeDocument/2006/relationships/tags" Target="../tags/tag99.xml"/><Relationship Id="rId1" Type="http://schemas.openxmlformats.org/officeDocument/2006/relationships/vmlDrawing" Target="../drawings/vmlDrawing58.vml"/><Relationship Id="rId6" Type="http://schemas.openxmlformats.org/officeDocument/2006/relationships/image" Target="../media/image5.emf"/><Relationship Id="rId5" Type="http://schemas.openxmlformats.org/officeDocument/2006/relationships/oleObject" Target="../embeddings/oleObject58.bin"/><Relationship Id="rId4" Type="http://schemas.openxmlformats.org/officeDocument/2006/relationships/slideMaster" Target="../slideMasters/slideMaster10.xml"/></Relationships>
</file>

<file path=ppt/slideLayouts/_rels/slideLayout127.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101.xml"/><Relationship Id="rId1" Type="http://schemas.openxmlformats.org/officeDocument/2006/relationships/vmlDrawing" Target="../drawings/vmlDrawing59.vml"/><Relationship Id="rId6" Type="http://schemas.openxmlformats.org/officeDocument/2006/relationships/image" Target="../media/image13.png"/><Relationship Id="rId5" Type="http://schemas.openxmlformats.org/officeDocument/2006/relationships/image" Target="../media/image5.emf"/><Relationship Id="rId4" Type="http://schemas.openxmlformats.org/officeDocument/2006/relationships/oleObject" Target="../embeddings/oleObject59.bin"/></Relationships>
</file>

<file path=ppt/slideLayouts/_rels/slideLayout128.xml.rels><?xml version="1.0" encoding="UTF-8" standalone="yes"?>
<Relationships xmlns="http://schemas.openxmlformats.org/package/2006/relationships"><Relationship Id="rId3" Type="http://schemas.openxmlformats.org/officeDocument/2006/relationships/tags" Target="../tags/tag103.xml"/><Relationship Id="rId2" Type="http://schemas.openxmlformats.org/officeDocument/2006/relationships/tags" Target="../tags/tag102.xml"/><Relationship Id="rId1" Type="http://schemas.openxmlformats.org/officeDocument/2006/relationships/vmlDrawing" Target="../drawings/vmlDrawing60.vml"/><Relationship Id="rId6" Type="http://schemas.openxmlformats.org/officeDocument/2006/relationships/image" Target="../media/image5.emf"/><Relationship Id="rId5" Type="http://schemas.openxmlformats.org/officeDocument/2006/relationships/oleObject" Target="../embeddings/oleObject60.bin"/><Relationship Id="rId4" Type="http://schemas.openxmlformats.org/officeDocument/2006/relationships/slideMaster" Target="../slideMasters/slideMaster10.xml"/></Relationships>
</file>

<file path=ppt/slideLayouts/_rels/slideLayout129.xml.rels><?xml version="1.0" encoding="UTF-8" standalone="yes"?>
<Relationships xmlns="http://schemas.openxmlformats.org/package/2006/relationships"><Relationship Id="rId3" Type="http://schemas.openxmlformats.org/officeDocument/2006/relationships/tags" Target="../tags/tag105.xml"/><Relationship Id="rId7" Type="http://schemas.openxmlformats.org/officeDocument/2006/relationships/image" Target="../media/image14.png"/><Relationship Id="rId2" Type="http://schemas.openxmlformats.org/officeDocument/2006/relationships/tags" Target="../tags/tag104.xml"/><Relationship Id="rId1" Type="http://schemas.openxmlformats.org/officeDocument/2006/relationships/vmlDrawing" Target="../drawings/vmlDrawing61.vml"/><Relationship Id="rId6" Type="http://schemas.openxmlformats.org/officeDocument/2006/relationships/image" Target="../media/image5.emf"/><Relationship Id="rId5" Type="http://schemas.openxmlformats.org/officeDocument/2006/relationships/oleObject" Target="../embeddings/oleObject61.bin"/><Relationship Id="rId4" Type="http://schemas.openxmlformats.org/officeDocument/2006/relationships/slideMaster" Target="../slideMasters/slideMaster10.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0.xml.rels><?xml version="1.0" encoding="UTF-8" standalone="yes"?>
<Relationships xmlns="http://schemas.openxmlformats.org/package/2006/relationships"><Relationship Id="rId3" Type="http://schemas.openxmlformats.org/officeDocument/2006/relationships/tags" Target="../tags/tag107.xml"/><Relationship Id="rId2" Type="http://schemas.openxmlformats.org/officeDocument/2006/relationships/tags" Target="../tags/tag106.xml"/><Relationship Id="rId1" Type="http://schemas.openxmlformats.org/officeDocument/2006/relationships/vmlDrawing" Target="../drawings/vmlDrawing62.vml"/><Relationship Id="rId6" Type="http://schemas.openxmlformats.org/officeDocument/2006/relationships/image" Target="../media/image5.emf"/><Relationship Id="rId5" Type="http://schemas.openxmlformats.org/officeDocument/2006/relationships/oleObject" Target="../embeddings/oleObject62.bin"/><Relationship Id="rId4" Type="http://schemas.openxmlformats.org/officeDocument/2006/relationships/slideMaster" Target="../slideMasters/slideMaster10.xml"/></Relationships>
</file>

<file path=ppt/slideLayouts/_rels/slideLayout131.xml.rels><?xml version="1.0" encoding="UTF-8" standalone="yes"?>
<Relationships xmlns="http://schemas.openxmlformats.org/package/2006/relationships"><Relationship Id="rId3" Type="http://schemas.openxmlformats.org/officeDocument/2006/relationships/tags" Target="../tags/tag109.xml"/><Relationship Id="rId2" Type="http://schemas.openxmlformats.org/officeDocument/2006/relationships/tags" Target="../tags/tag108.xml"/><Relationship Id="rId1" Type="http://schemas.openxmlformats.org/officeDocument/2006/relationships/vmlDrawing" Target="../drawings/vmlDrawing63.vml"/><Relationship Id="rId6" Type="http://schemas.openxmlformats.org/officeDocument/2006/relationships/image" Target="../media/image5.emf"/><Relationship Id="rId5" Type="http://schemas.openxmlformats.org/officeDocument/2006/relationships/oleObject" Target="../embeddings/oleObject63.bin"/><Relationship Id="rId4" Type="http://schemas.openxmlformats.org/officeDocument/2006/relationships/slideMaster" Target="../slideMasters/slideMaster10.xml"/></Relationships>
</file>

<file path=ppt/slideLayouts/_rels/slideLayout132.xml.rels><?xml version="1.0" encoding="UTF-8" standalone="yes"?>
<Relationships xmlns="http://schemas.openxmlformats.org/package/2006/relationships"><Relationship Id="rId3" Type="http://schemas.openxmlformats.org/officeDocument/2006/relationships/tags" Target="../tags/tag111.xml"/><Relationship Id="rId2" Type="http://schemas.openxmlformats.org/officeDocument/2006/relationships/tags" Target="../tags/tag110.xml"/><Relationship Id="rId1" Type="http://schemas.openxmlformats.org/officeDocument/2006/relationships/vmlDrawing" Target="../drawings/vmlDrawing64.vml"/><Relationship Id="rId6" Type="http://schemas.openxmlformats.org/officeDocument/2006/relationships/image" Target="../media/image5.emf"/><Relationship Id="rId5" Type="http://schemas.openxmlformats.org/officeDocument/2006/relationships/oleObject" Target="../embeddings/oleObject64.bin"/><Relationship Id="rId4" Type="http://schemas.openxmlformats.org/officeDocument/2006/relationships/slideMaster" Target="../slideMasters/slideMaster10.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35.xml.rels><?xml version="1.0" encoding="UTF-8" standalone="yes"?>
<Relationships xmlns="http://schemas.openxmlformats.org/package/2006/relationships"><Relationship Id="rId3" Type="http://schemas.openxmlformats.org/officeDocument/2006/relationships/slideMaster" Target="../slideMasters/slideMaster11.xml"/><Relationship Id="rId7" Type="http://schemas.openxmlformats.org/officeDocument/2006/relationships/image" Target="../media/image9.jpeg"/><Relationship Id="rId2" Type="http://schemas.openxmlformats.org/officeDocument/2006/relationships/tags" Target="../tags/tag113.xml"/><Relationship Id="rId1" Type="http://schemas.openxmlformats.org/officeDocument/2006/relationships/vmlDrawing" Target="../drawings/vmlDrawing66.vml"/><Relationship Id="rId6" Type="http://schemas.openxmlformats.org/officeDocument/2006/relationships/image" Target="../media/image8.jpeg"/><Relationship Id="rId5" Type="http://schemas.openxmlformats.org/officeDocument/2006/relationships/image" Target="../media/image5.emf"/><Relationship Id="rId4" Type="http://schemas.openxmlformats.org/officeDocument/2006/relationships/oleObject" Target="../embeddings/oleObject66.bin"/></Relationships>
</file>

<file path=ppt/slideLayouts/_rels/slideLayout136.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14.xml"/><Relationship Id="rId1" Type="http://schemas.openxmlformats.org/officeDocument/2006/relationships/vmlDrawing" Target="../drawings/vmlDrawing67.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67.bin"/></Relationships>
</file>

<file path=ppt/slideLayouts/_rels/slideLayout137.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15.xml"/><Relationship Id="rId1" Type="http://schemas.openxmlformats.org/officeDocument/2006/relationships/vmlDrawing" Target="../drawings/vmlDrawing68.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68.bin"/></Relationships>
</file>

<file path=ppt/slideLayouts/_rels/slideLayout138.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16.xml"/><Relationship Id="rId1" Type="http://schemas.openxmlformats.org/officeDocument/2006/relationships/vmlDrawing" Target="../drawings/vmlDrawing69.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69.bin"/></Relationships>
</file>

<file path=ppt/slideLayouts/_rels/slideLayout139.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17.xml"/><Relationship Id="rId1" Type="http://schemas.openxmlformats.org/officeDocument/2006/relationships/vmlDrawing" Target="../drawings/vmlDrawing70.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70.bin"/></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3.xml"/><Relationship Id="rId1" Type="http://schemas.openxmlformats.org/officeDocument/2006/relationships/themeOverride" Target="../theme/themeOverride3.xml"/></Relationships>
</file>

<file path=ppt/slideLayouts/_rels/slideLayout140.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18.xml"/><Relationship Id="rId1" Type="http://schemas.openxmlformats.org/officeDocument/2006/relationships/vmlDrawing" Target="../drawings/vmlDrawing71.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71.bin"/></Relationships>
</file>

<file path=ppt/slideLayouts/_rels/slideLayout141.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19.xml"/><Relationship Id="rId1" Type="http://schemas.openxmlformats.org/officeDocument/2006/relationships/vmlDrawing" Target="../drawings/vmlDrawing72.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72.bin"/></Relationships>
</file>

<file path=ppt/slideLayouts/_rels/slideLayout142.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20.xml"/><Relationship Id="rId1" Type="http://schemas.openxmlformats.org/officeDocument/2006/relationships/vmlDrawing" Target="../drawings/vmlDrawing73.vml"/><Relationship Id="rId5" Type="http://schemas.openxmlformats.org/officeDocument/2006/relationships/image" Target="../media/image5.emf"/><Relationship Id="rId4" Type="http://schemas.openxmlformats.org/officeDocument/2006/relationships/oleObject" Target="../embeddings/oleObject73.bin"/></Relationships>
</file>

<file path=ppt/slideLayouts/_rels/slideLayout143.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21.xml"/><Relationship Id="rId1" Type="http://schemas.openxmlformats.org/officeDocument/2006/relationships/vmlDrawing" Target="../drawings/vmlDrawing74.vml"/><Relationship Id="rId5" Type="http://schemas.openxmlformats.org/officeDocument/2006/relationships/image" Target="../media/image5.emf"/><Relationship Id="rId4" Type="http://schemas.openxmlformats.org/officeDocument/2006/relationships/oleObject" Target="../embeddings/oleObject74.bin"/></Relationships>
</file>

<file path=ppt/slideLayouts/_rels/slideLayout144.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22.xml"/><Relationship Id="rId1" Type="http://schemas.openxmlformats.org/officeDocument/2006/relationships/vmlDrawing" Target="../drawings/vmlDrawing75.vml"/><Relationship Id="rId5" Type="http://schemas.openxmlformats.org/officeDocument/2006/relationships/image" Target="../media/image5.emf"/><Relationship Id="rId4" Type="http://schemas.openxmlformats.org/officeDocument/2006/relationships/oleObject" Target="../embeddings/oleObject75.bin"/></Relationships>
</file>

<file path=ppt/slideLayouts/_rels/slideLayout145.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23.xml"/><Relationship Id="rId1" Type="http://schemas.openxmlformats.org/officeDocument/2006/relationships/vmlDrawing" Target="../drawings/vmlDrawing76.vml"/><Relationship Id="rId5" Type="http://schemas.openxmlformats.org/officeDocument/2006/relationships/image" Target="../media/image5.emf"/><Relationship Id="rId4" Type="http://schemas.openxmlformats.org/officeDocument/2006/relationships/oleObject" Target="../embeddings/oleObject76.bin"/></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47.xml.rels><?xml version="1.0" encoding="UTF-8" standalone="yes"?>
<Relationships xmlns="http://schemas.openxmlformats.org/package/2006/relationships"><Relationship Id="rId3" Type="http://schemas.openxmlformats.org/officeDocument/2006/relationships/slideMaster" Target="../slideMasters/slideMaster12.xml"/><Relationship Id="rId7" Type="http://schemas.openxmlformats.org/officeDocument/2006/relationships/image" Target="../media/image9.jpeg"/><Relationship Id="rId2" Type="http://schemas.openxmlformats.org/officeDocument/2006/relationships/tags" Target="../tags/tag126.xml"/><Relationship Id="rId1" Type="http://schemas.openxmlformats.org/officeDocument/2006/relationships/vmlDrawing" Target="../drawings/vmlDrawing78.vml"/><Relationship Id="rId6" Type="http://schemas.openxmlformats.org/officeDocument/2006/relationships/image" Target="../media/image8.jpeg"/><Relationship Id="rId5" Type="http://schemas.openxmlformats.org/officeDocument/2006/relationships/image" Target="../media/image5.emf"/><Relationship Id="rId4" Type="http://schemas.openxmlformats.org/officeDocument/2006/relationships/oleObject" Target="../embeddings/oleObject78.bin"/></Relationships>
</file>

<file path=ppt/slideLayouts/_rels/slideLayout148.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127.xml"/><Relationship Id="rId1" Type="http://schemas.openxmlformats.org/officeDocument/2006/relationships/vmlDrawing" Target="../drawings/vmlDrawing79.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79.bin"/></Relationships>
</file>

<file path=ppt/slideLayouts/_rels/slideLayout149.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128.xml"/><Relationship Id="rId1" Type="http://schemas.openxmlformats.org/officeDocument/2006/relationships/vmlDrawing" Target="../drawings/vmlDrawing80.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80.bin"/></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slideMaster" Target="../slideMasters/slideMaster4.xml"/><Relationship Id="rId1" Type="http://schemas.openxmlformats.org/officeDocument/2006/relationships/themeOverride" Target="../theme/themeOverride4.xml"/></Relationships>
</file>

<file path=ppt/slideLayouts/_rels/slideLayout150.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129.xml"/><Relationship Id="rId1" Type="http://schemas.openxmlformats.org/officeDocument/2006/relationships/vmlDrawing" Target="../drawings/vmlDrawing81.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81.bin"/></Relationships>
</file>

<file path=ppt/slideLayouts/_rels/slideLayout151.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130.xml"/><Relationship Id="rId1" Type="http://schemas.openxmlformats.org/officeDocument/2006/relationships/vmlDrawing" Target="../drawings/vmlDrawing82.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82.bin"/></Relationships>
</file>

<file path=ppt/slideLayouts/_rels/slideLayout152.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131.xml"/><Relationship Id="rId1" Type="http://schemas.openxmlformats.org/officeDocument/2006/relationships/vmlDrawing" Target="../drawings/vmlDrawing83.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83.bin"/></Relationships>
</file>

<file path=ppt/slideLayouts/_rels/slideLayout153.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132.xml"/><Relationship Id="rId1" Type="http://schemas.openxmlformats.org/officeDocument/2006/relationships/vmlDrawing" Target="../drawings/vmlDrawing84.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84.bin"/></Relationships>
</file>

<file path=ppt/slideLayouts/_rels/slideLayout154.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133.xml"/><Relationship Id="rId1" Type="http://schemas.openxmlformats.org/officeDocument/2006/relationships/vmlDrawing" Target="../drawings/vmlDrawing85.vml"/><Relationship Id="rId5" Type="http://schemas.openxmlformats.org/officeDocument/2006/relationships/image" Target="../media/image5.emf"/><Relationship Id="rId4" Type="http://schemas.openxmlformats.org/officeDocument/2006/relationships/oleObject" Target="../embeddings/oleObject85.bin"/></Relationships>
</file>

<file path=ppt/slideLayouts/_rels/slideLayout155.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134.xml"/><Relationship Id="rId1" Type="http://schemas.openxmlformats.org/officeDocument/2006/relationships/vmlDrawing" Target="../drawings/vmlDrawing86.vml"/><Relationship Id="rId5" Type="http://schemas.openxmlformats.org/officeDocument/2006/relationships/image" Target="../media/image5.emf"/><Relationship Id="rId4" Type="http://schemas.openxmlformats.org/officeDocument/2006/relationships/oleObject" Target="../embeddings/oleObject86.bin"/></Relationships>
</file>

<file path=ppt/slideLayouts/_rels/slideLayout156.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135.xml"/><Relationship Id="rId1" Type="http://schemas.openxmlformats.org/officeDocument/2006/relationships/vmlDrawing" Target="../drawings/vmlDrawing87.vml"/><Relationship Id="rId5" Type="http://schemas.openxmlformats.org/officeDocument/2006/relationships/image" Target="../media/image5.emf"/><Relationship Id="rId4" Type="http://schemas.openxmlformats.org/officeDocument/2006/relationships/oleObject" Target="../embeddings/oleObject87.bin"/></Relationships>
</file>

<file path=ppt/slideLayouts/_rels/slideLayout157.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136.xml"/><Relationship Id="rId1" Type="http://schemas.openxmlformats.org/officeDocument/2006/relationships/vmlDrawing" Target="../drawings/vmlDrawing88.vml"/><Relationship Id="rId5" Type="http://schemas.openxmlformats.org/officeDocument/2006/relationships/image" Target="../media/image5.emf"/><Relationship Id="rId4" Type="http://schemas.openxmlformats.org/officeDocument/2006/relationships/oleObject" Target="../embeddings/oleObject88.bin"/></Relationships>
</file>

<file path=ppt/slideLayouts/_rels/slideLayout158.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137.xml"/><Relationship Id="rId1" Type="http://schemas.openxmlformats.org/officeDocument/2006/relationships/vmlDrawing" Target="../drawings/vmlDrawing89.vml"/><Relationship Id="rId5" Type="http://schemas.openxmlformats.org/officeDocument/2006/relationships/image" Target="../media/image17.emf"/><Relationship Id="rId4" Type="http://schemas.openxmlformats.org/officeDocument/2006/relationships/oleObject" Target="../embeddings/oleObject89.bin"/></Relationships>
</file>

<file path=ppt/slideLayouts/_rels/slideLayout159.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138.xml"/><Relationship Id="rId1" Type="http://schemas.openxmlformats.org/officeDocument/2006/relationships/vmlDrawing" Target="../drawings/vmlDrawing90.vml"/><Relationship Id="rId5" Type="http://schemas.openxmlformats.org/officeDocument/2006/relationships/image" Target="../media/image5.emf"/><Relationship Id="rId4" Type="http://schemas.openxmlformats.org/officeDocument/2006/relationships/oleObject" Target="../embeddings/oleObject90.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0.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12.xml"/></Relationships>
</file>

<file path=ppt/slideLayouts/_rels/slideLayout161.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slideMaster" Target="../slideMasters/slideMaster13.xml"/><Relationship Id="rId1" Type="http://schemas.openxmlformats.org/officeDocument/2006/relationships/themeOverride" Target="../theme/themeOverride9.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69.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slideMaster" Target="../slideMasters/slideMaster14.xml"/><Relationship Id="rId1" Type="http://schemas.openxmlformats.org/officeDocument/2006/relationships/themeOverride" Target="../theme/themeOverride10.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79.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slideMaster" Target="../slideMasters/slideMaster15.xml"/><Relationship Id="rId1" Type="http://schemas.openxmlformats.org/officeDocument/2006/relationships/themeOverride" Target="../theme/themeOverride1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emf"/><Relationship Id="rId1" Type="http://schemas.openxmlformats.org/officeDocument/2006/relationships/slideMaster" Target="../slideMasters/slideMaster4.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94.xml.rels><?xml version="1.0" encoding="UTF-8" standalone="yes"?>
<Relationships xmlns="http://schemas.openxmlformats.org/package/2006/relationships"><Relationship Id="rId3" Type="http://schemas.openxmlformats.org/officeDocument/2006/relationships/image" Target="../media/image12.jpg"/><Relationship Id="rId2" Type="http://schemas.openxmlformats.org/officeDocument/2006/relationships/image" Target="../media/image11.png"/><Relationship Id="rId1" Type="http://schemas.openxmlformats.org/officeDocument/2006/relationships/slideMaster" Target="../slideMasters/slideMaster15.xml"/></Relationships>
</file>

<file path=ppt/slideLayouts/_rels/slideLayout195.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139.xml"/><Relationship Id="rId1" Type="http://schemas.openxmlformats.org/officeDocument/2006/relationships/vmlDrawing" Target="../drawings/vmlDrawing91.vml"/><Relationship Id="rId5" Type="http://schemas.openxmlformats.org/officeDocument/2006/relationships/image" Target="../media/image5.emf"/><Relationship Id="rId4" Type="http://schemas.openxmlformats.org/officeDocument/2006/relationships/oleObject" Target="../embeddings/oleObject91.bin"/></Relationships>
</file>

<file path=ppt/slideLayouts/_rels/slideLayout196.xml.rels><?xml version="1.0" encoding="UTF-8" standalone="yes"?>
<Relationships xmlns="http://schemas.openxmlformats.org/package/2006/relationships"><Relationship Id="rId3" Type="http://schemas.openxmlformats.org/officeDocument/2006/relationships/slideMaster" Target="../slideMasters/slideMaster16.xml"/><Relationship Id="rId7" Type="http://schemas.openxmlformats.org/officeDocument/2006/relationships/image" Target="../media/image9.jpeg"/><Relationship Id="rId2" Type="http://schemas.openxmlformats.org/officeDocument/2006/relationships/tags" Target="../tags/tag142.xml"/><Relationship Id="rId1" Type="http://schemas.openxmlformats.org/officeDocument/2006/relationships/vmlDrawing" Target="../drawings/vmlDrawing93.vml"/><Relationship Id="rId6" Type="http://schemas.openxmlformats.org/officeDocument/2006/relationships/image" Target="../media/image8.jpeg"/><Relationship Id="rId5" Type="http://schemas.openxmlformats.org/officeDocument/2006/relationships/image" Target="../media/image5.emf"/><Relationship Id="rId4" Type="http://schemas.openxmlformats.org/officeDocument/2006/relationships/oleObject" Target="../embeddings/oleObject93.bin"/></Relationships>
</file>

<file path=ppt/slideLayouts/_rels/slideLayout197.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143.xml"/><Relationship Id="rId1" Type="http://schemas.openxmlformats.org/officeDocument/2006/relationships/vmlDrawing" Target="../drawings/vmlDrawing94.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94.bin"/></Relationships>
</file>

<file path=ppt/slideLayouts/_rels/slideLayout198.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144.xml"/><Relationship Id="rId1" Type="http://schemas.openxmlformats.org/officeDocument/2006/relationships/vmlDrawing" Target="../drawings/vmlDrawing95.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95.bin"/></Relationships>
</file>

<file path=ppt/slideLayouts/_rels/slideLayout199.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145.xml"/><Relationship Id="rId1" Type="http://schemas.openxmlformats.org/officeDocument/2006/relationships/vmlDrawing" Target="../drawings/vmlDrawing96.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96.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4.xml"/></Relationships>
</file>

<file path=ppt/slideLayouts/_rels/slideLayout200.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146.xml"/><Relationship Id="rId1" Type="http://schemas.openxmlformats.org/officeDocument/2006/relationships/vmlDrawing" Target="../drawings/vmlDrawing97.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97.bin"/></Relationships>
</file>

<file path=ppt/slideLayouts/_rels/slideLayout201.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147.xml"/><Relationship Id="rId1" Type="http://schemas.openxmlformats.org/officeDocument/2006/relationships/vmlDrawing" Target="../drawings/vmlDrawing98.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98.bin"/></Relationships>
</file>

<file path=ppt/slideLayouts/_rels/slideLayout202.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148.xml"/><Relationship Id="rId1" Type="http://schemas.openxmlformats.org/officeDocument/2006/relationships/vmlDrawing" Target="../drawings/vmlDrawing99.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99.bin"/></Relationships>
</file>

<file path=ppt/slideLayouts/_rels/slideLayout203.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149.xml"/><Relationship Id="rId1" Type="http://schemas.openxmlformats.org/officeDocument/2006/relationships/vmlDrawing" Target="../drawings/vmlDrawing100.vml"/><Relationship Id="rId5" Type="http://schemas.openxmlformats.org/officeDocument/2006/relationships/image" Target="../media/image5.emf"/><Relationship Id="rId4" Type="http://schemas.openxmlformats.org/officeDocument/2006/relationships/oleObject" Target="../embeddings/oleObject100.bin"/></Relationships>
</file>

<file path=ppt/slideLayouts/_rels/slideLayout204.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150.xml"/><Relationship Id="rId1" Type="http://schemas.openxmlformats.org/officeDocument/2006/relationships/vmlDrawing" Target="../drawings/vmlDrawing101.vml"/><Relationship Id="rId5" Type="http://schemas.openxmlformats.org/officeDocument/2006/relationships/image" Target="../media/image5.emf"/><Relationship Id="rId4" Type="http://schemas.openxmlformats.org/officeDocument/2006/relationships/oleObject" Target="../embeddings/oleObject101.bin"/></Relationships>
</file>

<file path=ppt/slideLayouts/_rels/slideLayout205.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151.xml"/><Relationship Id="rId1" Type="http://schemas.openxmlformats.org/officeDocument/2006/relationships/vmlDrawing" Target="../drawings/vmlDrawing102.vml"/><Relationship Id="rId5" Type="http://schemas.openxmlformats.org/officeDocument/2006/relationships/image" Target="../media/image5.emf"/><Relationship Id="rId4" Type="http://schemas.openxmlformats.org/officeDocument/2006/relationships/oleObject" Target="../embeddings/oleObject102.bin"/></Relationships>
</file>

<file path=ppt/slideLayouts/_rels/slideLayout206.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152.xml"/><Relationship Id="rId1" Type="http://schemas.openxmlformats.org/officeDocument/2006/relationships/vmlDrawing" Target="../drawings/vmlDrawing103.vml"/><Relationship Id="rId5" Type="http://schemas.openxmlformats.org/officeDocument/2006/relationships/image" Target="../media/image5.emf"/><Relationship Id="rId4" Type="http://schemas.openxmlformats.org/officeDocument/2006/relationships/oleObject" Target="../embeddings/oleObject103.bin"/></Relationships>
</file>

<file path=ppt/slideLayouts/_rels/slideLayout207.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tags" Target="../tags/tag154.xml"/><Relationship Id="rId7" Type="http://schemas.openxmlformats.org/officeDocument/2006/relationships/image" Target="../media/image21.jpeg"/><Relationship Id="rId2" Type="http://schemas.openxmlformats.org/officeDocument/2006/relationships/tags" Target="../tags/tag153.xml"/><Relationship Id="rId1" Type="http://schemas.openxmlformats.org/officeDocument/2006/relationships/vmlDrawing" Target="../drawings/vmlDrawing104.vml"/><Relationship Id="rId6" Type="http://schemas.openxmlformats.org/officeDocument/2006/relationships/image" Target="../media/image5.emf"/><Relationship Id="rId5" Type="http://schemas.openxmlformats.org/officeDocument/2006/relationships/oleObject" Target="../embeddings/oleObject104.bin"/><Relationship Id="rId4" Type="http://schemas.openxmlformats.org/officeDocument/2006/relationships/slideMaster" Target="../slideMasters/slideMaster16.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13.xml.rels><?xml version="1.0" encoding="UTF-8" standalone="yes"?>
<Relationships xmlns="http://schemas.openxmlformats.org/package/2006/relationships"><Relationship Id="rId3" Type="http://schemas.openxmlformats.org/officeDocument/2006/relationships/image" Target="../media/image22.jpg"/><Relationship Id="rId2" Type="http://schemas.openxmlformats.org/officeDocument/2006/relationships/image" Target="../media/image11.png"/><Relationship Id="rId1" Type="http://schemas.openxmlformats.org/officeDocument/2006/relationships/slideMaster" Target="../slideMasters/slideMaster16.xml"/></Relationships>
</file>

<file path=ppt/slideLayouts/_rels/slideLayout214.xml.rels><?xml version="1.0" encoding="UTF-8" standalone="yes"?>
<Relationships xmlns="http://schemas.openxmlformats.org/package/2006/relationships"><Relationship Id="rId3" Type="http://schemas.openxmlformats.org/officeDocument/2006/relationships/slideMaster" Target="../slideMasters/slideMaster17.xml"/><Relationship Id="rId7" Type="http://schemas.openxmlformats.org/officeDocument/2006/relationships/image" Target="../media/image9.jpeg"/><Relationship Id="rId2" Type="http://schemas.openxmlformats.org/officeDocument/2006/relationships/tags" Target="../tags/tag157.xml"/><Relationship Id="rId1" Type="http://schemas.openxmlformats.org/officeDocument/2006/relationships/vmlDrawing" Target="../drawings/vmlDrawing106.vml"/><Relationship Id="rId6" Type="http://schemas.openxmlformats.org/officeDocument/2006/relationships/image" Target="../media/image8.jpeg"/><Relationship Id="rId5" Type="http://schemas.openxmlformats.org/officeDocument/2006/relationships/image" Target="../media/image5.emf"/><Relationship Id="rId4" Type="http://schemas.openxmlformats.org/officeDocument/2006/relationships/oleObject" Target="../embeddings/oleObject106.bin"/></Relationships>
</file>

<file path=ppt/slideLayouts/_rels/slideLayout215.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158.xml"/><Relationship Id="rId1" Type="http://schemas.openxmlformats.org/officeDocument/2006/relationships/vmlDrawing" Target="../drawings/vmlDrawing107.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107.bin"/></Relationships>
</file>

<file path=ppt/slideLayouts/_rels/slideLayout216.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159.xml"/><Relationship Id="rId1" Type="http://schemas.openxmlformats.org/officeDocument/2006/relationships/vmlDrawing" Target="../drawings/vmlDrawing108.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108.bin"/></Relationships>
</file>

<file path=ppt/slideLayouts/_rels/slideLayout217.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160.xml"/><Relationship Id="rId1" Type="http://schemas.openxmlformats.org/officeDocument/2006/relationships/vmlDrawing" Target="../drawings/vmlDrawing109.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109.bin"/></Relationships>
</file>

<file path=ppt/slideLayouts/_rels/slideLayout218.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161.xml"/><Relationship Id="rId1" Type="http://schemas.openxmlformats.org/officeDocument/2006/relationships/vmlDrawing" Target="../drawings/vmlDrawing110.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110.bin"/></Relationships>
</file>

<file path=ppt/slideLayouts/_rels/slideLayout219.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162.xml"/><Relationship Id="rId1" Type="http://schemas.openxmlformats.org/officeDocument/2006/relationships/vmlDrawing" Target="../drawings/vmlDrawing111.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111.bin"/></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emf"/><Relationship Id="rId1" Type="http://schemas.openxmlformats.org/officeDocument/2006/relationships/slideMaster" Target="../slideMasters/slideMaster4.xml"/></Relationships>
</file>

<file path=ppt/slideLayouts/_rels/slideLayout220.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163.xml"/><Relationship Id="rId1" Type="http://schemas.openxmlformats.org/officeDocument/2006/relationships/vmlDrawing" Target="../drawings/vmlDrawing112.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112.bin"/></Relationships>
</file>

<file path=ppt/slideLayouts/_rels/slideLayout221.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164.xml"/><Relationship Id="rId1" Type="http://schemas.openxmlformats.org/officeDocument/2006/relationships/vmlDrawing" Target="../drawings/vmlDrawing113.vml"/><Relationship Id="rId5" Type="http://schemas.openxmlformats.org/officeDocument/2006/relationships/image" Target="../media/image5.emf"/><Relationship Id="rId4" Type="http://schemas.openxmlformats.org/officeDocument/2006/relationships/oleObject" Target="../embeddings/oleObject113.bin"/></Relationships>
</file>

<file path=ppt/slideLayouts/_rels/slideLayout222.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165.xml"/><Relationship Id="rId1" Type="http://schemas.openxmlformats.org/officeDocument/2006/relationships/vmlDrawing" Target="../drawings/vmlDrawing114.vml"/><Relationship Id="rId5" Type="http://schemas.openxmlformats.org/officeDocument/2006/relationships/image" Target="../media/image5.emf"/><Relationship Id="rId4" Type="http://schemas.openxmlformats.org/officeDocument/2006/relationships/oleObject" Target="../embeddings/oleObject114.bin"/></Relationships>
</file>

<file path=ppt/slideLayouts/_rels/slideLayout223.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166.xml"/><Relationship Id="rId1" Type="http://schemas.openxmlformats.org/officeDocument/2006/relationships/vmlDrawing" Target="../drawings/vmlDrawing115.vml"/><Relationship Id="rId5" Type="http://schemas.openxmlformats.org/officeDocument/2006/relationships/image" Target="../media/image5.emf"/><Relationship Id="rId4" Type="http://schemas.openxmlformats.org/officeDocument/2006/relationships/oleObject" Target="../embeddings/oleObject115.bin"/></Relationships>
</file>

<file path=ppt/slideLayouts/_rels/slideLayout224.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167.xml"/><Relationship Id="rId1" Type="http://schemas.openxmlformats.org/officeDocument/2006/relationships/vmlDrawing" Target="../drawings/vmlDrawing116.vml"/><Relationship Id="rId5" Type="http://schemas.openxmlformats.org/officeDocument/2006/relationships/image" Target="../media/image5.emf"/><Relationship Id="rId4" Type="http://schemas.openxmlformats.org/officeDocument/2006/relationships/oleObject" Target="../embeddings/oleObject116.bin"/></Relationships>
</file>

<file path=ppt/slideLayouts/_rels/slideLayout225.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168.xml"/><Relationship Id="rId1" Type="http://schemas.openxmlformats.org/officeDocument/2006/relationships/vmlDrawing" Target="../drawings/vmlDrawing117.vml"/><Relationship Id="rId5" Type="http://schemas.openxmlformats.org/officeDocument/2006/relationships/image" Target="../media/image17.emf"/><Relationship Id="rId4" Type="http://schemas.openxmlformats.org/officeDocument/2006/relationships/oleObject" Target="../embeddings/oleObject117.bin"/></Relationships>
</file>

<file path=ppt/slideLayouts/_rels/slideLayout226.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169.xml"/><Relationship Id="rId1" Type="http://schemas.openxmlformats.org/officeDocument/2006/relationships/vmlDrawing" Target="../drawings/vmlDrawing118.vml"/><Relationship Id="rId5" Type="http://schemas.openxmlformats.org/officeDocument/2006/relationships/image" Target="../media/image5.emf"/><Relationship Id="rId4" Type="http://schemas.openxmlformats.org/officeDocument/2006/relationships/oleObject" Target="../embeddings/oleObject118.bin"/></Relationships>
</file>

<file path=ppt/slideLayouts/_rels/slideLayout227.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17.xml"/></Relationships>
</file>

<file path=ppt/slideLayouts/_rels/slideLayout228.xml.rels><?xml version="1.0" encoding="UTF-8" standalone="yes"?>
<Relationships xmlns="http://schemas.openxmlformats.org/package/2006/relationships"><Relationship Id="rId3" Type="http://schemas.openxmlformats.org/officeDocument/2006/relationships/slideMaster" Target="../slideMasters/slideMaster18.xml"/><Relationship Id="rId7" Type="http://schemas.openxmlformats.org/officeDocument/2006/relationships/image" Target="../media/image9.jpeg"/><Relationship Id="rId2" Type="http://schemas.openxmlformats.org/officeDocument/2006/relationships/tags" Target="../tags/tag171.xml"/><Relationship Id="rId1" Type="http://schemas.openxmlformats.org/officeDocument/2006/relationships/vmlDrawing" Target="../drawings/vmlDrawing120.vml"/><Relationship Id="rId6" Type="http://schemas.openxmlformats.org/officeDocument/2006/relationships/image" Target="../media/image8.jpeg"/><Relationship Id="rId5" Type="http://schemas.openxmlformats.org/officeDocument/2006/relationships/image" Target="../media/image5.emf"/><Relationship Id="rId4" Type="http://schemas.openxmlformats.org/officeDocument/2006/relationships/oleObject" Target="../embeddings/oleObject120.bin"/></Relationships>
</file>

<file path=ppt/slideLayouts/_rels/slideLayout229.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tags" Target="../tags/tag173.xml"/><Relationship Id="rId7" Type="http://schemas.openxmlformats.org/officeDocument/2006/relationships/image" Target="../media/image6.jpeg"/><Relationship Id="rId2" Type="http://schemas.openxmlformats.org/officeDocument/2006/relationships/tags" Target="../tags/tag172.xml"/><Relationship Id="rId1" Type="http://schemas.openxmlformats.org/officeDocument/2006/relationships/vmlDrawing" Target="../drawings/vmlDrawing121.vml"/><Relationship Id="rId6" Type="http://schemas.openxmlformats.org/officeDocument/2006/relationships/image" Target="../media/image5.emf"/><Relationship Id="rId5" Type="http://schemas.openxmlformats.org/officeDocument/2006/relationships/oleObject" Target="../embeddings/oleObject121.bin"/><Relationship Id="rId4" Type="http://schemas.openxmlformats.org/officeDocument/2006/relationships/slideMaster" Target="../slideMasters/slideMaster18.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slideMaster" Target="../slideMasters/slideMaster5.xml"/><Relationship Id="rId1" Type="http://schemas.openxmlformats.org/officeDocument/2006/relationships/themeOverride" Target="../theme/themeOverride5.xml"/></Relationships>
</file>

<file path=ppt/slideLayouts/_rels/slideLayout230.xml.rels><?xml version="1.0" encoding="UTF-8" standalone="yes"?>
<Relationships xmlns="http://schemas.openxmlformats.org/package/2006/relationships"><Relationship Id="rId2" Type="http://schemas.openxmlformats.org/officeDocument/2006/relationships/slideMaster" Target="../slideMasters/slideMaster18.xml"/><Relationship Id="rId1" Type="http://schemas.openxmlformats.org/officeDocument/2006/relationships/tags" Target="../tags/tag174.xml"/></Relationships>
</file>

<file path=ppt/slideLayouts/_rels/slideLayout231.xml.rels><?xml version="1.0" encoding="UTF-8" standalone="yes"?>
<Relationships xmlns="http://schemas.openxmlformats.org/package/2006/relationships"><Relationship Id="rId3" Type="http://schemas.openxmlformats.org/officeDocument/2006/relationships/tags" Target="../tags/tag176.xml"/><Relationship Id="rId2" Type="http://schemas.openxmlformats.org/officeDocument/2006/relationships/tags" Target="../tags/tag175.xml"/><Relationship Id="rId1" Type="http://schemas.openxmlformats.org/officeDocument/2006/relationships/vmlDrawing" Target="../drawings/vmlDrawing122.vml"/><Relationship Id="rId6" Type="http://schemas.openxmlformats.org/officeDocument/2006/relationships/image" Target="../media/image5.emf"/><Relationship Id="rId5" Type="http://schemas.openxmlformats.org/officeDocument/2006/relationships/oleObject" Target="../embeddings/oleObject122.bin"/><Relationship Id="rId4" Type="http://schemas.openxmlformats.org/officeDocument/2006/relationships/slideMaster" Target="../slideMasters/slideMaster18.xml"/></Relationships>
</file>

<file path=ppt/slideLayouts/_rels/slideLayout232.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177.xml"/><Relationship Id="rId1" Type="http://schemas.openxmlformats.org/officeDocument/2006/relationships/vmlDrawing" Target="../drawings/vmlDrawing123.vml"/><Relationship Id="rId5" Type="http://schemas.openxmlformats.org/officeDocument/2006/relationships/image" Target="../media/image5.emf"/><Relationship Id="rId4" Type="http://schemas.openxmlformats.org/officeDocument/2006/relationships/oleObject" Target="../embeddings/oleObject123.bin"/></Relationships>
</file>

<file path=ppt/slideLayouts/_rels/slideLayout233.xml.rels><?xml version="1.0" encoding="UTF-8" standalone="yes"?>
<Relationships xmlns="http://schemas.openxmlformats.org/package/2006/relationships"><Relationship Id="rId3" Type="http://schemas.openxmlformats.org/officeDocument/2006/relationships/tags" Target="../tags/tag179.xml"/><Relationship Id="rId7" Type="http://schemas.openxmlformats.org/officeDocument/2006/relationships/image" Target="../media/image13.png"/><Relationship Id="rId2" Type="http://schemas.openxmlformats.org/officeDocument/2006/relationships/tags" Target="../tags/tag178.xml"/><Relationship Id="rId1" Type="http://schemas.openxmlformats.org/officeDocument/2006/relationships/vmlDrawing" Target="../drawings/vmlDrawing124.vml"/><Relationship Id="rId6" Type="http://schemas.openxmlformats.org/officeDocument/2006/relationships/image" Target="../media/image5.emf"/><Relationship Id="rId5" Type="http://schemas.openxmlformats.org/officeDocument/2006/relationships/oleObject" Target="../embeddings/oleObject124.bin"/><Relationship Id="rId4" Type="http://schemas.openxmlformats.org/officeDocument/2006/relationships/slideMaster" Target="../slideMasters/slideMaster18.xml"/></Relationships>
</file>

<file path=ppt/slideLayouts/_rels/slideLayout234.xml.rels><?xml version="1.0" encoding="UTF-8" standalone="yes"?>
<Relationships xmlns="http://schemas.openxmlformats.org/package/2006/relationships"><Relationship Id="rId3" Type="http://schemas.openxmlformats.org/officeDocument/2006/relationships/tags" Target="../tags/tag181.xml"/><Relationship Id="rId7" Type="http://schemas.openxmlformats.org/officeDocument/2006/relationships/image" Target="../media/image13.png"/><Relationship Id="rId2" Type="http://schemas.openxmlformats.org/officeDocument/2006/relationships/tags" Target="../tags/tag180.xml"/><Relationship Id="rId1" Type="http://schemas.openxmlformats.org/officeDocument/2006/relationships/vmlDrawing" Target="../drawings/vmlDrawing125.vml"/><Relationship Id="rId6" Type="http://schemas.openxmlformats.org/officeDocument/2006/relationships/image" Target="../media/image5.emf"/><Relationship Id="rId5" Type="http://schemas.openxmlformats.org/officeDocument/2006/relationships/oleObject" Target="../embeddings/oleObject125.bin"/><Relationship Id="rId4" Type="http://schemas.openxmlformats.org/officeDocument/2006/relationships/slideMaster" Target="../slideMasters/slideMaster18.xml"/></Relationships>
</file>

<file path=ppt/slideLayouts/_rels/slideLayout235.xml.rels><?xml version="1.0" encoding="UTF-8" standalone="yes"?>
<Relationships xmlns="http://schemas.openxmlformats.org/package/2006/relationships"><Relationship Id="rId3" Type="http://schemas.openxmlformats.org/officeDocument/2006/relationships/tags" Target="../tags/tag183.xml"/><Relationship Id="rId7" Type="http://schemas.openxmlformats.org/officeDocument/2006/relationships/image" Target="../media/image13.png"/><Relationship Id="rId2" Type="http://schemas.openxmlformats.org/officeDocument/2006/relationships/tags" Target="../tags/tag182.xml"/><Relationship Id="rId1" Type="http://schemas.openxmlformats.org/officeDocument/2006/relationships/vmlDrawing" Target="../drawings/vmlDrawing126.vml"/><Relationship Id="rId6" Type="http://schemas.openxmlformats.org/officeDocument/2006/relationships/image" Target="../media/image5.emf"/><Relationship Id="rId5" Type="http://schemas.openxmlformats.org/officeDocument/2006/relationships/oleObject" Target="../embeddings/oleObject126.bin"/><Relationship Id="rId4" Type="http://schemas.openxmlformats.org/officeDocument/2006/relationships/slideMaster" Target="../slideMasters/slideMaster18.xml"/></Relationships>
</file>

<file path=ppt/slideLayouts/_rels/slideLayout236.xml.rels><?xml version="1.0" encoding="UTF-8" standalone="yes"?>
<Relationships xmlns="http://schemas.openxmlformats.org/package/2006/relationships"><Relationship Id="rId3" Type="http://schemas.openxmlformats.org/officeDocument/2006/relationships/tags" Target="../tags/tag185.xml"/><Relationship Id="rId7" Type="http://schemas.openxmlformats.org/officeDocument/2006/relationships/image" Target="../media/image13.png"/><Relationship Id="rId2" Type="http://schemas.openxmlformats.org/officeDocument/2006/relationships/tags" Target="../tags/tag184.xml"/><Relationship Id="rId1" Type="http://schemas.openxmlformats.org/officeDocument/2006/relationships/vmlDrawing" Target="../drawings/vmlDrawing127.vml"/><Relationship Id="rId6" Type="http://schemas.openxmlformats.org/officeDocument/2006/relationships/image" Target="../media/image5.emf"/><Relationship Id="rId5" Type="http://schemas.openxmlformats.org/officeDocument/2006/relationships/oleObject" Target="../embeddings/oleObject127.bin"/><Relationship Id="rId4" Type="http://schemas.openxmlformats.org/officeDocument/2006/relationships/slideMaster" Target="../slideMasters/slideMaster18.xml"/></Relationships>
</file>

<file path=ppt/slideLayouts/_rels/slideLayout237.xml.rels><?xml version="1.0" encoding="UTF-8" standalone="yes"?>
<Relationships xmlns="http://schemas.openxmlformats.org/package/2006/relationships"><Relationship Id="rId3" Type="http://schemas.openxmlformats.org/officeDocument/2006/relationships/tags" Target="../tags/tag187.xml"/><Relationship Id="rId7" Type="http://schemas.openxmlformats.org/officeDocument/2006/relationships/image" Target="../media/image13.png"/><Relationship Id="rId2" Type="http://schemas.openxmlformats.org/officeDocument/2006/relationships/tags" Target="../tags/tag186.xml"/><Relationship Id="rId1" Type="http://schemas.openxmlformats.org/officeDocument/2006/relationships/vmlDrawing" Target="../drawings/vmlDrawing128.vml"/><Relationship Id="rId6" Type="http://schemas.openxmlformats.org/officeDocument/2006/relationships/image" Target="../media/image5.emf"/><Relationship Id="rId5" Type="http://schemas.openxmlformats.org/officeDocument/2006/relationships/oleObject" Target="../embeddings/oleObject128.bin"/><Relationship Id="rId4" Type="http://schemas.openxmlformats.org/officeDocument/2006/relationships/slideMaster" Target="../slideMasters/slideMaster18.xml"/></Relationships>
</file>

<file path=ppt/slideLayouts/_rels/slideLayout238.xml.rels><?xml version="1.0" encoding="UTF-8" standalone="yes"?>
<Relationships xmlns="http://schemas.openxmlformats.org/package/2006/relationships"><Relationship Id="rId3" Type="http://schemas.openxmlformats.org/officeDocument/2006/relationships/tags" Target="../tags/tag189.xml"/><Relationship Id="rId7" Type="http://schemas.openxmlformats.org/officeDocument/2006/relationships/image" Target="../media/image14.png"/><Relationship Id="rId2" Type="http://schemas.openxmlformats.org/officeDocument/2006/relationships/tags" Target="../tags/tag188.xml"/><Relationship Id="rId1" Type="http://schemas.openxmlformats.org/officeDocument/2006/relationships/vmlDrawing" Target="../drawings/vmlDrawing129.vml"/><Relationship Id="rId6" Type="http://schemas.openxmlformats.org/officeDocument/2006/relationships/image" Target="../media/image5.emf"/><Relationship Id="rId5" Type="http://schemas.openxmlformats.org/officeDocument/2006/relationships/oleObject" Target="../embeddings/oleObject129.bin"/><Relationship Id="rId4" Type="http://schemas.openxmlformats.org/officeDocument/2006/relationships/slideMaster" Target="../slideMasters/slideMaster18.xml"/></Relationships>
</file>

<file path=ppt/slideLayouts/_rels/slideLayout239.xml.rels><?xml version="1.0" encoding="UTF-8" standalone="yes"?>
<Relationships xmlns="http://schemas.openxmlformats.org/package/2006/relationships"><Relationship Id="rId3" Type="http://schemas.openxmlformats.org/officeDocument/2006/relationships/tags" Target="../tags/tag191.xml"/><Relationship Id="rId7" Type="http://schemas.openxmlformats.org/officeDocument/2006/relationships/image" Target="../media/image15.png"/><Relationship Id="rId2" Type="http://schemas.openxmlformats.org/officeDocument/2006/relationships/tags" Target="../tags/tag190.xml"/><Relationship Id="rId1" Type="http://schemas.openxmlformats.org/officeDocument/2006/relationships/vmlDrawing" Target="../drawings/vmlDrawing130.vml"/><Relationship Id="rId6" Type="http://schemas.openxmlformats.org/officeDocument/2006/relationships/image" Target="../media/image5.emf"/><Relationship Id="rId5" Type="http://schemas.openxmlformats.org/officeDocument/2006/relationships/oleObject" Target="../embeddings/oleObject130.bin"/><Relationship Id="rId4" Type="http://schemas.openxmlformats.org/officeDocument/2006/relationships/slideMaster" Target="../slideMasters/slideMaster18.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40.xml.rels><?xml version="1.0" encoding="UTF-8" standalone="yes"?>
<Relationships xmlns="http://schemas.openxmlformats.org/package/2006/relationships"><Relationship Id="rId3" Type="http://schemas.openxmlformats.org/officeDocument/2006/relationships/tags" Target="../tags/tag193.xml"/><Relationship Id="rId7" Type="http://schemas.openxmlformats.org/officeDocument/2006/relationships/image" Target="../media/image16.png"/><Relationship Id="rId2" Type="http://schemas.openxmlformats.org/officeDocument/2006/relationships/tags" Target="../tags/tag192.xml"/><Relationship Id="rId1" Type="http://schemas.openxmlformats.org/officeDocument/2006/relationships/vmlDrawing" Target="../drawings/vmlDrawing131.vml"/><Relationship Id="rId6" Type="http://schemas.openxmlformats.org/officeDocument/2006/relationships/image" Target="../media/image5.emf"/><Relationship Id="rId5" Type="http://schemas.openxmlformats.org/officeDocument/2006/relationships/oleObject" Target="../embeddings/oleObject131.bin"/><Relationship Id="rId4" Type="http://schemas.openxmlformats.org/officeDocument/2006/relationships/slideMaster" Target="../slideMasters/slideMaster18.xml"/></Relationships>
</file>

<file path=ppt/slideLayouts/_rels/slideLayout241.xml.rels><?xml version="1.0" encoding="UTF-8" standalone="yes"?>
<Relationships xmlns="http://schemas.openxmlformats.org/package/2006/relationships"><Relationship Id="rId3" Type="http://schemas.openxmlformats.org/officeDocument/2006/relationships/tags" Target="../tags/tag195.xml"/><Relationship Id="rId7" Type="http://schemas.openxmlformats.org/officeDocument/2006/relationships/image" Target="../media/image15.png"/><Relationship Id="rId2" Type="http://schemas.openxmlformats.org/officeDocument/2006/relationships/tags" Target="../tags/tag194.xml"/><Relationship Id="rId1" Type="http://schemas.openxmlformats.org/officeDocument/2006/relationships/vmlDrawing" Target="../drawings/vmlDrawing132.vml"/><Relationship Id="rId6" Type="http://schemas.openxmlformats.org/officeDocument/2006/relationships/image" Target="../media/image5.emf"/><Relationship Id="rId5" Type="http://schemas.openxmlformats.org/officeDocument/2006/relationships/oleObject" Target="../embeddings/oleObject132.bin"/><Relationship Id="rId4" Type="http://schemas.openxmlformats.org/officeDocument/2006/relationships/slideMaster" Target="../slideMasters/slideMaster18.xml"/></Relationships>
</file>

<file path=ppt/slideLayouts/_rels/slideLayout242.xml.rels><?xml version="1.0" encoding="UTF-8" standalone="yes"?>
<Relationships xmlns="http://schemas.openxmlformats.org/package/2006/relationships"><Relationship Id="rId3" Type="http://schemas.openxmlformats.org/officeDocument/2006/relationships/tags" Target="../tags/tag197.xml"/><Relationship Id="rId7" Type="http://schemas.openxmlformats.org/officeDocument/2006/relationships/image" Target="../media/image14.png"/><Relationship Id="rId2" Type="http://schemas.openxmlformats.org/officeDocument/2006/relationships/tags" Target="../tags/tag196.xml"/><Relationship Id="rId1" Type="http://schemas.openxmlformats.org/officeDocument/2006/relationships/vmlDrawing" Target="../drawings/vmlDrawing133.vml"/><Relationship Id="rId6" Type="http://schemas.openxmlformats.org/officeDocument/2006/relationships/image" Target="../media/image5.emf"/><Relationship Id="rId5" Type="http://schemas.openxmlformats.org/officeDocument/2006/relationships/oleObject" Target="../embeddings/oleObject133.bin"/><Relationship Id="rId4" Type="http://schemas.openxmlformats.org/officeDocument/2006/relationships/slideMaster" Target="../slideMasters/slideMaster18.xml"/></Relationships>
</file>

<file path=ppt/slideLayouts/_rels/slideLayout243.xml.rels><?xml version="1.0" encoding="UTF-8" standalone="yes"?>
<Relationships xmlns="http://schemas.openxmlformats.org/package/2006/relationships"><Relationship Id="rId3" Type="http://schemas.openxmlformats.org/officeDocument/2006/relationships/tags" Target="../tags/tag199.xml"/><Relationship Id="rId7" Type="http://schemas.openxmlformats.org/officeDocument/2006/relationships/image" Target="../media/image15.png"/><Relationship Id="rId2" Type="http://schemas.openxmlformats.org/officeDocument/2006/relationships/tags" Target="../tags/tag198.xml"/><Relationship Id="rId1" Type="http://schemas.openxmlformats.org/officeDocument/2006/relationships/vmlDrawing" Target="../drawings/vmlDrawing134.vml"/><Relationship Id="rId6" Type="http://schemas.openxmlformats.org/officeDocument/2006/relationships/image" Target="../media/image5.emf"/><Relationship Id="rId5" Type="http://schemas.openxmlformats.org/officeDocument/2006/relationships/oleObject" Target="../embeddings/oleObject134.bin"/><Relationship Id="rId4" Type="http://schemas.openxmlformats.org/officeDocument/2006/relationships/slideMaster" Target="../slideMasters/slideMaster18.xml"/></Relationships>
</file>

<file path=ppt/slideLayouts/_rels/slideLayout244.xml.rels><?xml version="1.0" encoding="UTF-8" standalone="yes"?>
<Relationships xmlns="http://schemas.openxmlformats.org/package/2006/relationships"><Relationship Id="rId3" Type="http://schemas.openxmlformats.org/officeDocument/2006/relationships/tags" Target="../tags/tag201.xml"/><Relationship Id="rId7" Type="http://schemas.openxmlformats.org/officeDocument/2006/relationships/image" Target="../media/image14.png"/><Relationship Id="rId2" Type="http://schemas.openxmlformats.org/officeDocument/2006/relationships/tags" Target="../tags/tag200.xml"/><Relationship Id="rId1" Type="http://schemas.openxmlformats.org/officeDocument/2006/relationships/vmlDrawing" Target="../drawings/vmlDrawing135.vml"/><Relationship Id="rId6" Type="http://schemas.openxmlformats.org/officeDocument/2006/relationships/image" Target="../media/image5.emf"/><Relationship Id="rId5" Type="http://schemas.openxmlformats.org/officeDocument/2006/relationships/oleObject" Target="../embeddings/oleObject135.bin"/><Relationship Id="rId4" Type="http://schemas.openxmlformats.org/officeDocument/2006/relationships/slideMaster" Target="../slideMasters/slideMaster18.xml"/></Relationships>
</file>

<file path=ppt/slideLayouts/_rels/slideLayout245.xml.rels><?xml version="1.0" encoding="UTF-8" standalone="yes"?>
<Relationships xmlns="http://schemas.openxmlformats.org/package/2006/relationships"><Relationship Id="rId3" Type="http://schemas.openxmlformats.org/officeDocument/2006/relationships/tags" Target="../tags/tag203.xml"/><Relationship Id="rId7" Type="http://schemas.openxmlformats.org/officeDocument/2006/relationships/image" Target="../media/image15.png"/><Relationship Id="rId2" Type="http://schemas.openxmlformats.org/officeDocument/2006/relationships/tags" Target="../tags/tag202.xml"/><Relationship Id="rId1" Type="http://schemas.openxmlformats.org/officeDocument/2006/relationships/vmlDrawing" Target="../drawings/vmlDrawing136.vml"/><Relationship Id="rId6" Type="http://schemas.openxmlformats.org/officeDocument/2006/relationships/image" Target="../media/image5.emf"/><Relationship Id="rId5" Type="http://schemas.openxmlformats.org/officeDocument/2006/relationships/oleObject" Target="../embeddings/oleObject136.bin"/><Relationship Id="rId4" Type="http://schemas.openxmlformats.org/officeDocument/2006/relationships/slideMaster" Target="../slideMasters/slideMaster18.xml"/></Relationships>
</file>

<file path=ppt/slideLayouts/_rels/slideLayout246.xml.rels><?xml version="1.0" encoding="UTF-8" standalone="yes"?>
<Relationships xmlns="http://schemas.openxmlformats.org/package/2006/relationships"><Relationship Id="rId3" Type="http://schemas.openxmlformats.org/officeDocument/2006/relationships/tags" Target="../tags/tag205.xml"/><Relationship Id="rId2" Type="http://schemas.openxmlformats.org/officeDocument/2006/relationships/tags" Target="../tags/tag204.xml"/><Relationship Id="rId1" Type="http://schemas.openxmlformats.org/officeDocument/2006/relationships/vmlDrawing" Target="../drawings/vmlDrawing137.vml"/><Relationship Id="rId6" Type="http://schemas.openxmlformats.org/officeDocument/2006/relationships/image" Target="../media/image5.emf"/><Relationship Id="rId5" Type="http://schemas.openxmlformats.org/officeDocument/2006/relationships/oleObject" Target="../embeddings/oleObject137.bin"/><Relationship Id="rId4" Type="http://schemas.openxmlformats.org/officeDocument/2006/relationships/slideMaster" Target="../slideMasters/slideMaster18.xml"/></Relationships>
</file>

<file path=ppt/slideLayouts/_rels/slideLayout247.xml.rels><?xml version="1.0" encoding="UTF-8" standalone="yes"?>
<Relationships xmlns="http://schemas.openxmlformats.org/package/2006/relationships"><Relationship Id="rId3" Type="http://schemas.openxmlformats.org/officeDocument/2006/relationships/tags" Target="../tags/tag207.xml"/><Relationship Id="rId2" Type="http://schemas.openxmlformats.org/officeDocument/2006/relationships/tags" Target="../tags/tag206.xml"/><Relationship Id="rId1" Type="http://schemas.openxmlformats.org/officeDocument/2006/relationships/vmlDrawing" Target="../drawings/vmlDrawing138.vml"/><Relationship Id="rId6" Type="http://schemas.openxmlformats.org/officeDocument/2006/relationships/image" Target="../media/image5.emf"/><Relationship Id="rId5" Type="http://schemas.openxmlformats.org/officeDocument/2006/relationships/oleObject" Target="../embeddings/oleObject138.bin"/><Relationship Id="rId4" Type="http://schemas.openxmlformats.org/officeDocument/2006/relationships/slideMaster" Target="../slideMasters/slideMaster18.xml"/></Relationships>
</file>

<file path=ppt/slideLayouts/_rels/slideLayout248.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208.xml"/><Relationship Id="rId1" Type="http://schemas.openxmlformats.org/officeDocument/2006/relationships/vmlDrawing" Target="../drawings/vmlDrawing139.vml"/><Relationship Id="rId6" Type="http://schemas.openxmlformats.org/officeDocument/2006/relationships/image" Target="../media/image13.png"/><Relationship Id="rId5" Type="http://schemas.openxmlformats.org/officeDocument/2006/relationships/image" Target="../media/image5.emf"/><Relationship Id="rId4" Type="http://schemas.openxmlformats.org/officeDocument/2006/relationships/oleObject" Target="../embeddings/oleObject139.bin"/></Relationships>
</file>

<file path=ppt/slideLayouts/_rels/slideLayout249.xml.rels><?xml version="1.0" encoding="UTF-8" standalone="yes"?>
<Relationships xmlns="http://schemas.openxmlformats.org/package/2006/relationships"><Relationship Id="rId3" Type="http://schemas.openxmlformats.org/officeDocument/2006/relationships/tags" Target="../tags/tag210.xml"/><Relationship Id="rId2" Type="http://schemas.openxmlformats.org/officeDocument/2006/relationships/tags" Target="../tags/tag209.xml"/><Relationship Id="rId1" Type="http://schemas.openxmlformats.org/officeDocument/2006/relationships/vmlDrawing" Target="../drawings/vmlDrawing140.vml"/><Relationship Id="rId6" Type="http://schemas.openxmlformats.org/officeDocument/2006/relationships/image" Target="../media/image5.emf"/><Relationship Id="rId5" Type="http://schemas.openxmlformats.org/officeDocument/2006/relationships/oleObject" Target="../embeddings/oleObject140.bin"/><Relationship Id="rId4" Type="http://schemas.openxmlformats.org/officeDocument/2006/relationships/slideMaster" Target="../slideMasters/slideMaster18.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50.xml.rels><?xml version="1.0" encoding="UTF-8" standalone="yes"?>
<Relationships xmlns="http://schemas.openxmlformats.org/package/2006/relationships"><Relationship Id="rId3" Type="http://schemas.openxmlformats.org/officeDocument/2006/relationships/tags" Target="../tags/tag212.xml"/><Relationship Id="rId2" Type="http://schemas.openxmlformats.org/officeDocument/2006/relationships/tags" Target="../tags/tag211.xml"/><Relationship Id="rId1" Type="http://schemas.openxmlformats.org/officeDocument/2006/relationships/vmlDrawing" Target="../drawings/vmlDrawing141.vml"/><Relationship Id="rId6" Type="http://schemas.openxmlformats.org/officeDocument/2006/relationships/image" Target="../media/image5.emf"/><Relationship Id="rId5" Type="http://schemas.openxmlformats.org/officeDocument/2006/relationships/oleObject" Target="../embeddings/oleObject141.bin"/><Relationship Id="rId4" Type="http://schemas.openxmlformats.org/officeDocument/2006/relationships/slideMaster" Target="../slideMasters/slideMaster18.xml"/></Relationships>
</file>

<file path=ppt/slideLayouts/_rels/slideLayout251.xml.rels><?xml version="1.0" encoding="UTF-8" standalone="yes"?>
<Relationships xmlns="http://schemas.openxmlformats.org/package/2006/relationships"><Relationship Id="rId3" Type="http://schemas.openxmlformats.org/officeDocument/2006/relationships/tags" Target="../tags/tag214.xml"/><Relationship Id="rId2" Type="http://schemas.openxmlformats.org/officeDocument/2006/relationships/tags" Target="../tags/tag213.xml"/><Relationship Id="rId1" Type="http://schemas.openxmlformats.org/officeDocument/2006/relationships/vmlDrawing" Target="../drawings/vmlDrawing142.vml"/><Relationship Id="rId6" Type="http://schemas.openxmlformats.org/officeDocument/2006/relationships/image" Target="../media/image5.emf"/><Relationship Id="rId5" Type="http://schemas.openxmlformats.org/officeDocument/2006/relationships/oleObject" Target="../embeddings/oleObject142.bin"/><Relationship Id="rId4" Type="http://schemas.openxmlformats.org/officeDocument/2006/relationships/slideMaster" Target="../slideMasters/slideMaster18.xml"/></Relationships>
</file>

<file path=ppt/slideLayouts/_rels/slideLayout252.xml.rels><?xml version="1.0" encoding="UTF-8" standalone="yes"?>
<Relationships xmlns="http://schemas.openxmlformats.org/package/2006/relationships"><Relationship Id="rId3" Type="http://schemas.openxmlformats.org/officeDocument/2006/relationships/tags" Target="../tags/tag216.xml"/><Relationship Id="rId2" Type="http://schemas.openxmlformats.org/officeDocument/2006/relationships/tags" Target="../tags/tag215.xml"/><Relationship Id="rId1" Type="http://schemas.openxmlformats.org/officeDocument/2006/relationships/vmlDrawing" Target="../drawings/vmlDrawing143.vml"/><Relationship Id="rId6" Type="http://schemas.openxmlformats.org/officeDocument/2006/relationships/image" Target="../media/image5.emf"/><Relationship Id="rId5" Type="http://schemas.openxmlformats.org/officeDocument/2006/relationships/oleObject" Target="../embeddings/oleObject143.bin"/><Relationship Id="rId4" Type="http://schemas.openxmlformats.org/officeDocument/2006/relationships/slideMaster" Target="../slideMasters/slideMaster18.xml"/></Relationships>
</file>

<file path=ppt/slideLayouts/_rels/slideLayout253.xml.rels><?xml version="1.0" encoding="UTF-8" standalone="yes"?>
<Relationships xmlns="http://schemas.openxmlformats.org/package/2006/relationships"><Relationship Id="rId3" Type="http://schemas.openxmlformats.org/officeDocument/2006/relationships/slideMaster" Target="../slideMasters/slideMaster18.xml"/><Relationship Id="rId7" Type="http://schemas.openxmlformats.org/officeDocument/2006/relationships/image" Target="../media/image9.jpeg"/><Relationship Id="rId2" Type="http://schemas.openxmlformats.org/officeDocument/2006/relationships/tags" Target="../tags/tag217.xml"/><Relationship Id="rId1" Type="http://schemas.openxmlformats.org/officeDocument/2006/relationships/vmlDrawing" Target="../drawings/vmlDrawing144.vml"/><Relationship Id="rId6" Type="http://schemas.openxmlformats.org/officeDocument/2006/relationships/image" Target="../media/image8.jpeg"/><Relationship Id="rId5" Type="http://schemas.openxmlformats.org/officeDocument/2006/relationships/image" Target="../media/image5.emf"/><Relationship Id="rId4" Type="http://schemas.openxmlformats.org/officeDocument/2006/relationships/oleObject" Target="../embeddings/oleObject144.bin"/></Relationships>
</file>

<file path=ppt/slideLayouts/_rels/slideLayout254.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tags" Target="../tags/tag219.xml"/><Relationship Id="rId7" Type="http://schemas.openxmlformats.org/officeDocument/2006/relationships/image" Target="../media/image6.jpeg"/><Relationship Id="rId2" Type="http://schemas.openxmlformats.org/officeDocument/2006/relationships/tags" Target="../tags/tag218.xml"/><Relationship Id="rId1" Type="http://schemas.openxmlformats.org/officeDocument/2006/relationships/vmlDrawing" Target="../drawings/vmlDrawing145.vml"/><Relationship Id="rId6" Type="http://schemas.openxmlformats.org/officeDocument/2006/relationships/image" Target="../media/image5.emf"/><Relationship Id="rId5" Type="http://schemas.openxmlformats.org/officeDocument/2006/relationships/oleObject" Target="../embeddings/oleObject145.bin"/><Relationship Id="rId4" Type="http://schemas.openxmlformats.org/officeDocument/2006/relationships/slideMaster" Target="../slideMasters/slideMaster18.xml"/></Relationships>
</file>

<file path=ppt/slideLayouts/_rels/slideLayout255.xml.rels><?xml version="1.0" encoding="UTF-8" standalone="yes"?>
<Relationships xmlns="http://schemas.openxmlformats.org/package/2006/relationships"><Relationship Id="rId3" Type="http://schemas.openxmlformats.org/officeDocument/2006/relationships/tags" Target="../tags/tag221.xml"/><Relationship Id="rId2" Type="http://schemas.openxmlformats.org/officeDocument/2006/relationships/tags" Target="../tags/tag220.xml"/><Relationship Id="rId1" Type="http://schemas.openxmlformats.org/officeDocument/2006/relationships/vmlDrawing" Target="../drawings/vmlDrawing146.vml"/><Relationship Id="rId6" Type="http://schemas.openxmlformats.org/officeDocument/2006/relationships/image" Target="../media/image5.emf"/><Relationship Id="rId5" Type="http://schemas.openxmlformats.org/officeDocument/2006/relationships/oleObject" Target="../embeddings/oleObject146.bin"/><Relationship Id="rId4" Type="http://schemas.openxmlformats.org/officeDocument/2006/relationships/slideMaster" Target="../slideMasters/slideMaster18.xml"/></Relationships>
</file>

<file path=ppt/slideLayouts/_rels/slideLayout256.xml.rels><?xml version="1.0" encoding="UTF-8" standalone="yes"?>
<Relationships xmlns="http://schemas.openxmlformats.org/package/2006/relationships"><Relationship Id="rId3" Type="http://schemas.openxmlformats.org/officeDocument/2006/relationships/tags" Target="../tags/tag223.xml"/><Relationship Id="rId2" Type="http://schemas.openxmlformats.org/officeDocument/2006/relationships/tags" Target="../tags/tag222.xml"/><Relationship Id="rId1" Type="http://schemas.openxmlformats.org/officeDocument/2006/relationships/vmlDrawing" Target="../drawings/vmlDrawing147.vml"/><Relationship Id="rId6" Type="http://schemas.openxmlformats.org/officeDocument/2006/relationships/image" Target="../media/image5.emf"/><Relationship Id="rId5" Type="http://schemas.openxmlformats.org/officeDocument/2006/relationships/oleObject" Target="../embeddings/oleObject147.bin"/><Relationship Id="rId4" Type="http://schemas.openxmlformats.org/officeDocument/2006/relationships/slideMaster" Target="../slideMasters/slideMaster18.xml"/></Relationships>
</file>

<file path=ppt/slideLayouts/_rels/slideLayout257.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224.xml"/><Relationship Id="rId1" Type="http://schemas.openxmlformats.org/officeDocument/2006/relationships/vmlDrawing" Target="../drawings/vmlDrawing148.vml"/><Relationship Id="rId5" Type="http://schemas.openxmlformats.org/officeDocument/2006/relationships/image" Target="../media/image5.emf"/><Relationship Id="rId4" Type="http://schemas.openxmlformats.org/officeDocument/2006/relationships/oleObject" Target="../embeddings/oleObject148.bin"/></Relationships>
</file>

<file path=ppt/slideLayouts/_rels/slideLayout258.xml.rels><?xml version="1.0" encoding="UTF-8" standalone="yes"?>
<Relationships xmlns="http://schemas.openxmlformats.org/package/2006/relationships"><Relationship Id="rId3" Type="http://schemas.openxmlformats.org/officeDocument/2006/relationships/tags" Target="../tags/tag226.xml"/><Relationship Id="rId7" Type="http://schemas.openxmlformats.org/officeDocument/2006/relationships/image" Target="../media/image13.png"/><Relationship Id="rId2" Type="http://schemas.openxmlformats.org/officeDocument/2006/relationships/tags" Target="../tags/tag225.xml"/><Relationship Id="rId1" Type="http://schemas.openxmlformats.org/officeDocument/2006/relationships/vmlDrawing" Target="../drawings/vmlDrawing149.vml"/><Relationship Id="rId6" Type="http://schemas.openxmlformats.org/officeDocument/2006/relationships/image" Target="../media/image5.emf"/><Relationship Id="rId5" Type="http://schemas.openxmlformats.org/officeDocument/2006/relationships/oleObject" Target="../embeddings/oleObject149.bin"/><Relationship Id="rId4" Type="http://schemas.openxmlformats.org/officeDocument/2006/relationships/slideMaster" Target="../slideMasters/slideMaster18.xml"/></Relationships>
</file>

<file path=ppt/slideLayouts/_rels/slideLayout259.xml.rels><?xml version="1.0" encoding="UTF-8" standalone="yes"?>
<Relationships xmlns="http://schemas.openxmlformats.org/package/2006/relationships"><Relationship Id="rId3" Type="http://schemas.openxmlformats.org/officeDocument/2006/relationships/tags" Target="../tags/tag228.xml"/><Relationship Id="rId7" Type="http://schemas.openxmlformats.org/officeDocument/2006/relationships/image" Target="../media/image13.png"/><Relationship Id="rId2" Type="http://schemas.openxmlformats.org/officeDocument/2006/relationships/tags" Target="../tags/tag227.xml"/><Relationship Id="rId1" Type="http://schemas.openxmlformats.org/officeDocument/2006/relationships/vmlDrawing" Target="../drawings/vmlDrawing150.vml"/><Relationship Id="rId6" Type="http://schemas.openxmlformats.org/officeDocument/2006/relationships/image" Target="../media/image5.emf"/><Relationship Id="rId5" Type="http://schemas.openxmlformats.org/officeDocument/2006/relationships/oleObject" Target="../embeddings/oleObject150.bin"/><Relationship Id="rId4" Type="http://schemas.openxmlformats.org/officeDocument/2006/relationships/slideMaster" Target="../slideMasters/slideMaster18.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emf"/><Relationship Id="rId1" Type="http://schemas.openxmlformats.org/officeDocument/2006/relationships/slideMaster" Target="../slideMasters/slideMaster5.xml"/></Relationships>
</file>

<file path=ppt/slideLayouts/_rels/slideLayout260.xml.rels><?xml version="1.0" encoding="UTF-8" standalone="yes"?>
<Relationships xmlns="http://schemas.openxmlformats.org/package/2006/relationships"><Relationship Id="rId3" Type="http://schemas.openxmlformats.org/officeDocument/2006/relationships/tags" Target="../tags/tag230.xml"/><Relationship Id="rId7" Type="http://schemas.openxmlformats.org/officeDocument/2006/relationships/image" Target="../media/image13.png"/><Relationship Id="rId2" Type="http://schemas.openxmlformats.org/officeDocument/2006/relationships/tags" Target="../tags/tag229.xml"/><Relationship Id="rId1" Type="http://schemas.openxmlformats.org/officeDocument/2006/relationships/vmlDrawing" Target="../drawings/vmlDrawing151.vml"/><Relationship Id="rId6" Type="http://schemas.openxmlformats.org/officeDocument/2006/relationships/image" Target="../media/image5.emf"/><Relationship Id="rId5" Type="http://schemas.openxmlformats.org/officeDocument/2006/relationships/oleObject" Target="../embeddings/oleObject151.bin"/><Relationship Id="rId4" Type="http://schemas.openxmlformats.org/officeDocument/2006/relationships/slideMaster" Target="../slideMasters/slideMaster18.xml"/></Relationships>
</file>

<file path=ppt/slideLayouts/_rels/slideLayout261.xml.rels><?xml version="1.0" encoding="UTF-8" standalone="yes"?>
<Relationships xmlns="http://schemas.openxmlformats.org/package/2006/relationships"><Relationship Id="rId3" Type="http://schemas.openxmlformats.org/officeDocument/2006/relationships/tags" Target="../tags/tag232.xml"/><Relationship Id="rId7" Type="http://schemas.openxmlformats.org/officeDocument/2006/relationships/image" Target="../media/image13.png"/><Relationship Id="rId2" Type="http://schemas.openxmlformats.org/officeDocument/2006/relationships/tags" Target="../tags/tag231.xml"/><Relationship Id="rId1" Type="http://schemas.openxmlformats.org/officeDocument/2006/relationships/vmlDrawing" Target="../drawings/vmlDrawing152.vml"/><Relationship Id="rId6" Type="http://schemas.openxmlformats.org/officeDocument/2006/relationships/image" Target="../media/image5.emf"/><Relationship Id="rId5" Type="http://schemas.openxmlformats.org/officeDocument/2006/relationships/oleObject" Target="../embeddings/oleObject152.bin"/><Relationship Id="rId4" Type="http://schemas.openxmlformats.org/officeDocument/2006/relationships/slideMaster" Target="../slideMasters/slideMaster18.xml"/></Relationships>
</file>

<file path=ppt/slideLayouts/_rels/slideLayout262.xml.rels><?xml version="1.0" encoding="UTF-8" standalone="yes"?>
<Relationships xmlns="http://schemas.openxmlformats.org/package/2006/relationships"><Relationship Id="rId3" Type="http://schemas.openxmlformats.org/officeDocument/2006/relationships/tags" Target="../tags/tag234.xml"/><Relationship Id="rId7" Type="http://schemas.openxmlformats.org/officeDocument/2006/relationships/image" Target="../media/image13.png"/><Relationship Id="rId2" Type="http://schemas.openxmlformats.org/officeDocument/2006/relationships/tags" Target="../tags/tag233.xml"/><Relationship Id="rId1" Type="http://schemas.openxmlformats.org/officeDocument/2006/relationships/vmlDrawing" Target="../drawings/vmlDrawing153.vml"/><Relationship Id="rId6" Type="http://schemas.openxmlformats.org/officeDocument/2006/relationships/image" Target="../media/image5.emf"/><Relationship Id="rId5" Type="http://schemas.openxmlformats.org/officeDocument/2006/relationships/oleObject" Target="../embeddings/oleObject153.bin"/><Relationship Id="rId4" Type="http://schemas.openxmlformats.org/officeDocument/2006/relationships/slideMaster" Target="../slideMasters/slideMaster18.xml"/></Relationships>
</file>

<file path=ppt/slideLayouts/_rels/slideLayout263.xml.rels><?xml version="1.0" encoding="UTF-8" standalone="yes"?>
<Relationships xmlns="http://schemas.openxmlformats.org/package/2006/relationships"><Relationship Id="rId3" Type="http://schemas.openxmlformats.org/officeDocument/2006/relationships/tags" Target="../tags/tag236.xml"/><Relationship Id="rId7" Type="http://schemas.openxmlformats.org/officeDocument/2006/relationships/image" Target="../media/image13.png"/><Relationship Id="rId2" Type="http://schemas.openxmlformats.org/officeDocument/2006/relationships/tags" Target="../tags/tag235.xml"/><Relationship Id="rId1" Type="http://schemas.openxmlformats.org/officeDocument/2006/relationships/vmlDrawing" Target="../drawings/vmlDrawing154.vml"/><Relationship Id="rId6" Type="http://schemas.openxmlformats.org/officeDocument/2006/relationships/image" Target="../media/image5.emf"/><Relationship Id="rId5" Type="http://schemas.openxmlformats.org/officeDocument/2006/relationships/oleObject" Target="../embeddings/oleObject154.bin"/><Relationship Id="rId4" Type="http://schemas.openxmlformats.org/officeDocument/2006/relationships/slideMaster" Target="../slideMasters/slideMaster18.xml"/></Relationships>
</file>

<file path=ppt/slideLayouts/_rels/slideLayout264.xml.rels><?xml version="1.0" encoding="UTF-8" standalone="yes"?>
<Relationships xmlns="http://schemas.openxmlformats.org/package/2006/relationships"><Relationship Id="rId3" Type="http://schemas.openxmlformats.org/officeDocument/2006/relationships/tags" Target="../tags/tag238.xml"/><Relationship Id="rId7" Type="http://schemas.openxmlformats.org/officeDocument/2006/relationships/image" Target="../media/image14.png"/><Relationship Id="rId2" Type="http://schemas.openxmlformats.org/officeDocument/2006/relationships/tags" Target="../tags/tag237.xml"/><Relationship Id="rId1" Type="http://schemas.openxmlformats.org/officeDocument/2006/relationships/vmlDrawing" Target="../drawings/vmlDrawing155.vml"/><Relationship Id="rId6" Type="http://schemas.openxmlformats.org/officeDocument/2006/relationships/image" Target="../media/image5.emf"/><Relationship Id="rId5" Type="http://schemas.openxmlformats.org/officeDocument/2006/relationships/oleObject" Target="../embeddings/oleObject155.bin"/><Relationship Id="rId4" Type="http://schemas.openxmlformats.org/officeDocument/2006/relationships/slideMaster" Target="../slideMasters/slideMaster18.xml"/></Relationships>
</file>

<file path=ppt/slideLayouts/_rels/slideLayout265.xml.rels><?xml version="1.0" encoding="UTF-8" standalone="yes"?>
<Relationships xmlns="http://schemas.openxmlformats.org/package/2006/relationships"><Relationship Id="rId3" Type="http://schemas.openxmlformats.org/officeDocument/2006/relationships/tags" Target="../tags/tag240.xml"/><Relationship Id="rId7" Type="http://schemas.openxmlformats.org/officeDocument/2006/relationships/image" Target="../media/image15.png"/><Relationship Id="rId2" Type="http://schemas.openxmlformats.org/officeDocument/2006/relationships/tags" Target="../tags/tag239.xml"/><Relationship Id="rId1" Type="http://schemas.openxmlformats.org/officeDocument/2006/relationships/vmlDrawing" Target="../drawings/vmlDrawing156.vml"/><Relationship Id="rId6" Type="http://schemas.openxmlformats.org/officeDocument/2006/relationships/image" Target="../media/image5.emf"/><Relationship Id="rId5" Type="http://schemas.openxmlformats.org/officeDocument/2006/relationships/oleObject" Target="../embeddings/oleObject156.bin"/><Relationship Id="rId4" Type="http://schemas.openxmlformats.org/officeDocument/2006/relationships/slideMaster" Target="../slideMasters/slideMaster18.xml"/></Relationships>
</file>

<file path=ppt/slideLayouts/_rels/slideLayout266.xml.rels><?xml version="1.0" encoding="UTF-8" standalone="yes"?>
<Relationships xmlns="http://schemas.openxmlformats.org/package/2006/relationships"><Relationship Id="rId3" Type="http://schemas.openxmlformats.org/officeDocument/2006/relationships/tags" Target="../tags/tag242.xml"/><Relationship Id="rId7" Type="http://schemas.openxmlformats.org/officeDocument/2006/relationships/image" Target="../media/image16.png"/><Relationship Id="rId2" Type="http://schemas.openxmlformats.org/officeDocument/2006/relationships/tags" Target="../tags/tag241.xml"/><Relationship Id="rId1" Type="http://schemas.openxmlformats.org/officeDocument/2006/relationships/vmlDrawing" Target="../drawings/vmlDrawing157.vml"/><Relationship Id="rId6" Type="http://schemas.openxmlformats.org/officeDocument/2006/relationships/image" Target="../media/image5.emf"/><Relationship Id="rId5" Type="http://schemas.openxmlformats.org/officeDocument/2006/relationships/oleObject" Target="../embeddings/oleObject157.bin"/><Relationship Id="rId4" Type="http://schemas.openxmlformats.org/officeDocument/2006/relationships/slideMaster" Target="../slideMasters/slideMaster18.xml"/></Relationships>
</file>

<file path=ppt/slideLayouts/_rels/slideLayout267.xml.rels><?xml version="1.0" encoding="UTF-8" standalone="yes"?>
<Relationships xmlns="http://schemas.openxmlformats.org/package/2006/relationships"><Relationship Id="rId3" Type="http://schemas.openxmlformats.org/officeDocument/2006/relationships/tags" Target="../tags/tag244.xml"/><Relationship Id="rId7" Type="http://schemas.openxmlformats.org/officeDocument/2006/relationships/image" Target="../media/image15.png"/><Relationship Id="rId2" Type="http://schemas.openxmlformats.org/officeDocument/2006/relationships/tags" Target="../tags/tag243.xml"/><Relationship Id="rId1" Type="http://schemas.openxmlformats.org/officeDocument/2006/relationships/vmlDrawing" Target="../drawings/vmlDrawing158.vml"/><Relationship Id="rId6" Type="http://schemas.openxmlformats.org/officeDocument/2006/relationships/image" Target="../media/image5.emf"/><Relationship Id="rId5" Type="http://schemas.openxmlformats.org/officeDocument/2006/relationships/oleObject" Target="../embeddings/oleObject158.bin"/><Relationship Id="rId4" Type="http://schemas.openxmlformats.org/officeDocument/2006/relationships/slideMaster" Target="../slideMasters/slideMaster18.xml"/></Relationships>
</file>

<file path=ppt/slideLayouts/_rels/slideLayout268.xml.rels><?xml version="1.0" encoding="UTF-8" standalone="yes"?>
<Relationships xmlns="http://schemas.openxmlformats.org/package/2006/relationships"><Relationship Id="rId3" Type="http://schemas.openxmlformats.org/officeDocument/2006/relationships/tags" Target="../tags/tag246.xml"/><Relationship Id="rId7" Type="http://schemas.openxmlformats.org/officeDocument/2006/relationships/image" Target="../media/image14.png"/><Relationship Id="rId2" Type="http://schemas.openxmlformats.org/officeDocument/2006/relationships/tags" Target="../tags/tag245.xml"/><Relationship Id="rId1" Type="http://schemas.openxmlformats.org/officeDocument/2006/relationships/vmlDrawing" Target="../drawings/vmlDrawing159.vml"/><Relationship Id="rId6" Type="http://schemas.openxmlformats.org/officeDocument/2006/relationships/image" Target="../media/image5.emf"/><Relationship Id="rId5" Type="http://schemas.openxmlformats.org/officeDocument/2006/relationships/oleObject" Target="../embeddings/oleObject159.bin"/><Relationship Id="rId4" Type="http://schemas.openxmlformats.org/officeDocument/2006/relationships/slideMaster" Target="../slideMasters/slideMaster18.xml"/></Relationships>
</file>

<file path=ppt/slideLayouts/_rels/slideLayout269.xml.rels><?xml version="1.0" encoding="UTF-8" standalone="yes"?>
<Relationships xmlns="http://schemas.openxmlformats.org/package/2006/relationships"><Relationship Id="rId3" Type="http://schemas.openxmlformats.org/officeDocument/2006/relationships/tags" Target="../tags/tag248.xml"/><Relationship Id="rId7" Type="http://schemas.openxmlformats.org/officeDocument/2006/relationships/image" Target="../media/image15.png"/><Relationship Id="rId2" Type="http://schemas.openxmlformats.org/officeDocument/2006/relationships/tags" Target="../tags/tag247.xml"/><Relationship Id="rId1" Type="http://schemas.openxmlformats.org/officeDocument/2006/relationships/vmlDrawing" Target="../drawings/vmlDrawing160.vml"/><Relationship Id="rId6" Type="http://schemas.openxmlformats.org/officeDocument/2006/relationships/image" Target="../media/image5.emf"/><Relationship Id="rId5" Type="http://schemas.openxmlformats.org/officeDocument/2006/relationships/oleObject" Target="../embeddings/oleObject160.bin"/><Relationship Id="rId4" Type="http://schemas.openxmlformats.org/officeDocument/2006/relationships/slideMaster" Target="../slideMasters/slideMaster18.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70.xml.rels><?xml version="1.0" encoding="UTF-8" standalone="yes"?>
<Relationships xmlns="http://schemas.openxmlformats.org/package/2006/relationships"><Relationship Id="rId3" Type="http://schemas.openxmlformats.org/officeDocument/2006/relationships/tags" Target="../tags/tag250.xml"/><Relationship Id="rId7" Type="http://schemas.openxmlformats.org/officeDocument/2006/relationships/image" Target="../media/image14.png"/><Relationship Id="rId2" Type="http://schemas.openxmlformats.org/officeDocument/2006/relationships/tags" Target="../tags/tag249.xml"/><Relationship Id="rId1" Type="http://schemas.openxmlformats.org/officeDocument/2006/relationships/vmlDrawing" Target="../drawings/vmlDrawing161.vml"/><Relationship Id="rId6" Type="http://schemas.openxmlformats.org/officeDocument/2006/relationships/image" Target="../media/image5.emf"/><Relationship Id="rId5" Type="http://schemas.openxmlformats.org/officeDocument/2006/relationships/oleObject" Target="../embeddings/oleObject161.bin"/><Relationship Id="rId4" Type="http://schemas.openxmlformats.org/officeDocument/2006/relationships/slideMaster" Target="../slideMasters/slideMaster18.xml"/></Relationships>
</file>

<file path=ppt/slideLayouts/_rels/slideLayout271.xml.rels><?xml version="1.0" encoding="UTF-8" standalone="yes"?>
<Relationships xmlns="http://schemas.openxmlformats.org/package/2006/relationships"><Relationship Id="rId3" Type="http://schemas.openxmlformats.org/officeDocument/2006/relationships/tags" Target="../tags/tag252.xml"/><Relationship Id="rId7" Type="http://schemas.openxmlformats.org/officeDocument/2006/relationships/image" Target="../media/image15.png"/><Relationship Id="rId2" Type="http://schemas.openxmlformats.org/officeDocument/2006/relationships/tags" Target="../tags/tag251.xml"/><Relationship Id="rId1" Type="http://schemas.openxmlformats.org/officeDocument/2006/relationships/vmlDrawing" Target="../drawings/vmlDrawing162.vml"/><Relationship Id="rId6" Type="http://schemas.openxmlformats.org/officeDocument/2006/relationships/image" Target="../media/image5.emf"/><Relationship Id="rId5" Type="http://schemas.openxmlformats.org/officeDocument/2006/relationships/oleObject" Target="../embeddings/oleObject162.bin"/><Relationship Id="rId4" Type="http://schemas.openxmlformats.org/officeDocument/2006/relationships/slideMaster" Target="../slideMasters/slideMaster18.xml"/></Relationships>
</file>

<file path=ppt/slideLayouts/_rels/slideLayout272.xml.rels><?xml version="1.0" encoding="UTF-8" standalone="yes"?>
<Relationships xmlns="http://schemas.openxmlformats.org/package/2006/relationships"><Relationship Id="rId3" Type="http://schemas.openxmlformats.org/officeDocument/2006/relationships/tags" Target="../tags/tag254.xml"/><Relationship Id="rId2" Type="http://schemas.openxmlformats.org/officeDocument/2006/relationships/tags" Target="../tags/tag253.xml"/><Relationship Id="rId1" Type="http://schemas.openxmlformats.org/officeDocument/2006/relationships/vmlDrawing" Target="../drawings/vmlDrawing163.vml"/><Relationship Id="rId6" Type="http://schemas.openxmlformats.org/officeDocument/2006/relationships/image" Target="../media/image5.emf"/><Relationship Id="rId5" Type="http://schemas.openxmlformats.org/officeDocument/2006/relationships/oleObject" Target="../embeddings/oleObject163.bin"/><Relationship Id="rId4" Type="http://schemas.openxmlformats.org/officeDocument/2006/relationships/slideMaster" Target="../slideMasters/slideMaster18.xml"/></Relationships>
</file>

<file path=ppt/slideLayouts/_rels/slideLayout273.xml.rels><?xml version="1.0" encoding="UTF-8" standalone="yes"?>
<Relationships xmlns="http://schemas.openxmlformats.org/package/2006/relationships"><Relationship Id="rId3" Type="http://schemas.openxmlformats.org/officeDocument/2006/relationships/tags" Target="../tags/tag256.xml"/><Relationship Id="rId2" Type="http://schemas.openxmlformats.org/officeDocument/2006/relationships/tags" Target="../tags/tag255.xml"/><Relationship Id="rId1" Type="http://schemas.openxmlformats.org/officeDocument/2006/relationships/vmlDrawing" Target="../drawings/vmlDrawing164.vml"/><Relationship Id="rId6" Type="http://schemas.openxmlformats.org/officeDocument/2006/relationships/image" Target="../media/image5.emf"/><Relationship Id="rId5" Type="http://schemas.openxmlformats.org/officeDocument/2006/relationships/oleObject" Target="../embeddings/oleObject164.bin"/><Relationship Id="rId4" Type="http://schemas.openxmlformats.org/officeDocument/2006/relationships/slideMaster" Target="../slideMasters/slideMaster18.xml"/></Relationships>
</file>

<file path=ppt/slideLayouts/_rels/slideLayout274.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257.xml"/><Relationship Id="rId1" Type="http://schemas.openxmlformats.org/officeDocument/2006/relationships/vmlDrawing" Target="../drawings/vmlDrawing165.vml"/><Relationship Id="rId6" Type="http://schemas.openxmlformats.org/officeDocument/2006/relationships/image" Target="../media/image13.png"/><Relationship Id="rId5" Type="http://schemas.openxmlformats.org/officeDocument/2006/relationships/image" Target="../media/image5.emf"/><Relationship Id="rId4" Type="http://schemas.openxmlformats.org/officeDocument/2006/relationships/oleObject" Target="../embeddings/oleObject165.bin"/></Relationships>
</file>

<file path=ppt/slideLayouts/_rels/slideLayout275.xml.rels><?xml version="1.0" encoding="UTF-8" standalone="yes"?>
<Relationships xmlns="http://schemas.openxmlformats.org/package/2006/relationships"><Relationship Id="rId3" Type="http://schemas.openxmlformats.org/officeDocument/2006/relationships/tags" Target="../tags/tag259.xml"/><Relationship Id="rId2" Type="http://schemas.openxmlformats.org/officeDocument/2006/relationships/tags" Target="../tags/tag258.xml"/><Relationship Id="rId1" Type="http://schemas.openxmlformats.org/officeDocument/2006/relationships/vmlDrawing" Target="../drawings/vmlDrawing166.vml"/><Relationship Id="rId6" Type="http://schemas.openxmlformats.org/officeDocument/2006/relationships/image" Target="../media/image5.emf"/><Relationship Id="rId5" Type="http://schemas.openxmlformats.org/officeDocument/2006/relationships/oleObject" Target="../embeddings/oleObject166.bin"/><Relationship Id="rId4" Type="http://schemas.openxmlformats.org/officeDocument/2006/relationships/slideMaster" Target="../slideMasters/slideMaster18.xml"/></Relationships>
</file>

<file path=ppt/slideLayouts/_rels/slideLayout276.xml.rels><?xml version="1.0" encoding="UTF-8" standalone="yes"?>
<Relationships xmlns="http://schemas.openxmlformats.org/package/2006/relationships"><Relationship Id="rId3" Type="http://schemas.openxmlformats.org/officeDocument/2006/relationships/tags" Target="../tags/tag261.xml"/><Relationship Id="rId7" Type="http://schemas.openxmlformats.org/officeDocument/2006/relationships/image" Target="../media/image14.png"/><Relationship Id="rId2" Type="http://schemas.openxmlformats.org/officeDocument/2006/relationships/tags" Target="../tags/tag260.xml"/><Relationship Id="rId1" Type="http://schemas.openxmlformats.org/officeDocument/2006/relationships/vmlDrawing" Target="../drawings/vmlDrawing167.vml"/><Relationship Id="rId6" Type="http://schemas.openxmlformats.org/officeDocument/2006/relationships/image" Target="../media/image5.emf"/><Relationship Id="rId5" Type="http://schemas.openxmlformats.org/officeDocument/2006/relationships/oleObject" Target="../embeddings/oleObject167.bin"/><Relationship Id="rId4" Type="http://schemas.openxmlformats.org/officeDocument/2006/relationships/slideMaster" Target="../slideMasters/slideMaster18.xml"/></Relationships>
</file>

<file path=ppt/slideLayouts/_rels/slideLayout277.xml.rels><?xml version="1.0" encoding="UTF-8" standalone="yes"?>
<Relationships xmlns="http://schemas.openxmlformats.org/package/2006/relationships"><Relationship Id="rId3" Type="http://schemas.openxmlformats.org/officeDocument/2006/relationships/tags" Target="../tags/tag263.xml"/><Relationship Id="rId2" Type="http://schemas.openxmlformats.org/officeDocument/2006/relationships/tags" Target="../tags/tag262.xml"/><Relationship Id="rId1" Type="http://schemas.openxmlformats.org/officeDocument/2006/relationships/vmlDrawing" Target="../drawings/vmlDrawing168.vml"/><Relationship Id="rId6" Type="http://schemas.openxmlformats.org/officeDocument/2006/relationships/image" Target="../media/image5.emf"/><Relationship Id="rId5" Type="http://schemas.openxmlformats.org/officeDocument/2006/relationships/oleObject" Target="../embeddings/oleObject168.bin"/><Relationship Id="rId4" Type="http://schemas.openxmlformats.org/officeDocument/2006/relationships/slideMaster" Target="../slideMasters/slideMaster18.xml"/></Relationships>
</file>

<file path=ppt/slideLayouts/_rels/slideLayout278.xml.rels><?xml version="1.0" encoding="UTF-8" standalone="yes"?>
<Relationships xmlns="http://schemas.openxmlformats.org/package/2006/relationships"><Relationship Id="rId3" Type="http://schemas.openxmlformats.org/officeDocument/2006/relationships/tags" Target="../tags/tag265.xml"/><Relationship Id="rId2" Type="http://schemas.openxmlformats.org/officeDocument/2006/relationships/tags" Target="../tags/tag264.xml"/><Relationship Id="rId1" Type="http://schemas.openxmlformats.org/officeDocument/2006/relationships/vmlDrawing" Target="../drawings/vmlDrawing169.vml"/><Relationship Id="rId6" Type="http://schemas.openxmlformats.org/officeDocument/2006/relationships/image" Target="../media/image5.emf"/><Relationship Id="rId5" Type="http://schemas.openxmlformats.org/officeDocument/2006/relationships/oleObject" Target="../embeddings/oleObject169.bin"/><Relationship Id="rId4" Type="http://schemas.openxmlformats.org/officeDocument/2006/relationships/slideMaster" Target="../slideMasters/slideMaster18.xml"/></Relationships>
</file>

<file path=ppt/slideLayouts/_rels/slideLayout279.xml.rels><?xml version="1.0" encoding="UTF-8" standalone="yes"?>
<Relationships xmlns="http://schemas.openxmlformats.org/package/2006/relationships"><Relationship Id="rId3" Type="http://schemas.openxmlformats.org/officeDocument/2006/relationships/tags" Target="../tags/tag267.xml"/><Relationship Id="rId2" Type="http://schemas.openxmlformats.org/officeDocument/2006/relationships/tags" Target="../tags/tag266.xml"/><Relationship Id="rId1" Type="http://schemas.openxmlformats.org/officeDocument/2006/relationships/vmlDrawing" Target="../drawings/vmlDrawing170.vml"/><Relationship Id="rId6" Type="http://schemas.openxmlformats.org/officeDocument/2006/relationships/image" Target="../media/image5.emf"/><Relationship Id="rId5" Type="http://schemas.openxmlformats.org/officeDocument/2006/relationships/oleObject" Target="../embeddings/oleObject170.bin"/><Relationship Id="rId4" Type="http://schemas.openxmlformats.org/officeDocument/2006/relationships/slideMaster" Target="../slideMasters/slideMaster18.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5.xml"/></Relationships>
</file>

<file path=ppt/slideLayouts/_rels/slideLayout280.xml.rels><?xml version="1.0" encoding="UTF-8" standalone="yes"?>
<Relationships xmlns="http://schemas.openxmlformats.org/package/2006/relationships"><Relationship Id="rId3" Type="http://schemas.openxmlformats.org/officeDocument/2006/relationships/slideMaster" Target="../slideMasters/slideMaster19.xml"/><Relationship Id="rId7" Type="http://schemas.openxmlformats.org/officeDocument/2006/relationships/image" Target="../media/image9.jpeg"/><Relationship Id="rId2" Type="http://schemas.openxmlformats.org/officeDocument/2006/relationships/tags" Target="../tags/tag269.xml"/><Relationship Id="rId1" Type="http://schemas.openxmlformats.org/officeDocument/2006/relationships/vmlDrawing" Target="../drawings/vmlDrawing172.vml"/><Relationship Id="rId6" Type="http://schemas.openxmlformats.org/officeDocument/2006/relationships/image" Target="../media/image8.jpeg"/><Relationship Id="rId5" Type="http://schemas.openxmlformats.org/officeDocument/2006/relationships/image" Target="../media/image5.emf"/><Relationship Id="rId4" Type="http://schemas.openxmlformats.org/officeDocument/2006/relationships/oleObject" Target="../embeddings/oleObject172.bin"/></Relationships>
</file>

<file path=ppt/slideLayouts/_rels/slideLayout281.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270.xml"/><Relationship Id="rId1" Type="http://schemas.openxmlformats.org/officeDocument/2006/relationships/vmlDrawing" Target="../drawings/vmlDrawing173.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173.bin"/></Relationships>
</file>

<file path=ppt/slideLayouts/_rels/slideLayout282.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271.xml"/><Relationship Id="rId1" Type="http://schemas.openxmlformats.org/officeDocument/2006/relationships/vmlDrawing" Target="../drawings/vmlDrawing174.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174.bin"/></Relationships>
</file>

<file path=ppt/slideLayouts/_rels/slideLayout283.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272.xml"/><Relationship Id="rId1" Type="http://schemas.openxmlformats.org/officeDocument/2006/relationships/vmlDrawing" Target="../drawings/vmlDrawing175.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175.bin"/></Relationships>
</file>

<file path=ppt/slideLayouts/_rels/slideLayout284.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273.xml"/><Relationship Id="rId1" Type="http://schemas.openxmlformats.org/officeDocument/2006/relationships/vmlDrawing" Target="../drawings/vmlDrawing176.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176.bin"/></Relationships>
</file>

<file path=ppt/slideLayouts/_rels/slideLayout285.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274.xml"/><Relationship Id="rId1" Type="http://schemas.openxmlformats.org/officeDocument/2006/relationships/vmlDrawing" Target="../drawings/vmlDrawing177.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177.bin"/></Relationships>
</file>

<file path=ppt/slideLayouts/_rels/slideLayout286.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275.xml"/><Relationship Id="rId1" Type="http://schemas.openxmlformats.org/officeDocument/2006/relationships/vmlDrawing" Target="../drawings/vmlDrawing178.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178.bin"/></Relationships>
</file>

<file path=ppt/slideLayouts/_rels/slideLayout287.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276.xml"/><Relationship Id="rId1" Type="http://schemas.openxmlformats.org/officeDocument/2006/relationships/vmlDrawing" Target="../drawings/vmlDrawing179.vml"/><Relationship Id="rId5" Type="http://schemas.openxmlformats.org/officeDocument/2006/relationships/image" Target="../media/image5.emf"/><Relationship Id="rId4" Type="http://schemas.openxmlformats.org/officeDocument/2006/relationships/oleObject" Target="../embeddings/oleObject179.bin"/></Relationships>
</file>

<file path=ppt/slideLayouts/_rels/slideLayout288.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277.xml"/><Relationship Id="rId1" Type="http://schemas.openxmlformats.org/officeDocument/2006/relationships/vmlDrawing" Target="../drawings/vmlDrawing180.vml"/><Relationship Id="rId5" Type="http://schemas.openxmlformats.org/officeDocument/2006/relationships/image" Target="../media/image5.emf"/><Relationship Id="rId4" Type="http://schemas.openxmlformats.org/officeDocument/2006/relationships/oleObject" Target="../embeddings/oleObject180.bin"/></Relationships>
</file>

<file path=ppt/slideLayouts/_rels/slideLayout289.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278.xml"/><Relationship Id="rId1" Type="http://schemas.openxmlformats.org/officeDocument/2006/relationships/vmlDrawing" Target="../drawings/vmlDrawing181.vml"/><Relationship Id="rId5" Type="http://schemas.openxmlformats.org/officeDocument/2006/relationships/image" Target="../media/image5.emf"/><Relationship Id="rId4" Type="http://schemas.openxmlformats.org/officeDocument/2006/relationships/oleObject" Target="../embeddings/oleObject181.bin"/></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90.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279.xml"/><Relationship Id="rId1" Type="http://schemas.openxmlformats.org/officeDocument/2006/relationships/vmlDrawing" Target="../drawings/vmlDrawing182.vml"/><Relationship Id="rId5" Type="http://schemas.openxmlformats.org/officeDocument/2006/relationships/image" Target="../media/image5.emf"/><Relationship Id="rId4" Type="http://schemas.openxmlformats.org/officeDocument/2006/relationships/oleObject" Target="../embeddings/oleObject182.bin"/></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94.xml.rels><?xml version="1.0" encoding="UTF-8" standalone="yes"?>
<Relationships xmlns="http://schemas.openxmlformats.org/package/2006/relationships"><Relationship Id="rId3" Type="http://schemas.openxmlformats.org/officeDocument/2006/relationships/slideMaster" Target="../slideMasters/slideMaster20.xml"/><Relationship Id="rId7" Type="http://schemas.openxmlformats.org/officeDocument/2006/relationships/image" Target="../media/image24.jpeg"/><Relationship Id="rId2" Type="http://schemas.openxmlformats.org/officeDocument/2006/relationships/tags" Target="../tags/tag281.xml"/><Relationship Id="rId1" Type="http://schemas.openxmlformats.org/officeDocument/2006/relationships/vmlDrawing" Target="../drawings/vmlDrawing184.vml"/><Relationship Id="rId6" Type="http://schemas.openxmlformats.org/officeDocument/2006/relationships/image" Target="../media/image23.jpeg"/><Relationship Id="rId5" Type="http://schemas.openxmlformats.org/officeDocument/2006/relationships/image" Target="../media/image5.emf"/><Relationship Id="rId4" Type="http://schemas.openxmlformats.org/officeDocument/2006/relationships/oleObject" Target="../embeddings/oleObject184.bin"/></Relationships>
</file>

<file path=ppt/slideLayouts/_rels/slideLayout295.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282.xml"/><Relationship Id="rId1" Type="http://schemas.openxmlformats.org/officeDocument/2006/relationships/vmlDrawing" Target="../drawings/vmlDrawing185.vml"/><Relationship Id="rId6" Type="http://schemas.openxmlformats.org/officeDocument/2006/relationships/image" Target="../media/image25.jpeg"/><Relationship Id="rId5" Type="http://schemas.openxmlformats.org/officeDocument/2006/relationships/image" Target="../media/image5.emf"/><Relationship Id="rId4" Type="http://schemas.openxmlformats.org/officeDocument/2006/relationships/oleObject" Target="../embeddings/oleObject185.bin"/></Relationships>
</file>

<file path=ppt/slideLayouts/_rels/slideLayout296.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283.xml"/><Relationship Id="rId1" Type="http://schemas.openxmlformats.org/officeDocument/2006/relationships/vmlDrawing" Target="../drawings/vmlDrawing186.vml"/><Relationship Id="rId6" Type="http://schemas.openxmlformats.org/officeDocument/2006/relationships/image" Target="../media/image25.jpeg"/><Relationship Id="rId5" Type="http://schemas.openxmlformats.org/officeDocument/2006/relationships/image" Target="../media/image5.emf"/><Relationship Id="rId4" Type="http://schemas.openxmlformats.org/officeDocument/2006/relationships/oleObject" Target="../embeddings/oleObject186.bin"/></Relationships>
</file>

<file path=ppt/slideLayouts/_rels/slideLayout297.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284.xml"/><Relationship Id="rId1" Type="http://schemas.openxmlformats.org/officeDocument/2006/relationships/vmlDrawing" Target="../drawings/vmlDrawing187.vml"/><Relationship Id="rId6" Type="http://schemas.openxmlformats.org/officeDocument/2006/relationships/image" Target="../media/image25.jpeg"/><Relationship Id="rId5" Type="http://schemas.openxmlformats.org/officeDocument/2006/relationships/image" Target="../media/image5.emf"/><Relationship Id="rId4" Type="http://schemas.openxmlformats.org/officeDocument/2006/relationships/oleObject" Target="../embeddings/oleObject187.bin"/></Relationships>
</file>

<file path=ppt/slideLayouts/_rels/slideLayout298.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285.xml"/><Relationship Id="rId1" Type="http://schemas.openxmlformats.org/officeDocument/2006/relationships/vmlDrawing" Target="../drawings/vmlDrawing188.vml"/><Relationship Id="rId6" Type="http://schemas.openxmlformats.org/officeDocument/2006/relationships/image" Target="../media/image25.jpeg"/><Relationship Id="rId5" Type="http://schemas.openxmlformats.org/officeDocument/2006/relationships/image" Target="../media/image5.emf"/><Relationship Id="rId4" Type="http://schemas.openxmlformats.org/officeDocument/2006/relationships/oleObject" Target="../embeddings/oleObject188.bin"/></Relationships>
</file>

<file path=ppt/slideLayouts/_rels/slideLayout299.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286.xml"/><Relationship Id="rId1" Type="http://schemas.openxmlformats.org/officeDocument/2006/relationships/vmlDrawing" Target="../drawings/vmlDrawing189.vml"/><Relationship Id="rId6" Type="http://schemas.openxmlformats.org/officeDocument/2006/relationships/image" Target="../media/image25.jpeg"/><Relationship Id="rId5" Type="http://schemas.openxmlformats.org/officeDocument/2006/relationships/image" Target="../media/image5.emf"/><Relationship Id="rId4" Type="http://schemas.openxmlformats.org/officeDocument/2006/relationships/oleObject" Target="../embeddings/oleObject189.bin"/></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emf"/><Relationship Id="rId1" Type="http://schemas.openxmlformats.org/officeDocument/2006/relationships/slideMaster" Target="../slideMasters/slideMaster5.xml"/></Relationships>
</file>

<file path=ppt/slideLayouts/_rels/slideLayout300.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287.xml"/><Relationship Id="rId1" Type="http://schemas.openxmlformats.org/officeDocument/2006/relationships/vmlDrawing" Target="../drawings/vmlDrawing190.vml"/><Relationship Id="rId6" Type="http://schemas.openxmlformats.org/officeDocument/2006/relationships/image" Target="../media/image25.jpeg"/><Relationship Id="rId5" Type="http://schemas.openxmlformats.org/officeDocument/2006/relationships/image" Target="../media/image5.emf"/><Relationship Id="rId4" Type="http://schemas.openxmlformats.org/officeDocument/2006/relationships/oleObject" Target="../embeddings/oleObject190.bin"/></Relationships>
</file>

<file path=ppt/slideLayouts/_rels/slideLayout301.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288.xml"/><Relationship Id="rId1" Type="http://schemas.openxmlformats.org/officeDocument/2006/relationships/vmlDrawing" Target="../drawings/vmlDrawing191.vml"/><Relationship Id="rId5" Type="http://schemas.openxmlformats.org/officeDocument/2006/relationships/image" Target="../media/image5.emf"/><Relationship Id="rId4" Type="http://schemas.openxmlformats.org/officeDocument/2006/relationships/oleObject" Target="../embeddings/oleObject191.bin"/></Relationships>
</file>

<file path=ppt/slideLayouts/_rels/slideLayout302.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289.xml"/><Relationship Id="rId1" Type="http://schemas.openxmlformats.org/officeDocument/2006/relationships/vmlDrawing" Target="../drawings/vmlDrawing192.vml"/><Relationship Id="rId5" Type="http://schemas.openxmlformats.org/officeDocument/2006/relationships/image" Target="../media/image5.emf"/><Relationship Id="rId4" Type="http://schemas.openxmlformats.org/officeDocument/2006/relationships/oleObject" Target="../embeddings/oleObject192.bin"/></Relationships>
</file>

<file path=ppt/slideLayouts/_rels/slideLayout303.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290.xml"/><Relationship Id="rId1" Type="http://schemas.openxmlformats.org/officeDocument/2006/relationships/vmlDrawing" Target="../drawings/vmlDrawing193.vml"/><Relationship Id="rId5" Type="http://schemas.openxmlformats.org/officeDocument/2006/relationships/image" Target="../media/image5.emf"/><Relationship Id="rId4" Type="http://schemas.openxmlformats.org/officeDocument/2006/relationships/oleObject" Target="../embeddings/oleObject193.bin"/></Relationships>
</file>

<file path=ppt/slideLayouts/_rels/slideLayout304.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291.xml"/><Relationship Id="rId1" Type="http://schemas.openxmlformats.org/officeDocument/2006/relationships/vmlDrawing" Target="../drawings/vmlDrawing194.vml"/><Relationship Id="rId5" Type="http://schemas.openxmlformats.org/officeDocument/2006/relationships/image" Target="../media/image5.emf"/><Relationship Id="rId4" Type="http://schemas.openxmlformats.org/officeDocument/2006/relationships/oleObject" Target="../embeddings/oleObject194.bin"/></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07.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08.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09.xml.rels><?xml version="1.0" encoding="UTF-8" standalone="yes"?>
<Relationships xmlns="http://schemas.openxmlformats.org/package/2006/relationships"><Relationship Id="rId3" Type="http://schemas.openxmlformats.org/officeDocument/2006/relationships/slideMaster" Target="../slideMasters/slideMaster21.xml"/><Relationship Id="rId7" Type="http://schemas.openxmlformats.org/officeDocument/2006/relationships/image" Target="../media/image24.jpeg"/><Relationship Id="rId2" Type="http://schemas.openxmlformats.org/officeDocument/2006/relationships/tags" Target="../tags/tag293.xml"/><Relationship Id="rId1" Type="http://schemas.openxmlformats.org/officeDocument/2006/relationships/vmlDrawing" Target="../drawings/vmlDrawing196.vml"/><Relationship Id="rId6" Type="http://schemas.openxmlformats.org/officeDocument/2006/relationships/image" Target="../media/image23.jpeg"/><Relationship Id="rId5" Type="http://schemas.openxmlformats.org/officeDocument/2006/relationships/image" Target="../media/image5.emf"/><Relationship Id="rId4" Type="http://schemas.openxmlformats.org/officeDocument/2006/relationships/oleObject" Target="../embeddings/oleObject196.bin"/></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10.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294.xml"/><Relationship Id="rId1" Type="http://schemas.openxmlformats.org/officeDocument/2006/relationships/vmlDrawing" Target="../drawings/vmlDrawing197.vml"/><Relationship Id="rId6" Type="http://schemas.openxmlformats.org/officeDocument/2006/relationships/image" Target="../media/image25.jpeg"/><Relationship Id="rId5" Type="http://schemas.openxmlformats.org/officeDocument/2006/relationships/image" Target="../media/image5.emf"/><Relationship Id="rId4" Type="http://schemas.openxmlformats.org/officeDocument/2006/relationships/oleObject" Target="../embeddings/oleObject197.bin"/></Relationships>
</file>

<file path=ppt/slideLayouts/_rels/slideLayout311.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295.xml"/><Relationship Id="rId1" Type="http://schemas.openxmlformats.org/officeDocument/2006/relationships/vmlDrawing" Target="../drawings/vmlDrawing198.vml"/><Relationship Id="rId6" Type="http://schemas.openxmlformats.org/officeDocument/2006/relationships/image" Target="../media/image25.jpeg"/><Relationship Id="rId5" Type="http://schemas.openxmlformats.org/officeDocument/2006/relationships/image" Target="../media/image5.emf"/><Relationship Id="rId4" Type="http://schemas.openxmlformats.org/officeDocument/2006/relationships/oleObject" Target="../embeddings/oleObject198.bin"/></Relationships>
</file>

<file path=ppt/slideLayouts/_rels/slideLayout312.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296.xml"/><Relationship Id="rId1" Type="http://schemas.openxmlformats.org/officeDocument/2006/relationships/vmlDrawing" Target="../drawings/vmlDrawing199.vml"/><Relationship Id="rId6" Type="http://schemas.openxmlformats.org/officeDocument/2006/relationships/image" Target="../media/image25.jpeg"/><Relationship Id="rId5" Type="http://schemas.openxmlformats.org/officeDocument/2006/relationships/image" Target="../media/image5.emf"/><Relationship Id="rId4" Type="http://schemas.openxmlformats.org/officeDocument/2006/relationships/oleObject" Target="../embeddings/oleObject199.bin"/></Relationships>
</file>

<file path=ppt/slideLayouts/_rels/slideLayout313.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297.xml"/><Relationship Id="rId1" Type="http://schemas.openxmlformats.org/officeDocument/2006/relationships/vmlDrawing" Target="../drawings/vmlDrawing200.vml"/><Relationship Id="rId6" Type="http://schemas.openxmlformats.org/officeDocument/2006/relationships/image" Target="../media/image25.jpeg"/><Relationship Id="rId5" Type="http://schemas.openxmlformats.org/officeDocument/2006/relationships/image" Target="../media/image5.emf"/><Relationship Id="rId4" Type="http://schemas.openxmlformats.org/officeDocument/2006/relationships/oleObject" Target="../embeddings/oleObject200.bin"/></Relationships>
</file>

<file path=ppt/slideLayouts/_rels/slideLayout314.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298.xml"/><Relationship Id="rId1" Type="http://schemas.openxmlformats.org/officeDocument/2006/relationships/vmlDrawing" Target="../drawings/vmlDrawing201.vml"/><Relationship Id="rId6" Type="http://schemas.openxmlformats.org/officeDocument/2006/relationships/image" Target="../media/image25.jpeg"/><Relationship Id="rId5" Type="http://schemas.openxmlformats.org/officeDocument/2006/relationships/image" Target="../media/image5.emf"/><Relationship Id="rId4" Type="http://schemas.openxmlformats.org/officeDocument/2006/relationships/oleObject" Target="../embeddings/oleObject201.bin"/></Relationships>
</file>

<file path=ppt/slideLayouts/_rels/slideLayout315.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299.xml"/><Relationship Id="rId1" Type="http://schemas.openxmlformats.org/officeDocument/2006/relationships/vmlDrawing" Target="../drawings/vmlDrawing202.vml"/><Relationship Id="rId6" Type="http://schemas.openxmlformats.org/officeDocument/2006/relationships/image" Target="../media/image25.jpeg"/><Relationship Id="rId5" Type="http://schemas.openxmlformats.org/officeDocument/2006/relationships/image" Target="../media/image5.emf"/><Relationship Id="rId4" Type="http://schemas.openxmlformats.org/officeDocument/2006/relationships/oleObject" Target="../embeddings/oleObject202.bin"/></Relationships>
</file>

<file path=ppt/slideLayouts/_rels/slideLayout316.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300.xml"/><Relationship Id="rId1" Type="http://schemas.openxmlformats.org/officeDocument/2006/relationships/vmlDrawing" Target="../drawings/vmlDrawing203.vml"/><Relationship Id="rId5" Type="http://schemas.openxmlformats.org/officeDocument/2006/relationships/image" Target="../media/image5.emf"/><Relationship Id="rId4" Type="http://schemas.openxmlformats.org/officeDocument/2006/relationships/oleObject" Target="../embeddings/oleObject203.bin"/></Relationships>
</file>

<file path=ppt/slideLayouts/_rels/slideLayout317.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301.xml"/><Relationship Id="rId1" Type="http://schemas.openxmlformats.org/officeDocument/2006/relationships/vmlDrawing" Target="../drawings/vmlDrawing204.vml"/><Relationship Id="rId5" Type="http://schemas.openxmlformats.org/officeDocument/2006/relationships/image" Target="../media/image5.emf"/><Relationship Id="rId4" Type="http://schemas.openxmlformats.org/officeDocument/2006/relationships/oleObject" Target="../embeddings/oleObject204.bin"/></Relationships>
</file>

<file path=ppt/slideLayouts/_rels/slideLayout318.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302.xml"/><Relationship Id="rId1" Type="http://schemas.openxmlformats.org/officeDocument/2006/relationships/vmlDrawing" Target="../drawings/vmlDrawing205.vml"/><Relationship Id="rId5" Type="http://schemas.openxmlformats.org/officeDocument/2006/relationships/image" Target="../media/image5.emf"/><Relationship Id="rId4" Type="http://schemas.openxmlformats.org/officeDocument/2006/relationships/oleObject" Target="../embeddings/oleObject205.bin"/></Relationships>
</file>

<file path=ppt/slideLayouts/_rels/slideLayout319.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303.xml"/><Relationship Id="rId1" Type="http://schemas.openxmlformats.org/officeDocument/2006/relationships/vmlDrawing" Target="../drawings/vmlDrawing206.vml"/><Relationship Id="rId5" Type="http://schemas.openxmlformats.org/officeDocument/2006/relationships/image" Target="../media/image5.emf"/><Relationship Id="rId4" Type="http://schemas.openxmlformats.org/officeDocument/2006/relationships/oleObject" Target="../embeddings/oleObject206.bin"/></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20.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21.xml.rels><?xml version="1.0" encoding="UTF-8" standalone="yes"?>
<Relationships xmlns="http://schemas.openxmlformats.org/package/2006/relationships"><Relationship Id="rId3" Type="http://schemas.openxmlformats.org/officeDocument/2006/relationships/slideMaster" Target="../slideMasters/slideMaster22.xml"/><Relationship Id="rId7" Type="http://schemas.openxmlformats.org/officeDocument/2006/relationships/image" Target="../media/image24.jpeg"/><Relationship Id="rId2" Type="http://schemas.openxmlformats.org/officeDocument/2006/relationships/tags" Target="../tags/tag305.xml"/><Relationship Id="rId1" Type="http://schemas.openxmlformats.org/officeDocument/2006/relationships/vmlDrawing" Target="../drawings/vmlDrawing208.vml"/><Relationship Id="rId6" Type="http://schemas.openxmlformats.org/officeDocument/2006/relationships/image" Target="../media/image23.jpeg"/><Relationship Id="rId5" Type="http://schemas.openxmlformats.org/officeDocument/2006/relationships/image" Target="../media/image5.emf"/><Relationship Id="rId4" Type="http://schemas.openxmlformats.org/officeDocument/2006/relationships/oleObject" Target="../embeddings/oleObject208.bin"/></Relationships>
</file>

<file path=ppt/slideLayouts/_rels/slideLayout322.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306.xml"/><Relationship Id="rId1" Type="http://schemas.openxmlformats.org/officeDocument/2006/relationships/vmlDrawing" Target="../drawings/vmlDrawing209.vml"/><Relationship Id="rId6" Type="http://schemas.openxmlformats.org/officeDocument/2006/relationships/image" Target="../media/image25.jpeg"/><Relationship Id="rId5" Type="http://schemas.openxmlformats.org/officeDocument/2006/relationships/image" Target="../media/image5.emf"/><Relationship Id="rId4" Type="http://schemas.openxmlformats.org/officeDocument/2006/relationships/oleObject" Target="../embeddings/oleObject209.bin"/></Relationships>
</file>

<file path=ppt/slideLayouts/_rels/slideLayout323.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307.xml"/><Relationship Id="rId1" Type="http://schemas.openxmlformats.org/officeDocument/2006/relationships/vmlDrawing" Target="../drawings/vmlDrawing210.vml"/><Relationship Id="rId6" Type="http://schemas.openxmlformats.org/officeDocument/2006/relationships/image" Target="../media/image25.jpeg"/><Relationship Id="rId5" Type="http://schemas.openxmlformats.org/officeDocument/2006/relationships/image" Target="../media/image5.emf"/><Relationship Id="rId4" Type="http://schemas.openxmlformats.org/officeDocument/2006/relationships/oleObject" Target="../embeddings/oleObject210.bin"/></Relationships>
</file>

<file path=ppt/slideLayouts/_rels/slideLayout324.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308.xml"/><Relationship Id="rId1" Type="http://schemas.openxmlformats.org/officeDocument/2006/relationships/vmlDrawing" Target="../drawings/vmlDrawing211.vml"/><Relationship Id="rId6" Type="http://schemas.openxmlformats.org/officeDocument/2006/relationships/image" Target="../media/image25.jpeg"/><Relationship Id="rId5" Type="http://schemas.openxmlformats.org/officeDocument/2006/relationships/image" Target="../media/image5.emf"/><Relationship Id="rId4" Type="http://schemas.openxmlformats.org/officeDocument/2006/relationships/oleObject" Target="../embeddings/oleObject211.bin"/></Relationships>
</file>

<file path=ppt/slideLayouts/_rels/slideLayout325.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309.xml"/><Relationship Id="rId1" Type="http://schemas.openxmlformats.org/officeDocument/2006/relationships/vmlDrawing" Target="../drawings/vmlDrawing212.vml"/><Relationship Id="rId6" Type="http://schemas.openxmlformats.org/officeDocument/2006/relationships/image" Target="../media/image25.jpeg"/><Relationship Id="rId5" Type="http://schemas.openxmlformats.org/officeDocument/2006/relationships/image" Target="../media/image5.emf"/><Relationship Id="rId4" Type="http://schemas.openxmlformats.org/officeDocument/2006/relationships/oleObject" Target="../embeddings/oleObject212.bin"/></Relationships>
</file>

<file path=ppt/slideLayouts/_rels/slideLayout326.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310.xml"/><Relationship Id="rId1" Type="http://schemas.openxmlformats.org/officeDocument/2006/relationships/vmlDrawing" Target="../drawings/vmlDrawing213.vml"/><Relationship Id="rId6" Type="http://schemas.openxmlformats.org/officeDocument/2006/relationships/image" Target="../media/image25.jpeg"/><Relationship Id="rId5" Type="http://schemas.openxmlformats.org/officeDocument/2006/relationships/image" Target="../media/image5.emf"/><Relationship Id="rId4" Type="http://schemas.openxmlformats.org/officeDocument/2006/relationships/oleObject" Target="../embeddings/oleObject213.bin"/></Relationships>
</file>

<file path=ppt/slideLayouts/_rels/slideLayout327.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311.xml"/><Relationship Id="rId1" Type="http://schemas.openxmlformats.org/officeDocument/2006/relationships/vmlDrawing" Target="../drawings/vmlDrawing214.vml"/><Relationship Id="rId6" Type="http://schemas.openxmlformats.org/officeDocument/2006/relationships/image" Target="../media/image25.jpeg"/><Relationship Id="rId5" Type="http://schemas.openxmlformats.org/officeDocument/2006/relationships/image" Target="../media/image5.emf"/><Relationship Id="rId4" Type="http://schemas.openxmlformats.org/officeDocument/2006/relationships/oleObject" Target="../embeddings/oleObject214.bin"/></Relationships>
</file>

<file path=ppt/slideLayouts/_rels/slideLayout328.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312.xml"/><Relationship Id="rId1" Type="http://schemas.openxmlformats.org/officeDocument/2006/relationships/vmlDrawing" Target="../drawings/vmlDrawing215.vml"/><Relationship Id="rId5" Type="http://schemas.openxmlformats.org/officeDocument/2006/relationships/image" Target="../media/image5.emf"/><Relationship Id="rId4" Type="http://schemas.openxmlformats.org/officeDocument/2006/relationships/oleObject" Target="../embeddings/oleObject215.bin"/></Relationships>
</file>

<file path=ppt/slideLayouts/_rels/slideLayout329.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313.xml"/><Relationship Id="rId1" Type="http://schemas.openxmlformats.org/officeDocument/2006/relationships/vmlDrawing" Target="../drawings/vmlDrawing216.vml"/><Relationship Id="rId5" Type="http://schemas.openxmlformats.org/officeDocument/2006/relationships/image" Target="../media/image5.emf"/><Relationship Id="rId4" Type="http://schemas.openxmlformats.org/officeDocument/2006/relationships/oleObject" Target="../embeddings/oleObject216.bin"/></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6.xml"/><Relationship Id="rId7" Type="http://schemas.openxmlformats.org/officeDocument/2006/relationships/image" Target="../media/image9.jpeg"/><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8.jpeg"/><Relationship Id="rId5" Type="http://schemas.openxmlformats.org/officeDocument/2006/relationships/image" Target="../media/image5.emf"/><Relationship Id="rId4" Type="http://schemas.openxmlformats.org/officeDocument/2006/relationships/oleObject" Target="../embeddings/oleObject2.bin"/></Relationships>
</file>

<file path=ppt/slideLayouts/_rels/slideLayout330.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314.xml"/><Relationship Id="rId1" Type="http://schemas.openxmlformats.org/officeDocument/2006/relationships/vmlDrawing" Target="../drawings/vmlDrawing217.vml"/><Relationship Id="rId5" Type="http://schemas.openxmlformats.org/officeDocument/2006/relationships/image" Target="../media/image5.emf"/><Relationship Id="rId4" Type="http://schemas.openxmlformats.org/officeDocument/2006/relationships/oleObject" Target="../embeddings/oleObject217.bin"/></Relationships>
</file>

<file path=ppt/slideLayouts/_rels/slideLayout331.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315.xml"/><Relationship Id="rId1" Type="http://schemas.openxmlformats.org/officeDocument/2006/relationships/vmlDrawing" Target="../drawings/vmlDrawing218.vml"/><Relationship Id="rId5" Type="http://schemas.openxmlformats.org/officeDocument/2006/relationships/image" Target="../media/image5.emf"/><Relationship Id="rId4" Type="http://schemas.openxmlformats.org/officeDocument/2006/relationships/oleObject" Target="../embeddings/oleObject218.bin"/></Relationships>
</file>

<file path=ppt/slideLayouts/_rels/slideLayout332.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333.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334.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335.xml.rels><?xml version="1.0" encoding="UTF-8" standalone="yes"?>
<Relationships xmlns="http://schemas.openxmlformats.org/package/2006/relationships"><Relationship Id="rId3" Type="http://schemas.openxmlformats.org/officeDocument/2006/relationships/slideMaster" Target="../slideMasters/slideMaster23.xml"/><Relationship Id="rId7" Type="http://schemas.openxmlformats.org/officeDocument/2006/relationships/image" Target="../media/image9.jpeg"/><Relationship Id="rId2" Type="http://schemas.openxmlformats.org/officeDocument/2006/relationships/tags" Target="../tags/tag317.xml"/><Relationship Id="rId1" Type="http://schemas.openxmlformats.org/officeDocument/2006/relationships/vmlDrawing" Target="../drawings/vmlDrawing220.vml"/><Relationship Id="rId6" Type="http://schemas.openxmlformats.org/officeDocument/2006/relationships/image" Target="../media/image8.jpeg"/><Relationship Id="rId5" Type="http://schemas.openxmlformats.org/officeDocument/2006/relationships/image" Target="../media/image5.emf"/><Relationship Id="rId4" Type="http://schemas.openxmlformats.org/officeDocument/2006/relationships/oleObject" Target="../embeddings/oleObject220.bin"/></Relationships>
</file>

<file path=ppt/slideLayouts/_rels/slideLayout336.xml.rels><?xml version="1.0" encoding="UTF-8" standalone="yes"?>
<Relationships xmlns="http://schemas.openxmlformats.org/package/2006/relationships"><Relationship Id="rId3" Type="http://schemas.openxmlformats.org/officeDocument/2006/relationships/slideMaster" Target="../slideMasters/slideMaster23.xml"/><Relationship Id="rId2" Type="http://schemas.openxmlformats.org/officeDocument/2006/relationships/tags" Target="../tags/tag318.xml"/><Relationship Id="rId1" Type="http://schemas.openxmlformats.org/officeDocument/2006/relationships/vmlDrawing" Target="../drawings/vmlDrawing221.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221.bin"/></Relationships>
</file>

<file path=ppt/slideLayouts/_rels/slideLayout337.xml.rels><?xml version="1.0" encoding="UTF-8" standalone="yes"?>
<Relationships xmlns="http://schemas.openxmlformats.org/package/2006/relationships"><Relationship Id="rId3" Type="http://schemas.openxmlformats.org/officeDocument/2006/relationships/slideMaster" Target="../slideMasters/slideMaster23.xml"/><Relationship Id="rId2" Type="http://schemas.openxmlformats.org/officeDocument/2006/relationships/tags" Target="../tags/tag319.xml"/><Relationship Id="rId1" Type="http://schemas.openxmlformats.org/officeDocument/2006/relationships/vmlDrawing" Target="../drawings/vmlDrawing222.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222.bin"/></Relationships>
</file>

<file path=ppt/slideLayouts/_rels/slideLayout338.xml.rels><?xml version="1.0" encoding="UTF-8" standalone="yes"?>
<Relationships xmlns="http://schemas.openxmlformats.org/package/2006/relationships"><Relationship Id="rId3" Type="http://schemas.openxmlformats.org/officeDocument/2006/relationships/slideMaster" Target="../slideMasters/slideMaster23.xml"/><Relationship Id="rId2" Type="http://schemas.openxmlformats.org/officeDocument/2006/relationships/tags" Target="../tags/tag320.xml"/><Relationship Id="rId1" Type="http://schemas.openxmlformats.org/officeDocument/2006/relationships/vmlDrawing" Target="../drawings/vmlDrawing223.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223.bin"/></Relationships>
</file>

<file path=ppt/slideLayouts/_rels/slideLayout339.xml.rels><?xml version="1.0" encoding="UTF-8" standalone="yes"?>
<Relationships xmlns="http://schemas.openxmlformats.org/package/2006/relationships"><Relationship Id="rId3" Type="http://schemas.openxmlformats.org/officeDocument/2006/relationships/slideMaster" Target="../slideMasters/slideMaster23.xml"/><Relationship Id="rId2" Type="http://schemas.openxmlformats.org/officeDocument/2006/relationships/tags" Target="../tags/tag321.xml"/><Relationship Id="rId1" Type="http://schemas.openxmlformats.org/officeDocument/2006/relationships/vmlDrawing" Target="../drawings/vmlDrawing224.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224.bin"/></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3.bin"/></Relationships>
</file>

<file path=ppt/slideLayouts/_rels/slideLayout340.xml.rels><?xml version="1.0" encoding="UTF-8" standalone="yes"?>
<Relationships xmlns="http://schemas.openxmlformats.org/package/2006/relationships"><Relationship Id="rId3" Type="http://schemas.openxmlformats.org/officeDocument/2006/relationships/slideMaster" Target="../slideMasters/slideMaster23.xml"/><Relationship Id="rId2" Type="http://schemas.openxmlformats.org/officeDocument/2006/relationships/tags" Target="../tags/tag322.xml"/><Relationship Id="rId1" Type="http://schemas.openxmlformats.org/officeDocument/2006/relationships/vmlDrawing" Target="../drawings/vmlDrawing225.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225.bin"/></Relationships>
</file>

<file path=ppt/slideLayouts/_rels/slideLayout341.xml.rels><?xml version="1.0" encoding="UTF-8" standalone="yes"?>
<Relationships xmlns="http://schemas.openxmlformats.org/package/2006/relationships"><Relationship Id="rId3" Type="http://schemas.openxmlformats.org/officeDocument/2006/relationships/slideMaster" Target="../slideMasters/slideMaster23.xml"/><Relationship Id="rId2" Type="http://schemas.openxmlformats.org/officeDocument/2006/relationships/tags" Target="../tags/tag323.xml"/><Relationship Id="rId1" Type="http://schemas.openxmlformats.org/officeDocument/2006/relationships/vmlDrawing" Target="../drawings/vmlDrawing226.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226.bin"/></Relationships>
</file>

<file path=ppt/slideLayouts/_rels/slideLayout342.xml.rels><?xml version="1.0" encoding="UTF-8" standalone="yes"?>
<Relationships xmlns="http://schemas.openxmlformats.org/package/2006/relationships"><Relationship Id="rId3" Type="http://schemas.openxmlformats.org/officeDocument/2006/relationships/slideMaster" Target="../slideMasters/slideMaster23.xml"/><Relationship Id="rId2" Type="http://schemas.openxmlformats.org/officeDocument/2006/relationships/tags" Target="../tags/tag324.xml"/><Relationship Id="rId1" Type="http://schemas.openxmlformats.org/officeDocument/2006/relationships/vmlDrawing" Target="../drawings/vmlDrawing227.vml"/><Relationship Id="rId5" Type="http://schemas.openxmlformats.org/officeDocument/2006/relationships/image" Target="../media/image5.emf"/><Relationship Id="rId4" Type="http://schemas.openxmlformats.org/officeDocument/2006/relationships/oleObject" Target="../embeddings/oleObject227.bin"/></Relationships>
</file>

<file path=ppt/slideLayouts/_rels/slideLayout343.xml.rels><?xml version="1.0" encoding="UTF-8" standalone="yes"?>
<Relationships xmlns="http://schemas.openxmlformats.org/package/2006/relationships"><Relationship Id="rId3" Type="http://schemas.openxmlformats.org/officeDocument/2006/relationships/slideMaster" Target="../slideMasters/slideMaster23.xml"/><Relationship Id="rId2" Type="http://schemas.openxmlformats.org/officeDocument/2006/relationships/tags" Target="../tags/tag325.xml"/><Relationship Id="rId1" Type="http://schemas.openxmlformats.org/officeDocument/2006/relationships/vmlDrawing" Target="../drawings/vmlDrawing228.vml"/><Relationship Id="rId5" Type="http://schemas.openxmlformats.org/officeDocument/2006/relationships/image" Target="../media/image5.emf"/><Relationship Id="rId4" Type="http://schemas.openxmlformats.org/officeDocument/2006/relationships/oleObject" Target="../embeddings/oleObject228.bin"/></Relationships>
</file>

<file path=ppt/slideLayouts/_rels/slideLayout344.xml.rels><?xml version="1.0" encoding="UTF-8" standalone="yes"?>
<Relationships xmlns="http://schemas.openxmlformats.org/package/2006/relationships"><Relationship Id="rId3" Type="http://schemas.openxmlformats.org/officeDocument/2006/relationships/slideMaster" Target="../slideMasters/slideMaster23.xml"/><Relationship Id="rId2" Type="http://schemas.openxmlformats.org/officeDocument/2006/relationships/tags" Target="../tags/tag326.xml"/><Relationship Id="rId1" Type="http://schemas.openxmlformats.org/officeDocument/2006/relationships/vmlDrawing" Target="../drawings/vmlDrawing229.vml"/><Relationship Id="rId5" Type="http://schemas.openxmlformats.org/officeDocument/2006/relationships/image" Target="../media/image5.emf"/><Relationship Id="rId4" Type="http://schemas.openxmlformats.org/officeDocument/2006/relationships/oleObject" Target="../embeddings/oleObject229.bin"/></Relationships>
</file>

<file path=ppt/slideLayouts/_rels/slideLayout345.xml.rels><?xml version="1.0" encoding="UTF-8" standalone="yes"?>
<Relationships xmlns="http://schemas.openxmlformats.org/package/2006/relationships"><Relationship Id="rId3" Type="http://schemas.openxmlformats.org/officeDocument/2006/relationships/slideMaster" Target="../slideMasters/slideMaster23.xml"/><Relationship Id="rId2" Type="http://schemas.openxmlformats.org/officeDocument/2006/relationships/tags" Target="../tags/tag327.xml"/><Relationship Id="rId1" Type="http://schemas.openxmlformats.org/officeDocument/2006/relationships/vmlDrawing" Target="../drawings/vmlDrawing230.vml"/><Relationship Id="rId5" Type="http://schemas.openxmlformats.org/officeDocument/2006/relationships/image" Target="../media/image5.emf"/><Relationship Id="rId4" Type="http://schemas.openxmlformats.org/officeDocument/2006/relationships/oleObject" Target="../embeddings/oleObject230.bin"/></Relationships>
</file>

<file path=ppt/slideLayouts/_rels/slideLayout346.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347.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348.xml.rels><?xml version="1.0" encoding="UTF-8" standalone="yes"?>
<Relationships xmlns="http://schemas.openxmlformats.org/package/2006/relationships"><Relationship Id="rId3" Type="http://schemas.openxmlformats.org/officeDocument/2006/relationships/slideMaster" Target="../slideMasters/slideMaster24.xml"/><Relationship Id="rId7" Type="http://schemas.openxmlformats.org/officeDocument/2006/relationships/image" Target="../media/image9.jpeg"/><Relationship Id="rId2" Type="http://schemas.openxmlformats.org/officeDocument/2006/relationships/tags" Target="../tags/tag329.xml"/><Relationship Id="rId1" Type="http://schemas.openxmlformats.org/officeDocument/2006/relationships/vmlDrawing" Target="../drawings/vmlDrawing232.vml"/><Relationship Id="rId6" Type="http://schemas.openxmlformats.org/officeDocument/2006/relationships/image" Target="../media/image8.jpeg"/><Relationship Id="rId5" Type="http://schemas.openxmlformats.org/officeDocument/2006/relationships/image" Target="../media/image5.emf"/><Relationship Id="rId4" Type="http://schemas.openxmlformats.org/officeDocument/2006/relationships/oleObject" Target="../embeddings/oleObject232.bin"/></Relationships>
</file>

<file path=ppt/slideLayouts/_rels/slideLayout349.xml.rels><?xml version="1.0" encoding="UTF-8" standalone="yes"?>
<Relationships xmlns="http://schemas.openxmlformats.org/package/2006/relationships"><Relationship Id="rId3" Type="http://schemas.openxmlformats.org/officeDocument/2006/relationships/slideMaster" Target="../slideMasters/slideMaster24.xml"/><Relationship Id="rId2" Type="http://schemas.openxmlformats.org/officeDocument/2006/relationships/tags" Target="../tags/tag330.xml"/><Relationship Id="rId1" Type="http://schemas.openxmlformats.org/officeDocument/2006/relationships/vmlDrawing" Target="../drawings/vmlDrawing233.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233.bin"/></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4.bin"/></Relationships>
</file>

<file path=ppt/slideLayouts/_rels/slideLayout350.xml.rels><?xml version="1.0" encoding="UTF-8" standalone="yes"?>
<Relationships xmlns="http://schemas.openxmlformats.org/package/2006/relationships"><Relationship Id="rId3" Type="http://schemas.openxmlformats.org/officeDocument/2006/relationships/slideMaster" Target="../slideMasters/slideMaster24.xml"/><Relationship Id="rId2" Type="http://schemas.openxmlformats.org/officeDocument/2006/relationships/tags" Target="../tags/tag331.xml"/><Relationship Id="rId1" Type="http://schemas.openxmlformats.org/officeDocument/2006/relationships/vmlDrawing" Target="../drawings/vmlDrawing234.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234.bin"/></Relationships>
</file>

<file path=ppt/slideLayouts/_rels/slideLayout351.xml.rels><?xml version="1.0" encoding="UTF-8" standalone="yes"?>
<Relationships xmlns="http://schemas.openxmlformats.org/package/2006/relationships"><Relationship Id="rId3" Type="http://schemas.openxmlformats.org/officeDocument/2006/relationships/slideMaster" Target="../slideMasters/slideMaster24.xml"/><Relationship Id="rId2" Type="http://schemas.openxmlformats.org/officeDocument/2006/relationships/tags" Target="../tags/tag332.xml"/><Relationship Id="rId1" Type="http://schemas.openxmlformats.org/officeDocument/2006/relationships/vmlDrawing" Target="../drawings/vmlDrawing235.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235.bin"/></Relationships>
</file>

<file path=ppt/slideLayouts/_rels/slideLayout352.xml.rels><?xml version="1.0" encoding="UTF-8" standalone="yes"?>
<Relationships xmlns="http://schemas.openxmlformats.org/package/2006/relationships"><Relationship Id="rId3" Type="http://schemas.openxmlformats.org/officeDocument/2006/relationships/slideMaster" Target="../slideMasters/slideMaster24.xml"/><Relationship Id="rId2" Type="http://schemas.openxmlformats.org/officeDocument/2006/relationships/tags" Target="../tags/tag333.xml"/><Relationship Id="rId1" Type="http://schemas.openxmlformats.org/officeDocument/2006/relationships/vmlDrawing" Target="../drawings/vmlDrawing236.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236.bin"/></Relationships>
</file>

<file path=ppt/slideLayouts/_rels/slideLayout353.xml.rels><?xml version="1.0" encoding="UTF-8" standalone="yes"?>
<Relationships xmlns="http://schemas.openxmlformats.org/package/2006/relationships"><Relationship Id="rId3" Type="http://schemas.openxmlformats.org/officeDocument/2006/relationships/slideMaster" Target="../slideMasters/slideMaster24.xml"/><Relationship Id="rId2" Type="http://schemas.openxmlformats.org/officeDocument/2006/relationships/tags" Target="../tags/tag334.xml"/><Relationship Id="rId1" Type="http://schemas.openxmlformats.org/officeDocument/2006/relationships/vmlDrawing" Target="../drawings/vmlDrawing237.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237.bin"/></Relationships>
</file>

<file path=ppt/slideLayouts/_rels/slideLayout354.xml.rels><?xml version="1.0" encoding="UTF-8" standalone="yes"?>
<Relationships xmlns="http://schemas.openxmlformats.org/package/2006/relationships"><Relationship Id="rId3" Type="http://schemas.openxmlformats.org/officeDocument/2006/relationships/slideMaster" Target="../slideMasters/slideMaster24.xml"/><Relationship Id="rId2" Type="http://schemas.openxmlformats.org/officeDocument/2006/relationships/tags" Target="../tags/tag335.xml"/><Relationship Id="rId1" Type="http://schemas.openxmlformats.org/officeDocument/2006/relationships/vmlDrawing" Target="../drawings/vmlDrawing238.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238.bin"/></Relationships>
</file>

<file path=ppt/slideLayouts/_rels/slideLayout355.xml.rels><?xml version="1.0" encoding="UTF-8" standalone="yes"?>
<Relationships xmlns="http://schemas.openxmlformats.org/package/2006/relationships"><Relationship Id="rId3" Type="http://schemas.openxmlformats.org/officeDocument/2006/relationships/slideMaster" Target="../slideMasters/slideMaster24.xml"/><Relationship Id="rId2" Type="http://schemas.openxmlformats.org/officeDocument/2006/relationships/tags" Target="../tags/tag336.xml"/><Relationship Id="rId1" Type="http://schemas.openxmlformats.org/officeDocument/2006/relationships/vmlDrawing" Target="../drawings/vmlDrawing239.vml"/><Relationship Id="rId5" Type="http://schemas.openxmlformats.org/officeDocument/2006/relationships/image" Target="../media/image5.emf"/><Relationship Id="rId4" Type="http://schemas.openxmlformats.org/officeDocument/2006/relationships/oleObject" Target="../embeddings/oleObject239.bin"/></Relationships>
</file>

<file path=ppt/slideLayouts/_rels/slideLayout356.xml.rels><?xml version="1.0" encoding="UTF-8" standalone="yes"?>
<Relationships xmlns="http://schemas.openxmlformats.org/package/2006/relationships"><Relationship Id="rId3" Type="http://schemas.openxmlformats.org/officeDocument/2006/relationships/slideMaster" Target="../slideMasters/slideMaster24.xml"/><Relationship Id="rId2" Type="http://schemas.openxmlformats.org/officeDocument/2006/relationships/tags" Target="../tags/tag337.xml"/><Relationship Id="rId1" Type="http://schemas.openxmlformats.org/officeDocument/2006/relationships/vmlDrawing" Target="../drawings/vmlDrawing240.vml"/><Relationship Id="rId5" Type="http://schemas.openxmlformats.org/officeDocument/2006/relationships/image" Target="../media/image5.emf"/><Relationship Id="rId4" Type="http://schemas.openxmlformats.org/officeDocument/2006/relationships/oleObject" Target="../embeddings/oleObject240.bin"/></Relationships>
</file>

<file path=ppt/slideLayouts/_rels/slideLayout357.xml.rels><?xml version="1.0" encoding="UTF-8" standalone="yes"?>
<Relationships xmlns="http://schemas.openxmlformats.org/package/2006/relationships"><Relationship Id="rId3" Type="http://schemas.openxmlformats.org/officeDocument/2006/relationships/slideMaster" Target="../slideMasters/slideMaster24.xml"/><Relationship Id="rId2" Type="http://schemas.openxmlformats.org/officeDocument/2006/relationships/tags" Target="../tags/tag338.xml"/><Relationship Id="rId1" Type="http://schemas.openxmlformats.org/officeDocument/2006/relationships/vmlDrawing" Target="../drawings/vmlDrawing241.vml"/><Relationship Id="rId5" Type="http://schemas.openxmlformats.org/officeDocument/2006/relationships/image" Target="../media/image5.emf"/><Relationship Id="rId4" Type="http://schemas.openxmlformats.org/officeDocument/2006/relationships/oleObject" Target="../embeddings/oleObject241.bin"/></Relationships>
</file>

<file path=ppt/slideLayouts/_rels/slideLayout358.xml.rels><?xml version="1.0" encoding="UTF-8" standalone="yes"?>
<Relationships xmlns="http://schemas.openxmlformats.org/package/2006/relationships"><Relationship Id="rId3" Type="http://schemas.openxmlformats.org/officeDocument/2006/relationships/slideMaster" Target="../slideMasters/slideMaster24.xml"/><Relationship Id="rId2" Type="http://schemas.openxmlformats.org/officeDocument/2006/relationships/tags" Target="../tags/tag339.xml"/><Relationship Id="rId1" Type="http://schemas.openxmlformats.org/officeDocument/2006/relationships/vmlDrawing" Target="../drawings/vmlDrawing242.vml"/><Relationship Id="rId5" Type="http://schemas.openxmlformats.org/officeDocument/2006/relationships/image" Target="../media/image5.emf"/><Relationship Id="rId4" Type="http://schemas.openxmlformats.org/officeDocument/2006/relationships/oleObject" Target="../embeddings/oleObject242.bin"/></Relationships>
</file>

<file path=ppt/slideLayouts/_rels/slideLayout359.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6.xml"/><Relationship Id="rId1" Type="http://schemas.openxmlformats.org/officeDocument/2006/relationships/vmlDrawing" Target="../drawings/vmlDrawing5.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5.bin"/></Relationships>
</file>

<file path=ppt/slideLayouts/_rels/slideLayout360.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361.xml.rels><?xml version="1.0" encoding="UTF-8" standalone="yes"?>
<Relationships xmlns="http://schemas.openxmlformats.org/package/2006/relationships"><Relationship Id="rId3" Type="http://schemas.openxmlformats.org/officeDocument/2006/relationships/image" Target="../media/image12.jpg"/><Relationship Id="rId2" Type="http://schemas.openxmlformats.org/officeDocument/2006/relationships/image" Target="../media/image11.png"/><Relationship Id="rId1" Type="http://schemas.openxmlformats.org/officeDocument/2006/relationships/slideMaster" Target="../slideMasters/slideMaster24.xml"/></Relationships>
</file>

<file path=ppt/slideLayouts/_rels/slideLayout37.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7.xml"/><Relationship Id="rId1" Type="http://schemas.openxmlformats.org/officeDocument/2006/relationships/vmlDrawing" Target="../drawings/vmlDrawing6.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6.bin"/></Relationships>
</file>

<file path=ppt/slideLayouts/_rels/slideLayout38.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8.xml"/><Relationship Id="rId1" Type="http://schemas.openxmlformats.org/officeDocument/2006/relationships/vmlDrawing" Target="../drawings/vmlDrawing7.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7.bin"/></Relationships>
</file>

<file path=ppt/slideLayouts/_rels/slideLayout39.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9.xml"/><Relationship Id="rId1" Type="http://schemas.openxmlformats.org/officeDocument/2006/relationships/vmlDrawing" Target="../drawings/vmlDrawing8.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8.bin"/></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0.xml"/><Relationship Id="rId1" Type="http://schemas.openxmlformats.org/officeDocument/2006/relationships/vmlDrawing" Target="../drawings/vmlDrawing9.vml"/><Relationship Id="rId5" Type="http://schemas.openxmlformats.org/officeDocument/2006/relationships/image" Target="../media/image5.emf"/><Relationship Id="rId4" Type="http://schemas.openxmlformats.org/officeDocument/2006/relationships/oleObject" Target="../embeddings/oleObject9.bin"/></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1.xml"/><Relationship Id="rId1" Type="http://schemas.openxmlformats.org/officeDocument/2006/relationships/vmlDrawing" Target="../drawings/vmlDrawing10.vml"/><Relationship Id="rId5" Type="http://schemas.openxmlformats.org/officeDocument/2006/relationships/image" Target="../media/image5.emf"/><Relationship Id="rId4" Type="http://schemas.openxmlformats.org/officeDocument/2006/relationships/oleObject" Target="../embeddings/oleObject10.bin"/></Relationships>
</file>

<file path=ppt/slideLayouts/_rels/slideLayout42.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2.xml"/><Relationship Id="rId1" Type="http://schemas.openxmlformats.org/officeDocument/2006/relationships/vmlDrawing" Target="../drawings/vmlDrawing11.vml"/><Relationship Id="rId5" Type="http://schemas.openxmlformats.org/officeDocument/2006/relationships/image" Target="../media/image5.emf"/><Relationship Id="rId4" Type="http://schemas.openxmlformats.org/officeDocument/2006/relationships/oleObject" Target="../embeddings/oleObject11.bin"/></Relationships>
</file>

<file path=ppt/slideLayouts/_rels/slideLayout43.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3.xml"/><Relationship Id="rId1" Type="http://schemas.openxmlformats.org/officeDocument/2006/relationships/vmlDrawing" Target="../drawings/vmlDrawing12.vml"/><Relationship Id="rId5" Type="http://schemas.openxmlformats.org/officeDocument/2006/relationships/image" Target="../media/image5.emf"/><Relationship Id="rId4" Type="http://schemas.openxmlformats.org/officeDocument/2006/relationships/oleObject" Target="../embeddings/oleObject12.bin"/></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slideMaster" Target="../slideMasters/slideMaster7.xml"/><Relationship Id="rId1" Type="http://schemas.openxmlformats.org/officeDocument/2006/relationships/themeOverride" Target="../theme/themeOverride6.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emf"/><Relationship Id="rId1" Type="http://schemas.openxmlformats.org/officeDocument/2006/relationships/slideMaster" Target="../slideMasters/slideMaster7.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7.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emf"/><Relationship Id="rId1" Type="http://schemas.openxmlformats.org/officeDocument/2006/relationships/slideMaster" Target="../slideMasters/slideMaster7.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12.jpg"/><Relationship Id="rId2" Type="http://schemas.openxmlformats.org/officeDocument/2006/relationships/image" Target="../media/image11.png"/><Relationship Id="rId1" Type="http://schemas.openxmlformats.org/officeDocument/2006/relationships/slideMaster" Target="../slideMasters/slideMaster7.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slideMaster" Target="../slideMasters/slideMaster8.xml"/><Relationship Id="rId1" Type="http://schemas.openxmlformats.org/officeDocument/2006/relationships/themeOverride" Target="../theme/themeOverride7.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emf"/><Relationship Id="rId1" Type="http://schemas.openxmlformats.org/officeDocument/2006/relationships/slideMaster" Target="../slideMasters/slideMaster8.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8.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emf"/><Relationship Id="rId1" Type="http://schemas.openxmlformats.org/officeDocument/2006/relationships/slideMaster" Target="../slideMasters/slideMaster8.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slideMaster" Target="../slideMasters/slideMaster9.xml"/><Relationship Id="rId1" Type="http://schemas.openxmlformats.org/officeDocument/2006/relationships/themeOverride" Target="../theme/themeOverride8.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emf"/><Relationship Id="rId1" Type="http://schemas.openxmlformats.org/officeDocument/2006/relationships/slideMaster" Target="../slideMasters/slideMaster9.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9.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emf"/><Relationship Id="rId1" Type="http://schemas.openxmlformats.org/officeDocument/2006/relationships/slideMaster" Target="../slideMasters/slideMaster9.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1.xml.rels><?xml version="1.0" encoding="UTF-8" standalone="yes"?>
<Relationships xmlns="http://schemas.openxmlformats.org/package/2006/relationships"><Relationship Id="rId3" Type="http://schemas.openxmlformats.org/officeDocument/2006/relationships/slideMaster" Target="../slideMasters/slideMaster10.xml"/><Relationship Id="rId7" Type="http://schemas.openxmlformats.org/officeDocument/2006/relationships/image" Target="../media/image9.jpeg"/><Relationship Id="rId2" Type="http://schemas.openxmlformats.org/officeDocument/2006/relationships/tags" Target="../tags/tag15.xml"/><Relationship Id="rId1" Type="http://schemas.openxmlformats.org/officeDocument/2006/relationships/vmlDrawing" Target="../drawings/vmlDrawing14.vml"/><Relationship Id="rId6" Type="http://schemas.openxmlformats.org/officeDocument/2006/relationships/image" Target="../media/image8.jpeg"/><Relationship Id="rId5" Type="http://schemas.openxmlformats.org/officeDocument/2006/relationships/image" Target="../media/image5.emf"/><Relationship Id="rId4" Type="http://schemas.openxmlformats.org/officeDocument/2006/relationships/oleObject" Target="../embeddings/oleObject14.bin"/></Relationships>
</file>

<file path=ppt/slideLayouts/_rels/slideLayout82.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tags" Target="../tags/tag17.xml"/><Relationship Id="rId7" Type="http://schemas.openxmlformats.org/officeDocument/2006/relationships/image" Target="../media/image6.jpeg"/><Relationship Id="rId2" Type="http://schemas.openxmlformats.org/officeDocument/2006/relationships/tags" Target="../tags/tag16.xml"/><Relationship Id="rId1" Type="http://schemas.openxmlformats.org/officeDocument/2006/relationships/vmlDrawing" Target="../drawings/vmlDrawing15.vml"/><Relationship Id="rId6" Type="http://schemas.openxmlformats.org/officeDocument/2006/relationships/image" Target="../media/image5.emf"/><Relationship Id="rId5" Type="http://schemas.openxmlformats.org/officeDocument/2006/relationships/oleObject" Target="../embeddings/oleObject15.bin"/><Relationship Id="rId4" Type="http://schemas.openxmlformats.org/officeDocument/2006/relationships/slideMaster" Target="../slideMasters/slideMaster10.xml"/></Relationships>
</file>

<file path=ppt/slideLayouts/_rels/slideLayout83.xml.rels><?xml version="1.0" encoding="UTF-8" standalone="yes"?>
<Relationships xmlns="http://schemas.openxmlformats.org/package/2006/relationships"><Relationship Id="rId2" Type="http://schemas.openxmlformats.org/officeDocument/2006/relationships/slideMaster" Target="../slideMasters/slideMaster10.xml"/><Relationship Id="rId1" Type="http://schemas.openxmlformats.org/officeDocument/2006/relationships/tags" Target="../tags/tag18.xml"/></Relationships>
</file>

<file path=ppt/slideLayouts/_rels/slideLayout84.xml.rels><?xml version="1.0" encoding="UTF-8" standalone="yes"?>
<Relationships xmlns="http://schemas.openxmlformats.org/package/2006/relationships"><Relationship Id="rId3" Type="http://schemas.openxmlformats.org/officeDocument/2006/relationships/tags" Target="../tags/tag20.xml"/><Relationship Id="rId2" Type="http://schemas.openxmlformats.org/officeDocument/2006/relationships/tags" Target="../tags/tag19.xml"/><Relationship Id="rId1" Type="http://schemas.openxmlformats.org/officeDocument/2006/relationships/vmlDrawing" Target="../drawings/vmlDrawing16.vml"/><Relationship Id="rId6" Type="http://schemas.openxmlformats.org/officeDocument/2006/relationships/image" Target="../media/image5.emf"/><Relationship Id="rId5" Type="http://schemas.openxmlformats.org/officeDocument/2006/relationships/oleObject" Target="../embeddings/oleObject16.bin"/><Relationship Id="rId4" Type="http://schemas.openxmlformats.org/officeDocument/2006/relationships/slideMaster" Target="../slideMasters/slideMaster10.xml"/></Relationships>
</file>

<file path=ppt/slideLayouts/_rels/slideLayout85.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21.xml"/><Relationship Id="rId1" Type="http://schemas.openxmlformats.org/officeDocument/2006/relationships/vmlDrawing" Target="../drawings/vmlDrawing17.vml"/><Relationship Id="rId5" Type="http://schemas.openxmlformats.org/officeDocument/2006/relationships/image" Target="../media/image5.emf"/><Relationship Id="rId4" Type="http://schemas.openxmlformats.org/officeDocument/2006/relationships/oleObject" Target="../embeddings/oleObject17.bin"/></Relationships>
</file>

<file path=ppt/slideLayouts/_rels/slideLayout86.xml.rels><?xml version="1.0" encoding="UTF-8" standalone="yes"?>
<Relationships xmlns="http://schemas.openxmlformats.org/package/2006/relationships"><Relationship Id="rId3" Type="http://schemas.openxmlformats.org/officeDocument/2006/relationships/tags" Target="../tags/tag23.xml"/><Relationship Id="rId7" Type="http://schemas.openxmlformats.org/officeDocument/2006/relationships/image" Target="../media/image13.png"/><Relationship Id="rId2" Type="http://schemas.openxmlformats.org/officeDocument/2006/relationships/tags" Target="../tags/tag22.xml"/><Relationship Id="rId1" Type="http://schemas.openxmlformats.org/officeDocument/2006/relationships/vmlDrawing" Target="../drawings/vmlDrawing18.vml"/><Relationship Id="rId6" Type="http://schemas.openxmlformats.org/officeDocument/2006/relationships/image" Target="../media/image5.emf"/><Relationship Id="rId5" Type="http://schemas.openxmlformats.org/officeDocument/2006/relationships/oleObject" Target="../embeddings/oleObject18.bin"/><Relationship Id="rId4" Type="http://schemas.openxmlformats.org/officeDocument/2006/relationships/slideMaster" Target="../slideMasters/slideMaster10.xml"/></Relationships>
</file>

<file path=ppt/slideLayouts/_rels/slideLayout87.xml.rels><?xml version="1.0" encoding="UTF-8" standalone="yes"?>
<Relationships xmlns="http://schemas.openxmlformats.org/package/2006/relationships"><Relationship Id="rId3" Type="http://schemas.openxmlformats.org/officeDocument/2006/relationships/tags" Target="../tags/tag25.xml"/><Relationship Id="rId7" Type="http://schemas.openxmlformats.org/officeDocument/2006/relationships/image" Target="../media/image13.png"/><Relationship Id="rId2" Type="http://schemas.openxmlformats.org/officeDocument/2006/relationships/tags" Target="../tags/tag24.xml"/><Relationship Id="rId1" Type="http://schemas.openxmlformats.org/officeDocument/2006/relationships/vmlDrawing" Target="../drawings/vmlDrawing19.vml"/><Relationship Id="rId6" Type="http://schemas.openxmlformats.org/officeDocument/2006/relationships/image" Target="../media/image5.emf"/><Relationship Id="rId5" Type="http://schemas.openxmlformats.org/officeDocument/2006/relationships/oleObject" Target="../embeddings/oleObject19.bin"/><Relationship Id="rId4" Type="http://schemas.openxmlformats.org/officeDocument/2006/relationships/slideMaster" Target="../slideMasters/slideMaster10.xml"/></Relationships>
</file>

<file path=ppt/slideLayouts/_rels/slideLayout88.xml.rels><?xml version="1.0" encoding="UTF-8" standalone="yes"?>
<Relationships xmlns="http://schemas.openxmlformats.org/package/2006/relationships"><Relationship Id="rId3" Type="http://schemas.openxmlformats.org/officeDocument/2006/relationships/tags" Target="../tags/tag27.xml"/><Relationship Id="rId7" Type="http://schemas.openxmlformats.org/officeDocument/2006/relationships/image" Target="../media/image13.png"/><Relationship Id="rId2" Type="http://schemas.openxmlformats.org/officeDocument/2006/relationships/tags" Target="../tags/tag26.xml"/><Relationship Id="rId1" Type="http://schemas.openxmlformats.org/officeDocument/2006/relationships/vmlDrawing" Target="../drawings/vmlDrawing20.vml"/><Relationship Id="rId6" Type="http://schemas.openxmlformats.org/officeDocument/2006/relationships/image" Target="../media/image5.emf"/><Relationship Id="rId5" Type="http://schemas.openxmlformats.org/officeDocument/2006/relationships/oleObject" Target="../embeddings/oleObject20.bin"/><Relationship Id="rId4" Type="http://schemas.openxmlformats.org/officeDocument/2006/relationships/slideMaster" Target="../slideMasters/slideMaster10.xml"/></Relationships>
</file>

<file path=ppt/slideLayouts/_rels/slideLayout89.xml.rels><?xml version="1.0" encoding="UTF-8" standalone="yes"?>
<Relationships xmlns="http://schemas.openxmlformats.org/package/2006/relationships"><Relationship Id="rId3" Type="http://schemas.openxmlformats.org/officeDocument/2006/relationships/tags" Target="../tags/tag29.xml"/><Relationship Id="rId7" Type="http://schemas.openxmlformats.org/officeDocument/2006/relationships/image" Target="../media/image13.png"/><Relationship Id="rId2" Type="http://schemas.openxmlformats.org/officeDocument/2006/relationships/tags" Target="../tags/tag28.xml"/><Relationship Id="rId1" Type="http://schemas.openxmlformats.org/officeDocument/2006/relationships/vmlDrawing" Target="../drawings/vmlDrawing21.vml"/><Relationship Id="rId6" Type="http://schemas.openxmlformats.org/officeDocument/2006/relationships/image" Target="../media/image5.emf"/><Relationship Id="rId5" Type="http://schemas.openxmlformats.org/officeDocument/2006/relationships/oleObject" Target="../embeddings/oleObject21.bin"/><Relationship Id="rId4" Type="http://schemas.openxmlformats.org/officeDocument/2006/relationships/slideMaster" Target="../slideMasters/slideMaster10.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0.xml.rels><?xml version="1.0" encoding="UTF-8" standalone="yes"?>
<Relationships xmlns="http://schemas.openxmlformats.org/package/2006/relationships"><Relationship Id="rId3" Type="http://schemas.openxmlformats.org/officeDocument/2006/relationships/tags" Target="../tags/tag31.xml"/><Relationship Id="rId7" Type="http://schemas.openxmlformats.org/officeDocument/2006/relationships/image" Target="../media/image13.png"/><Relationship Id="rId2" Type="http://schemas.openxmlformats.org/officeDocument/2006/relationships/tags" Target="../tags/tag30.xml"/><Relationship Id="rId1" Type="http://schemas.openxmlformats.org/officeDocument/2006/relationships/vmlDrawing" Target="../drawings/vmlDrawing22.vml"/><Relationship Id="rId6" Type="http://schemas.openxmlformats.org/officeDocument/2006/relationships/image" Target="../media/image5.emf"/><Relationship Id="rId5" Type="http://schemas.openxmlformats.org/officeDocument/2006/relationships/oleObject" Target="../embeddings/oleObject22.bin"/><Relationship Id="rId4" Type="http://schemas.openxmlformats.org/officeDocument/2006/relationships/slideMaster" Target="../slideMasters/slideMaster10.xml"/></Relationships>
</file>

<file path=ppt/slideLayouts/_rels/slideLayout91.xml.rels><?xml version="1.0" encoding="UTF-8" standalone="yes"?>
<Relationships xmlns="http://schemas.openxmlformats.org/package/2006/relationships"><Relationship Id="rId3" Type="http://schemas.openxmlformats.org/officeDocument/2006/relationships/tags" Target="../tags/tag33.xml"/><Relationship Id="rId7" Type="http://schemas.openxmlformats.org/officeDocument/2006/relationships/image" Target="../media/image14.png"/><Relationship Id="rId2" Type="http://schemas.openxmlformats.org/officeDocument/2006/relationships/tags" Target="../tags/tag32.xml"/><Relationship Id="rId1" Type="http://schemas.openxmlformats.org/officeDocument/2006/relationships/vmlDrawing" Target="../drawings/vmlDrawing23.vml"/><Relationship Id="rId6" Type="http://schemas.openxmlformats.org/officeDocument/2006/relationships/image" Target="../media/image5.emf"/><Relationship Id="rId5" Type="http://schemas.openxmlformats.org/officeDocument/2006/relationships/oleObject" Target="../embeddings/oleObject23.bin"/><Relationship Id="rId4" Type="http://schemas.openxmlformats.org/officeDocument/2006/relationships/slideMaster" Target="../slideMasters/slideMaster10.xml"/></Relationships>
</file>

<file path=ppt/slideLayouts/_rels/slideLayout92.xml.rels><?xml version="1.0" encoding="UTF-8" standalone="yes"?>
<Relationships xmlns="http://schemas.openxmlformats.org/package/2006/relationships"><Relationship Id="rId3" Type="http://schemas.openxmlformats.org/officeDocument/2006/relationships/tags" Target="../tags/tag35.xml"/><Relationship Id="rId7" Type="http://schemas.openxmlformats.org/officeDocument/2006/relationships/image" Target="../media/image15.png"/><Relationship Id="rId2" Type="http://schemas.openxmlformats.org/officeDocument/2006/relationships/tags" Target="../tags/tag34.xml"/><Relationship Id="rId1" Type="http://schemas.openxmlformats.org/officeDocument/2006/relationships/vmlDrawing" Target="../drawings/vmlDrawing24.vml"/><Relationship Id="rId6" Type="http://schemas.openxmlformats.org/officeDocument/2006/relationships/image" Target="../media/image5.emf"/><Relationship Id="rId5" Type="http://schemas.openxmlformats.org/officeDocument/2006/relationships/oleObject" Target="../embeddings/oleObject24.bin"/><Relationship Id="rId4" Type="http://schemas.openxmlformats.org/officeDocument/2006/relationships/slideMaster" Target="../slideMasters/slideMaster10.xml"/></Relationships>
</file>

<file path=ppt/slideLayouts/_rels/slideLayout93.xml.rels><?xml version="1.0" encoding="UTF-8" standalone="yes"?>
<Relationships xmlns="http://schemas.openxmlformats.org/package/2006/relationships"><Relationship Id="rId3" Type="http://schemas.openxmlformats.org/officeDocument/2006/relationships/tags" Target="../tags/tag37.xml"/><Relationship Id="rId7" Type="http://schemas.openxmlformats.org/officeDocument/2006/relationships/image" Target="../media/image16.png"/><Relationship Id="rId2" Type="http://schemas.openxmlformats.org/officeDocument/2006/relationships/tags" Target="../tags/tag36.xml"/><Relationship Id="rId1" Type="http://schemas.openxmlformats.org/officeDocument/2006/relationships/vmlDrawing" Target="../drawings/vmlDrawing25.vml"/><Relationship Id="rId6" Type="http://schemas.openxmlformats.org/officeDocument/2006/relationships/image" Target="../media/image5.emf"/><Relationship Id="rId5" Type="http://schemas.openxmlformats.org/officeDocument/2006/relationships/oleObject" Target="../embeddings/oleObject25.bin"/><Relationship Id="rId4" Type="http://schemas.openxmlformats.org/officeDocument/2006/relationships/slideMaster" Target="../slideMasters/slideMaster10.xml"/></Relationships>
</file>

<file path=ppt/slideLayouts/_rels/slideLayout94.xml.rels><?xml version="1.0" encoding="UTF-8" standalone="yes"?>
<Relationships xmlns="http://schemas.openxmlformats.org/package/2006/relationships"><Relationship Id="rId3" Type="http://schemas.openxmlformats.org/officeDocument/2006/relationships/tags" Target="../tags/tag39.xml"/><Relationship Id="rId7" Type="http://schemas.openxmlformats.org/officeDocument/2006/relationships/image" Target="../media/image15.png"/><Relationship Id="rId2" Type="http://schemas.openxmlformats.org/officeDocument/2006/relationships/tags" Target="../tags/tag38.xml"/><Relationship Id="rId1" Type="http://schemas.openxmlformats.org/officeDocument/2006/relationships/vmlDrawing" Target="../drawings/vmlDrawing26.vml"/><Relationship Id="rId6" Type="http://schemas.openxmlformats.org/officeDocument/2006/relationships/image" Target="../media/image5.emf"/><Relationship Id="rId5" Type="http://schemas.openxmlformats.org/officeDocument/2006/relationships/oleObject" Target="../embeddings/oleObject26.bin"/><Relationship Id="rId4" Type="http://schemas.openxmlformats.org/officeDocument/2006/relationships/slideMaster" Target="../slideMasters/slideMaster10.xml"/></Relationships>
</file>

<file path=ppt/slideLayouts/_rels/slideLayout95.xml.rels><?xml version="1.0" encoding="UTF-8" standalone="yes"?>
<Relationships xmlns="http://schemas.openxmlformats.org/package/2006/relationships"><Relationship Id="rId3" Type="http://schemas.openxmlformats.org/officeDocument/2006/relationships/tags" Target="../tags/tag41.xml"/><Relationship Id="rId7" Type="http://schemas.openxmlformats.org/officeDocument/2006/relationships/image" Target="../media/image14.png"/><Relationship Id="rId2" Type="http://schemas.openxmlformats.org/officeDocument/2006/relationships/tags" Target="../tags/tag40.xml"/><Relationship Id="rId1" Type="http://schemas.openxmlformats.org/officeDocument/2006/relationships/vmlDrawing" Target="../drawings/vmlDrawing27.vml"/><Relationship Id="rId6" Type="http://schemas.openxmlformats.org/officeDocument/2006/relationships/image" Target="../media/image5.emf"/><Relationship Id="rId5" Type="http://schemas.openxmlformats.org/officeDocument/2006/relationships/oleObject" Target="../embeddings/oleObject27.bin"/><Relationship Id="rId4" Type="http://schemas.openxmlformats.org/officeDocument/2006/relationships/slideMaster" Target="../slideMasters/slideMaster10.xml"/></Relationships>
</file>

<file path=ppt/slideLayouts/_rels/slideLayout96.xml.rels><?xml version="1.0" encoding="UTF-8" standalone="yes"?>
<Relationships xmlns="http://schemas.openxmlformats.org/package/2006/relationships"><Relationship Id="rId3" Type="http://schemas.openxmlformats.org/officeDocument/2006/relationships/tags" Target="../tags/tag43.xml"/><Relationship Id="rId7" Type="http://schemas.openxmlformats.org/officeDocument/2006/relationships/image" Target="../media/image15.png"/><Relationship Id="rId2" Type="http://schemas.openxmlformats.org/officeDocument/2006/relationships/tags" Target="../tags/tag42.xml"/><Relationship Id="rId1" Type="http://schemas.openxmlformats.org/officeDocument/2006/relationships/vmlDrawing" Target="../drawings/vmlDrawing28.vml"/><Relationship Id="rId6" Type="http://schemas.openxmlformats.org/officeDocument/2006/relationships/image" Target="../media/image5.emf"/><Relationship Id="rId5" Type="http://schemas.openxmlformats.org/officeDocument/2006/relationships/oleObject" Target="../embeddings/oleObject28.bin"/><Relationship Id="rId4" Type="http://schemas.openxmlformats.org/officeDocument/2006/relationships/slideMaster" Target="../slideMasters/slideMaster10.xml"/></Relationships>
</file>

<file path=ppt/slideLayouts/_rels/slideLayout97.xml.rels><?xml version="1.0" encoding="UTF-8" standalone="yes"?>
<Relationships xmlns="http://schemas.openxmlformats.org/package/2006/relationships"><Relationship Id="rId3" Type="http://schemas.openxmlformats.org/officeDocument/2006/relationships/tags" Target="../tags/tag45.xml"/><Relationship Id="rId7" Type="http://schemas.openxmlformats.org/officeDocument/2006/relationships/image" Target="../media/image14.png"/><Relationship Id="rId2" Type="http://schemas.openxmlformats.org/officeDocument/2006/relationships/tags" Target="../tags/tag44.xml"/><Relationship Id="rId1" Type="http://schemas.openxmlformats.org/officeDocument/2006/relationships/vmlDrawing" Target="../drawings/vmlDrawing29.vml"/><Relationship Id="rId6" Type="http://schemas.openxmlformats.org/officeDocument/2006/relationships/image" Target="../media/image5.emf"/><Relationship Id="rId5" Type="http://schemas.openxmlformats.org/officeDocument/2006/relationships/oleObject" Target="../embeddings/oleObject29.bin"/><Relationship Id="rId4" Type="http://schemas.openxmlformats.org/officeDocument/2006/relationships/slideMaster" Target="../slideMasters/slideMaster10.xml"/></Relationships>
</file>

<file path=ppt/slideLayouts/_rels/slideLayout98.xml.rels><?xml version="1.0" encoding="UTF-8" standalone="yes"?>
<Relationships xmlns="http://schemas.openxmlformats.org/package/2006/relationships"><Relationship Id="rId3" Type="http://schemas.openxmlformats.org/officeDocument/2006/relationships/tags" Target="../tags/tag47.xml"/><Relationship Id="rId7" Type="http://schemas.openxmlformats.org/officeDocument/2006/relationships/image" Target="../media/image15.png"/><Relationship Id="rId2" Type="http://schemas.openxmlformats.org/officeDocument/2006/relationships/tags" Target="../tags/tag46.xml"/><Relationship Id="rId1" Type="http://schemas.openxmlformats.org/officeDocument/2006/relationships/vmlDrawing" Target="../drawings/vmlDrawing30.vml"/><Relationship Id="rId6" Type="http://schemas.openxmlformats.org/officeDocument/2006/relationships/image" Target="../media/image5.emf"/><Relationship Id="rId5" Type="http://schemas.openxmlformats.org/officeDocument/2006/relationships/oleObject" Target="../embeddings/oleObject30.bin"/><Relationship Id="rId4" Type="http://schemas.openxmlformats.org/officeDocument/2006/relationships/slideMaster" Target="../slideMasters/slideMaster10.xml"/></Relationships>
</file>

<file path=ppt/slideLayouts/_rels/slideLayout99.xml.rels><?xml version="1.0" encoding="UTF-8" standalone="yes"?>
<Relationships xmlns="http://schemas.openxmlformats.org/package/2006/relationships"><Relationship Id="rId3" Type="http://schemas.openxmlformats.org/officeDocument/2006/relationships/tags" Target="../tags/tag49.xml"/><Relationship Id="rId2" Type="http://schemas.openxmlformats.org/officeDocument/2006/relationships/tags" Target="../tags/tag48.xml"/><Relationship Id="rId1" Type="http://schemas.openxmlformats.org/officeDocument/2006/relationships/vmlDrawing" Target="../drawings/vmlDrawing31.vml"/><Relationship Id="rId6" Type="http://schemas.openxmlformats.org/officeDocument/2006/relationships/image" Target="../media/image5.emf"/><Relationship Id="rId5" Type="http://schemas.openxmlformats.org/officeDocument/2006/relationships/oleObject" Target="../embeddings/oleObject31.bin"/><Relationship Id="rId4" Type="http://schemas.openxmlformats.org/officeDocument/2006/relationships/slideMaster" Target="../slideMasters/slideMaster10.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PORTADA">
    <p:spTree>
      <p:nvGrpSpPr>
        <p:cNvPr id="1" name=""/>
        <p:cNvGrpSpPr/>
        <p:nvPr/>
      </p:nvGrpSpPr>
      <p:grpSpPr>
        <a:xfrm>
          <a:off x="0" y="0"/>
          <a:ext cx="0" cy="0"/>
          <a:chOff x="0" y="0"/>
          <a:chExt cx="0" cy="0"/>
        </a:xfrm>
      </p:grpSpPr>
      <p:sp>
        <p:nvSpPr>
          <p:cNvPr id="3150" name="Rectangle 78"/>
          <p:cNvSpPr>
            <a:spLocks noGrp="1" noChangeArrowheads="1"/>
          </p:cNvSpPr>
          <p:nvPr>
            <p:ph type="ctrTitle"/>
          </p:nvPr>
        </p:nvSpPr>
        <p:spPr>
          <a:xfrm>
            <a:off x="804336" y="906466"/>
            <a:ext cx="10947400" cy="517525"/>
          </a:xfrm>
        </p:spPr>
        <p:txBody>
          <a:bodyPr/>
          <a:lstStyle>
            <a:lvl1pPr>
              <a:defRPr sz="3200"/>
            </a:lvl1pPr>
          </a:lstStyle>
          <a:p>
            <a:pPr lvl="0"/>
            <a:r>
              <a:rPr lang="en-US" noProof="0" dirty="0"/>
              <a:t>Click to edit Master title style</a:t>
            </a:r>
          </a:p>
        </p:txBody>
      </p:sp>
      <p:sp>
        <p:nvSpPr>
          <p:cNvPr id="3151" name="Rectangle 79"/>
          <p:cNvSpPr>
            <a:spLocks noGrp="1" noChangeArrowheads="1"/>
          </p:cNvSpPr>
          <p:nvPr>
            <p:ph type="subTitle" sz="quarter" idx="1"/>
          </p:nvPr>
        </p:nvSpPr>
        <p:spPr>
          <a:xfrm>
            <a:off x="804336" y="1423988"/>
            <a:ext cx="10962217" cy="1093788"/>
          </a:xfrm>
          <a:extLst>
            <a:ext uri="{91240B29-F687-4F45-9708-019B960494DF}">
              <a14:hiddenLine xmlns:a14="http://schemas.microsoft.com/office/drawing/2010/main" w="9525">
                <a:solidFill>
                  <a:schemeClr val="tx1"/>
                </a:solidFill>
                <a:miter lim="800000"/>
                <a:headEnd/>
                <a:tailEnd/>
              </a14:hiddenLine>
            </a:ext>
          </a:extLst>
        </p:spPr>
        <p:txBody>
          <a:bodyPr/>
          <a:lstStyle>
            <a:lvl1pPr marL="0" indent="0">
              <a:lnSpc>
                <a:spcPct val="100000"/>
              </a:lnSpc>
              <a:spcBef>
                <a:spcPct val="0"/>
              </a:spcBef>
              <a:spcAft>
                <a:spcPct val="0"/>
              </a:spcAft>
              <a:buFontTx/>
              <a:buNone/>
              <a:defRPr sz="3200">
                <a:solidFill>
                  <a:srgbClr val="00BDF2"/>
                </a:solidFill>
              </a:defRPr>
            </a:lvl1pPr>
          </a:lstStyle>
          <a:p>
            <a:pPr lvl="0"/>
            <a:r>
              <a:rPr lang="en-US" noProof="0"/>
              <a:t>Click to edit Master subtitle style</a:t>
            </a:r>
          </a:p>
        </p:txBody>
      </p:sp>
      <p:pic>
        <p:nvPicPr>
          <p:cNvPr id="4" name="Picture 3"/>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296213" y="4844121"/>
            <a:ext cx="4743391" cy="2301940"/>
          </a:xfrm>
          <a:prstGeom prst="rect">
            <a:avLst/>
          </a:prstGeom>
        </p:spPr>
      </p:pic>
    </p:spTree>
    <p:extLst>
      <p:ext uri="{BB962C8B-B14F-4D97-AF65-F5344CB8AC3E}">
        <p14:creationId xmlns:p14="http://schemas.microsoft.com/office/powerpoint/2010/main" val="602275052"/>
      </p:ext>
    </p:extLst>
  </p:cSld>
  <p:clrMapOvr>
    <a:overrideClrMapping bg1="lt1" tx1="dk1" bg2="lt2" tx2="dk2" accent1="accent1" accent2="accent2" accent3="accent3" accent4="accent4" accent5="accent5" accent6="accent6" hlink="hlink" folHlink="folHlink"/>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Line 35"/>
          <p:cNvSpPr>
            <a:spLocks noChangeShapeType="1"/>
          </p:cNvSpPr>
          <p:nvPr userDrawn="1"/>
        </p:nvSpPr>
        <p:spPr bwMode="gray">
          <a:xfrm>
            <a:off x="557948" y="679218"/>
            <a:ext cx="11139605" cy="0"/>
          </a:xfrm>
          <a:prstGeom prst="line">
            <a:avLst/>
          </a:prstGeom>
          <a:noFill/>
          <a:ln w="19050">
            <a:solidFill>
              <a:schemeClr val="accent1"/>
            </a:solidFill>
            <a:round/>
            <a:headEnd/>
            <a:tailEnd/>
          </a:ln>
          <a:extLst>
            <a:ext uri="{909E8E84-426E-40DD-AFC4-6F175D3DCCD1}">
              <a14:hiddenFill xmlns:a14="http://schemas.microsoft.com/office/drawing/2010/main">
                <a:noFill/>
              </a14:hiddenFill>
            </a:ext>
          </a:extLst>
        </p:spPr>
        <p:txBody>
          <a:bodyPr wrap="none" lIns="91382" tIns="45690" rIns="91382" bIns="45690" anchor="ctr"/>
          <a:lstStyle/>
          <a:p>
            <a:pPr eaLnBrk="0" fontAlgn="base" hangingPunct="0">
              <a:spcBef>
                <a:spcPct val="0"/>
              </a:spcBef>
              <a:spcAft>
                <a:spcPct val="0"/>
              </a:spcAft>
            </a:pPr>
            <a:endParaRPr lang="es-MX" sz="1800">
              <a:solidFill>
                <a:srgbClr val="000000"/>
              </a:solidFill>
              <a:cs typeface="Arial" panose="020B0604020202020204" pitchFamily="34" charset="0"/>
            </a:endParaRPr>
          </a:p>
        </p:txBody>
      </p:sp>
      <p:sp>
        <p:nvSpPr>
          <p:cNvPr id="6" name="Title 1"/>
          <p:cNvSpPr>
            <a:spLocks noGrp="1"/>
          </p:cNvSpPr>
          <p:nvPr>
            <p:ph type="title"/>
          </p:nvPr>
        </p:nvSpPr>
        <p:spPr>
          <a:xfrm>
            <a:off x="544482" y="350115"/>
            <a:ext cx="11230029" cy="630202"/>
          </a:xfrm>
        </p:spPr>
        <p:txBody>
          <a:bodyPr/>
          <a:lstStyle/>
          <a:p>
            <a:r>
              <a:rPr lang="en-US" dirty="0"/>
              <a:t>Click to edit Master title style</a:t>
            </a:r>
            <a:endParaRPr lang="es-MX" dirty="0"/>
          </a:p>
        </p:txBody>
      </p:sp>
      <p:sp>
        <p:nvSpPr>
          <p:cNvPr id="4" name="Slide Number Placeholder 9"/>
          <p:cNvSpPr>
            <a:spLocks noGrp="1"/>
          </p:cNvSpPr>
          <p:nvPr>
            <p:ph type="sldNum" sz="quarter" idx="10"/>
          </p:nvPr>
        </p:nvSpPr>
        <p:spPr/>
        <p:txBody>
          <a:bodyPr/>
          <a:lstStyle>
            <a:lvl1pPr>
              <a:defRPr/>
            </a:lvl1pPr>
          </a:lstStyle>
          <a:p>
            <a:pPr>
              <a:defRPr/>
            </a:pPr>
            <a:fld id="{C98A307D-7663-40BE-AEAC-58931156E481}" type="slidenum">
              <a:rPr lang="en-US" altLang="es-MX">
                <a:solidFill>
                  <a:srgbClr val="002776"/>
                </a:solidFill>
              </a:rPr>
              <a:pPr>
                <a:defRPr/>
              </a:pPr>
              <a:t>‹#›</a:t>
            </a:fld>
            <a:endParaRPr lang="en-US" altLang="es-MX">
              <a:solidFill>
                <a:srgbClr val="002776"/>
              </a:solidFill>
            </a:endParaRPr>
          </a:p>
        </p:txBody>
      </p:sp>
      <p:sp>
        <p:nvSpPr>
          <p:cNvPr id="5" name="Footer Placeholder 10"/>
          <p:cNvSpPr>
            <a:spLocks noGrp="1"/>
          </p:cNvSpPr>
          <p:nvPr>
            <p:ph type="ftr" sz="quarter" idx="11"/>
          </p:nvPr>
        </p:nvSpPr>
        <p:spPr/>
        <p:txBody>
          <a:bodyPr/>
          <a:lstStyle>
            <a:lvl1pPr>
              <a:defRPr/>
            </a:lvl1pPr>
          </a:lstStyle>
          <a:p>
            <a:pPr>
              <a:defRPr/>
            </a:pPr>
            <a:r>
              <a:rPr lang="en-US">
                <a:solidFill>
                  <a:srgbClr val="002776"/>
                </a:solidFill>
              </a:rPr>
              <a:t>Footer</a:t>
            </a:r>
          </a:p>
        </p:txBody>
      </p:sp>
    </p:spTree>
    <p:extLst>
      <p:ext uri="{BB962C8B-B14F-4D97-AF65-F5344CB8AC3E}">
        <p14:creationId xmlns:p14="http://schemas.microsoft.com/office/powerpoint/2010/main" val="3682878663"/>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chemeClr val="bg1">
            <a:lumMod val="95000"/>
          </a:schemeClr>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38979"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sp>
        <p:nvSpPr>
          <p:cNvPr id="3" name="Date Placeholder 2"/>
          <p:cNvSpPr>
            <a:spLocks noGrp="1"/>
          </p:cNvSpPr>
          <p:nvPr>
            <p:ph type="dt" sz="half" idx="10"/>
          </p:nvPr>
        </p:nvSpPr>
        <p:spPr>
          <a:xfrm>
            <a:off x="9677401" y="6443508"/>
            <a:ext cx="1482051" cy="115416"/>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6" name="Rectangle 5"/>
          <p:cNvSpPr/>
          <p:nvPr userDrawn="1"/>
        </p:nvSpPr>
        <p:spPr bwMode="white">
          <a:xfrm>
            <a:off x="630000" y="625475"/>
            <a:ext cx="932688" cy="932688"/>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9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685800" rtl="0" eaLnBrk="1" fontAlgn="auto" latinLnBrk="0" hangingPunct="1">
              <a:lnSpc>
                <a:spcPts val="4500"/>
              </a:lnSpc>
              <a:spcBef>
                <a:spcPts val="0"/>
              </a:spcBef>
              <a:spcAft>
                <a:spcPts val="0"/>
              </a:spcAft>
              <a:defRPr lang="en-US" sz="4050" kern="1200" baseline="0" dirty="0">
                <a:solidFill>
                  <a:schemeClr val="tx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10"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lumMod val="50000"/>
                  </a:schemeClr>
                </a:solidFill>
                <a:latin typeface="+mn-lt"/>
                <a:sym typeface="Trebuchet MS" panose="020B0603020202020204" pitchFamily="34" charset="0"/>
              </a:rPr>
              <a:t>MX2020 - SteerCo data deep dive.pptx</a:t>
            </a:r>
            <a:endParaRPr lang="en-US" sz="525"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42769920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40003"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9" y="1590"/>
                        <a:ext cx="1587" cy="1587"/>
                      </a:xfrm>
                      <a:prstGeom prst="rect">
                        <a:avLst/>
                      </a:prstGeom>
                    </p:spPr>
                  </p:pic>
                </p:oleObj>
              </mc:Fallback>
            </mc:AlternateContent>
          </a:graphicData>
        </a:graphic>
      </p:graphicFrame>
      <p:pic>
        <p:nvPicPr>
          <p:cNvPr id="11" name="Picture 10"/>
          <p:cNvPicPr>
            <a:picLocks noChangeAspect="1"/>
          </p:cNvPicPr>
          <p:nvPr/>
        </p:nvPicPr>
        <p:blipFill rotWithShape="1">
          <a:blip r:embed="rId6">
            <a:extLst>
              <a:ext uri="{28A0092B-C50C-407E-A947-70E740481C1C}">
                <a14:useLocalDpi xmlns:a14="http://schemas.microsoft.com/office/drawing/2010/main" val="0"/>
              </a:ext>
            </a:extLst>
          </a:blip>
          <a:srcRect r="3634" b="1258"/>
          <a:stretch/>
        </p:blipFill>
        <p:spPr>
          <a:xfrm rot="16200000" flipH="1">
            <a:off x="6797462" y="110969"/>
            <a:ext cx="769257" cy="10019821"/>
          </a:xfrm>
          <a:prstGeom prst="rect">
            <a:avLst/>
          </a:prstGeom>
        </p:spPr>
      </p:pic>
      <p:sp>
        <p:nvSpPr>
          <p:cNvPr id="59" name="Freeform 58"/>
          <p:cNvSpPr>
            <a:spLocks/>
          </p:cNvSpPr>
          <p:nvPr/>
        </p:nvSpPr>
        <p:spPr bwMode="white">
          <a:xfrm flipH="1">
            <a:off x="0" y="2"/>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68580" tIns="34290" rIns="68580" bIns="34290" numCol="1" anchor="t" anchorCtr="0" compatLnSpc="1">
            <a:prstTxWarp prst="textNoShape">
              <a:avLst/>
            </a:prstTxWarp>
            <a:noAutofit/>
          </a:bodyPr>
          <a:lstStyle/>
          <a:p>
            <a:endParaRPr lang="en-US" sz="1350" dirty="0">
              <a:latin typeface="+mn-lt"/>
              <a:sym typeface="Trebuchet MS" panose="020B0603020202020204" pitchFamily="34" charset="0"/>
            </a:endParaRPr>
          </a:p>
        </p:txBody>
      </p:sp>
      <p:sp>
        <p:nvSpPr>
          <p:cNvPr id="6" name="TextBox 5"/>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63652996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rgbClr val="4D4D4D"/>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41027"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9" y="1590"/>
                        <a:ext cx="1587" cy="1587"/>
                      </a:xfrm>
                      <a:prstGeom prst="rect">
                        <a:avLst/>
                      </a:prstGeom>
                    </p:spPr>
                  </p:pic>
                </p:oleObj>
              </mc:Fallback>
            </mc:AlternateContent>
          </a:graphicData>
        </a:graphic>
      </p:graphicFrame>
      <p:sp>
        <p:nvSpPr>
          <p:cNvPr id="5" name="TextBox 4"/>
          <p:cNvSpPr txBox="1"/>
          <p:nvPr userDrawn="1"/>
        </p:nvSpPr>
        <p:spPr bwMode="white">
          <a:xfrm>
            <a:off x="11167872" y="6442872"/>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4"/>
          </p:nvPr>
        </p:nvSpPr>
        <p:spPr bwMode="white">
          <a:xfrm>
            <a:off x="9677401" y="6443508"/>
            <a:ext cx="1482051" cy="115416"/>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sym typeface="Trebuchet MS" panose="020B0603020202020204" pitchFamily="34" charset="0"/>
              </a:rPr>
              <a:t>Copyright © 2017 by The Boston Consulting Group, Inc. All rights reserved.</a:t>
            </a:r>
          </a:p>
        </p:txBody>
      </p:sp>
      <p:sp>
        <p:nvSpPr>
          <p:cNvPr id="4" name="Title 3"/>
          <p:cNvSpPr>
            <a:spLocks noGrp="1"/>
          </p:cNvSpPr>
          <p:nvPr>
            <p:ph type="title" hasCustomPrompt="1"/>
          </p:nvPr>
        </p:nvSpPr>
        <p:spPr>
          <a:xfrm>
            <a:off x="630000" y="622800"/>
            <a:ext cx="10933200" cy="353174"/>
          </a:xfrm>
        </p:spPr>
        <p:txBody>
          <a:bodyPr/>
          <a:lstStyle>
            <a:lvl1pPr>
              <a:defRPr sz="2550">
                <a:solidFill>
                  <a:schemeClr val="bg1"/>
                </a:solidFill>
                <a:latin typeface="+mj-lt"/>
                <a:sym typeface="Trebuchet MS" panose="020B0603020202020204" pitchFamily="34" charset="0"/>
              </a:defRPr>
            </a:lvl1pPr>
          </a:lstStyle>
          <a:p>
            <a:r>
              <a:rPr lang="en-US" dirty="0"/>
              <a:t>Click to add title</a:t>
            </a:r>
          </a:p>
        </p:txBody>
      </p:sp>
      <p:sp>
        <p:nvSpPr>
          <p:cNvPr id="8"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solidFill>
                <a:latin typeface="+mn-lt"/>
                <a:sym typeface="Trebuchet MS" panose="020B0603020202020204" pitchFamily="34" charset="0"/>
              </a:rPr>
              <a:t>MX2020 - SteerCo data deep dive.pptx</a:t>
            </a:r>
            <a:endParaRPr lang="en-US" sz="525"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1535850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42051"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sp>
        <p:nvSpPr>
          <p:cNvPr id="5" name="Date Placeholder 4"/>
          <p:cNvSpPr>
            <a:spLocks noGrp="1"/>
          </p:cNvSpPr>
          <p:nvPr>
            <p:ph type="dt" sz="half" idx="12"/>
          </p:nvPr>
        </p:nvSpPr>
        <p:spPr>
          <a:xfrm>
            <a:off x="9677401" y="6443508"/>
            <a:ext cx="1482051" cy="115416"/>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6"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lumMod val="50000"/>
                  </a:schemeClr>
                </a:solidFill>
                <a:latin typeface="+mn-lt"/>
                <a:sym typeface="Trebuchet MS" panose="020B0603020202020204" pitchFamily="34" charset="0"/>
              </a:rPr>
              <a:t>MX2020 - SteerCo data deep dive.pptx</a:t>
            </a:r>
            <a:endParaRPr lang="en-US" sz="525"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0897692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43075"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9" y="1590"/>
                        <a:ext cx="1587" cy="1587"/>
                      </a:xfrm>
                      <a:prstGeom prst="rect">
                        <a:avLst/>
                      </a:prstGeom>
                    </p:spPr>
                  </p:pic>
                </p:oleObj>
              </mc:Fallback>
            </mc:AlternateContent>
          </a:graphicData>
        </a:graphic>
      </p:graphicFrame>
      <p:sp>
        <p:nvSpPr>
          <p:cNvPr id="7" name="TextBox 6"/>
          <p:cNvSpPr txBox="1"/>
          <p:nvPr userDrawn="1"/>
        </p:nvSpPr>
        <p:spPr bwMode="white">
          <a:xfrm>
            <a:off x="11167872" y="6442872"/>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2"/>
          </p:nvPr>
        </p:nvSpPr>
        <p:spPr>
          <a:xfrm>
            <a:off x="9677401" y="6443508"/>
            <a:ext cx="1482051" cy="115416"/>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sym typeface="Trebuchet MS" panose="020B0603020202020204" pitchFamily="34" charset="0"/>
              </a:rPr>
              <a:t>Copyright © 2017 by The Boston Consulting Group, Inc. All rights reserved.</a:t>
            </a:r>
          </a:p>
        </p:txBody>
      </p:sp>
      <p:sp>
        <p:nvSpPr>
          <p:cNvPr id="8"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solidFill>
                <a:latin typeface="+mn-lt"/>
                <a:sym typeface="Trebuchet MS" panose="020B0603020202020204" pitchFamily="34" charset="0"/>
              </a:rPr>
              <a:t>MX2020 - SteerCo data deep dive.pptx</a:t>
            </a:r>
            <a:endParaRPr lang="en-US" sz="525"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8058152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44099"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9" y="1590"/>
                        <a:ext cx="1587" cy="1587"/>
                      </a:xfrm>
                      <a:prstGeom prst="rect">
                        <a:avLst/>
                      </a:prstGeom>
                    </p:spPr>
                  </p:pic>
                </p:oleObj>
              </mc:Fallback>
            </mc:AlternateContent>
          </a:graphicData>
        </a:graphic>
      </p:graphicFrame>
      <p:grpSp>
        <p:nvGrpSpPr>
          <p:cNvPr id="49" name="Group 48"/>
          <p:cNvGrpSpPr/>
          <p:nvPr userDrawn="1"/>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dirty="0">
                <a:solidFill>
                  <a:schemeClr val="tx1"/>
                </a:solidFill>
                <a:latin typeface="+mn-lt"/>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757"/>
                </a:solidFill>
                <a:effectLst/>
                <a:uLnTx/>
                <a:uFillTx/>
                <a:latin typeface="+mn-lt"/>
                <a:ea typeface="+mn-ea"/>
                <a:cs typeface="+mn-cs"/>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750"/>
                </a:spcAft>
              </a:pPr>
              <a:endParaRPr lang="en-US" sz="900" dirty="0">
                <a:solidFill>
                  <a:schemeClr val="bg1"/>
                </a:solidFill>
                <a:latin typeface="+mn-lt"/>
              </a:endParaRPr>
            </a:p>
          </p:txBody>
        </p:sp>
        <p:sp>
          <p:nvSpPr>
            <p:cNvPr id="60" name="Footnote example"/>
            <p:cNvSpPr txBox="1"/>
            <p:nvPr/>
          </p:nvSpPr>
          <p:spPr>
            <a:xfrm>
              <a:off x="630000" y="6248316"/>
              <a:ext cx="9030914" cy="311624"/>
            </a:xfrm>
            <a:prstGeom prst="rect">
              <a:avLst/>
            </a:prstGeom>
            <a:noFill/>
          </p:spPr>
          <p:txBody>
            <a:bodyPr wrap="square" lIns="0" tIns="0" rIns="0" bIns="0" rtlCol="0" anchor="b">
              <a:spAutoFit/>
            </a:bodyPr>
            <a:lstStyle/>
            <a:p>
              <a:pPr marL="0" marR="0" lvl="0" indent="0" algn="l" defTabSz="685800" rtl="0" eaLnBrk="1" fontAlgn="auto" latinLnBrk="0" hangingPunct="1">
                <a:lnSpc>
                  <a:spcPct val="90000"/>
                </a:lnSpc>
                <a:spcBef>
                  <a:spcPts val="0"/>
                </a:spcBef>
                <a:spcAft>
                  <a:spcPts val="0"/>
                </a:spcAft>
                <a:buClrTx/>
                <a:buSzTx/>
                <a:buFontTx/>
                <a:buNone/>
                <a:tabLst/>
                <a:defRPr/>
              </a:pPr>
              <a:r>
                <a:rPr kumimoji="0" lang="en-US" sz="750" b="0" i="0" u="none" strike="noStrike" kern="1200" cap="none" spc="0" normalizeH="0" baseline="0" noProof="0" dirty="0">
                  <a:ln>
                    <a:noFill/>
                  </a:ln>
                  <a:solidFill>
                    <a:schemeClr val="tx1"/>
                  </a:solidFill>
                  <a:effectLst/>
                  <a:uLnTx/>
                  <a:uFillTx/>
                  <a:latin typeface="+mn-lt"/>
                  <a:ea typeface="+mn-ea"/>
                  <a:cs typeface="+mn-cs"/>
                  <a:sym typeface="Trebuchet MS" panose="020B0603020202020204" pitchFamily="34" charset="0"/>
                </a:rPr>
                <a:t>1. </a:t>
              </a:r>
              <a:r>
                <a:rPr kumimoji="0" lang="en-US" sz="750" b="0" i="0" u="none" strike="noStrike" kern="1200" cap="none" spc="0" normalizeH="0" baseline="0" noProof="0" dirty="0" err="1">
                  <a:ln>
                    <a:noFill/>
                  </a:ln>
                  <a:solidFill>
                    <a:schemeClr val="tx1"/>
                  </a:solidFill>
                  <a:effectLst/>
                  <a:uLnTx/>
                  <a:uFillTx/>
                  <a:latin typeface="+mn-lt"/>
                  <a:ea typeface="+mn-ea"/>
                  <a:cs typeface="+mn-cs"/>
                  <a:sym typeface="Trebuchet MS" panose="020B0603020202020204" pitchFamily="34" charset="0"/>
                </a:rPr>
                <a:t>xxxx</a:t>
              </a:r>
              <a:r>
                <a:rPr kumimoji="0" lang="en-US" sz="750" b="0" i="0" u="none" strike="noStrike" kern="1200" cap="none" spc="0" normalizeH="0" baseline="0" noProof="0" dirty="0">
                  <a:ln>
                    <a:noFill/>
                  </a:ln>
                  <a:solidFill>
                    <a:schemeClr val="tx1"/>
                  </a:solidFill>
                  <a:effectLst/>
                  <a:uLnTx/>
                  <a:uFillTx/>
                  <a:latin typeface="+mn-lt"/>
                  <a:ea typeface="+mn-ea"/>
                  <a:cs typeface="+mn-cs"/>
                  <a:sym typeface="Trebuchet MS" panose="020B0603020202020204" pitchFamily="34" charset="0"/>
                </a:rPr>
                <a:t>  2. </a:t>
              </a:r>
              <a:r>
                <a:rPr kumimoji="0" lang="en-US" sz="750" b="0" i="0" u="none" strike="noStrike" kern="1200" cap="none" spc="0" normalizeH="0" baseline="0" noProof="0" dirty="0" err="1">
                  <a:ln>
                    <a:noFill/>
                  </a:ln>
                  <a:solidFill>
                    <a:schemeClr val="tx1"/>
                  </a:solidFill>
                  <a:effectLst/>
                  <a:uLnTx/>
                  <a:uFillTx/>
                  <a:latin typeface="+mn-lt"/>
                  <a:ea typeface="+mn-ea"/>
                  <a:cs typeface="+mn-cs"/>
                  <a:sym typeface="Trebuchet MS" panose="020B0603020202020204" pitchFamily="34" charset="0"/>
                </a:rPr>
                <a:t>xxxx</a:t>
              </a:r>
              <a:r>
                <a:rPr kumimoji="0" lang="en-US" sz="750" b="0" i="0" u="none" strike="noStrike" kern="1200" cap="none" spc="0" normalizeH="0" baseline="0" noProof="0" dirty="0">
                  <a:ln>
                    <a:noFill/>
                  </a:ln>
                  <a:solidFill>
                    <a:schemeClr val="tx1"/>
                  </a:solidFill>
                  <a:effectLst/>
                  <a:uLnTx/>
                  <a:uFillTx/>
                  <a:latin typeface="+mn-lt"/>
                  <a:ea typeface="+mn-ea"/>
                  <a:cs typeface="+mn-cs"/>
                  <a:sym typeface="Trebuchet MS" panose="020B0603020202020204" pitchFamily="34" charset="0"/>
                </a:rPr>
                <a:t>  3. </a:t>
              </a:r>
              <a:r>
                <a:rPr kumimoji="0" lang="en-US" sz="750" b="0" i="0" u="none" strike="noStrike" kern="1200" cap="none" spc="0" normalizeH="0" baseline="0" noProof="0" dirty="0" err="1">
                  <a:ln>
                    <a:noFill/>
                  </a:ln>
                  <a:solidFill>
                    <a:schemeClr val="tx1"/>
                  </a:solidFill>
                  <a:effectLst/>
                  <a:uLnTx/>
                  <a:uFillTx/>
                  <a:latin typeface="+mn-lt"/>
                  <a:ea typeface="+mn-ea"/>
                  <a:cs typeface="+mn-cs"/>
                  <a:sym typeface="Trebuchet MS" panose="020B0603020202020204" pitchFamily="34" charset="0"/>
                </a:rPr>
                <a:t>xxxx</a:t>
              </a:r>
              <a:endParaRPr kumimoji="0" lang="en-US" sz="750" b="0" i="0" u="none" strike="noStrike" kern="1200" cap="none" spc="0" normalizeH="0" baseline="0" noProof="0" dirty="0">
                <a:ln>
                  <a:noFill/>
                </a:ln>
                <a:solidFill>
                  <a:schemeClr val="tx1"/>
                </a:solidFill>
                <a:effectLst/>
                <a:uLnTx/>
                <a:uFillTx/>
                <a:latin typeface="+mn-lt"/>
                <a:ea typeface="+mn-ea"/>
                <a:cs typeface="+mn-cs"/>
                <a:sym typeface="Trebuchet MS" panose="020B0603020202020204" pitchFamily="34" charset="0"/>
              </a:endParaRPr>
            </a:p>
            <a:p>
              <a:pPr marL="0" marR="0" lvl="0" indent="0" algn="l" defTabSz="685800" rtl="0" eaLnBrk="1" fontAlgn="auto" latinLnBrk="0" hangingPunct="1">
                <a:lnSpc>
                  <a:spcPct val="90000"/>
                </a:lnSpc>
                <a:spcBef>
                  <a:spcPts val="0"/>
                </a:spcBef>
                <a:spcAft>
                  <a:spcPts val="0"/>
                </a:spcAft>
                <a:buClrTx/>
                <a:buSzTx/>
                <a:buFontTx/>
                <a:buNone/>
                <a:tabLst/>
                <a:defRPr/>
              </a:pPr>
              <a:r>
                <a:rPr kumimoji="0" lang="en-US" sz="750" b="0" i="0" u="none" strike="noStrike" kern="1200" cap="none" spc="0" normalizeH="0" baseline="0" noProof="0" dirty="0">
                  <a:ln>
                    <a:noFill/>
                  </a:ln>
                  <a:solidFill>
                    <a:schemeClr val="tx1"/>
                  </a:solidFill>
                  <a:effectLst/>
                  <a:uLnTx/>
                  <a:uFillTx/>
                  <a:latin typeface="+mn-lt"/>
                  <a:ea typeface="+mn-ea"/>
                  <a:cs typeface="+mn-cs"/>
                  <a:sym typeface="Trebuchet MS" panose="020B0603020202020204" pitchFamily="34" charset="0"/>
                </a:rPr>
                <a:t>Note: List footnotes in numerical order. Footnote numbers are not bracketed. Use 10pt font. Do not put a period at the end of the note or the source</a:t>
              </a:r>
            </a:p>
            <a:p>
              <a:pPr marL="0" marR="0" lvl="0" indent="0" algn="l" defTabSz="685800" rtl="0" eaLnBrk="1" fontAlgn="auto" latinLnBrk="0" hangingPunct="1">
                <a:lnSpc>
                  <a:spcPct val="90000"/>
                </a:lnSpc>
                <a:spcBef>
                  <a:spcPts val="0"/>
                </a:spcBef>
                <a:spcAft>
                  <a:spcPts val="0"/>
                </a:spcAft>
                <a:buClrTx/>
                <a:buSzTx/>
                <a:buFontTx/>
                <a:buNone/>
                <a:tabLst/>
                <a:defRPr/>
              </a:pPr>
              <a:r>
                <a:rPr kumimoji="0" lang="en-US" sz="750" b="0" i="0" u="none" strike="noStrike" kern="1200" cap="none" spc="0" normalizeH="0" baseline="0" noProof="0" dirty="0">
                  <a:ln>
                    <a:noFill/>
                  </a:ln>
                  <a:solidFill>
                    <a:schemeClr val="tx1"/>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55"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lumMod val="50000"/>
                  </a:schemeClr>
                </a:solidFill>
                <a:latin typeface="+mn-lt"/>
                <a:sym typeface="Trebuchet MS" panose="020B0603020202020204" pitchFamily="34" charset="0"/>
              </a:rPr>
              <a:t>MX2020 - SteerCo data deep dive.pptx</a:t>
            </a:r>
            <a:endParaRPr lang="en-US" sz="525"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98259769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45123"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9" y="1590"/>
                        <a:ext cx="1587" cy="1587"/>
                      </a:xfrm>
                      <a:prstGeom prst="rect">
                        <a:avLst/>
                      </a:prstGeom>
                    </p:spPr>
                  </p:pic>
                </p:oleObj>
              </mc:Fallback>
            </mc:AlternateContent>
          </a:graphicData>
        </a:graphic>
      </p:graphicFrame>
      <p:pic>
        <p:nvPicPr>
          <p:cNvPr id="71" name="Picture 3" descr="Picture 3"/>
          <p:cNvPicPr>
            <a:picLocks noChangeAspect="1"/>
          </p:cNvPicPr>
          <p:nvPr userDrawn="1"/>
        </p:nvPicPr>
        <p:blipFill>
          <a:blip r:embed="rId6" cstate="print"/>
          <a:srcRect r="91525"/>
          <a:stretch>
            <a:fillRect/>
          </a:stretch>
        </p:blipFill>
        <p:spPr>
          <a:xfrm>
            <a:off x="0" y="0"/>
            <a:ext cx="1118499" cy="6858000"/>
          </a:xfrm>
          <a:prstGeom prst="rect">
            <a:avLst/>
          </a:prstGeom>
          <a:ln w="12700">
            <a:miter lim="400000"/>
          </a:ln>
        </p:spPr>
      </p:pic>
      <p:grpSp>
        <p:nvGrpSpPr>
          <p:cNvPr id="72" name="Group 71"/>
          <p:cNvGrpSpPr/>
          <p:nvPr userDrawn="1"/>
        </p:nvGrpSpPr>
        <p:grpSpPr>
          <a:xfrm>
            <a:off x="2" y="6221395"/>
            <a:ext cx="12191999" cy="574391"/>
            <a:chOff x="0" y="6221393"/>
            <a:chExt cx="12191999" cy="574391"/>
          </a:xfrm>
        </p:grpSpPr>
        <p:pic>
          <p:nvPicPr>
            <p:cNvPr id="73" name="footer-13.jpg" descr="footer-13.jpg"/>
            <p:cNvPicPr>
              <a:picLocks noChangeAspect="1"/>
            </p:cNvPicPr>
            <p:nvPr userDrawn="1"/>
          </p:nvPicPr>
          <p:blipFill>
            <a:blip r:embed="rId7" cstate="print"/>
            <a:stretch>
              <a:fillRect/>
            </a:stretch>
          </p:blipFill>
          <p:spPr>
            <a:xfrm>
              <a:off x="0" y="6221393"/>
              <a:ext cx="9906000" cy="574391"/>
            </a:xfrm>
            <a:prstGeom prst="rect">
              <a:avLst/>
            </a:prstGeom>
            <a:ln w="12700">
              <a:miter lim="400000"/>
            </a:ln>
          </p:spPr>
        </p:pic>
        <p:pic>
          <p:nvPicPr>
            <p:cNvPr id="74" name="footer-13.jpg" descr="footer-13.jpg"/>
            <p:cNvPicPr>
              <a:picLocks noChangeAspect="1"/>
            </p:cNvPicPr>
            <p:nvPr userDrawn="1"/>
          </p:nvPicPr>
          <p:blipFill rotWithShape="1">
            <a:blip r:embed="rId7" cstate="print"/>
            <a:srcRect l="26342"/>
            <a:stretch/>
          </p:blipFill>
          <p:spPr>
            <a:xfrm>
              <a:off x="4895384" y="6221393"/>
              <a:ext cx="7296615" cy="574391"/>
            </a:xfrm>
            <a:prstGeom prst="rect">
              <a:avLst/>
            </a:prstGeom>
            <a:ln w="12700">
              <a:miter lim="400000"/>
            </a:ln>
          </p:spPr>
        </p:pic>
      </p:grpSp>
      <p:sp>
        <p:nvSpPr>
          <p:cNvPr id="75" name="Title 1"/>
          <p:cNvSpPr>
            <a:spLocks noGrp="1"/>
          </p:cNvSpPr>
          <p:nvPr>
            <p:ph type="ctrTitle" hasCustomPrompt="1"/>
          </p:nvPr>
        </p:nvSpPr>
        <p:spPr bwMode="ltGray">
          <a:xfrm>
            <a:off x="1453896" y="722376"/>
            <a:ext cx="7251192" cy="649224"/>
          </a:xfrm>
          <a:prstGeom prst="rect">
            <a:avLst/>
          </a:prstGeom>
        </p:spPr>
        <p:txBody>
          <a:bodyPr lIns="36000" tIns="46800" rIns="36000" bIns="46800" anchor="ctr" anchorCtr="0">
            <a:normAutofit/>
          </a:bodyPr>
          <a:lstStyle>
            <a:lvl1pPr algn="l">
              <a:lnSpc>
                <a:spcPct val="93000"/>
              </a:lnSpc>
              <a:defRPr sz="3000" baseline="0">
                <a:solidFill>
                  <a:srgbClr val="86CBD8"/>
                </a:solidFill>
                <a:latin typeface="+mj-lt"/>
                <a:sym typeface="Trebuchet MS" panose="020B0603020202020204" pitchFamily="34" charset="0"/>
              </a:defRPr>
            </a:lvl1pPr>
          </a:lstStyle>
          <a:p>
            <a:r>
              <a:rPr lang="en-US" dirty="0" err="1"/>
              <a:t>Título</a:t>
            </a:r>
            <a:r>
              <a:rPr lang="en-US" dirty="0"/>
              <a:t> </a:t>
            </a:r>
            <a:r>
              <a:rPr lang="en-US" dirty="0" err="1"/>
              <a:t>Presentación</a:t>
            </a:r>
            <a:endParaRPr lang="en-US" dirty="0"/>
          </a:p>
        </p:txBody>
      </p:sp>
      <p:sp>
        <p:nvSpPr>
          <p:cNvPr id="76" name="Subtitle 2"/>
          <p:cNvSpPr>
            <a:spLocks noGrp="1"/>
          </p:cNvSpPr>
          <p:nvPr>
            <p:ph type="subTitle" idx="1" hasCustomPrompt="1"/>
          </p:nvPr>
        </p:nvSpPr>
        <p:spPr bwMode="white">
          <a:xfrm>
            <a:off x="1453896" y="2221992"/>
            <a:ext cx="8138160" cy="365760"/>
          </a:xfrm>
          <a:prstGeom prst="rect">
            <a:avLst/>
          </a:prstGeom>
        </p:spPr>
        <p:txBody>
          <a:bodyPr lIns="36000" tIns="46800" rIns="36000" bIns="46800" anchor="ctr"/>
          <a:lstStyle>
            <a:lvl1pPr marL="0" indent="0" algn="l">
              <a:lnSpc>
                <a:spcPct val="110000"/>
              </a:lnSpc>
              <a:buNone/>
              <a:defRPr sz="1350" b="1" baseline="0">
                <a:solidFill>
                  <a:srgbClr val="016AA1"/>
                </a:solidFill>
                <a:latin typeface="+mn-lt"/>
                <a:sym typeface="Trebuchet MS" panose="020B0603020202020204" pitchFamily="34" charset="0"/>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dirty="0" err="1"/>
              <a:t>Subtitulo</a:t>
            </a:r>
            <a:endParaRPr lang="en-US" dirty="0"/>
          </a:p>
        </p:txBody>
      </p:sp>
      <p:sp>
        <p:nvSpPr>
          <p:cNvPr id="77" name="Text Placeholder 6"/>
          <p:cNvSpPr>
            <a:spLocks noGrp="1"/>
          </p:cNvSpPr>
          <p:nvPr>
            <p:ph type="body" sz="quarter" idx="12" hasCustomPrompt="1"/>
          </p:nvPr>
        </p:nvSpPr>
        <p:spPr bwMode="black">
          <a:xfrm>
            <a:off x="1453896" y="4983480"/>
            <a:ext cx="7589520" cy="365760"/>
          </a:xfrm>
          <a:prstGeom prst="rect">
            <a:avLst/>
          </a:prstGeom>
          <a:noFill/>
        </p:spPr>
        <p:txBody>
          <a:bodyPr lIns="36000" tIns="46800" rIns="36000" bIns="46800" anchor="ctr"/>
          <a:lstStyle>
            <a:lvl1pPr algn="l">
              <a:lnSpc>
                <a:spcPct val="110000"/>
              </a:lnSpc>
              <a:buNone/>
              <a:defRPr sz="1350" b="0" cap="none" baseline="0">
                <a:solidFill>
                  <a:srgbClr val="7C1A4F"/>
                </a:solidFill>
                <a:latin typeface="+mn-lt"/>
                <a:sym typeface="Trebuchet MS" panose="020B0603020202020204" pitchFamily="34" charset="0"/>
              </a:defRPr>
            </a:lvl1pPr>
            <a:lvl2pPr algn="ctr">
              <a:buNone/>
              <a:defRPr/>
            </a:lvl2pPr>
            <a:lvl3pPr marL="0" indent="0" algn="ctr">
              <a:buNone/>
              <a:defRPr/>
            </a:lvl3pPr>
            <a:lvl4pPr marL="171450" indent="0" algn="ctr">
              <a:buNone/>
              <a:defRPr/>
            </a:lvl4pPr>
            <a:lvl5pPr marL="342900" indent="0" algn="ctr">
              <a:buNone/>
              <a:defRPr/>
            </a:lvl5pPr>
          </a:lstStyle>
          <a:p>
            <a:pPr lvl="0"/>
            <a:r>
              <a:rPr lang="en-US" dirty="0" err="1"/>
              <a:t>Fecha</a:t>
            </a:r>
            <a:endParaRPr lang="en-US" dirty="0"/>
          </a:p>
        </p:txBody>
      </p:sp>
    </p:spTree>
    <p:extLst>
      <p:ext uri="{BB962C8B-B14F-4D97-AF65-F5344CB8AC3E}">
        <p14:creationId xmlns:p14="http://schemas.microsoft.com/office/powerpoint/2010/main" val="211773081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46147"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sp>
        <p:nvSpPr>
          <p:cNvPr id="57" name="Date Placeholder 56"/>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8" name="Title 7"/>
          <p:cNvSpPr>
            <a:spLocks noGrp="1"/>
          </p:cNvSpPr>
          <p:nvPr>
            <p:ph type="title" hasCustomPrompt="1"/>
          </p:nvPr>
        </p:nvSpPr>
        <p:spPr>
          <a:xfrm>
            <a:off x="630001" y="622802"/>
            <a:ext cx="10933351" cy="249299"/>
          </a:xfrm>
        </p:spPr>
        <p:txBody>
          <a:bodyPr/>
          <a:lstStyle>
            <a:lvl1pPr>
              <a:defRPr>
                <a:solidFill>
                  <a:srgbClr val="4472C4"/>
                </a:solidFill>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lumMod val="50000"/>
                  </a:schemeClr>
                </a:solidFill>
                <a:latin typeface="+mn-lt"/>
                <a:sym typeface="Trebuchet MS" panose="020B0603020202020204" pitchFamily="34" charset="0"/>
              </a:rPr>
              <a:t>MX2020 - SteerCo data deep dive.pptx</a:t>
            </a:r>
            <a:endParaRPr lang="en-US" sz="525" dirty="0">
              <a:solidFill>
                <a:schemeClr val="bg1">
                  <a:lumMod val="50000"/>
                </a:schemeClr>
              </a:solidFill>
              <a:latin typeface="+mn-lt"/>
              <a:sym typeface="Trebuchet MS" panose="020B0603020202020204" pitchFamily="34" charset="0"/>
            </a:endParaRPr>
          </a:p>
        </p:txBody>
      </p:sp>
      <p:pic>
        <p:nvPicPr>
          <p:cNvPr id="151" name="Picture 150"/>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0688845" y="6661003"/>
            <a:ext cx="874355" cy="141242"/>
          </a:xfrm>
          <a:prstGeom prst="rect">
            <a:avLst/>
          </a:prstGeom>
        </p:spPr>
      </p:pic>
      <p:pic>
        <p:nvPicPr>
          <p:cNvPr id="152" name="pasted-image.pdf" descr="pasted-image.pdf"/>
          <p:cNvPicPr>
            <a:picLocks noChangeAspect="1"/>
          </p:cNvPicPr>
          <p:nvPr userDrawn="1"/>
        </p:nvPicPr>
        <p:blipFill>
          <a:blip r:embed="rId8" cstate="print"/>
          <a:stretch>
            <a:fillRect/>
          </a:stretch>
        </p:blipFill>
        <p:spPr>
          <a:xfrm>
            <a:off x="129456" y="6545571"/>
            <a:ext cx="420925" cy="256674"/>
          </a:xfrm>
          <a:prstGeom prst="rect">
            <a:avLst/>
          </a:prstGeom>
          <a:ln w="12700">
            <a:miter lim="400000"/>
          </a:ln>
        </p:spPr>
      </p:pic>
    </p:spTree>
    <p:extLst>
      <p:ext uri="{BB962C8B-B14F-4D97-AF65-F5344CB8AC3E}">
        <p14:creationId xmlns:p14="http://schemas.microsoft.com/office/powerpoint/2010/main" val="59875599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userDrawn="1">
          <p15:clr>
            <a:srgbClr val="FBAE40"/>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47171"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sp>
        <p:nvSpPr>
          <p:cNvPr id="4" name="Date Placeholder 3"/>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1"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l">
              <a:lnSpc>
                <a:spcPct val="90000"/>
              </a:lnSpc>
              <a:spcAft>
                <a:spcPts val="750"/>
              </a:spcAft>
            </a:pPr>
            <a:endParaRPr lang="en-US" sz="900">
              <a:solidFill>
                <a:schemeClr val="bg1"/>
              </a:solidFill>
              <a:latin typeface="+mn-lt"/>
              <a:sym typeface="Trebuchet MS" panose="020B0603020202020204" pitchFamily="34" charset="0"/>
            </a:endParaRPr>
          </a:p>
        </p:txBody>
      </p:sp>
      <p:sp>
        <p:nvSpPr>
          <p:cNvPr id="8" name="Subtitle 2"/>
          <p:cNvSpPr>
            <a:spLocks noGrp="1"/>
          </p:cNvSpPr>
          <p:nvPr>
            <p:ph type="subTitle" idx="13" hasCustomPrompt="1"/>
          </p:nvPr>
        </p:nvSpPr>
        <p:spPr>
          <a:xfrm>
            <a:off x="630000" y="2158989"/>
            <a:ext cx="3744000" cy="541687"/>
          </a:xfrm>
          <a:prstGeom prst="rect">
            <a:avLst/>
          </a:prstGeom>
        </p:spPr>
        <p:txBody>
          <a:bodyPr>
            <a:noAutofit/>
          </a:bodyPr>
          <a:lstStyle>
            <a:lvl1pPr marL="0" indent="0" algn="l">
              <a:buNone/>
              <a:defRPr sz="1200">
                <a:solidFill>
                  <a:srgbClr val="73C4EF"/>
                </a:solidFill>
                <a:latin typeface="+mn-lt"/>
                <a:sym typeface="Trebuchet MS" panose="020B0603020202020204" pitchFamily="34" charset="0"/>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dirty="0"/>
              <a:t>Click to add subtitle</a:t>
            </a:r>
          </a:p>
        </p:txBody>
      </p:sp>
      <p:sp>
        <p:nvSpPr>
          <p:cNvPr id="9" name="Title 4"/>
          <p:cNvSpPr>
            <a:spLocks noGrp="1"/>
          </p:cNvSpPr>
          <p:nvPr>
            <p:ph type="title" hasCustomPrompt="1"/>
          </p:nvPr>
        </p:nvSpPr>
        <p:spPr>
          <a:xfrm>
            <a:off x="630000" y="1227050"/>
            <a:ext cx="3744000" cy="664797"/>
          </a:xfrm>
        </p:spPr>
        <p:txBody>
          <a:bodyPr anchor="t">
            <a:noAutofit/>
          </a:bodyPr>
          <a:lstStyle>
            <a:lvl1pPr>
              <a:defRPr sz="1800">
                <a:solidFill>
                  <a:srgbClr val="4472C4"/>
                </a:solidFill>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lumMod val="50000"/>
                  </a:schemeClr>
                </a:solidFill>
                <a:latin typeface="+mn-lt"/>
                <a:sym typeface="Trebuchet MS" panose="020B0603020202020204" pitchFamily="34" charset="0"/>
              </a:rPr>
              <a:t>MX2020 - SteerCo data deep dive.pptx</a:t>
            </a:r>
            <a:endParaRPr lang="en-US" sz="525"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78515845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userDrawn="1">
          <p15:clr>
            <a:srgbClr val="FBAE40"/>
          </p15:clr>
        </p15:guide>
        <p15:guide id="2" pos="5120" userDrawn="1">
          <p15:clr>
            <a:srgbClr val="FBAE40"/>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48195"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2"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8" name="Title 1"/>
          <p:cNvSpPr>
            <a:spLocks noGrp="1"/>
          </p:cNvSpPr>
          <p:nvPr>
            <p:ph type="title" hasCustomPrompt="1"/>
          </p:nvPr>
        </p:nvSpPr>
        <p:spPr bwMode="blackWhite">
          <a:xfrm>
            <a:off x="1284743"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685800" rtl="0" eaLnBrk="1" fontAlgn="auto" latinLnBrk="0" hangingPunct="1">
              <a:lnSpc>
                <a:spcPts val="4500"/>
              </a:lnSpc>
              <a:spcBef>
                <a:spcPts val="0"/>
              </a:spcBef>
              <a:spcAft>
                <a:spcPts val="0"/>
              </a:spcAft>
              <a:defRPr lang="en-US" sz="4050" kern="1200" baseline="0" dirty="0">
                <a:solidFill>
                  <a:schemeClr val="tx2"/>
                </a:solidFill>
                <a:latin typeface="+mj-lt"/>
                <a:ea typeface="+mn-ea"/>
                <a:cs typeface="Arial" panose="020B0604020202020204" pitchFamily="34" charset="0"/>
                <a:sym typeface="Trebuchet MS" panose="020B0603020202020204" pitchFamily="34" charset="0"/>
              </a:defRPr>
            </a:lvl1pPr>
          </a:lstStyle>
          <a:p>
            <a:r>
              <a:rPr lang="en-US" dirty="0"/>
              <a:t>Click to add section title</a:t>
            </a:r>
          </a:p>
        </p:txBody>
      </p:sp>
      <p:sp>
        <p:nvSpPr>
          <p:cNvPr id="11" name="Rectangle 10"/>
          <p:cNvSpPr/>
          <p:nvPr userDrawn="1"/>
        </p:nvSpPr>
        <p:spPr bwMode="white">
          <a:xfrm>
            <a:off x="1280694" y="1424083"/>
            <a:ext cx="95172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900">
              <a:solidFill>
                <a:schemeClr val="bg1"/>
              </a:solidFill>
              <a:latin typeface="+mn-lt"/>
              <a:sym typeface="Trebuchet MS" panose="020B0603020202020204" pitchFamily="34" charset="0"/>
            </a:endParaRPr>
          </a:p>
        </p:txBody>
      </p:sp>
      <p:sp>
        <p:nvSpPr>
          <p:cNvPr id="10"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lumMod val="50000"/>
                  </a:schemeClr>
                </a:solidFill>
                <a:latin typeface="+mn-lt"/>
                <a:sym typeface="Trebuchet MS" panose="020B0603020202020204" pitchFamily="34" charset="0"/>
              </a:rPr>
              <a:t>MX2020 - SteerCo data deep dive.pptx</a:t>
            </a:r>
            <a:endParaRPr lang="en-US" sz="525"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5414440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pic>
        <p:nvPicPr>
          <p:cNvPr id="4" name="Picture 5"/>
          <p:cNvPicPr>
            <a:picLocks noChangeAspect="1"/>
          </p:cNvPicPr>
          <p:nvPr userDrawn="1"/>
        </p:nvPicPr>
        <p:blipFill>
          <a:blip r:embed="rId3">
            <a:extLst>
              <a:ext uri="{28A0092B-C50C-407E-A947-70E740481C1C}">
                <a14:useLocalDpi xmlns:a14="http://schemas.microsoft.com/office/drawing/2010/main" val="0"/>
              </a:ext>
            </a:extLst>
          </a:blip>
          <a:srcRect t="30383" b="31548"/>
          <a:stretch>
            <a:fillRect/>
          </a:stretch>
        </p:blipFill>
        <p:spPr bwMode="auto">
          <a:xfrm>
            <a:off x="7295581" y="5542984"/>
            <a:ext cx="4744433" cy="8766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150" name="Rectangle 78"/>
          <p:cNvSpPr>
            <a:spLocks noGrp="1" noChangeArrowheads="1"/>
          </p:cNvSpPr>
          <p:nvPr>
            <p:ph type="ctrTitle"/>
          </p:nvPr>
        </p:nvSpPr>
        <p:spPr>
          <a:xfrm>
            <a:off x="804339" y="906466"/>
            <a:ext cx="10947400" cy="517525"/>
          </a:xfrm>
        </p:spPr>
        <p:txBody>
          <a:bodyPr/>
          <a:lstStyle>
            <a:lvl1pPr>
              <a:defRPr sz="3200"/>
            </a:lvl1pPr>
          </a:lstStyle>
          <a:p>
            <a:pPr lvl="0"/>
            <a:r>
              <a:rPr lang="en-US" noProof="0"/>
              <a:t>Click to edit Master title style</a:t>
            </a:r>
            <a:endParaRPr lang="en-US" noProof="0" dirty="0"/>
          </a:p>
        </p:txBody>
      </p:sp>
      <p:sp>
        <p:nvSpPr>
          <p:cNvPr id="3151" name="Rectangle 79"/>
          <p:cNvSpPr>
            <a:spLocks noGrp="1" noChangeArrowheads="1"/>
          </p:cNvSpPr>
          <p:nvPr>
            <p:ph type="subTitle" sz="quarter" idx="1"/>
          </p:nvPr>
        </p:nvSpPr>
        <p:spPr>
          <a:xfrm>
            <a:off x="804339" y="1397000"/>
            <a:ext cx="10962217" cy="1093788"/>
          </a:xfrm>
          <a:extLst>
            <a:ext uri="{91240B29-F687-4F45-9708-019B960494DF}">
              <a14:hiddenLine xmlns:a14="http://schemas.microsoft.com/office/drawing/2010/main" w="9525">
                <a:solidFill>
                  <a:schemeClr val="tx1"/>
                </a:solidFill>
                <a:miter lim="800000"/>
                <a:headEnd/>
                <a:tailEnd/>
              </a14:hiddenLine>
            </a:ext>
          </a:extLst>
        </p:spPr>
        <p:txBody>
          <a:bodyPr/>
          <a:lstStyle>
            <a:lvl1pPr marL="0" indent="0">
              <a:lnSpc>
                <a:spcPct val="100000"/>
              </a:lnSpc>
              <a:spcBef>
                <a:spcPct val="0"/>
              </a:spcBef>
              <a:spcAft>
                <a:spcPct val="0"/>
              </a:spcAft>
              <a:buFontTx/>
              <a:buNone/>
              <a:defRPr sz="3200">
                <a:solidFill>
                  <a:srgbClr val="00BDF2"/>
                </a:solidFill>
              </a:defRPr>
            </a:lvl1pPr>
          </a:lstStyle>
          <a:p>
            <a:pPr lvl="0"/>
            <a:r>
              <a:rPr lang="en-US" noProof="0"/>
              <a:t>Click to edit Master subtitle style</a:t>
            </a:r>
            <a:endParaRPr lang="en-US" noProof="0" dirty="0"/>
          </a:p>
        </p:txBody>
      </p:sp>
    </p:spTree>
    <p:extLst>
      <p:ext uri="{BB962C8B-B14F-4D97-AF65-F5344CB8AC3E}">
        <p14:creationId xmlns:p14="http://schemas.microsoft.com/office/powerpoint/2010/main" val="1846508459"/>
      </p:ext>
    </p:extLst>
  </p:cSld>
  <p:clrMapOvr>
    <a:overrideClrMapping bg1="lt1" tx1="dk1" bg2="lt2" tx2="dk2" accent1="accent1" accent2="accent2" accent3="accent3" accent4="accent4" accent5="accent5" accent6="accent6" hlink="hlink" folHlink="folHlink"/>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49219"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9" y="1590"/>
                        <a:ext cx="1587" cy="1587"/>
                      </a:xfrm>
                      <a:prstGeom prst="rect">
                        <a:avLst/>
                      </a:prstGeom>
                    </p:spPr>
                  </p:pic>
                </p:oleObj>
              </mc:Fallback>
            </mc:AlternateContent>
          </a:graphicData>
        </a:graphic>
      </p:graphicFrame>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Title 1"/>
          <p:cNvSpPr>
            <a:spLocks noGrp="1"/>
          </p:cNvSpPr>
          <p:nvPr>
            <p:ph type="title" hasCustomPrompt="1"/>
          </p:nvPr>
        </p:nvSpPr>
        <p:spPr bwMode="blackWhite">
          <a:xfrm>
            <a:off x="630000" y="3826800"/>
            <a:ext cx="10936800" cy="2041200"/>
          </a:xfrm>
        </p:spPr>
        <p:txBody>
          <a:bodyPr anchor="t">
            <a:noAutofit/>
          </a:bodyPr>
          <a:lstStyle>
            <a:lvl1pPr>
              <a:defRPr sz="4050">
                <a:solidFill>
                  <a:schemeClr val="tx2"/>
                </a:solidFill>
                <a:latin typeface="+mj-lt"/>
                <a:sym typeface="Trebuchet MS" panose="020B0603020202020204" pitchFamily="34" charset="0"/>
              </a:defRPr>
            </a:lvl1pPr>
          </a:lstStyle>
          <a:p>
            <a:r>
              <a:rPr lang="en-US" dirty="0"/>
              <a:t>Click to add section title</a:t>
            </a:r>
          </a:p>
        </p:txBody>
      </p:sp>
      <p:cxnSp>
        <p:nvCxnSpPr>
          <p:cNvPr id="10" name="Straight Connector 9"/>
          <p:cNvCxnSpPr/>
          <p:nvPr userDrawn="1"/>
        </p:nvCxnSpPr>
        <p:spPr bwMode="white">
          <a:xfrm>
            <a:off x="630001" y="3680016"/>
            <a:ext cx="11558587"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5323885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50243"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l="29398" t="8741" r="101" b="27"/>
          <a:stretch/>
        </p:blipFill>
        <p:spPr bwMode="ltGray">
          <a:xfrm flipV="1">
            <a:off x="4064995" y="0"/>
            <a:ext cx="416951" cy="6858000"/>
          </a:xfrm>
          <a:prstGeom prst="rect">
            <a:avLst/>
          </a:prstGeom>
        </p:spPr>
      </p:pic>
      <p:sp>
        <p:nvSpPr>
          <p:cNvPr id="18" name="Date Placeholder 1"/>
          <p:cNvSpPr>
            <a:spLocks noGrp="1"/>
          </p:cNvSpPr>
          <p:nvPr>
            <p:ph type="dt" sz="half" idx="31"/>
          </p:nvPr>
        </p:nvSpPr>
        <p:spPr>
          <a:xfrm>
            <a:off x="9677401" y="6443508"/>
            <a:ext cx="1482051" cy="115416"/>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20" name="TextBox 19"/>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Trebuchet MS" panose="020B0603020202020204" pitchFamily="34" charset="0"/>
            </a:endParaRPr>
          </a:p>
        </p:txBody>
      </p:sp>
      <p:sp>
        <p:nvSpPr>
          <p:cNvPr id="22"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sym typeface="Trebuchet MS" panose="020B0603020202020204" pitchFamily="34" charset="0"/>
              </a:rPr>
              <a:t>Copyright © 2017 by The Boston Consulting Group, Inc. All rights reserved.</a:t>
            </a:r>
          </a:p>
        </p:txBody>
      </p:sp>
      <p:sp>
        <p:nvSpPr>
          <p:cNvPr id="24" name="Rectangle 23"/>
          <p:cNvSpPr/>
          <p:nvPr userDrawn="1"/>
        </p:nvSpPr>
        <p:spPr bwMode="white">
          <a:xfrm>
            <a:off x="1"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a:solidFill>
                <a:schemeClr val="bg1"/>
              </a:solidFill>
              <a:latin typeface="+mn-lt"/>
              <a:sym typeface="Trebuchet MS" panose="020B0603020202020204" pitchFamily="34" charset="0"/>
            </a:endParaRPr>
          </a:p>
        </p:txBody>
      </p:sp>
      <p:sp>
        <p:nvSpPr>
          <p:cNvPr id="25" name="Title 4"/>
          <p:cNvSpPr>
            <a:spLocks noGrp="1"/>
          </p:cNvSpPr>
          <p:nvPr>
            <p:ph type="title" hasCustomPrompt="1"/>
          </p:nvPr>
        </p:nvSpPr>
        <p:spPr>
          <a:xfrm>
            <a:off x="630001" y="2681103"/>
            <a:ext cx="3127881" cy="1495794"/>
          </a:xfrm>
          <a:prstGeom prst="rect">
            <a:avLst/>
          </a:prstGeom>
        </p:spPr>
        <p:txBody>
          <a:bodyPr anchor="ctr">
            <a:noAutofit/>
          </a:bodyPr>
          <a:lstStyle>
            <a:lvl1pPr>
              <a:defRPr sz="1800">
                <a:solidFill>
                  <a:srgbClr val="4472C4"/>
                </a:solidFill>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solidFill>
                <a:latin typeface="+mn-lt"/>
                <a:sym typeface="Trebuchet MS" panose="020B0603020202020204" pitchFamily="34" charset="0"/>
              </a:rPr>
              <a:t>MX2020 - SteerCo data deep dive.pptx</a:t>
            </a:r>
            <a:endParaRPr lang="en-US" sz="525"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3398052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51267"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9" y="1590"/>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l="29398" t="8741" r="101" b="27"/>
          <a:stretch/>
        </p:blipFill>
        <p:spPr bwMode="ltGray">
          <a:xfrm flipV="1">
            <a:off x="7165607" y="0"/>
            <a:ext cx="416951" cy="6858000"/>
          </a:xfrm>
          <a:prstGeom prst="rect">
            <a:avLst/>
          </a:prstGeom>
        </p:spPr>
      </p:pic>
      <p:sp>
        <p:nvSpPr>
          <p:cNvPr id="14" name="Rectangle 13"/>
          <p:cNvSpPr/>
          <p:nvPr userDrawn="1"/>
        </p:nvSpPr>
        <p:spPr bwMode="white">
          <a:xfrm>
            <a:off x="1"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a:solidFill>
                <a:schemeClr val="bg1"/>
              </a:solidFill>
              <a:latin typeface="+mn-lt"/>
              <a:sym typeface="Trebuchet MS" panose="020B0603020202020204" pitchFamily="34" charset="0"/>
            </a:endParaRPr>
          </a:p>
        </p:txBody>
      </p:sp>
      <p:sp>
        <p:nvSpPr>
          <p:cNvPr id="18" name="Date Placeholder 2"/>
          <p:cNvSpPr>
            <a:spLocks noGrp="1"/>
          </p:cNvSpPr>
          <p:nvPr>
            <p:ph type="dt" sz="half" idx="10"/>
          </p:nvPr>
        </p:nvSpPr>
        <p:spPr>
          <a:xfrm>
            <a:off x="9677401" y="6443508"/>
            <a:ext cx="1482051" cy="115416"/>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19" name="TextBox 18"/>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
        <p:nvSpPr>
          <p:cNvPr id="21"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sym typeface="Trebuchet MS" panose="020B0603020202020204" pitchFamily="34" charset="0"/>
              </a:rPr>
              <a:t>Copyright © 2017 by The Boston Consulting Group, Inc. All rights reserved.</a:t>
            </a:r>
          </a:p>
        </p:txBody>
      </p:sp>
      <p:sp>
        <p:nvSpPr>
          <p:cNvPr id="2" name="Title 1"/>
          <p:cNvSpPr>
            <a:spLocks noGrp="1"/>
          </p:cNvSpPr>
          <p:nvPr>
            <p:ph type="title" hasCustomPrompt="1"/>
          </p:nvPr>
        </p:nvSpPr>
        <p:spPr>
          <a:xfrm>
            <a:off x="630001" y="622802"/>
            <a:ext cx="6276529" cy="249299"/>
          </a:xfrm>
          <a:prstGeom prst="rect">
            <a:avLst/>
          </a:prstGeom>
        </p:spPr>
        <p:txBody>
          <a:bodyPr/>
          <a:lstStyle>
            <a:lvl1pPr>
              <a:defRPr>
                <a:solidFill>
                  <a:srgbClr val="4472C4"/>
                </a:solidFill>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solidFill>
                <a:latin typeface="+mn-lt"/>
                <a:sym typeface="Trebuchet MS" panose="020B0603020202020204" pitchFamily="34" charset="0"/>
              </a:rPr>
              <a:t>MX2020 - SteerCo data deep dive.pptx</a:t>
            </a:r>
            <a:endParaRPr lang="en-US" sz="525"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45484293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52291"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9" y="1590"/>
                        <a:ext cx="1587" cy="1587"/>
                      </a:xfrm>
                      <a:prstGeom prst="rect">
                        <a:avLst/>
                      </a:prstGeom>
                    </p:spPr>
                  </p:pic>
                </p:oleObj>
              </mc:Fallback>
            </mc:AlternateContent>
          </a:graphicData>
        </a:graphic>
      </p:graphicFrame>
      <p:pic>
        <p:nvPicPr>
          <p:cNvPr id="16" name="Picture 15"/>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l="29398" t="8741" r="101" b="27"/>
          <a:stretch/>
        </p:blipFill>
        <p:spPr bwMode="ltGray">
          <a:xfrm flipV="1">
            <a:off x="9029247" y="0"/>
            <a:ext cx="416951" cy="6858000"/>
          </a:xfrm>
          <a:prstGeom prst="rect">
            <a:avLst/>
          </a:prstGeom>
        </p:spPr>
      </p:pic>
      <p:sp>
        <p:nvSpPr>
          <p:cNvPr id="10" name="Rectangle 9"/>
          <p:cNvSpPr/>
          <p:nvPr userDrawn="1"/>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1" y="6443508"/>
            <a:ext cx="1482051" cy="115416"/>
          </a:xfrm>
        </p:spPr>
        <p:txBody>
          <a:bodyPr/>
          <a:lstStyle>
            <a:lvl1pPr>
              <a:defRPr>
                <a:solidFill>
                  <a:schemeClr val="bg1"/>
                </a:solidFill>
                <a:latin typeface="+mn-lt"/>
                <a:sym typeface="Trebuchet MS" panose="020B0603020202020204" pitchFamily="34" charset="0"/>
              </a:defRPr>
            </a:lvl1pPr>
          </a:lstStyle>
          <a:p>
            <a:endParaRPr lang="en-US"/>
          </a:p>
        </p:txBody>
      </p:sp>
      <p:sp>
        <p:nvSpPr>
          <p:cNvPr id="22"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sym typeface="Trebuchet MS" panose="020B0603020202020204" pitchFamily="34" charset="0"/>
              </a:rPr>
              <a:t>Copyright © 2017 by The Boston Consulting Group, Inc. All rights reserved.</a:t>
            </a:r>
          </a:p>
        </p:txBody>
      </p:sp>
      <p:sp>
        <p:nvSpPr>
          <p:cNvPr id="15" name="TextBox 14"/>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2"/>
            <a:ext cx="8101584" cy="249299"/>
          </a:xfrm>
          <a:prstGeom prst="rect">
            <a:avLst/>
          </a:prstGeom>
        </p:spPr>
        <p:txBody>
          <a:bodyPr/>
          <a:lstStyle>
            <a:lvl1pPr>
              <a:defRPr>
                <a:solidFill>
                  <a:srgbClr val="4472C4"/>
                </a:solidFill>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solidFill>
                <a:latin typeface="+mn-lt"/>
                <a:sym typeface="Trebuchet MS" panose="020B0603020202020204" pitchFamily="34" charset="0"/>
              </a:rPr>
              <a:t>MX2020 - SteerCo data deep dive.pptx</a:t>
            </a:r>
            <a:endParaRPr lang="en-US" sz="525"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631177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53315"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l="29398" t="8741" r="101" b="27"/>
          <a:stretch/>
        </p:blipFill>
        <p:spPr bwMode="ltGray">
          <a:xfrm flipH="1">
            <a:off x="3671070" y="0"/>
            <a:ext cx="416951" cy="6858000"/>
          </a:xfrm>
          <a:prstGeom prst="rect">
            <a:avLst/>
          </a:prstGeom>
        </p:spPr>
      </p:pic>
      <p:sp>
        <p:nvSpPr>
          <p:cNvPr id="24" name="Title 4"/>
          <p:cNvSpPr>
            <a:spLocks noGrp="1"/>
          </p:cNvSpPr>
          <p:nvPr>
            <p:ph type="title" hasCustomPrompt="1"/>
          </p:nvPr>
        </p:nvSpPr>
        <p:spPr>
          <a:xfrm>
            <a:off x="630001" y="2681103"/>
            <a:ext cx="3127881" cy="1495794"/>
          </a:xfrm>
          <a:prstGeom prst="rect">
            <a:avLst/>
          </a:prstGeom>
        </p:spPr>
        <p:txBody>
          <a:bodyPr anchor="ctr">
            <a:noAutofit/>
          </a:bodyPr>
          <a:lstStyle>
            <a:lvl1pPr>
              <a:defRPr sz="1800">
                <a:solidFill>
                  <a:schemeClr val="bg1"/>
                </a:solidFill>
                <a:latin typeface="+mj-lt"/>
                <a:sym typeface="Trebuchet MS" panose="020B0603020202020204" pitchFamily="34" charset="0"/>
              </a:defRPr>
            </a:lvl1pPr>
          </a:lstStyle>
          <a:p>
            <a:r>
              <a:rPr lang="en-US" dirty="0"/>
              <a:t>Click to add title</a:t>
            </a:r>
          </a:p>
        </p:txBody>
      </p:sp>
      <p:sp>
        <p:nvSpPr>
          <p:cNvPr id="26" name="Rectangle 25"/>
          <p:cNvSpPr/>
          <p:nvPr userDrawn="1"/>
        </p:nvSpPr>
        <p:spPr bwMode="ltGray">
          <a:xfrm>
            <a:off x="4080764"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a:solidFill>
                <a:schemeClr val="bg1"/>
              </a:solidFill>
              <a:latin typeface="+mn-lt"/>
              <a:sym typeface="Trebuchet MS" panose="020B0603020202020204" pitchFamily="34" charset="0"/>
            </a:endParaRPr>
          </a:p>
        </p:txBody>
      </p:sp>
      <p:sp>
        <p:nvSpPr>
          <p:cNvPr id="25" name="Date Placeholder 1"/>
          <p:cNvSpPr>
            <a:spLocks noGrp="1"/>
          </p:cNvSpPr>
          <p:nvPr>
            <p:ph type="dt" sz="half" idx="29"/>
          </p:nvPr>
        </p:nvSpPr>
        <p:spPr>
          <a:xfrm>
            <a:off x="9677401" y="6443508"/>
            <a:ext cx="1482051" cy="115416"/>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29"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28" name="TextBox 27"/>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lumMod val="50000"/>
                </a:schemeClr>
              </a:solidFill>
              <a:latin typeface="+mn-lt"/>
              <a:ea typeface="+mn-ea"/>
              <a:cs typeface="+mn-cs"/>
              <a:sym typeface="Trebuchet MS" panose="020B0603020202020204" pitchFamily="34" charset="0"/>
            </a:endParaRPr>
          </a:p>
        </p:txBody>
      </p:sp>
      <p:sp>
        <p:nvSpPr>
          <p:cNvPr id="11"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lumMod val="50000"/>
                  </a:schemeClr>
                </a:solidFill>
                <a:latin typeface="+mn-lt"/>
                <a:sym typeface="Trebuchet MS" panose="020B0603020202020204" pitchFamily="34" charset="0"/>
              </a:rPr>
              <a:t>MX2020 - SteerCo data deep dive.pptx</a:t>
            </a:r>
            <a:endParaRPr lang="en-US" sz="525"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43562531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54339"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l="29398" t="8741" r="101" b="27"/>
          <a:stretch/>
        </p:blipFill>
        <p:spPr bwMode="ltGray">
          <a:xfrm flipH="1">
            <a:off x="5689583" y="0"/>
            <a:ext cx="416951" cy="6858000"/>
          </a:xfrm>
          <a:prstGeom prst="rect">
            <a:avLst/>
          </a:prstGeom>
        </p:spPr>
      </p:pic>
      <p:sp>
        <p:nvSpPr>
          <p:cNvPr id="11" name="Rectangle 10"/>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750"/>
              </a:spcAft>
            </a:pPr>
            <a:endParaRPr lang="en-US" sz="900">
              <a:solidFill>
                <a:schemeClr val="bg1"/>
              </a:solidFill>
              <a:latin typeface="+mn-lt"/>
              <a:sym typeface="Trebuchet MS" panose="020B0603020202020204" pitchFamily="34" charset="0"/>
            </a:endParaRPr>
          </a:p>
        </p:txBody>
      </p:sp>
      <p:sp>
        <p:nvSpPr>
          <p:cNvPr id="12" name="Picture Placeholder 18"/>
          <p:cNvSpPr>
            <a:spLocks noGrp="1"/>
          </p:cNvSpPr>
          <p:nvPr>
            <p:ph type="pic" sz="quarter" idx="14" hasCustomPrompt="1"/>
          </p:nvPr>
        </p:nvSpPr>
        <p:spPr>
          <a:xfrm>
            <a:off x="6092022" y="0"/>
            <a:ext cx="6099977" cy="6858000"/>
          </a:xfrm>
          <a:prstGeom prst="rect">
            <a:avLst/>
          </a:prstGeom>
          <a:noFill/>
        </p:spPr>
        <p:txBody>
          <a:bodyPr lIns="914400" tIns="914400" rIns="914400" bIns="914400"/>
          <a:lstStyle>
            <a:lvl1pPr algn="ctr">
              <a:defRPr sz="135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wrap="square" lIns="0" tIns="0" rIns="320040" bIns="0" anchor="ctr">
            <a:noAutofit/>
          </a:bodyPr>
          <a:lstStyle>
            <a:lvl1pPr>
              <a:defRPr sz="33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600" kern="1200" dirty="0">
              <a:solidFill>
                <a:schemeClr val="bg1">
                  <a:lumMod val="50000"/>
                </a:schemeClr>
              </a:solidFill>
              <a:latin typeface="+mn-lt"/>
              <a:ea typeface="+mn-ea"/>
              <a:cs typeface="+mn-cs"/>
              <a:sym typeface="Trebuchet MS" panose="020B0603020202020204" pitchFamily="34" charset="0"/>
            </a:endParaRPr>
          </a:p>
        </p:txBody>
      </p:sp>
      <p:sp>
        <p:nvSpPr>
          <p:cNvPr id="15" name="Date Placeholder 2"/>
          <p:cNvSpPr>
            <a:spLocks noGrp="1"/>
          </p:cNvSpPr>
          <p:nvPr>
            <p:ph type="dt" sz="half" idx="15"/>
          </p:nvPr>
        </p:nvSpPr>
        <p:spPr>
          <a:xfrm>
            <a:off x="9677401" y="6443508"/>
            <a:ext cx="1482051" cy="115416"/>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17"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18"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lumMod val="50000"/>
                  </a:schemeClr>
                </a:solidFill>
                <a:latin typeface="+mn-lt"/>
                <a:sym typeface="Trebuchet MS" panose="020B0603020202020204" pitchFamily="34" charset="0"/>
              </a:rPr>
              <a:t>MX2020 - SteerCo data deep dive.pptx</a:t>
            </a:r>
            <a:endParaRPr lang="en-US" sz="525"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7473101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55363"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l="29398" t="8741" r="101" b="27"/>
          <a:stretch/>
        </p:blipFill>
        <p:spPr bwMode="ltGray">
          <a:xfrm flipH="1">
            <a:off x="7409850" y="0"/>
            <a:ext cx="416951" cy="6858000"/>
          </a:xfrm>
          <a:prstGeom prst="rect">
            <a:avLst/>
          </a:prstGeom>
        </p:spPr>
      </p:pic>
      <p:sp>
        <p:nvSpPr>
          <p:cNvPr id="11" name="Rectangle 10"/>
          <p:cNvSpPr/>
          <p:nvPr userDrawn="1"/>
        </p:nvSpPr>
        <p:spPr bwMode="gray">
          <a:xfrm>
            <a:off x="7819545"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a:solidFill>
                <a:schemeClr val="bg1"/>
              </a:solidFill>
              <a:latin typeface="+mn-lt"/>
              <a:sym typeface="Trebuchet MS" panose="020B0603020202020204" pitchFamily="34" charset="0"/>
            </a:endParaRPr>
          </a:p>
        </p:txBody>
      </p:sp>
      <p:sp>
        <p:nvSpPr>
          <p:cNvPr id="12" name="Picture Placeholder 5"/>
          <p:cNvSpPr>
            <a:spLocks noGrp="1"/>
          </p:cNvSpPr>
          <p:nvPr>
            <p:ph type="pic" sz="quarter" idx="11" hasCustomPrompt="1"/>
          </p:nvPr>
        </p:nvSpPr>
        <p:spPr>
          <a:xfrm>
            <a:off x="7820026" y="0"/>
            <a:ext cx="4371975" cy="6858000"/>
          </a:xfrm>
          <a:prstGeom prst="rect">
            <a:avLst/>
          </a:prstGeom>
          <a:noFill/>
        </p:spPr>
        <p:txBody>
          <a:bodyPr lIns="182880" tIns="914400" rIns="182880" bIns="914400"/>
          <a:lstStyle>
            <a:lvl1pPr algn="ctr">
              <a:defRPr sz="12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Date Placeholder 2"/>
          <p:cNvSpPr>
            <a:spLocks noGrp="1"/>
          </p:cNvSpPr>
          <p:nvPr>
            <p:ph type="dt" sz="half" idx="12"/>
          </p:nvPr>
        </p:nvSpPr>
        <p:spPr>
          <a:xfrm>
            <a:off x="9677401" y="6443508"/>
            <a:ext cx="1482051" cy="115416"/>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9"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15" name="Title 1"/>
          <p:cNvSpPr>
            <a:spLocks noGrp="1"/>
          </p:cNvSpPr>
          <p:nvPr>
            <p:ph type="title" hasCustomPrompt="1"/>
          </p:nvPr>
        </p:nvSpPr>
        <p:spPr bwMode="black">
          <a:xfrm>
            <a:off x="630936" y="1785600"/>
            <a:ext cx="6247552" cy="3286800"/>
          </a:xfrm>
          <a:prstGeom prst="rect">
            <a:avLst/>
          </a:prstGeom>
        </p:spPr>
        <p:txBody>
          <a:bodyPr anchor="ctr">
            <a:noAutofit/>
          </a:bodyPr>
          <a:lstStyle>
            <a:lvl1pPr>
              <a:defRPr sz="33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600" kern="1200" dirty="0">
              <a:solidFill>
                <a:schemeClr val="bg1">
                  <a:lumMod val="50000"/>
                </a:schemeClr>
              </a:solidFill>
              <a:latin typeface="+mn-lt"/>
              <a:ea typeface="+mn-ea"/>
              <a:cs typeface="+mn-cs"/>
              <a:sym typeface="Trebuchet MS" panose="020B0603020202020204" pitchFamily="34" charset="0"/>
            </a:endParaRPr>
          </a:p>
        </p:txBody>
      </p:sp>
      <p:sp>
        <p:nvSpPr>
          <p:cNvPr id="16"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lumMod val="50000"/>
                  </a:schemeClr>
                </a:solidFill>
                <a:latin typeface="+mn-lt"/>
                <a:sym typeface="Trebuchet MS" panose="020B0603020202020204" pitchFamily="34" charset="0"/>
              </a:rPr>
              <a:t>MX2020 - SteerCo data deep dive.pptx</a:t>
            </a:r>
            <a:endParaRPr lang="en-US" sz="525"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59802169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56387"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pic>
        <p:nvPicPr>
          <p:cNvPr id="9" name="Picture 2"/>
          <p:cNvPicPr>
            <a:picLocks noChangeAspect="1" noChangeArrowheads="1"/>
          </p:cNvPicPr>
          <p:nvPr userDrawn="1"/>
        </p:nvPicPr>
        <p:blipFill>
          <a:blip r:embed="rId7">
            <a:biLevel thresh="50000"/>
            <a:extLst>
              <a:ext uri="{28A0092B-C50C-407E-A947-70E740481C1C}">
                <a14:useLocalDpi xmlns:a14="http://schemas.microsoft.com/office/drawing/2010/main" val="0"/>
              </a:ext>
            </a:extLst>
          </a:blip>
          <a:srcRect/>
          <a:stretch>
            <a:fillRect/>
          </a:stretch>
        </p:blipFill>
        <p:spPr bwMode="auto">
          <a:xfrm>
            <a:off x="3108637" y="3588018"/>
            <a:ext cx="1365251" cy="3382962"/>
          </a:xfrm>
          <a:prstGeom prst="rect">
            <a:avLst/>
          </a:prstGeom>
          <a:noFill/>
          <a:extLst>
            <a:ext uri="{909E8E84-426E-40DD-AFC4-6F175D3DCCD1}">
              <a14:hiddenFill xmlns:a14="http://schemas.microsoft.com/office/drawing/2010/main">
                <a:solidFill>
                  <a:srgbClr val="FFFFFF"/>
                </a:solidFill>
              </a14:hiddenFill>
            </a:ext>
          </a:extLst>
        </p:spPr>
      </p:pic>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750"/>
              </a:spcAft>
            </a:pPr>
            <a:endParaRPr lang="en-US" sz="900">
              <a:solidFill>
                <a:prstClr val="white"/>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1" y="6443508"/>
            <a:ext cx="1482051" cy="115416"/>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11"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sym typeface="Trebuchet MS" panose="020B0603020202020204" pitchFamily="34" charset="0"/>
              </a:rPr>
              <a:t>Copyright © 2017 by The Boston Consulting Group, Inc. All rights reserved.</a:t>
            </a:r>
          </a:p>
        </p:txBody>
      </p:sp>
      <p:sp>
        <p:nvSpPr>
          <p:cNvPr id="18" name="TextBox 17"/>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
        <p:nvSpPr>
          <p:cNvPr id="3" name="Title 2"/>
          <p:cNvSpPr>
            <a:spLocks noGrp="1"/>
          </p:cNvSpPr>
          <p:nvPr>
            <p:ph type="title" hasCustomPrompt="1"/>
          </p:nvPr>
        </p:nvSpPr>
        <p:spPr>
          <a:xfrm>
            <a:off x="630001" y="2764205"/>
            <a:ext cx="2478639" cy="1314311"/>
          </a:xfrm>
        </p:spPr>
        <p:txBody>
          <a:bodyPr anchor="ctr" anchorCtr="0">
            <a:noAutofit/>
          </a:bodyPr>
          <a:lstStyle>
            <a:lvl1pPr>
              <a:defRPr/>
            </a:lvl1pPr>
          </a:lstStyle>
          <a:p>
            <a:r>
              <a:rPr lang="en-US" dirty="0"/>
              <a:t>Click to add title</a:t>
            </a:r>
            <a:endParaRPr lang="en-GB" dirty="0"/>
          </a:p>
        </p:txBody>
      </p:sp>
      <p:sp>
        <p:nvSpPr>
          <p:cNvPr id="14"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solidFill>
                <a:latin typeface="+mn-lt"/>
                <a:sym typeface="Trebuchet MS" panose="020B0603020202020204" pitchFamily="34" charset="0"/>
              </a:rPr>
              <a:t>MX2020 - SteerCo data deep dive.pptx</a:t>
            </a:r>
            <a:endParaRPr lang="en-US" sz="525"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3079839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57410"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750"/>
              </a:spcAft>
            </a:pPr>
            <a:endParaRPr lang="en-US" sz="900">
              <a:solidFill>
                <a:prstClr val="white"/>
              </a:solidFill>
              <a:latin typeface="+mn-lt"/>
              <a:sym typeface="Trebuchet MS" panose="020B0603020202020204" pitchFamily="34" charset="0"/>
            </a:endParaRPr>
          </a:p>
        </p:txBody>
      </p:sp>
      <p:sp>
        <p:nvSpPr>
          <p:cNvPr id="5" name="Title 4"/>
          <p:cNvSpPr>
            <a:spLocks noGrp="1"/>
          </p:cNvSpPr>
          <p:nvPr>
            <p:ph type="title" hasCustomPrompt="1"/>
          </p:nvPr>
        </p:nvSpPr>
        <p:spPr>
          <a:xfrm>
            <a:off x="630001" y="2764205"/>
            <a:ext cx="2478639" cy="1314311"/>
          </a:xfrm>
        </p:spPr>
        <p:txBody>
          <a:bodyPr anchor="ctr" anchorCtr="0">
            <a:noAutofit/>
          </a:bodyPr>
          <a:lstStyle>
            <a:lvl1pPr>
              <a:defRPr>
                <a:solidFill>
                  <a:srgbClr val="FFFFFF"/>
                </a:solidFill>
                <a:latin typeface="+mj-lt"/>
              </a:defRPr>
            </a:lvl1pPr>
          </a:lstStyle>
          <a:p>
            <a:r>
              <a:rPr lang="en-US" dirty="0"/>
              <a:t>Click to add title</a:t>
            </a:r>
          </a:p>
        </p:txBody>
      </p:sp>
      <p:sp>
        <p:nvSpPr>
          <p:cNvPr id="15" name="Date Placeholder 3"/>
          <p:cNvSpPr>
            <a:spLocks noGrp="1"/>
          </p:cNvSpPr>
          <p:nvPr>
            <p:ph type="dt" sz="half" idx="2"/>
          </p:nvPr>
        </p:nvSpPr>
        <p:spPr>
          <a:xfrm>
            <a:off x="9677401" y="6443508"/>
            <a:ext cx="1482051" cy="115416"/>
          </a:xfrm>
          <a:prstGeom prst="rect">
            <a:avLst/>
          </a:prstGeom>
        </p:spPr>
        <p:txBody>
          <a:bodyPr vert="horz" wrap="square" lIns="0" tIns="0" rIns="0" bIns="0" rtlCol="0" anchor="b">
            <a:spAutoFit/>
          </a:bodyPr>
          <a:lstStyle>
            <a:lvl1pPr algn="r">
              <a:defRPr sz="75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19"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lumMod val="50000"/>
                  </a:schemeClr>
                </a:solidFill>
                <a:latin typeface="+mn-lt"/>
                <a:sym typeface="Trebuchet MS" panose="020B0603020202020204" pitchFamily="34" charset="0"/>
              </a:rPr>
              <a:t>MX2020 - SteerCo data deep dive.pptx</a:t>
            </a:r>
            <a:endParaRPr lang="en-US" sz="525" dirty="0">
              <a:solidFill>
                <a:schemeClr val="bg1">
                  <a:lumMod val="50000"/>
                </a:schemeClr>
              </a:solidFill>
              <a:latin typeface="+mn-lt"/>
              <a:sym typeface="Trebuchet MS" panose="020B0603020202020204" pitchFamily="34" charset="0"/>
            </a:endParaRPr>
          </a:p>
        </p:txBody>
      </p:sp>
      <p:pic>
        <p:nvPicPr>
          <p:cNvPr id="11" name="Picture 10"/>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t="6216" b="7716"/>
          <a:stretch/>
        </p:blipFill>
        <p:spPr>
          <a:xfrm rot="120000">
            <a:off x="2141308" y="3402830"/>
            <a:ext cx="2694667" cy="3461745"/>
          </a:xfrm>
          <a:prstGeom prst="rect">
            <a:avLst/>
          </a:prstGeom>
        </p:spPr>
      </p:pic>
    </p:spTree>
    <p:extLst>
      <p:ext uri="{BB962C8B-B14F-4D97-AF65-F5344CB8AC3E}">
        <p14:creationId xmlns:p14="http://schemas.microsoft.com/office/powerpoint/2010/main" val="219411964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58433"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sp>
        <p:nvSpPr>
          <p:cNvPr id="9" name="TextBox 8"/>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600" kern="1200">
              <a:solidFill>
                <a:schemeClr val="bg1"/>
              </a:solidFill>
              <a:latin typeface="+mn-lt"/>
              <a:ea typeface="+mn-ea"/>
              <a:cs typeface="+mn-cs"/>
              <a:sym typeface="Trebuchet MS" panose="020B0603020202020204" pitchFamily="34" charset="0"/>
            </a:endParaRPr>
          </a:p>
        </p:txBody>
      </p:sp>
      <p:sp>
        <p:nvSpPr>
          <p:cNvPr id="10" name="Date Placeholder 7"/>
          <p:cNvSpPr>
            <a:spLocks noGrp="1"/>
          </p:cNvSpPr>
          <p:nvPr>
            <p:ph type="dt" sz="half" idx="11"/>
          </p:nvPr>
        </p:nvSpPr>
        <p:spPr>
          <a:xfrm>
            <a:off x="9677401" y="6443508"/>
            <a:ext cx="1482051" cy="115416"/>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17"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sym typeface="Trebuchet MS" panose="020B0603020202020204" pitchFamily="34" charset="0"/>
              </a:rPr>
              <a:t>Copyright © 2017 by The Boston Consulting Group, Inc. All rights reserved.</a:t>
            </a:r>
          </a:p>
        </p:txBody>
      </p:sp>
      <p:pic>
        <p:nvPicPr>
          <p:cNvPr id="18" name="Picture 2"/>
          <p:cNvPicPr>
            <a:picLocks noChangeAspect="1" noChangeArrowheads="1"/>
          </p:cNvPicPr>
          <p:nvPr userDrawn="1"/>
        </p:nvPicPr>
        <p:blipFill>
          <a:blip r:embed="rId7">
            <a:biLevel thresh="50000"/>
            <a:extLst>
              <a:ext uri="{28A0092B-C50C-407E-A947-70E740481C1C}">
                <a14:useLocalDpi xmlns:a14="http://schemas.microsoft.com/office/drawing/2010/main" val="0"/>
              </a:ext>
            </a:extLst>
          </a:blip>
          <a:srcRect/>
          <a:stretch>
            <a:fillRect/>
          </a:stretch>
        </p:blipFill>
        <p:spPr bwMode="auto">
          <a:xfrm>
            <a:off x="4533902" y="3382964"/>
            <a:ext cx="1298575" cy="3571875"/>
          </a:xfrm>
          <a:prstGeom prst="rect">
            <a:avLst/>
          </a:prstGeom>
          <a:noFill/>
          <a:extLst>
            <a:ext uri="{909E8E84-426E-40DD-AFC4-6F175D3DCCD1}">
              <a14:hiddenFill xmlns:a14="http://schemas.microsoft.com/office/drawing/2010/main">
                <a:solidFill>
                  <a:srgbClr val="FFFFFF"/>
                </a:solidFill>
              </a14:hiddenFill>
            </a:ext>
          </a:extLst>
        </p:spPr>
      </p:pic>
      <p:sp>
        <p:nvSpPr>
          <p:cNvPr id="19" name="Pentagon 3"/>
          <p:cNvSpPr/>
          <p:nvPr userDrawn="1"/>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750"/>
              </a:spcAft>
            </a:pPr>
            <a:endParaRPr lang="en-US" sz="90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1" y="1785600"/>
            <a:ext cx="4062235" cy="3286800"/>
          </a:xfrm>
          <a:prstGeom prst="rect">
            <a:avLst/>
          </a:prstGeom>
        </p:spPr>
        <p:txBody>
          <a:bodyPr anchor="ctr">
            <a:noAutofit/>
          </a:bodyPr>
          <a:lstStyle>
            <a:lvl1pPr>
              <a:defRPr sz="3300" b="0">
                <a:solidFill>
                  <a:srgbClr val="4472C4"/>
                </a:solidFill>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solidFill>
                <a:latin typeface="+mn-lt"/>
                <a:sym typeface="Trebuchet MS" panose="020B0603020202020204" pitchFamily="34" charset="0"/>
              </a:rPr>
              <a:t>MX2020 - SteerCo data deep dive.pptx</a:t>
            </a:r>
            <a:endParaRPr lang="en-US" sz="525"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919610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4" name="Line 35"/>
          <p:cNvSpPr>
            <a:spLocks noChangeShapeType="1"/>
          </p:cNvSpPr>
          <p:nvPr userDrawn="1"/>
        </p:nvSpPr>
        <p:spPr bwMode="gray">
          <a:xfrm>
            <a:off x="557944" y="679218"/>
            <a:ext cx="11139605" cy="0"/>
          </a:xfrm>
          <a:prstGeom prst="line">
            <a:avLst/>
          </a:prstGeom>
          <a:noFill/>
          <a:ln w="19050">
            <a:solidFill>
              <a:schemeClr val="accent1"/>
            </a:solidFill>
            <a:round/>
            <a:headEnd/>
            <a:tailEnd/>
          </a:ln>
          <a:extLst>
            <a:ext uri="{909E8E84-426E-40DD-AFC4-6F175D3DCCD1}">
              <a14:hiddenFill xmlns:a14="http://schemas.microsoft.com/office/drawing/2010/main">
                <a:noFill/>
              </a14:hiddenFill>
            </a:ext>
          </a:extLst>
        </p:spPr>
        <p:txBody>
          <a:bodyPr wrap="none" lIns="91426" tIns="45712" rIns="91426" bIns="45712" anchor="ctr"/>
          <a:lstStyle/>
          <a:p>
            <a:pPr defTabSz="914400" eaLnBrk="0" fontAlgn="base" hangingPunct="0">
              <a:spcBef>
                <a:spcPct val="0"/>
              </a:spcBef>
              <a:spcAft>
                <a:spcPct val="0"/>
              </a:spcAft>
            </a:pPr>
            <a:endParaRPr lang="es-MX" sz="1800">
              <a:solidFill>
                <a:srgbClr val="000000"/>
              </a:solidFill>
              <a:cs typeface="Arial" panose="020B0604020202020204" pitchFamily="34" charset="0"/>
            </a:endParaRPr>
          </a:p>
        </p:txBody>
      </p:sp>
      <p:sp>
        <p:nvSpPr>
          <p:cNvPr id="2" name="Title 1"/>
          <p:cNvSpPr>
            <a:spLocks noGrp="1"/>
          </p:cNvSpPr>
          <p:nvPr>
            <p:ph type="title"/>
          </p:nvPr>
        </p:nvSpPr>
        <p:spPr>
          <a:xfrm>
            <a:off x="544478" y="350113"/>
            <a:ext cx="11230029" cy="329106"/>
          </a:xfrm>
        </p:spPr>
        <p:txBody>
          <a:bodyPr/>
          <a:lstStyle/>
          <a:p>
            <a:r>
              <a:rPr lang="en-US" dirty="0"/>
              <a:t>Click to edit Master title style</a:t>
            </a:r>
            <a:endParaRPr lang="es-MX"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s-MX" dirty="0"/>
          </a:p>
        </p:txBody>
      </p:sp>
      <p:sp>
        <p:nvSpPr>
          <p:cNvPr id="5" name="Slide Number Placeholder 9"/>
          <p:cNvSpPr>
            <a:spLocks noGrp="1"/>
          </p:cNvSpPr>
          <p:nvPr>
            <p:ph type="sldNum" sz="quarter" idx="10"/>
          </p:nvPr>
        </p:nvSpPr>
        <p:spPr/>
        <p:txBody>
          <a:bodyPr/>
          <a:lstStyle>
            <a:lvl1pPr>
              <a:defRPr/>
            </a:lvl1pPr>
          </a:lstStyle>
          <a:p>
            <a:pPr>
              <a:defRPr/>
            </a:pPr>
            <a:fld id="{E17819D7-74CB-4B65-9AC3-D4A2007CCA09}" type="slidenum">
              <a:rPr lang="en-US" altLang="es-MX">
                <a:solidFill>
                  <a:srgbClr val="002776"/>
                </a:solidFill>
              </a:rPr>
              <a:pPr>
                <a:defRPr/>
              </a:pPr>
              <a:t>‹#›</a:t>
            </a:fld>
            <a:endParaRPr lang="en-US" altLang="es-MX">
              <a:solidFill>
                <a:srgbClr val="002776"/>
              </a:solidFill>
            </a:endParaRPr>
          </a:p>
        </p:txBody>
      </p:sp>
      <p:sp>
        <p:nvSpPr>
          <p:cNvPr id="6" name="Footer Placeholder 10"/>
          <p:cNvSpPr>
            <a:spLocks noGrp="1"/>
          </p:cNvSpPr>
          <p:nvPr>
            <p:ph type="ftr" sz="quarter" idx="11"/>
          </p:nvPr>
        </p:nvSpPr>
        <p:spPr/>
        <p:txBody>
          <a:bodyPr/>
          <a:lstStyle>
            <a:lvl1pPr>
              <a:defRPr/>
            </a:lvl1pPr>
          </a:lstStyle>
          <a:p>
            <a:pPr>
              <a:defRPr/>
            </a:pPr>
            <a:r>
              <a:rPr lang="en-US">
                <a:solidFill>
                  <a:srgbClr val="002776"/>
                </a:solidFill>
              </a:rPr>
              <a:t>Footer</a:t>
            </a:r>
          </a:p>
        </p:txBody>
      </p:sp>
    </p:spTree>
    <p:extLst>
      <p:ext uri="{BB962C8B-B14F-4D97-AF65-F5344CB8AC3E}">
        <p14:creationId xmlns:p14="http://schemas.microsoft.com/office/powerpoint/2010/main" val="1428659947"/>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59457"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sp>
        <p:nvSpPr>
          <p:cNvPr id="19"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750"/>
              </a:spcAft>
            </a:pPr>
            <a:endParaRPr lang="en-US" sz="90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1" y="1785600"/>
            <a:ext cx="4062235" cy="3286800"/>
          </a:xfrm>
          <a:prstGeom prst="rect">
            <a:avLst/>
          </a:prstGeom>
        </p:spPr>
        <p:txBody>
          <a:bodyPr anchor="ctr">
            <a:noAutofit/>
          </a:bodyPr>
          <a:lstStyle>
            <a:lvl1pPr>
              <a:defRPr sz="3300" b="0">
                <a:solidFill>
                  <a:srgbClr val="FFFFFF"/>
                </a:solidFill>
                <a:latin typeface="+mj-lt"/>
                <a:sym typeface="Trebuchet MS" panose="020B0603020202020204" pitchFamily="34" charset="0"/>
              </a:defRPr>
            </a:lvl1pPr>
          </a:lstStyle>
          <a:p>
            <a:r>
              <a:rPr lang="en-US" dirty="0"/>
              <a:t>Click to add title</a:t>
            </a:r>
          </a:p>
        </p:txBody>
      </p:sp>
      <p:sp>
        <p:nvSpPr>
          <p:cNvPr id="13" name="Date Placeholder 3"/>
          <p:cNvSpPr>
            <a:spLocks noGrp="1"/>
          </p:cNvSpPr>
          <p:nvPr>
            <p:ph type="dt" sz="half" idx="2"/>
          </p:nvPr>
        </p:nvSpPr>
        <p:spPr>
          <a:xfrm>
            <a:off x="9677401" y="6443508"/>
            <a:ext cx="1482051" cy="115416"/>
          </a:xfrm>
          <a:prstGeom prst="rect">
            <a:avLst/>
          </a:prstGeom>
        </p:spPr>
        <p:txBody>
          <a:bodyPr vert="horz" wrap="square" lIns="0" tIns="0" rIns="0" bIns="0" rtlCol="0" anchor="b">
            <a:spAutoFit/>
          </a:bodyPr>
          <a:lstStyle>
            <a:lvl1pPr algn="r">
              <a:defRPr sz="75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16"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lumMod val="50000"/>
                  </a:schemeClr>
                </a:solidFill>
                <a:latin typeface="+mn-lt"/>
                <a:sym typeface="Trebuchet MS" panose="020B0603020202020204" pitchFamily="34" charset="0"/>
              </a:rPr>
              <a:t>MX2020 - SteerCo data deep dive.pptx</a:t>
            </a:r>
            <a:endParaRPr lang="en-US" sz="525" dirty="0">
              <a:solidFill>
                <a:schemeClr val="bg1">
                  <a:lumMod val="50000"/>
                </a:schemeClr>
              </a:solidFill>
              <a:latin typeface="+mn-lt"/>
              <a:sym typeface="Trebuchet MS" panose="020B0603020202020204" pitchFamily="34" charset="0"/>
            </a:endParaRPr>
          </a:p>
        </p:txBody>
      </p:sp>
      <p:pic>
        <p:nvPicPr>
          <p:cNvPr id="17" name="Picture 16"/>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t="7562" b="6867"/>
          <a:stretch/>
        </p:blipFill>
        <p:spPr>
          <a:xfrm>
            <a:off x="3549481" y="3416300"/>
            <a:ext cx="2694667" cy="3441700"/>
          </a:xfrm>
          <a:prstGeom prst="rect">
            <a:avLst/>
          </a:prstGeom>
        </p:spPr>
      </p:pic>
    </p:spTree>
    <p:extLst>
      <p:ext uri="{BB962C8B-B14F-4D97-AF65-F5344CB8AC3E}">
        <p14:creationId xmlns:p14="http://schemas.microsoft.com/office/powerpoint/2010/main" val="377523552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60481"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pic>
        <p:nvPicPr>
          <p:cNvPr id="11" name="Picture 2"/>
          <p:cNvPicPr>
            <a:picLocks noChangeAspect="1" noChangeArrowheads="1"/>
          </p:cNvPicPr>
          <p:nvPr/>
        </p:nvPicPr>
        <p:blipFill>
          <a:blip r:embed="rId7">
            <a:biLevel thresh="50000"/>
            <a:extLst>
              <a:ext uri="{28A0092B-C50C-407E-A947-70E740481C1C}">
                <a14:useLocalDpi xmlns:a14="http://schemas.microsoft.com/office/drawing/2010/main" val="0"/>
              </a:ext>
            </a:extLst>
          </a:blip>
          <a:srcRect/>
          <a:stretch>
            <a:fillRect/>
          </a:stretch>
        </p:blipFill>
        <p:spPr bwMode="auto">
          <a:xfrm>
            <a:off x="5378757" y="3588018"/>
            <a:ext cx="1365251" cy="3382962"/>
          </a:xfrm>
          <a:prstGeom prst="rect">
            <a:avLst/>
          </a:prstGeom>
          <a:noFill/>
          <a:extLst>
            <a:ext uri="{909E8E84-426E-40DD-AFC4-6F175D3DCCD1}">
              <a14:hiddenFill xmlns:a14="http://schemas.microsoft.com/office/drawing/2010/main">
                <a:solidFill>
                  <a:srgbClr val="FFFFFF"/>
                </a:solidFill>
              </a14:hiddenFill>
            </a:ext>
          </a:extLst>
        </p:spPr>
      </p:pic>
      <p:sp>
        <p:nvSpPr>
          <p:cNvPr id="9" name="Pentagon 8"/>
          <p:cNvSpPr/>
          <p:nvPr/>
        </p:nvSpPr>
        <p:spPr bwMode="white">
          <a:xfrm>
            <a:off x="0" y="0"/>
            <a:ext cx="6363547"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750"/>
              </a:spcAft>
            </a:pPr>
            <a:endParaRPr lang="en-US" sz="90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1" y="622802"/>
            <a:ext cx="4747823" cy="249299"/>
          </a:xfrm>
          <a:prstGeom prst="rect">
            <a:avLst/>
          </a:prstGeom>
        </p:spPr>
        <p:txBody>
          <a:bodyPr/>
          <a:lstStyle>
            <a:lvl1pPr>
              <a:defRPr>
                <a:solidFill>
                  <a:srgbClr val="4472C4"/>
                </a:solidFill>
                <a:latin typeface="+mj-lt"/>
                <a:sym typeface="Trebuchet MS" panose="020B0603020202020204" pitchFamily="34" charset="0"/>
              </a:defRPr>
            </a:lvl1pPr>
          </a:lstStyle>
          <a:p>
            <a:r>
              <a:rPr lang="en-US" dirty="0"/>
              <a:t>Click to add title</a:t>
            </a:r>
          </a:p>
        </p:txBody>
      </p:sp>
      <p:sp>
        <p:nvSpPr>
          <p:cNvPr id="13" name="Date Placeholder 4"/>
          <p:cNvSpPr>
            <a:spLocks noGrp="1"/>
          </p:cNvSpPr>
          <p:nvPr>
            <p:ph type="dt" sz="half" idx="10"/>
          </p:nvPr>
        </p:nvSpPr>
        <p:spPr>
          <a:xfrm>
            <a:off x="9677401" y="6443508"/>
            <a:ext cx="1482051" cy="115416"/>
          </a:xfrm>
        </p:spPr>
        <p:txBody>
          <a:bodyPr/>
          <a:lstStyle>
            <a:lvl1pPr>
              <a:defRPr>
                <a:solidFill>
                  <a:schemeClr val="bg1"/>
                </a:solidFill>
                <a:latin typeface="+mn-lt"/>
                <a:sym typeface="Trebuchet MS" panose="020B0603020202020204" pitchFamily="34" charset="0"/>
              </a:defRPr>
            </a:lvl1pPr>
          </a:lstStyle>
          <a:p>
            <a:endParaRPr lang="en-US"/>
          </a:p>
        </p:txBody>
      </p:sp>
      <p:sp>
        <p:nvSpPr>
          <p:cNvPr id="18"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sym typeface="Trebuchet MS" panose="020B0603020202020204" pitchFamily="34" charset="0"/>
              </a:rPr>
              <a:t>Copyright © 2017 by The Boston Consulting Group, Inc. All rights reserved.</a:t>
            </a:r>
          </a:p>
        </p:txBody>
      </p:sp>
      <p:sp>
        <p:nvSpPr>
          <p:cNvPr id="16" name="TextBox 15"/>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Trebuchet MS" panose="020B0603020202020204" pitchFamily="34" charset="0"/>
            </a:endParaRPr>
          </a:p>
        </p:txBody>
      </p:sp>
      <p:sp>
        <p:nvSpPr>
          <p:cNvPr id="12"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solidFill>
                <a:latin typeface="+mn-lt"/>
                <a:sym typeface="Trebuchet MS" panose="020B0603020202020204" pitchFamily="34" charset="0"/>
              </a:rPr>
              <a:t>MX2020 - SteerCo data deep dive.pptx</a:t>
            </a:r>
            <a:endParaRPr lang="en-US" sz="525"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7348429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61505"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sp>
        <p:nvSpPr>
          <p:cNvPr id="9" name="Pentagon 8"/>
          <p:cNvSpPr/>
          <p:nvPr/>
        </p:nvSpPr>
        <p:spPr bwMode="white">
          <a:xfrm>
            <a:off x="0" y="0"/>
            <a:ext cx="6363547"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750"/>
              </a:spcAft>
            </a:pPr>
            <a:endParaRPr lang="en-US" sz="90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1" y="622802"/>
            <a:ext cx="4747823" cy="2492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1" y="6443508"/>
            <a:ext cx="1482051" cy="115416"/>
          </a:xfrm>
          <a:prstGeom prst="rect">
            <a:avLst/>
          </a:prstGeom>
        </p:spPr>
        <p:txBody>
          <a:bodyPr vert="horz" wrap="square" lIns="0" tIns="0" rIns="0" bIns="0" rtlCol="0" anchor="b">
            <a:spAutoFit/>
          </a:bodyPr>
          <a:lstStyle>
            <a:lvl1pPr algn="r">
              <a:defRPr sz="75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17"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lumMod val="50000"/>
                  </a:schemeClr>
                </a:solidFill>
                <a:latin typeface="+mn-lt"/>
                <a:sym typeface="Trebuchet MS" panose="020B0603020202020204" pitchFamily="34" charset="0"/>
              </a:rPr>
              <a:t>MX2020 - SteerCo data deep dive.pptx</a:t>
            </a:r>
            <a:endParaRPr lang="en-US" sz="525" dirty="0">
              <a:solidFill>
                <a:schemeClr val="bg1">
                  <a:lumMod val="50000"/>
                </a:schemeClr>
              </a:solidFill>
              <a:latin typeface="+mn-lt"/>
              <a:sym typeface="Trebuchet MS" panose="020B0603020202020204" pitchFamily="34" charset="0"/>
            </a:endParaRPr>
          </a:p>
        </p:txBody>
      </p:sp>
      <p:pic>
        <p:nvPicPr>
          <p:cNvPr id="13" name="Picture 12"/>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t="9052" b="6867"/>
          <a:stretch/>
        </p:blipFill>
        <p:spPr>
          <a:xfrm rot="120000">
            <a:off x="4428421" y="3407805"/>
            <a:ext cx="2694667" cy="3456551"/>
          </a:xfrm>
          <a:prstGeom prst="rect">
            <a:avLst/>
          </a:prstGeom>
        </p:spPr>
      </p:pic>
    </p:spTree>
    <p:extLst>
      <p:ext uri="{BB962C8B-B14F-4D97-AF65-F5344CB8AC3E}">
        <p14:creationId xmlns:p14="http://schemas.microsoft.com/office/powerpoint/2010/main" val="18451606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62529"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9" y="1590"/>
                        <a:ext cx="1587" cy="1587"/>
                      </a:xfrm>
                      <a:prstGeom prst="rect">
                        <a:avLst/>
                      </a:prstGeom>
                    </p:spPr>
                  </p:pic>
                </p:oleObj>
              </mc:Fallback>
            </mc:AlternateContent>
          </a:graphicData>
        </a:graphic>
      </p:graphicFrame>
      <p:pic>
        <p:nvPicPr>
          <p:cNvPr id="10" name="Picture 2"/>
          <p:cNvPicPr>
            <a:picLocks noChangeAspect="1" noChangeArrowheads="1"/>
          </p:cNvPicPr>
          <p:nvPr userDrawn="1"/>
        </p:nvPicPr>
        <p:blipFill>
          <a:blip r:embed="rId7">
            <a:biLevel thresh="50000"/>
            <a:extLst>
              <a:ext uri="{28A0092B-C50C-407E-A947-70E740481C1C}">
                <a14:useLocalDpi xmlns:a14="http://schemas.microsoft.com/office/drawing/2010/main" val="0"/>
              </a:ext>
            </a:extLst>
          </a:blip>
          <a:srcRect/>
          <a:stretch>
            <a:fillRect/>
          </a:stretch>
        </p:blipFill>
        <p:spPr bwMode="auto">
          <a:xfrm>
            <a:off x="7490341" y="3588018"/>
            <a:ext cx="1365251" cy="3382962"/>
          </a:xfrm>
          <a:prstGeom prst="rect">
            <a:avLst/>
          </a:prstGeom>
          <a:noFill/>
          <a:extLst>
            <a:ext uri="{909E8E84-426E-40DD-AFC4-6F175D3DCCD1}">
              <a14:hiddenFill xmlns:a14="http://schemas.microsoft.com/office/drawing/2010/main">
                <a:solidFill>
                  <a:srgbClr val="FFFFFF"/>
                </a:solidFill>
              </a14:hiddenFill>
            </a:ext>
          </a:extLst>
        </p:spPr>
      </p:pic>
      <p:sp>
        <p:nvSpPr>
          <p:cNvPr id="12" name="Freeform 18"/>
          <p:cNvSpPr/>
          <p:nvPr userDrawn="1"/>
        </p:nvSpPr>
        <p:spPr bwMode="white">
          <a:xfrm>
            <a:off x="1"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750"/>
              </a:spcAft>
            </a:pPr>
            <a:endParaRPr lang="en-US" sz="9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1" y="6443508"/>
            <a:ext cx="1482051" cy="115416"/>
          </a:xfrm>
        </p:spPr>
        <p:txBody>
          <a:bodyPr/>
          <a:lstStyle>
            <a:lvl1pPr>
              <a:defRPr>
                <a:solidFill>
                  <a:schemeClr val="bg1"/>
                </a:solidFill>
                <a:latin typeface="+mn-lt"/>
                <a:sym typeface="Trebuchet MS" panose="020B0603020202020204" pitchFamily="34" charset="0"/>
              </a:defRPr>
            </a:lvl1pPr>
          </a:lstStyle>
          <a:p>
            <a:endParaRPr lang="en-US"/>
          </a:p>
        </p:txBody>
      </p:sp>
      <p:sp>
        <p:nvSpPr>
          <p:cNvPr id="9"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sym typeface="Trebuchet MS" panose="020B0603020202020204" pitchFamily="34" charset="0"/>
              </a:rPr>
              <a:t>Copyright © 2017 by The Boston Consulting Group, Inc. All rights reserved.</a:t>
            </a:r>
          </a:p>
        </p:txBody>
      </p:sp>
      <p:sp>
        <p:nvSpPr>
          <p:cNvPr id="15" name="TextBox 14"/>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2"/>
            <a:ext cx="6254496" cy="249299"/>
          </a:xfrm>
          <a:prstGeom prst="rect">
            <a:avLst/>
          </a:prstGeom>
        </p:spPr>
        <p:txBody>
          <a:bodyPr/>
          <a:lstStyle>
            <a:lvl1pPr>
              <a:defRPr>
                <a:solidFill>
                  <a:srgbClr val="4472C4"/>
                </a:solidFill>
                <a:latin typeface="+mj-lt"/>
                <a:sym typeface="Trebuchet MS" panose="020B0603020202020204" pitchFamily="34" charset="0"/>
              </a:defRPr>
            </a:lvl1pPr>
          </a:lstStyle>
          <a:p>
            <a:r>
              <a:rPr lang="en-US" dirty="0"/>
              <a:t>Click to add title</a:t>
            </a:r>
          </a:p>
        </p:txBody>
      </p:sp>
      <p:sp>
        <p:nvSpPr>
          <p:cNvPr id="14"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solidFill>
                <a:latin typeface="+mn-lt"/>
                <a:sym typeface="Trebuchet MS" panose="020B0603020202020204" pitchFamily="34" charset="0"/>
              </a:rPr>
              <a:t>MX2020 - SteerCo data deep dive.pptx</a:t>
            </a:r>
            <a:endParaRPr lang="en-US" sz="525"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90426690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4.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63553"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9" y="1590"/>
                        <a:ext cx="1587" cy="1587"/>
                      </a:xfrm>
                      <a:prstGeom prst="rect">
                        <a:avLst/>
                      </a:prstGeom>
                    </p:spPr>
                  </p:pic>
                </p:oleObj>
              </mc:Fallback>
            </mc:AlternateContent>
          </a:graphicData>
        </a:graphic>
      </p:graphicFrame>
      <p:sp>
        <p:nvSpPr>
          <p:cNvPr id="12" name="Freeform 18"/>
          <p:cNvSpPr/>
          <p:nvPr userDrawn="1"/>
        </p:nvSpPr>
        <p:spPr bwMode="white">
          <a:xfrm>
            <a:off x="1"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750"/>
              </a:spcAft>
            </a:pPr>
            <a:endParaRPr lang="en-US" sz="9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2"/>
            <a:ext cx="6254496" cy="2492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7" name="Date Placeholder 3"/>
          <p:cNvSpPr>
            <a:spLocks noGrp="1"/>
          </p:cNvSpPr>
          <p:nvPr>
            <p:ph type="dt" sz="half" idx="2"/>
          </p:nvPr>
        </p:nvSpPr>
        <p:spPr>
          <a:xfrm>
            <a:off x="9677401" y="6443508"/>
            <a:ext cx="1482051" cy="115416"/>
          </a:xfrm>
          <a:prstGeom prst="rect">
            <a:avLst/>
          </a:prstGeom>
        </p:spPr>
        <p:txBody>
          <a:bodyPr vert="horz" wrap="square" lIns="0" tIns="0" rIns="0" bIns="0" rtlCol="0" anchor="b">
            <a:spAutoFit/>
          </a:bodyPr>
          <a:lstStyle>
            <a:lvl1pPr algn="r">
              <a:defRPr sz="75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20"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lumMod val="50000"/>
                  </a:schemeClr>
                </a:solidFill>
                <a:latin typeface="+mn-lt"/>
                <a:sym typeface="Trebuchet MS" panose="020B0603020202020204" pitchFamily="34" charset="0"/>
              </a:rPr>
              <a:t>MX2020 - SteerCo data deep dive.pptx</a:t>
            </a:r>
            <a:endParaRPr lang="en-US" sz="525" dirty="0">
              <a:solidFill>
                <a:schemeClr val="bg1">
                  <a:lumMod val="50000"/>
                </a:schemeClr>
              </a:solidFill>
              <a:latin typeface="+mn-lt"/>
              <a:sym typeface="Trebuchet MS" panose="020B0603020202020204" pitchFamily="34" charset="0"/>
            </a:endParaRPr>
          </a:p>
        </p:txBody>
      </p:sp>
      <p:pic>
        <p:nvPicPr>
          <p:cNvPr id="14" name="Picture 13"/>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t="9052" b="6867"/>
          <a:stretch/>
        </p:blipFill>
        <p:spPr>
          <a:xfrm rot="120000">
            <a:off x="6524769" y="3407805"/>
            <a:ext cx="2694667" cy="3456551"/>
          </a:xfrm>
          <a:prstGeom prst="rect">
            <a:avLst/>
          </a:prstGeom>
        </p:spPr>
      </p:pic>
    </p:spTree>
    <p:extLst>
      <p:ext uri="{BB962C8B-B14F-4D97-AF65-F5344CB8AC3E}">
        <p14:creationId xmlns:p14="http://schemas.microsoft.com/office/powerpoint/2010/main" val="21957667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64577"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sp>
        <p:nvSpPr>
          <p:cNvPr id="7" name="Date Placeholder 4"/>
          <p:cNvSpPr>
            <a:spLocks noGrp="1"/>
          </p:cNvSpPr>
          <p:nvPr>
            <p:ph type="dt" sz="half" idx="10"/>
          </p:nvPr>
        </p:nvSpPr>
        <p:spPr>
          <a:xfrm>
            <a:off x="9677401" y="6443508"/>
            <a:ext cx="1482051" cy="115416"/>
          </a:xfrm>
        </p:spPr>
        <p:txBody>
          <a:bodyPr/>
          <a:lstStyle>
            <a:lvl1pPr>
              <a:defRPr>
                <a:solidFill>
                  <a:schemeClr val="bg1"/>
                </a:solidFill>
                <a:latin typeface="+mn-lt"/>
                <a:sym typeface="Trebuchet MS" panose="020B0603020202020204" pitchFamily="34" charset="0"/>
              </a:defRPr>
            </a:lvl1pPr>
          </a:lstStyle>
          <a:p>
            <a:endParaRPr lang="en-US"/>
          </a:p>
        </p:txBody>
      </p:sp>
      <p:sp>
        <p:nvSpPr>
          <p:cNvPr id="9"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sym typeface="Trebuchet MS" panose="020B0603020202020204" pitchFamily="34" charset="0"/>
              </a:rPr>
              <a:t>Copyright © 2017 by The Boston Consulting Group, Inc. All rights reserved.</a:t>
            </a:r>
          </a:p>
        </p:txBody>
      </p:sp>
      <p:sp>
        <p:nvSpPr>
          <p:cNvPr id="10" name="TextBox 9"/>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
        <p:nvSpPr>
          <p:cNvPr id="11" name="Title 1"/>
          <p:cNvSpPr>
            <a:spLocks noGrp="1"/>
          </p:cNvSpPr>
          <p:nvPr>
            <p:ph type="title" hasCustomPrompt="1"/>
          </p:nvPr>
        </p:nvSpPr>
        <p:spPr>
          <a:xfrm>
            <a:off x="630000" y="3826333"/>
            <a:ext cx="10933200" cy="1606550"/>
          </a:xfrm>
        </p:spPr>
        <p:txBody>
          <a:bodyPr anchor="b">
            <a:noAutofit/>
          </a:bodyPr>
          <a:lstStyle>
            <a:lvl1pPr marL="0" algn="l" defTabSz="685800" rtl="0" eaLnBrk="1" fontAlgn="auto" latinLnBrk="0" hangingPunct="1">
              <a:lnSpc>
                <a:spcPts val="4500"/>
              </a:lnSpc>
              <a:spcBef>
                <a:spcPts val="0"/>
              </a:spcBef>
              <a:spcAft>
                <a:spcPts val="0"/>
              </a:spcAft>
              <a:defRPr lang="en-US" sz="405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8"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solidFill>
                <a:latin typeface="+mn-lt"/>
                <a:sym typeface="Trebuchet MS" panose="020B0603020202020204" pitchFamily="34" charset="0"/>
              </a:rPr>
              <a:t>MX2020 - SteerCo data deep dive.pptx</a:t>
            </a:r>
            <a:endParaRPr lang="en-US" sz="525"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35626555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65601"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sp>
        <p:nvSpPr>
          <p:cNvPr id="8" name="Date Placeholder 7"/>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1"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6" name="Rectangle 5"/>
          <p:cNvSpPr/>
          <p:nvPr userDrawn="1"/>
        </p:nvSpPr>
        <p:spPr bwMode="white">
          <a:xfrm>
            <a:off x="630000" y="625475"/>
            <a:ext cx="932688" cy="932688"/>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90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685800" rtl="0" eaLnBrk="1" fontAlgn="auto" latinLnBrk="0" hangingPunct="1">
              <a:lnSpc>
                <a:spcPts val="4500"/>
              </a:lnSpc>
              <a:spcBef>
                <a:spcPts val="0"/>
              </a:spcBef>
              <a:spcAft>
                <a:spcPts val="0"/>
              </a:spcAft>
              <a:defRPr lang="en-US" sz="4050" kern="1200" baseline="0" dirty="0">
                <a:solidFill>
                  <a:schemeClr val="tx2"/>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9"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lumMod val="50000"/>
                  </a:schemeClr>
                </a:solidFill>
                <a:latin typeface="+mn-lt"/>
                <a:sym typeface="Trebuchet MS" panose="020B0603020202020204" pitchFamily="34" charset="0"/>
              </a:rPr>
              <a:t>MX2020 - SteerCo data deep dive.pptx</a:t>
            </a:r>
            <a:endParaRPr lang="en-US" sz="525"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3503260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66625"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9" y="1590"/>
                        <a:ext cx="1587" cy="1587"/>
                      </a:xfrm>
                      <a:prstGeom prst="rect">
                        <a:avLst/>
                      </a:prstGeom>
                    </p:spPr>
                  </p:pic>
                </p:oleObj>
              </mc:Fallback>
            </mc:AlternateContent>
          </a:graphicData>
        </a:graphic>
      </p:graphicFrame>
      <p:pic>
        <p:nvPicPr>
          <p:cNvPr id="11" name="Picture 10"/>
          <p:cNvPicPr>
            <a:picLocks noChangeAspect="1"/>
          </p:cNvPicPr>
          <p:nvPr/>
        </p:nvPicPr>
        <p:blipFill rotWithShape="1">
          <a:blip r:embed="rId6">
            <a:extLst>
              <a:ext uri="{28A0092B-C50C-407E-A947-70E740481C1C}">
                <a14:useLocalDpi xmlns:a14="http://schemas.microsoft.com/office/drawing/2010/main" val="0"/>
              </a:ext>
            </a:extLst>
          </a:blip>
          <a:srcRect r="3634" b="1258"/>
          <a:stretch/>
        </p:blipFill>
        <p:spPr>
          <a:xfrm rot="16200000" flipH="1">
            <a:off x="6797462" y="110969"/>
            <a:ext cx="769257" cy="10019821"/>
          </a:xfrm>
          <a:prstGeom prst="rect">
            <a:avLst/>
          </a:prstGeom>
        </p:spPr>
      </p:pic>
      <p:sp>
        <p:nvSpPr>
          <p:cNvPr id="59" name="Freeform 58"/>
          <p:cNvSpPr>
            <a:spLocks/>
          </p:cNvSpPr>
          <p:nvPr/>
        </p:nvSpPr>
        <p:spPr bwMode="white">
          <a:xfrm flipH="1">
            <a:off x="0" y="2"/>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68580" tIns="34290" rIns="68580" bIns="34290" numCol="1" anchor="t" anchorCtr="0" compatLnSpc="1">
            <a:prstTxWarp prst="textNoShape">
              <a:avLst/>
            </a:prstTxWarp>
            <a:noAutofit/>
          </a:bodyPr>
          <a:lstStyle/>
          <a:p>
            <a:endParaRPr lang="en-US" sz="1350">
              <a:latin typeface="+mn-lt"/>
              <a:sym typeface="Trebuchet MS" panose="020B0603020202020204" pitchFamily="34" charset="0"/>
            </a:endParaRPr>
          </a:p>
        </p:txBody>
      </p:sp>
      <p:sp>
        <p:nvSpPr>
          <p:cNvPr id="6" name="TextBox 5"/>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a:p>
        </p:txBody>
      </p:sp>
    </p:spTree>
    <p:extLst>
      <p:ext uri="{BB962C8B-B14F-4D97-AF65-F5344CB8AC3E}">
        <p14:creationId xmlns:p14="http://schemas.microsoft.com/office/powerpoint/2010/main" val="332736334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8.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rgbClr val="4D4D4D"/>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67649" name="think-cell Slide" r:id="rId5" imgW="270" imgH="270" progId="TCLayout.ActiveDocument.1">
                  <p:embed/>
                </p:oleObj>
              </mc:Choice>
              <mc:Fallback>
                <p:oleObj name="think-cell Slide" r:id="rId5" imgW="270" imgH="270" progId="TCLayout.ActiveDocument.1">
                  <p:embed/>
                  <p:pic>
                    <p:nvPicPr>
                      <p:cNvPr id="4" name="Object 3" hidden="1"/>
                      <p:cNvPicPr/>
                      <p:nvPr/>
                    </p:nvPicPr>
                    <p:blipFill>
                      <a:blip r:embed="rId6"/>
                      <a:stretch>
                        <a:fillRect/>
                      </a:stretch>
                    </p:blipFill>
                    <p:spPr>
                      <a:xfrm>
                        <a:off x="1589" y="1590"/>
                        <a:ext cx="1587" cy="1587"/>
                      </a:xfrm>
                      <a:prstGeom prst="rect">
                        <a:avLst/>
                      </a:prstGeom>
                    </p:spPr>
                  </p:pic>
                </p:oleObj>
              </mc:Fallback>
            </mc:AlternateContent>
          </a:graphicData>
        </a:graphic>
      </p:graphicFrame>
      <p:sp>
        <p:nvSpPr>
          <p:cNvPr id="5" name="TextBox 4"/>
          <p:cNvSpPr txBox="1"/>
          <p:nvPr/>
        </p:nvSpPr>
        <p:spPr bwMode="white">
          <a:xfrm>
            <a:off x="11167872" y="6442872"/>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a:p>
        </p:txBody>
      </p:sp>
      <p:sp>
        <p:nvSpPr>
          <p:cNvPr id="11"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sym typeface="Trebuchet MS" panose="020B0603020202020204" pitchFamily="34" charset="0"/>
              </a:rPr>
              <a:t>Copyright © 2017 by The Boston Consulting Group, Inc. All rights reserved.</a:t>
            </a:r>
          </a:p>
        </p:txBody>
      </p:sp>
      <p:sp>
        <p:nvSpPr>
          <p:cNvPr id="2" name="Title 1"/>
          <p:cNvSpPr>
            <a:spLocks noGrp="1"/>
          </p:cNvSpPr>
          <p:nvPr>
            <p:ph type="title" hasCustomPrompt="1"/>
          </p:nvPr>
        </p:nvSpPr>
        <p:spPr>
          <a:xfrm>
            <a:off x="630000" y="622802"/>
            <a:ext cx="10933200" cy="249299"/>
          </a:xfrm>
        </p:spPr>
        <p:txBody>
          <a:bodyPr/>
          <a:lstStyle>
            <a:lvl1pPr>
              <a:defRPr>
                <a:solidFill>
                  <a:schemeClr val="bg1"/>
                </a:solidFill>
                <a:latin typeface="+mj-lt"/>
                <a:sym typeface="Trebuchet MS" panose="020B0603020202020204" pitchFamily="34" charset="0"/>
              </a:defRPr>
            </a:lvl1pPr>
          </a:lstStyle>
          <a:p>
            <a:r>
              <a:rPr lang="en-US" dirty="0"/>
              <a:t>Click to add title</a:t>
            </a:r>
          </a:p>
        </p:txBody>
      </p:sp>
      <p:sp>
        <p:nvSpPr>
          <p:cNvPr id="8"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solidFill>
                <a:latin typeface="+mn-lt"/>
                <a:sym typeface="Trebuchet MS" panose="020B0603020202020204" pitchFamily="34" charset="0"/>
              </a:rPr>
              <a:t>MX2020 - SteerCo data deep dive.pptx</a:t>
            </a:r>
            <a:endParaRPr lang="en-US" sz="525"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11900994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9.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68673"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pic>
        <p:nvPicPr>
          <p:cNvPr id="12" name="Picture 2"/>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108637" y="3594368"/>
            <a:ext cx="1365251" cy="3382962"/>
          </a:xfrm>
          <a:prstGeom prst="rect">
            <a:avLst/>
          </a:prstGeom>
          <a:noFill/>
          <a:extLst>
            <a:ext uri="{909E8E84-426E-40DD-AFC4-6F175D3DCCD1}">
              <a14:hiddenFill xmlns:a14="http://schemas.microsoft.com/office/drawing/2010/main">
                <a:solidFill>
                  <a:srgbClr val="FFFFFF"/>
                </a:solidFill>
              </a14:hiddenFill>
            </a:ext>
          </a:extLst>
        </p:spPr>
      </p:pic>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750"/>
              </a:spcAft>
            </a:pPr>
            <a:endParaRPr lang="en-US" sz="900">
              <a:solidFill>
                <a:prstClr val="white"/>
              </a:solidFill>
              <a:latin typeface="+mn-lt"/>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750"/>
              </a:spcAft>
            </a:pPr>
            <a:endParaRPr lang="en-US" sz="900">
              <a:solidFill>
                <a:prstClr val="white"/>
              </a:solidFill>
              <a:latin typeface="+mn-lt"/>
              <a:sym typeface="Trebuchet MS" panose="020B0603020202020204" pitchFamily="34" charset="0"/>
            </a:endParaRPr>
          </a:p>
        </p:txBody>
      </p:sp>
      <p:sp>
        <p:nvSpPr>
          <p:cNvPr id="20" name="TextBox 19"/>
          <p:cNvSpPr txBox="1"/>
          <p:nvPr userDrawn="1"/>
        </p:nvSpPr>
        <p:spPr>
          <a:xfrm>
            <a:off x="630000" y="2798187"/>
            <a:ext cx="2819400" cy="1321259"/>
          </a:xfrm>
          <a:prstGeom prst="rect">
            <a:avLst/>
          </a:prstGeom>
          <a:noFill/>
        </p:spPr>
        <p:txBody>
          <a:bodyPr wrap="square" lIns="0" tIns="0" rIns="0" bIns="0" rtlCol="0" anchor="ctr">
            <a:spAutoFit/>
          </a:bodyPr>
          <a:lstStyle/>
          <a:p>
            <a:pPr marL="0" indent="0">
              <a:lnSpc>
                <a:spcPct val="106000"/>
              </a:lnSpc>
              <a:spcAft>
                <a:spcPts val="525"/>
              </a:spcAft>
              <a:buFontTx/>
              <a:buNone/>
            </a:pPr>
            <a:r>
              <a:rPr lang="en-US" sz="4050" dirty="0">
                <a:solidFill>
                  <a:srgbClr val="4472C4"/>
                </a:solidFill>
                <a:latin typeface="+mn-lt"/>
                <a:sym typeface="Trebuchet MS" panose="020B0603020202020204" pitchFamily="34" charset="0"/>
              </a:rPr>
              <a:t>Table of Contents</a:t>
            </a:r>
          </a:p>
        </p:txBody>
      </p:sp>
      <p:sp>
        <p:nvSpPr>
          <p:cNvPr id="15" name="Date Placeholder 4"/>
          <p:cNvSpPr>
            <a:spLocks noGrp="1"/>
          </p:cNvSpPr>
          <p:nvPr>
            <p:ph type="dt" sz="half" idx="10"/>
          </p:nvPr>
        </p:nvSpPr>
        <p:spPr>
          <a:xfrm>
            <a:off x="9677401" y="6443508"/>
            <a:ext cx="1482051" cy="115416"/>
          </a:xfrm>
        </p:spPr>
        <p:txBody>
          <a:bodyPr/>
          <a:lstStyle>
            <a:lvl1pPr>
              <a:defRPr>
                <a:solidFill>
                  <a:schemeClr val="bg1"/>
                </a:solidFill>
                <a:latin typeface="+mn-lt"/>
                <a:sym typeface="Trebuchet MS" panose="020B0603020202020204" pitchFamily="34" charset="0"/>
              </a:defRPr>
            </a:lvl1pPr>
          </a:lstStyle>
          <a:p>
            <a:endParaRPr lang="en-US"/>
          </a:p>
        </p:txBody>
      </p:sp>
      <p:sp>
        <p:nvSpPr>
          <p:cNvPr id="24"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sym typeface="Trebuchet MS" panose="020B0603020202020204" pitchFamily="34" charset="0"/>
              </a:rPr>
              <a:t>Copyright © 2017 by The Boston Consulting Group, Inc. All rights reserved.</a:t>
            </a:r>
          </a:p>
        </p:txBody>
      </p:sp>
      <p:sp>
        <p:nvSpPr>
          <p:cNvPr id="19" name="TextBox 18"/>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
        <p:nvSpPr>
          <p:cNvPr id="14"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solidFill>
                <a:latin typeface="+mn-lt"/>
                <a:sym typeface="Trebuchet MS" panose="020B0603020202020204" pitchFamily="34" charset="0"/>
              </a:rPr>
              <a:t>MX2020 - SteerCo data deep dive.pptx</a:t>
            </a:r>
            <a:endParaRPr lang="en-US" sz="525"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1461584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Line 35"/>
          <p:cNvSpPr>
            <a:spLocks noChangeShapeType="1"/>
          </p:cNvSpPr>
          <p:nvPr userDrawn="1"/>
        </p:nvSpPr>
        <p:spPr bwMode="gray">
          <a:xfrm>
            <a:off x="557944" y="679218"/>
            <a:ext cx="11139605" cy="0"/>
          </a:xfrm>
          <a:prstGeom prst="line">
            <a:avLst/>
          </a:prstGeom>
          <a:noFill/>
          <a:ln w="19050">
            <a:solidFill>
              <a:schemeClr val="accent1"/>
            </a:solidFill>
            <a:round/>
            <a:headEnd/>
            <a:tailEnd/>
          </a:ln>
          <a:extLst>
            <a:ext uri="{909E8E84-426E-40DD-AFC4-6F175D3DCCD1}">
              <a14:hiddenFill xmlns:a14="http://schemas.microsoft.com/office/drawing/2010/main">
                <a:noFill/>
              </a14:hiddenFill>
            </a:ext>
          </a:extLst>
        </p:spPr>
        <p:txBody>
          <a:bodyPr wrap="none" lIns="91426" tIns="45712" rIns="91426" bIns="45712" anchor="ctr"/>
          <a:lstStyle/>
          <a:p>
            <a:pPr defTabSz="914400" eaLnBrk="0" fontAlgn="base" hangingPunct="0">
              <a:spcBef>
                <a:spcPct val="0"/>
              </a:spcBef>
              <a:spcAft>
                <a:spcPct val="0"/>
              </a:spcAft>
            </a:pPr>
            <a:endParaRPr lang="es-MX" sz="1800">
              <a:solidFill>
                <a:srgbClr val="000000"/>
              </a:solidFill>
              <a:cs typeface="Arial" panose="020B0604020202020204" pitchFamily="34" charset="0"/>
            </a:endParaRPr>
          </a:p>
        </p:txBody>
      </p:sp>
      <p:sp>
        <p:nvSpPr>
          <p:cNvPr id="6" name="Title 1"/>
          <p:cNvSpPr>
            <a:spLocks noGrp="1"/>
          </p:cNvSpPr>
          <p:nvPr>
            <p:ph type="title"/>
          </p:nvPr>
        </p:nvSpPr>
        <p:spPr>
          <a:xfrm>
            <a:off x="544478" y="350113"/>
            <a:ext cx="11230029" cy="630202"/>
          </a:xfrm>
        </p:spPr>
        <p:txBody>
          <a:bodyPr/>
          <a:lstStyle/>
          <a:p>
            <a:r>
              <a:rPr lang="en-US" dirty="0"/>
              <a:t>Click to edit Master title style</a:t>
            </a:r>
            <a:endParaRPr lang="es-MX" dirty="0"/>
          </a:p>
        </p:txBody>
      </p:sp>
      <p:sp>
        <p:nvSpPr>
          <p:cNvPr id="4" name="Slide Number Placeholder 9"/>
          <p:cNvSpPr>
            <a:spLocks noGrp="1"/>
          </p:cNvSpPr>
          <p:nvPr>
            <p:ph type="sldNum" sz="quarter" idx="10"/>
          </p:nvPr>
        </p:nvSpPr>
        <p:spPr/>
        <p:txBody>
          <a:bodyPr/>
          <a:lstStyle>
            <a:lvl1pPr>
              <a:defRPr/>
            </a:lvl1pPr>
          </a:lstStyle>
          <a:p>
            <a:pPr>
              <a:defRPr/>
            </a:pPr>
            <a:fld id="{C98A307D-7663-40BE-AEAC-58931156E481}" type="slidenum">
              <a:rPr lang="en-US" altLang="es-MX">
                <a:solidFill>
                  <a:srgbClr val="002776"/>
                </a:solidFill>
              </a:rPr>
              <a:pPr>
                <a:defRPr/>
              </a:pPr>
              <a:t>‹#›</a:t>
            </a:fld>
            <a:endParaRPr lang="en-US" altLang="es-MX">
              <a:solidFill>
                <a:srgbClr val="002776"/>
              </a:solidFill>
            </a:endParaRPr>
          </a:p>
        </p:txBody>
      </p:sp>
      <p:sp>
        <p:nvSpPr>
          <p:cNvPr id="5" name="Footer Placeholder 10"/>
          <p:cNvSpPr>
            <a:spLocks noGrp="1"/>
          </p:cNvSpPr>
          <p:nvPr>
            <p:ph type="ftr" sz="quarter" idx="11"/>
          </p:nvPr>
        </p:nvSpPr>
        <p:spPr/>
        <p:txBody>
          <a:bodyPr/>
          <a:lstStyle>
            <a:lvl1pPr>
              <a:defRPr/>
            </a:lvl1pPr>
          </a:lstStyle>
          <a:p>
            <a:pPr>
              <a:defRPr/>
            </a:pPr>
            <a:r>
              <a:rPr lang="en-US">
                <a:solidFill>
                  <a:srgbClr val="002776"/>
                </a:solidFill>
              </a:rPr>
              <a:t>Footer</a:t>
            </a:r>
          </a:p>
        </p:txBody>
      </p:sp>
    </p:spTree>
    <p:extLst>
      <p:ext uri="{BB962C8B-B14F-4D97-AF65-F5344CB8AC3E}">
        <p14:creationId xmlns:p14="http://schemas.microsoft.com/office/powerpoint/2010/main" val="585804887"/>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69697"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sp>
        <p:nvSpPr>
          <p:cNvPr id="6" name="Date Placeholder 4"/>
          <p:cNvSpPr>
            <a:spLocks noGrp="1"/>
          </p:cNvSpPr>
          <p:nvPr>
            <p:ph type="dt" sz="half" idx="10"/>
          </p:nvPr>
        </p:nvSpPr>
        <p:spPr>
          <a:xfrm>
            <a:off x="9677401" y="6443508"/>
            <a:ext cx="1482051" cy="115416"/>
          </a:xfrm>
        </p:spPr>
        <p:txBody>
          <a:bodyPr/>
          <a:lstStyle>
            <a:lvl1pPr>
              <a:defRPr>
                <a:solidFill>
                  <a:schemeClr val="bg1"/>
                </a:solidFill>
                <a:latin typeface="+mn-lt"/>
                <a:sym typeface="Trebuchet MS" panose="020B0603020202020204" pitchFamily="34" charset="0"/>
              </a:defRPr>
            </a:lvl1pPr>
          </a:lstStyle>
          <a:p>
            <a:endParaRPr lang="en-US"/>
          </a:p>
        </p:txBody>
      </p:sp>
      <p:sp>
        <p:nvSpPr>
          <p:cNvPr id="9"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sym typeface="Trebuchet MS" panose="020B0603020202020204" pitchFamily="34" charset="0"/>
              </a:rPr>
              <a:t>Copyright © 2017 by The Boston Consulting Group, Inc. All rights reserved.</a:t>
            </a:r>
          </a:p>
        </p:txBody>
      </p:sp>
      <p:sp>
        <p:nvSpPr>
          <p:cNvPr id="11" name="TextBox 10"/>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Trebuchet MS" panose="020B0603020202020204" pitchFamily="34" charset="0"/>
            </a:endParaRPr>
          </a:p>
        </p:txBody>
      </p:sp>
      <p:sp>
        <p:nvSpPr>
          <p:cNvPr id="8"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solidFill>
                <a:latin typeface="+mn-lt"/>
                <a:sym typeface="Trebuchet MS" panose="020B0603020202020204" pitchFamily="34" charset="0"/>
              </a:rPr>
              <a:t>MX2020 - SteerCo data deep dive.pptx</a:t>
            </a:r>
            <a:endParaRPr lang="en-US" sz="525"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4377590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70721"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sp>
        <p:nvSpPr>
          <p:cNvPr id="7" name="Date Placeholder 6"/>
          <p:cNvSpPr>
            <a:spLocks noGrp="1"/>
          </p:cNvSpPr>
          <p:nvPr>
            <p:ph type="dt" sz="half" idx="10"/>
          </p:nvPr>
        </p:nvSpPr>
        <p:spPr/>
        <p:txBody>
          <a:bodyPr/>
          <a:lstStyle>
            <a:lvl1pPr>
              <a:defRPr>
                <a:latin typeface="+mn-lt"/>
                <a:sym typeface="Trebuchet MS" panose="020B0603020202020204" pitchFamily="34" charset="0"/>
              </a:defRPr>
            </a:lvl1pPr>
          </a:lstStyle>
          <a:p>
            <a:endParaRPr lang="en-US"/>
          </a:p>
        </p:txBody>
      </p:sp>
      <p:sp>
        <p:nvSpPr>
          <p:cNvPr id="5"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6"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lumMod val="50000"/>
                  </a:schemeClr>
                </a:solidFill>
                <a:latin typeface="+mn-lt"/>
                <a:sym typeface="Trebuchet MS" panose="020B0603020202020204" pitchFamily="34" charset="0"/>
              </a:rPr>
              <a:t>MX2020 - SteerCo data deep dive.pptx</a:t>
            </a:r>
            <a:endParaRPr lang="en-US" sz="525"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6721313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71745"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9" y="1590"/>
                        <a:ext cx="1587" cy="1587"/>
                      </a:xfrm>
                      <a:prstGeom prst="rect">
                        <a:avLst/>
                      </a:prstGeom>
                    </p:spPr>
                  </p:pic>
                </p:oleObj>
              </mc:Fallback>
            </mc:AlternateContent>
          </a:graphicData>
        </a:graphic>
      </p:graphicFrame>
      <p:grpSp>
        <p:nvGrpSpPr>
          <p:cNvPr id="144" name="Group 143"/>
          <p:cNvGrpSpPr/>
          <p:nvPr userDrawn="1"/>
        </p:nvGrpSpPr>
        <p:grpSpPr>
          <a:xfrm>
            <a:off x="-600" y="-1"/>
            <a:ext cx="12193800" cy="68580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dirty="0">
                <a:solidFill>
                  <a:schemeClr val="tx1"/>
                </a:solidFill>
                <a:latin typeface="+mn-lt"/>
              </a:endParaRPr>
            </a:p>
          </p:txBody>
        </p:sp>
        <p:grpSp>
          <p:nvGrpSpPr>
            <p:cNvPr id="146" name="Baselines / anchors"/>
            <p:cNvGrpSpPr/>
            <p:nvPr userDrawn="1"/>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userDrawn="1"/>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grpSp>
        <p:sp>
          <p:nvSpPr>
            <p:cNvPr id="14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757"/>
                </a:solidFill>
                <a:effectLst/>
                <a:uLnTx/>
                <a:uFillTx/>
                <a:latin typeface="+mn-lt"/>
                <a:ea typeface="+mn-ea"/>
                <a:cs typeface="+mn-cs"/>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grpSp>
          <p:nvGrpSpPr>
            <p:cNvPr id="151" name="Five column measure"/>
            <p:cNvGrpSpPr/>
            <p:nvPr userDrawn="1"/>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750"/>
                </a:spcAft>
              </a:pPr>
              <a:endParaRPr lang="en-US" sz="900" dirty="0">
                <a:solidFill>
                  <a:schemeClr val="bg1"/>
                </a:solidFill>
                <a:latin typeface="+mn-lt"/>
              </a:endParaRPr>
            </a:p>
          </p:txBody>
        </p:sp>
        <p:sp>
          <p:nvSpPr>
            <p:cNvPr id="153" name="Footnote example"/>
            <p:cNvSpPr txBox="1"/>
            <p:nvPr/>
          </p:nvSpPr>
          <p:spPr>
            <a:xfrm>
              <a:off x="630000" y="6248316"/>
              <a:ext cx="9030914" cy="311624"/>
            </a:xfrm>
            <a:prstGeom prst="rect">
              <a:avLst/>
            </a:prstGeom>
            <a:noFill/>
          </p:spPr>
          <p:txBody>
            <a:bodyPr wrap="square" lIns="0" tIns="0" rIns="0" bIns="0" rtlCol="0" anchor="b">
              <a:spAutoFit/>
            </a:bodyPr>
            <a:lstStyle/>
            <a:p>
              <a:pPr marL="0" marR="0" lvl="0" indent="0" algn="l" defTabSz="685800" rtl="0" eaLnBrk="1" fontAlgn="auto" latinLnBrk="0" hangingPunct="1">
                <a:lnSpc>
                  <a:spcPct val="90000"/>
                </a:lnSpc>
                <a:spcBef>
                  <a:spcPts val="0"/>
                </a:spcBef>
                <a:spcAft>
                  <a:spcPts val="0"/>
                </a:spcAft>
                <a:buClrTx/>
                <a:buSzTx/>
                <a:buFontTx/>
                <a:buNone/>
                <a:tabLst/>
                <a:defRPr/>
              </a:pPr>
              <a:r>
                <a:rPr kumimoji="0" lang="en-US" sz="750" b="0" i="0" u="none" strike="noStrike" kern="1200" cap="none" spc="0" normalizeH="0" baseline="0" noProof="0" dirty="0">
                  <a:ln>
                    <a:noFill/>
                  </a:ln>
                  <a:solidFill>
                    <a:schemeClr val="tx1"/>
                  </a:solidFill>
                  <a:effectLst/>
                  <a:uLnTx/>
                  <a:uFillTx/>
                  <a:latin typeface="+mn-lt"/>
                  <a:ea typeface="+mn-ea"/>
                  <a:cs typeface="+mn-cs"/>
                  <a:sym typeface="Trebuchet MS" panose="020B0603020202020204" pitchFamily="34" charset="0"/>
                </a:rPr>
                <a:t>1. </a:t>
              </a:r>
              <a:r>
                <a:rPr kumimoji="0" lang="en-US" sz="750" b="0" i="0" u="none" strike="noStrike" kern="1200" cap="none" spc="0" normalizeH="0" baseline="0" noProof="0" dirty="0" err="1">
                  <a:ln>
                    <a:noFill/>
                  </a:ln>
                  <a:solidFill>
                    <a:schemeClr val="tx1"/>
                  </a:solidFill>
                  <a:effectLst/>
                  <a:uLnTx/>
                  <a:uFillTx/>
                  <a:latin typeface="+mn-lt"/>
                  <a:ea typeface="+mn-ea"/>
                  <a:cs typeface="+mn-cs"/>
                  <a:sym typeface="Trebuchet MS" panose="020B0603020202020204" pitchFamily="34" charset="0"/>
                </a:rPr>
                <a:t>xxxx</a:t>
              </a:r>
              <a:r>
                <a:rPr kumimoji="0" lang="en-US" sz="750" b="0" i="0" u="none" strike="noStrike" kern="1200" cap="none" spc="0" normalizeH="0" baseline="0" noProof="0" dirty="0">
                  <a:ln>
                    <a:noFill/>
                  </a:ln>
                  <a:solidFill>
                    <a:schemeClr val="tx1"/>
                  </a:solidFill>
                  <a:effectLst/>
                  <a:uLnTx/>
                  <a:uFillTx/>
                  <a:latin typeface="+mn-lt"/>
                  <a:ea typeface="+mn-ea"/>
                  <a:cs typeface="+mn-cs"/>
                  <a:sym typeface="Trebuchet MS" panose="020B0603020202020204" pitchFamily="34" charset="0"/>
                </a:rPr>
                <a:t>  2. </a:t>
              </a:r>
              <a:r>
                <a:rPr kumimoji="0" lang="en-US" sz="750" b="0" i="0" u="none" strike="noStrike" kern="1200" cap="none" spc="0" normalizeH="0" baseline="0" noProof="0" dirty="0" err="1">
                  <a:ln>
                    <a:noFill/>
                  </a:ln>
                  <a:solidFill>
                    <a:schemeClr val="tx1"/>
                  </a:solidFill>
                  <a:effectLst/>
                  <a:uLnTx/>
                  <a:uFillTx/>
                  <a:latin typeface="+mn-lt"/>
                  <a:ea typeface="+mn-ea"/>
                  <a:cs typeface="+mn-cs"/>
                  <a:sym typeface="Trebuchet MS" panose="020B0603020202020204" pitchFamily="34" charset="0"/>
                </a:rPr>
                <a:t>xxxx</a:t>
              </a:r>
              <a:r>
                <a:rPr kumimoji="0" lang="en-US" sz="750" b="0" i="0" u="none" strike="noStrike" kern="1200" cap="none" spc="0" normalizeH="0" baseline="0" noProof="0" dirty="0">
                  <a:ln>
                    <a:noFill/>
                  </a:ln>
                  <a:solidFill>
                    <a:schemeClr val="tx1"/>
                  </a:solidFill>
                  <a:effectLst/>
                  <a:uLnTx/>
                  <a:uFillTx/>
                  <a:latin typeface="+mn-lt"/>
                  <a:ea typeface="+mn-ea"/>
                  <a:cs typeface="+mn-cs"/>
                  <a:sym typeface="Trebuchet MS" panose="020B0603020202020204" pitchFamily="34" charset="0"/>
                </a:rPr>
                <a:t>  3. </a:t>
              </a:r>
              <a:r>
                <a:rPr kumimoji="0" lang="en-US" sz="750" b="0" i="0" u="none" strike="noStrike" kern="1200" cap="none" spc="0" normalizeH="0" baseline="0" noProof="0" dirty="0" err="1">
                  <a:ln>
                    <a:noFill/>
                  </a:ln>
                  <a:solidFill>
                    <a:schemeClr val="tx1"/>
                  </a:solidFill>
                  <a:effectLst/>
                  <a:uLnTx/>
                  <a:uFillTx/>
                  <a:latin typeface="+mn-lt"/>
                  <a:ea typeface="+mn-ea"/>
                  <a:cs typeface="+mn-cs"/>
                  <a:sym typeface="Trebuchet MS" panose="020B0603020202020204" pitchFamily="34" charset="0"/>
                </a:rPr>
                <a:t>xxxx</a:t>
              </a:r>
              <a:endParaRPr kumimoji="0" lang="en-US" sz="750" b="0" i="0" u="none" strike="noStrike" kern="1200" cap="none" spc="0" normalizeH="0" baseline="0" noProof="0" dirty="0">
                <a:ln>
                  <a:noFill/>
                </a:ln>
                <a:solidFill>
                  <a:schemeClr val="tx1"/>
                </a:solidFill>
                <a:effectLst/>
                <a:uLnTx/>
                <a:uFillTx/>
                <a:latin typeface="+mn-lt"/>
                <a:ea typeface="+mn-ea"/>
                <a:cs typeface="+mn-cs"/>
                <a:sym typeface="Trebuchet MS" panose="020B0603020202020204" pitchFamily="34" charset="0"/>
              </a:endParaRPr>
            </a:p>
            <a:p>
              <a:pPr marL="0" marR="0" lvl="0" indent="0" algn="l" defTabSz="685800" rtl="0" eaLnBrk="1" fontAlgn="auto" latinLnBrk="0" hangingPunct="1">
                <a:lnSpc>
                  <a:spcPct val="90000"/>
                </a:lnSpc>
                <a:spcBef>
                  <a:spcPts val="0"/>
                </a:spcBef>
                <a:spcAft>
                  <a:spcPts val="0"/>
                </a:spcAft>
                <a:buClrTx/>
                <a:buSzTx/>
                <a:buFontTx/>
                <a:buNone/>
                <a:tabLst/>
                <a:defRPr/>
              </a:pPr>
              <a:r>
                <a:rPr kumimoji="0" lang="en-US" sz="750" b="0" i="0" u="none" strike="noStrike" kern="1200" cap="none" spc="0" normalizeH="0" baseline="0" noProof="0" dirty="0">
                  <a:ln>
                    <a:noFill/>
                  </a:ln>
                  <a:solidFill>
                    <a:schemeClr val="tx1"/>
                  </a:solidFill>
                  <a:effectLst/>
                  <a:uLnTx/>
                  <a:uFillTx/>
                  <a:latin typeface="+mn-lt"/>
                  <a:ea typeface="+mn-ea"/>
                  <a:cs typeface="+mn-cs"/>
                  <a:sym typeface="Trebuchet MS" panose="020B0603020202020204" pitchFamily="34" charset="0"/>
                </a:rPr>
                <a:t>Note: List footnotes in numerical order. Footnote numbers are not bracketed. Use 10pt font. Do not put a period at the end of the note or the source</a:t>
              </a:r>
            </a:p>
            <a:p>
              <a:pPr marL="0" marR="0" lvl="0" indent="0" algn="l" defTabSz="685800" rtl="0" eaLnBrk="1" fontAlgn="auto" latinLnBrk="0" hangingPunct="1">
                <a:lnSpc>
                  <a:spcPct val="90000"/>
                </a:lnSpc>
                <a:spcBef>
                  <a:spcPts val="0"/>
                </a:spcBef>
                <a:spcAft>
                  <a:spcPts val="0"/>
                </a:spcAft>
                <a:buClrTx/>
                <a:buSzTx/>
                <a:buFontTx/>
                <a:buNone/>
                <a:tabLst/>
                <a:defRPr/>
              </a:pPr>
              <a:r>
                <a:rPr kumimoji="0" lang="en-US" sz="750" b="0" i="0" u="none" strike="noStrike" kern="1200" cap="none" spc="0" normalizeH="0" baseline="0" noProof="0" dirty="0">
                  <a:ln>
                    <a:noFill/>
                  </a:ln>
                  <a:solidFill>
                    <a:schemeClr val="tx1"/>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55"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lumMod val="50000"/>
                  </a:schemeClr>
                </a:solidFill>
                <a:latin typeface="+mn-lt"/>
                <a:sym typeface="Trebuchet MS" panose="020B0603020202020204" pitchFamily="34" charset="0"/>
              </a:rPr>
              <a:t>MX2020 - SteerCo data deep dive.pptx</a:t>
            </a:r>
            <a:endParaRPr lang="en-US" sz="525"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5680983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3.xml><?xml version="1.0" encoding="utf-8"?>
<p:sldLayout xmlns:a="http://schemas.openxmlformats.org/drawingml/2006/main" xmlns:r="http://schemas.openxmlformats.org/officeDocument/2006/relationships" xmlns:p="http://schemas.openxmlformats.org/presentationml/2006/main" userDrawn="1">
  <p:cSld name="4_Custom Layout">
    <p:spTree>
      <p:nvGrpSpPr>
        <p:cNvPr id="1" name=""/>
        <p:cNvGrpSpPr/>
        <p:nvPr/>
      </p:nvGrpSpPr>
      <p:grpSpPr>
        <a:xfrm>
          <a:off x="0" y="0"/>
          <a:ext cx="0" cy="0"/>
          <a:chOff x="0" y="0"/>
          <a:chExt cx="0" cy="0"/>
        </a:xfrm>
      </p:grpSpPr>
      <p:sp>
        <p:nvSpPr>
          <p:cNvPr id="14" name="Rectangle 13"/>
          <p:cNvSpPr/>
          <p:nvPr userDrawn="1"/>
        </p:nvSpPr>
        <p:spPr>
          <a:xfrm>
            <a:off x="226611" y="6608"/>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grpSp>
        <p:nvGrpSpPr>
          <p:cNvPr id="15" name="Group 14"/>
          <p:cNvGrpSpPr/>
          <p:nvPr userDrawn="1"/>
        </p:nvGrpSpPr>
        <p:grpSpPr>
          <a:xfrm flipH="1">
            <a:off x="226609" y="98856"/>
            <a:ext cx="1203763" cy="6096001"/>
            <a:chOff x="160238" y="148877"/>
            <a:chExt cx="1300907" cy="8783936"/>
          </a:xfrm>
        </p:grpSpPr>
        <p:sp>
          <p:nvSpPr>
            <p:cNvPr id="16" name="Rectangle"/>
            <p:cNvSpPr/>
            <p:nvPr userDrawn="1"/>
          </p:nvSpPr>
          <p:spPr>
            <a:xfrm>
              <a:off x="160238" y="7811988"/>
              <a:ext cx="1300907" cy="1120825"/>
            </a:xfrm>
            <a:prstGeom prst="rect">
              <a:avLst/>
            </a:prstGeom>
            <a:solidFill>
              <a:srgbClr val="C4297F"/>
            </a:solidFill>
            <a:ln w="12700">
              <a:miter lim="400000"/>
            </a:ln>
          </p:spPr>
          <p:txBody>
            <a:bodyPr lIns="50800" tIns="50800" rIns="50800" bIns="50800" anchor="ctr"/>
            <a:lstStyle/>
            <a:p>
              <a:endParaRPr sz="1800">
                <a:solidFill>
                  <a:prstClr val="black"/>
                </a:solidFill>
              </a:endParaRPr>
            </a:p>
          </p:txBody>
        </p:sp>
        <p:sp>
          <p:nvSpPr>
            <p:cNvPr id="17" name="Rectangle"/>
            <p:cNvSpPr/>
            <p:nvPr userDrawn="1"/>
          </p:nvSpPr>
          <p:spPr>
            <a:xfrm>
              <a:off x="160238" y="7090072"/>
              <a:ext cx="1300907" cy="721917"/>
            </a:xfrm>
            <a:prstGeom prst="rect">
              <a:avLst/>
            </a:prstGeom>
            <a:solidFill>
              <a:srgbClr val="7C1A4F"/>
            </a:solidFill>
            <a:ln w="12700">
              <a:miter lim="400000"/>
            </a:ln>
          </p:spPr>
          <p:txBody>
            <a:bodyPr lIns="50800" tIns="50800" rIns="50800" bIns="50800" anchor="ctr"/>
            <a:lstStyle/>
            <a:p>
              <a:endParaRPr sz="1800">
                <a:solidFill>
                  <a:prstClr val="black"/>
                </a:solidFill>
              </a:endParaRPr>
            </a:p>
          </p:txBody>
        </p:sp>
        <p:sp>
          <p:nvSpPr>
            <p:cNvPr id="18" name="Rectangle"/>
            <p:cNvSpPr/>
            <p:nvPr userDrawn="1"/>
          </p:nvSpPr>
          <p:spPr>
            <a:xfrm>
              <a:off x="160238" y="6877694"/>
              <a:ext cx="1300907" cy="212379"/>
            </a:xfrm>
            <a:prstGeom prst="rect">
              <a:avLst/>
            </a:prstGeom>
            <a:solidFill>
              <a:srgbClr val="F79824"/>
            </a:solidFill>
            <a:ln w="12700">
              <a:miter lim="400000"/>
            </a:ln>
          </p:spPr>
          <p:txBody>
            <a:bodyPr lIns="50800" tIns="50800" rIns="50800" bIns="50800" anchor="ctr"/>
            <a:lstStyle/>
            <a:p>
              <a:endParaRPr sz="1800">
                <a:solidFill>
                  <a:prstClr val="black"/>
                </a:solidFill>
              </a:endParaRPr>
            </a:p>
          </p:txBody>
        </p:sp>
        <p:sp>
          <p:nvSpPr>
            <p:cNvPr id="19" name="Rectangle"/>
            <p:cNvSpPr/>
            <p:nvPr userDrawn="1"/>
          </p:nvSpPr>
          <p:spPr>
            <a:xfrm>
              <a:off x="160238" y="5875535"/>
              <a:ext cx="1300907" cy="1002160"/>
            </a:xfrm>
            <a:prstGeom prst="rect">
              <a:avLst/>
            </a:prstGeom>
            <a:solidFill>
              <a:srgbClr val="EE4329"/>
            </a:solidFill>
            <a:ln w="12700">
              <a:miter lim="400000"/>
            </a:ln>
          </p:spPr>
          <p:txBody>
            <a:bodyPr lIns="50800" tIns="50800" rIns="50800" bIns="50800" anchor="ctr"/>
            <a:lstStyle/>
            <a:p>
              <a:endParaRPr sz="1800">
                <a:solidFill>
                  <a:prstClr val="black"/>
                </a:solidFill>
              </a:endParaRPr>
            </a:p>
          </p:txBody>
        </p:sp>
        <p:sp>
          <p:nvSpPr>
            <p:cNvPr id="20" name="Rectangle"/>
            <p:cNvSpPr/>
            <p:nvPr userDrawn="1"/>
          </p:nvSpPr>
          <p:spPr>
            <a:xfrm>
              <a:off x="160238" y="3874095"/>
              <a:ext cx="1300907" cy="2001441"/>
            </a:xfrm>
            <a:prstGeom prst="rect">
              <a:avLst/>
            </a:prstGeom>
            <a:solidFill>
              <a:srgbClr val="F36F26"/>
            </a:solidFill>
            <a:ln w="12700">
              <a:miter lim="400000"/>
            </a:ln>
          </p:spPr>
          <p:txBody>
            <a:bodyPr lIns="50800" tIns="50800" rIns="50800" bIns="50800" anchor="ctr"/>
            <a:lstStyle/>
            <a:p>
              <a:endParaRPr sz="1800">
                <a:solidFill>
                  <a:prstClr val="black"/>
                </a:solidFill>
              </a:endParaRPr>
            </a:p>
          </p:txBody>
        </p:sp>
        <p:sp>
          <p:nvSpPr>
            <p:cNvPr id="21" name="Rectangle"/>
            <p:cNvSpPr/>
            <p:nvPr userDrawn="1"/>
          </p:nvSpPr>
          <p:spPr>
            <a:xfrm>
              <a:off x="160238" y="3154213"/>
              <a:ext cx="1300907" cy="721867"/>
            </a:xfrm>
            <a:prstGeom prst="rect">
              <a:avLst/>
            </a:prstGeom>
            <a:solidFill>
              <a:srgbClr val="016AA1"/>
            </a:solidFill>
            <a:ln w="12700">
              <a:miter lim="400000"/>
            </a:ln>
          </p:spPr>
          <p:txBody>
            <a:bodyPr lIns="50800" tIns="50800" rIns="50800" bIns="50800" anchor="ctr"/>
            <a:lstStyle/>
            <a:p>
              <a:endParaRPr sz="1800">
                <a:solidFill>
                  <a:prstClr val="black"/>
                </a:solidFill>
              </a:endParaRPr>
            </a:p>
          </p:txBody>
        </p:sp>
        <p:sp>
          <p:nvSpPr>
            <p:cNvPr id="22" name="Rectangle"/>
            <p:cNvSpPr/>
            <p:nvPr userDrawn="1"/>
          </p:nvSpPr>
          <p:spPr>
            <a:xfrm>
              <a:off x="160238" y="148877"/>
              <a:ext cx="1300907" cy="3005337"/>
            </a:xfrm>
            <a:prstGeom prst="rect">
              <a:avLst/>
            </a:prstGeom>
            <a:solidFill>
              <a:srgbClr val="86CBD8"/>
            </a:solidFill>
            <a:ln w="12700">
              <a:miter lim="400000"/>
            </a:ln>
          </p:spPr>
          <p:txBody>
            <a:bodyPr lIns="50800" tIns="50800" rIns="50800" bIns="50800" anchor="ctr"/>
            <a:lstStyle/>
            <a:p>
              <a:endParaRPr sz="1800">
                <a:solidFill>
                  <a:prstClr val="black"/>
                </a:solidFill>
              </a:endParaRPr>
            </a:p>
          </p:txBody>
        </p:sp>
      </p:grpSp>
    </p:spTree>
    <p:extLst>
      <p:ext uri="{BB962C8B-B14F-4D97-AF65-F5344CB8AC3E}">
        <p14:creationId xmlns:p14="http://schemas.microsoft.com/office/powerpoint/2010/main" val="678511297"/>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userDrawn="1">
  <p:cSld name="Separador1">
    <p:spTree>
      <p:nvGrpSpPr>
        <p:cNvPr id="1" name=""/>
        <p:cNvGrpSpPr/>
        <p:nvPr/>
      </p:nvGrpSpPr>
      <p:grpSpPr>
        <a:xfrm>
          <a:off x="0" y="0"/>
          <a:ext cx="0" cy="0"/>
          <a:chOff x="0" y="0"/>
          <a:chExt cx="0" cy="0"/>
        </a:xfrm>
      </p:grpSpPr>
      <p:sp>
        <p:nvSpPr>
          <p:cNvPr id="11" name="Rectangle 10"/>
          <p:cNvSpPr/>
          <p:nvPr userDrawn="1"/>
        </p:nvSpPr>
        <p:spPr>
          <a:xfrm>
            <a:off x="226611" y="6608"/>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grpSp>
        <p:nvGrpSpPr>
          <p:cNvPr id="19" name="Group 18"/>
          <p:cNvGrpSpPr/>
          <p:nvPr userDrawn="1"/>
        </p:nvGrpSpPr>
        <p:grpSpPr>
          <a:xfrm>
            <a:off x="226614" y="98854"/>
            <a:ext cx="1204588" cy="6096000"/>
            <a:chOff x="160238" y="154880"/>
            <a:chExt cx="1300907" cy="8777933"/>
          </a:xfrm>
        </p:grpSpPr>
        <p:sp>
          <p:nvSpPr>
            <p:cNvPr id="12" name="Rectangle"/>
            <p:cNvSpPr/>
            <p:nvPr userDrawn="1"/>
          </p:nvSpPr>
          <p:spPr>
            <a:xfrm>
              <a:off x="160238" y="8398371"/>
              <a:ext cx="1300907" cy="534442"/>
            </a:xfrm>
            <a:prstGeom prst="rect">
              <a:avLst/>
            </a:prstGeom>
            <a:solidFill>
              <a:srgbClr val="85CDD9"/>
            </a:solidFill>
            <a:ln w="12700">
              <a:miter lim="400000"/>
            </a:ln>
          </p:spPr>
          <p:txBody>
            <a:bodyPr lIns="50800" tIns="50800" rIns="50800" bIns="50800" anchor="ctr"/>
            <a:lstStyle/>
            <a:p>
              <a:endParaRPr sz="1800">
                <a:solidFill>
                  <a:prstClr val="black"/>
                </a:solidFill>
              </a:endParaRPr>
            </a:p>
          </p:txBody>
        </p:sp>
        <p:sp>
          <p:nvSpPr>
            <p:cNvPr id="13" name="Rectangle"/>
            <p:cNvSpPr/>
            <p:nvPr userDrawn="1"/>
          </p:nvSpPr>
          <p:spPr>
            <a:xfrm>
              <a:off x="160238" y="8183364"/>
              <a:ext cx="1300907" cy="215008"/>
            </a:xfrm>
            <a:prstGeom prst="rect">
              <a:avLst/>
            </a:prstGeom>
            <a:solidFill>
              <a:srgbClr val="4D89AD"/>
            </a:solidFill>
            <a:ln w="12700">
              <a:miter lim="400000"/>
            </a:ln>
          </p:spPr>
          <p:txBody>
            <a:bodyPr lIns="50800" tIns="50800" rIns="50800" bIns="50800" anchor="ctr"/>
            <a:lstStyle/>
            <a:p>
              <a:endParaRPr sz="1800">
                <a:solidFill>
                  <a:prstClr val="black"/>
                </a:solidFill>
              </a:endParaRPr>
            </a:p>
          </p:txBody>
        </p:sp>
        <p:sp>
          <p:nvSpPr>
            <p:cNvPr id="14" name="Rectangle"/>
            <p:cNvSpPr/>
            <p:nvPr userDrawn="1"/>
          </p:nvSpPr>
          <p:spPr>
            <a:xfrm>
              <a:off x="160238" y="6195863"/>
              <a:ext cx="1300907" cy="1987502"/>
            </a:xfrm>
            <a:prstGeom prst="rect">
              <a:avLst/>
            </a:prstGeom>
            <a:solidFill>
              <a:srgbClr val="2591C0"/>
            </a:solidFill>
            <a:ln w="12700">
              <a:miter lim="400000"/>
            </a:ln>
          </p:spPr>
          <p:txBody>
            <a:bodyPr lIns="50800" tIns="50800" rIns="50800" bIns="50800" anchor="ctr"/>
            <a:lstStyle/>
            <a:p>
              <a:endParaRPr sz="1800">
                <a:solidFill>
                  <a:prstClr val="black"/>
                </a:solidFill>
              </a:endParaRPr>
            </a:p>
          </p:txBody>
        </p:sp>
        <p:sp>
          <p:nvSpPr>
            <p:cNvPr id="15" name="Rectangle"/>
            <p:cNvSpPr/>
            <p:nvPr userDrawn="1"/>
          </p:nvSpPr>
          <p:spPr>
            <a:xfrm>
              <a:off x="160238" y="5724425"/>
              <a:ext cx="1300907" cy="471439"/>
            </a:xfrm>
            <a:prstGeom prst="rect">
              <a:avLst/>
            </a:prstGeom>
            <a:solidFill>
              <a:srgbClr val="104D6A"/>
            </a:solidFill>
            <a:ln w="12700">
              <a:miter lim="400000"/>
            </a:ln>
          </p:spPr>
          <p:txBody>
            <a:bodyPr lIns="50800" tIns="50800" rIns="50800" bIns="50800" anchor="ctr"/>
            <a:lstStyle/>
            <a:p>
              <a:endParaRPr sz="1800">
                <a:solidFill>
                  <a:prstClr val="black"/>
                </a:solidFill>
              </a:endParaRPr>
            </a:p>
          </p:txBody>
        </p:sp>
        <p:sp>
          <p:nvSpPr>
            <p:cNvPr id="16" name="Rectangle"/>
            <p:cNvSpPr/>
            <p:nvPr userDrawn="1"/>
          </p:nvSpPr>
          <p:spPr>
            <a:xfrm>
              <a:off x="160238" y="371177"/>
              <a:ext cx="1300907" cy="813396"/>
            </a:xfrm>
            <a:prstGeom prst="rect">
              <a:avLst/>
            </a:prstGeom>
            <a:solidFill>
              <a:srgbClr val="095B88"/>
            </a:solidFill>
            <a:ln w="12700">
              <a:miter lim="400000"/>
            </a:ln>
          </p:spPr>
          <p:txBody>
            <a:bodyPr lIns="50800" tIns="50800" rIns="50800" bIns="50800" anchor="ctr"/>
            <a:lstStyle/>
            <a:p>
              <a:endParaRPr sz="1800">
                <a:solidFill>
                  <a:prstClr val="black"/>
                </a:solidFill>
              </a:endParaRPr>
            </a:p>
          </p:txBody>
        </p:sp>
        <p:sp>
          <p:nvSpPr>
            <p:cNvPr id="17" name="Rectangle"/>
            <p:cNvSpPr/>
            <p:nvPr userDrawn="1"/>
          </p:nvSpPr>
          <p:spPr>
            <a:xfrm>
              <a:off x="160238" y="1184572"/>
              <a:ext cx="1300907" cy="4539854"/>
            </a:xfrm>
            <a:prstGeom prst="rect">
              <a:avLst/>
            </a:prstGeom>
            <a:solidFill>
              <a:srgbClr val="016AA1"/>
            </a:solidFill>
            <a:ln w="12700">
              <a:miter lim="400000"/>
            </a:ln>
          </p:spPr>
          <p:txBody>
            <a:bodyPr lIns="50800" tIns="50800" rIns="50800" bIns="50800" anchor="ctr"/>
            <a:lstStyle/>
            <a:p>
              <a:endParaRPr sz="1800">
                <a:solidFill>
                  <a:prstClr val="black"/>
                </a:solidFill>
              </a:endParaRPr>
            </a:p>
          </p:txBody>
        </p:sp>
        <p:sp>
          <p:nvSpPr>
            <p:cNvPr id="18" name="Rectangle"/>
            <p:cNvSpPr/>
            <p:nvPr userDrawn="1"/>
          </p:nvSpPr>
          <p:spPr>
            <a:xfrm>
              <a:off x="160238" y="154880"/>
              <a:ext cx="1300907" cy="216298"/>
            </a:xfrm>
            <a:prstGeom prst="rect">
              <a:avLst/>
            </a:prstGeom>
            <a:solidFill>
              <a:srgbClr val="85CDD9"/>
            </a:solidFill>
            <a:ln w="12700">
              <a:miter lim="400000"/>
            </a:ln>
          </p:spPr>
          <p:txBody>
            <a:bodyPr lIns="50800" tIns="50800" rIns="50800" bIns="50800" anchor="ctr"/>
            <a:lstStyle/>
            <a:p>
              <a:endParaRPr sz="1800">
                <a:solidFill>
                  <a:prstClr val="black"/>
                </a:solidFill>
              </a:endParaRPr>
            </a:p>
          </p:txBody>
        </p:sp>
      </p:grpSp>
    </p:spTree>
    <p:extLst>
      <p:ext uri="{BB962C8B-B14F-4D97-AF65-F5344CB8AC3E}">
        <p14:creationId xmlns:p14="http://schemas.microsoft.com/office/powerpoint/2010/main" val="2403960361"/>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showMasterSp="0" preserve="1" userDrawn="1">
  <p:cSld name="Cover page">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1699730"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3" descr="Picture 3"/>
          <p:cNvPicPr>
            <a:picLocks noChangeAspect="1"/>
          </p:cNvPicPr>
          <p:nvPr userDrawn="1"/>
        </p:nvPicPr>
        <p:blipFill>
          <a:blip r:embed="rId6" cstate="print"/>
          <a:srcRect r="91525"/>
          <a:stretch>
            <a:fillRect/>
          </a:stretch>
        </p:blipFill>
        <p:spPr>
          <a:xfrm>
            <a:off x="0" y="0"/>
            <a:ext cx="1376613" cy="6858000"/>
          </a:xfrm>
          <a:prstGeom prst="rect">
            <a:avLst/>
          </a:prstGeom>
          <a:ln w="12700">
            <a:miter lim="400000"/>
          </a:ln>
        </p:spPr>
      </p:pic>
      <p:sp>
        <p:nvSpPr>
          <p:cNvPr id="18" name="Text Placeholder 17"/>
          <p:cNvSpPr>
            <a:spLocks noGrp="1"/>
          </p:cNvSpPr>
          <p:nvPr>
            <p:ph type="body" sz="quarter" idx="10" hasCustomPrompt="1"/>
          </p:nvPr>
        </p:nvSpPr>
        <p:spPr>
          <a:xfrm>
            <a:off x="1744393" y="722376"/>
            <a:ext cx="8924544" cy="649224"/>
          </a:xfrm>
        </p:spPr>
        <p:txBody>
          <a:bodyPr lIns="36576" tIns="45720" rIns="36576" bIns="45720" anchor="ctr">
            <a:noAutofit/>
          </a:bodyPr>
          <a:lstStyle>
            <a:lvl1pPr>
              <a:defRPr sz="3692" b="0" baseline="0">
                <a:solidFill>
                  <a:srgbClr val="86CBD8"/>
                </a:solidFill>
              </a:defRPr>
            </a:lvl1pPr>
          </a:lstStyle>
          <a:p>
            <a:pPr lvl="0"/>
            <a:r>
              <a:rPr lang="en-US" sz="3692" dirty="0" err="1">
                <a:solidFill>
                  <a:srgbClr val="86CBD8"/>
                </a:solidFill>
              </a:rPr>
              <a:t>Título</a:t>
            </a:r>
            <a:r>
              <a:rPr lang="en-US" sz="3692" dirty="0">
                <a:solidFill>
                  <a:srgbClr val="86CBD8"/>
                </a:solidFill>
              </a:rPr>
              <a:t> </a:t>
            </a:r>
            <a:r>
              <a:rPr lang="en-US" sz="3692" dirty="0" err="1">
                <a:solidFill>
                  <a:srgbClr val="86CBD8"/>
                </a:solidFill>
              </a:rPr>
              <a:t>Presentación</a:t>
            </a:r>
            <a:endParaRPr lang="en-US" dirty="0"/>
          </a:p>
        </p:txBody>
      </p:sp>
      <p:sp>
        <p:nvSpPr>
          <p:cNvPr id="20" name="Text Placeholder 19"/>
          <p:cNvSpPr>
            <a:spLocks noGrp="1"/>
          </p:cNvSpPr>
          <p:nvPr>
            <p:ph type="body" sz="quarter" idx="11" hasCustomPrompt="1"/>
          </p:nvPr>
        </p:nvSpPr>
        <p:spPr>
          <a:xfrm>
            <a:off x="1789411" y="2221992"/>
            <a:ext cx="10016197" cy="365760"/>
          </a:xfrm>
        </p:spPr>
        <p:txBody>
          <a:bodyPr lIns="36576" tIns="45720" rIns="36576" bIns="45720">
            <a:noAutofit/>
          </a:bodyPr>
          <a:lstStyle>
            <a:lvl1pPr>
              <a:defRPr sz="1662" b="1" baseline="0">
                <a:solidFill>
                  <a:srgbClr val="016AA1"/>
                </a:solidFill>
              </a:defRPr>
            </a:lvl1pPr>
          </a:lstStyle>
          <a:p>
            <a:pPr lvl="0"/>
            <a:r>
              <a:rPr lang="en-US" dirty="0" err="1"/>
              <a:t>Subtitulo</a:t>
            </a:r>
            <a:endParaRPr lang="en-US" dirty="0"/>
          </a:p>
        </p:txBody>
      </p:sp>
      <p:sp>
        <p:nvSpPr>
          <p:cNvPr id="22" name="Text Placeholder 21"/>
          <p:cNvSpPr>
            <a:spLocks noGrp="1"/>
          </p:cNvSpPr>
          <p:nvPr>
            <p:ph type="body" sz="quarter" idx="12" hasCustomPrompt="1"/>
          </p:nvPr>
        </p:nvSpPr>
        <p:spPr>
          <a:xfrm>
            <a:off x="1789411" y="4983480"/>
            <a:ext cx="9340948" cy="365760"/>
          </a:xfrm>
        </p:spPr>
        <p:txBody>
          <a:bodyPr lIns="36576" tIns="45720" rIns="36576" bIns="45720">
            <a:noAutofit/>
          </a:bodyPr>
          <a:lstStyle>
            <a:lvl1pPr>
              <a:defRPr sz="1662" b="0" baseline="0">
                <a:solidFill>
                  <a:srgbClr val="7C1A4F"/>
                </a:solidFill>
              </a:defRPr>
            </a:lvl1pPr>
          </a:lstStyle>
          <a:p>
            <a:pPr lvl="0"/>
            <a:r>
              <a:rPr lang="en-US" dirty="0" err="1"/>
              <a:t>Fecha</a:t>
            </a:r>
            <a:endParaRPr lang="en-US" dirty="0"/>
          </a:p>
        </p:txBody>
      </p:sp>
      <p:pic>
        <p:nvPicPr>
          <p:cNvPr id="9" name="footer-13.jpg" descr="footer-13.jpg"/>
          <p:cNvPicPr>
            <a:picLocks noChangeAspect="1"/>
          </p:cNvPicPr>
          <p:nvPr userDrawn="1"/>
        </p:nvPicPr>
        <p:blipFill>
          <a:blip r:embed="rId7" cstate="print"/>
          <a:stretch>
            <a:fillRect/>
          </a:stretch>
        </p:blipFill>
        <p:spPr>
          <a:xfrm>
            <a:off x="0" y="6221393"/>
            <a:ext cx="12192000" cy="574391"/>
          </a:xfrm>
          <a:prstGeom prst="rect">
            <a:avLst/>
          </a:prstGeom>
          <a:ln w="12700">
            <a:miter lim="400000"/>
          </a:ln>
        </p:spPr>
      </p:pic>
    </p:spTree>
    <p:extLst>
      <p:ext uri="{BB962C8B-B14F-4D97-AF65-F5344CB8AC3E}">
        <p14:creationId xmlns:p14="http://schemas.microsoft.com/office/powerpoint/2010/main" val="2553153124"/>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showMasterSp="0" preserve="1" userDrawn="1">
  <p:cSld name="Divider 1">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1700754"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822455"/>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DA2B57"/>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7C194F"/>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grpSp>
        <p:nvGrpSpPr>
          <p:cNvPr id="8" name="Group 7"/>
          <p:cNvGrpSpPr/>
          <p:nvPr userDrawn="1"/>
        </p:nvGrpSpPr>
        <p:grpSpPr>
          <a:xfrm>
            <a:off x="213691" y="98855"/>
            <a:ext cx="1113676" cy="6105595"/>
            <a:chOff x="160238" y="154880"/>
            <a:chExt cx="1300907" cy="8777933"/>
          </a:xfrm>
        </p:grpSpPr>
        <p:sp>
          <p:nvSpPr>
            <p:cNvPr id="9" name="Rectangle"/>
            <p:cNvSpPr/>
            <p:nvPr userDrawn="1"/>
          </p:nvSpPr>
          <p:spPr>
            <a:xfrm>
              <a:off x="160238" y="8398371"/>
              <a:ext cx="1300907" cy="534442"/>
            </a:xfrm>
            <a:prstGeom prst="rect">
              <a:avLst/>
            </a:prstGeom>
            <a:solidFill>
              <a:srgbClr val="ED207D"/>
            </a:solidFill>
            <a:ln w="12700">
              <a:miter lim="400000"/>
            </a:ln>
          </p:spPr>
          <p:txBody>
            <a:bodyPr lIns="50800" tIns="50800" rIns="50800" bIns="50800" anchor="ctr"/>
            <a:lstStyle/>
            <a:p>
              <a:endParaRPr lang="en-US" sz="1662" dirty="0"/>
            </a:p>
          </p:txBody>
        </p:sp>
        <p:sp>
          <p:nvSpPr>
            <p:cNvPr id="10" name="Rectangle"/>
            <p:cNvSpPr/>
            <p:nvPr userDrawn="1"/>
          </p:nvSpPr>
          <p:spPr>
            <a:xfrm>
              <a:off x="160238" y="8183364"/>
              <a:ext cx="1300907" cy="215008"/>
            </a:xfrm>
            <a:prstGeom prst="rect">
              <a:avLst/>
            </a:prstGeom>
            <a:solidFill>
              <a:srgbClr val="BF1D7F"/>
            </a:solidFill>
            <a:ln w="12700">
              <a:miter lim="400000"/>
            </a:ln>
          </p:spPr>
          <p:txBody>
            <a:bodyPr lIns="50800" tIns="50800" rIns="50800" bIns="50800" anchor="ctr"/>
            <a:lstStyle/>
            <a:p>
              <a:endParaRPr lang="en-US" sz="1662" dirty="0"/>
            </a:p>
          </p:txBody>
        </p:sp>
        <p:sp>
          <p:nvSpPr>
            <p:cNvPr id="11" name="Rectangle"/>
            <p:cNvSpPr/>
            <p:nvPr userDrawn="1"/>
          </p:nvSpPr>
          <p:spPr>
            <a:xfrm>
              <a:off x="160238" y="6195863"/>
              <a:ext cx="1300907" cy="1987502"/>
            </a:xfrm>
            <a:prstGeom prst="rect">
              <a:avLst/>
            </a:prstGeom>
            <a:solidFill>
              <a:srgbClr val="7C1A4F"/>
            </a:solidFill>
            <a:ln w="12700">
              <a:miter lim="400000"/>
            </a:ln>
          </p:spPr>
          <p:txBody>
            <a:bodyPr lIns="50800" tIns="50800" rIns="50800" bIns="50800" anchor="ctr"/>
            <a:lstStyle/>
            <a:p>
              <a:endParaRPr lang="en-US" sz="1662" dirty="0"/>
            </a:p>
          </p:txBody>
        </p:sp>
        <p:sp>
          <p:nvSpPr>
            <p:cNvPr id="12" name="Rectangle"/>
            <p:cNvSpPr/>
            <p:nvPr userDrawn="1"/>
          </p:nvSpPr>
          <p:spPr>
            <a:xfrm>
              <a:off x="160238" y="5724425"/>
              <a:ext cx="1300907" cy="471439"/>
            </a:xfrm>
            <a:prstGeom prst="rect">
              <a:avLst/>
            </a:prstGeom>
            <a:solidFill>
              <a:srgbClr val="DA2C57"/>
            </a:solidFill>
            <a:ln w="12700">
              <a:miter lim="400000"/>
            </a:ln>
          </p:spPr>
          <p:txBody>
            <a:bodyPr lIns="50800" tIns="50800" rIns="50800" bIns="50800" anchor="ctr"/>
            <a:lstStyle/>
            <a:p>
              <a:endParaRPr lang="en-US" sz="1662" dirty="0"/>
            </a:p>
          </p:txBody>
        </p:sp>
        <p:sp>
          <p:nvSpPr>
            <p:cNvPr id="14" name="Rectangle"/>
            <p:cNvSpPr/>
            <p:nvPr userDrawn="1"/>
          </p:nvSpPr>
          <p:spPr>
            <a:xfrm>
              <a:off x="160238" y="371177"/>
              <a:ext cx="1300907" cy="813396"/>
            </a:xfrm>
            <a:prstGeom prst="rect">
              <a:avLst/>
            </a:prstGeom>
            <a:solidFill>
              <a:srgbClr val="C4297F"/>
            </a:solidFill>
            <a:ln w="12700">
              <a:miter lim="400000"/>
            </a:ln>
          </p:spPr>
          <p:txBody>
            <a:bodyPr lIns="50800" tIns="50800" rIns="50800" bIns="50800" anchor="ctr"/>
            <a:lstStyle/>
            <a:p>
              <a:endParaRPr lang="en-US" sz="1662" dirty="0"/>
            </a:p>
          </p:txBody>
        </p:sp>
        <p:sp>
          <p:nvSpPr>
            <p:cNvPr id="17" name="Rectangle"/>
            <p:cNvSpPr/>
            <p:nvPr userDrawn="1"/>
          </p:nvSpPr>
          <p:spPr>
            <a:xfrm>
              <a:off x="160238" y="1184572"/>
              <a:ext cx="1300907" cy="4539854"/>
            </a:xfrm>
            <a:prstGeom prst="rect">
              <a:avLst/>
            </a:prstGeom>
            <a:solidFill>
              <a:srgbClr val="822455"/>
            </a:solidFill>
            <a:ln w="12700">
              <a:miter lim="400000"/>
            </a:ln>
          </p:spPr>
          <p:txBody>
            <a:bodyPr lIns="50800" tIns="50800" rIns="50800" bIns="50800" anchor="ctr"/>
            <a:lstStyle/>
            <a:p>
              <a:endParaRPr lang="en-US" sz="1662" dirty="0"/>
            </a:p>
          </p:txBody>
        </p:sp>
        <p:sp>
          <p:nvSpPr>
            <p:cNvPr id="19" name="Rectangle"/>
            <p:cNvSpPr/>
            <p:nvPr userDrawn="1"/>
          </p:nvSpPr>
          <p:spPr>
            <a:xfrm>
              <a:off x="160238" y="154880"/>
              <a:ext cx="1300907" cy="216298"/>
            </a:xfrm>
            <a:prstGeom prst="rect">
              <a:avLst/>
            </a:prstGeom>
            <a:solidFill>
              <a:srgbClr val="DA2C57"/>
            </a:solidFill>
            <a:ln w="12700">
              <a:miter lim="400000"/>
            </a:ln>
          </p:spPr>
          <p:txBody>
            <a:bodyPr lIns="50800" tIns="50800" rIns="50800" bIns="50800" anchor="ctr"/>
            <a:lstStyle/>
            <a:p>
              <a:endParaRPr lang="en-US" sz="1662" dirty="0"/>
            </a:p>
          </p:txBody>
        </p:sp>
      </p:gr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spTree>
    <p:extLst>
      <p:ext uri="{BB962C8B-B14F-4D97-AF65-F5344CB8AC3E}">
        <p14:creationId xmlns:p14="http://schemas.microsoft.com/office/powerpoint/2010/main" val="845497190"/>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showMasterSp="0" preserve="1" userDrawn="1">
  <p:cSld name="Divider 2">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1701778"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EE4228"/>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F69427"/>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FCBA1A"/>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13691" y="98854"/>
            <a:ext cx="1113676" cy="6105595"/>
            <a:chOff x="160238" y="162796"/>
            <a:chExt cx="1300907" cy="8777933"/>
          </a:xfrm>
        </p:grpSpPr>
        <p:sp>
          <p:nvSpPr>
            <p:cNvPr id="22" name="Rectangle"/>
            <p:cNvSpPr/>
            <p:nvPr userDrawn="1"/>
          </p:nvSpPr>
          <p:spPr>
            <a:xfrm>
              <a:off x="160238" y="8406287"/>
              <a:ext cx="1300907" cy="534442"/>
            </a:xfrm>
            <a:prstGeom prst="rect">
              <a:avLst/>
            </a:prstGeom>
            <a:solidFill>
              <a:srgbClr val="D91F27"/>
            </a:solidFill>
            <a:ln w="12700">
              <a:miter lim="400000"/>
            </a:ln>
          </p:spPr>
          <p:txBody>
            <a:bodyPr lIns="50800" tIns="50800" rIns="50800" bIns="50800" anchor="ctr"/>
            <a:lstStyle/>
            <a:p>
              <a:endParaRPr lang="en-US" sz="1662" dirty="0"/>
            </a:p>
          </p:txBody>
        </p:sp>
        <p:sp>
          <p:nvSpPr>
            <p:cNvPr id="23" name="Rectangle"/>
            <p:cNvSpPr/>
            <p:nvPr userDrawn="1"/>
          </p:nvSpPr>
          <p:spPr>
            <a:xfrm>
              <a:off x="160238" y="8191280"/>
              <a:ext cx="1300907" cy="215008"/>
            </a:xfrm>
            <a:prstGeom prst="rect">
              <a:avLst/>
            </a:prstGeom>
            <a:solidFill>
              <a:srgbClr val="F36F26"/>
            </a:solidFill>
            <a:ln w="12700">
              <a:miter lim="400000"/>
            </a:ln>
          </p:spPr>
          <p:txBody>
            <a:bodyPr lIns="50800" tIns="50800" rIns="50800" bIns="50800" anchor="ctr"/>
            <a:lstStyle/>
            <a:p>
              <a:endParaRPr lang="en-US" sz="1662" dirty="0"/>
            </a:p>
          </p:txBody>
        </p:sp>
        <p:sp>
          <p:nvSpPr>
            <p:cNvPr id="24" name="Rectangle"/>
            <p:cNvSpPr/>
            <p:nvPr userDrawn="1"/>
          </p:nvSpPr>
          <p:spPr>
            <a:xfrm>
              <a:off x="160238" y="6203779"/>
              <a:ext cx="1300907" cy="1987502"/>
            </a:xfrm>
            <a:prstGeom prst="rect">
              <a:avLst/>
            </a:prstGeom>
            <a:solidFill>
              <a:srgbClr val="FBB91A"/>
            </a:solidFill>
            <a:ln w="12700">
              <a:miter lim="400000"/>
            </a:ln>
          </p:spPr>
          <p:txBody>
            <a:bodyPr lIns="50800" tIns="50800" rIns="50800" bIns="50800" anchor="ctr"/>
            <a:lstStyle/>
            <a:p>
              <a:endParaRPr lang="en-US" sz="1662" dirty="0"/>
            </a:p>
          </p:txBody>
        </p:sp>
        <p:sp>
          <p:nvSpPr>
            <p:cNvPr id="25" name="Rectangle"/>
            <p:cNvSpPr/>
            <p:nvPr userDrawn="1"/>
          </p:nvSpPr>
          <p:spPr>
            <a:xfrm>
              <a:off x="160238" y="5732341"/>
              <a:ext cx="1300907" cy="471439"/>
            </a:xfrm>
            <a:prstGeom prst="rect">
              <a:avLst/>
            </a:prstGeom>
            <a:solidFill>
              <a:srgbClr val="F69427"/>
            </a:solidFill>
            <a:ln w="12700">
              <a:miter lim="400000"/>
            </a:ln>
          </p:spPr>
          <p:txBody>
            <a:bodyPr lIns="50800" tIns="50800" rIns="50800" bIns="50800" anchor="ctr"/>
            <a:lstStyle/>
            <a:p>
              <a:endParaRPr lang="en-US" sz="1662" dirty="0"/>
            </a:p>
          </p:txBody>
        </p:sp>
        <p:sp>
          <p:nvSpPr>
            <p:cNvPr id="26" name="Rectangle"/>
            <p:cNvSpPr/>
            <p:nvPr userDrawn="1"/>
          </p:nvSpPr>
          <p:spPr>
            <a:xfrm>
              <a:off x="160238" y="379093"/>
              <a:ext cx="1300907" cy="813396"/>
            </a:xfrm>
            <a:prstGeom prst="rect">
              <a:avLst/>
            </a:prstGeom>
            <a:solidFill>
              <a:srgbClr val="F79824"/>
            </a:solidFill>
            <a:ln w="12700">
              <a:miter lim="400000"/>
            </a:ln>
          </p:spPr>
          <p:txBody>
            <a:bodyPr lIns="50800" tIns="50800" rIns="50800" bIns="50800" anchor="ctr"/>
            <a:lstStyle/>
            <a:p>
              <a:endParaRPr lang="en-US" sz="1662" dirty="0"/>
            </a:p>
          </p:txBody>
        </p:sp>
        <p:sp>
          <p:nvSpPr>
            <p:cNvPr id="27" name="Rectangle"/>
            <p:cNvSpPr/>
            <p:nvPr userDrawn="1"/>
          </p:nvSpPr>
          <p:spPr>
            <a:xfrm>
              <a:off x="160238" y="1192488"/>
              <a:ext cx="1300907" cy="4539854"/>
            </a:xfrm>
            <a:prstGeom prst="rect">
              <a:avLst/>
            </a:prstGeom>
            <a:solidFill>
              <a:srgbClr val="EE4329"/>
            </a:solidFill>
            <a:ln w="12700">
              <a:miter lim="400000"/>
            </a:ln>
          </p:spPr>
          <p:txBody>
            <a:bodyPr lIns="50800" tIns="50800" rIns="50800" bIns="50800" anchor="ctr"/>
            <a:lstStyle/>
            <a:p>
              <a:endParaRPr lang="en-US" sz="1662" dirty="0"/>
            </a:p>
          </p:txBody>
        </p:sp>
        <p:sp>
          <p:nvSpPr>
            <p:cNvPr id="28" name="Rectangle"/>
            <p:cNvSpPr/>
            <p:nvPr userDrawn="1"/>
          </p:nvSpPr>
          <p:spPr>
            <a:xfrm>
              <a:off x="160238" y="162796"/>
              <a:ext cx="1300907" cy="216298"/>
            </a:xfrm>
            <a:prstGeom prst="rect">
              <a:avLst/>
            </a:prstGeom>
            <a:solidFill>
              <a:srgbClr val="BF2126"/>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2136293038"/>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showMasterSp="0" preserve="1" userDrawn="1">
  <p:cSld name="Divider 3">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1702802"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007272"/>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00C0B6"/>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00A6AB"/>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13691" y="99934"/>
            <a:ext cx="1113676" cy="6105588"/>
            <a:chOff x="90616" y="113613"/>
            <a:chExt cx="1300907" cy="8777933"/>
          </a:xfrm>
        </p:grpSpPr>
        <p:sp>
          <p:nvSpPr>
            <p:cNvPr id="22" name="Rectangle"/>
            <p:cNvSpPr/>
            <p:nvPr userDrawn="1"/>
          </p:nvSpPr>
          <p:spPr>
            <a:xfrm>
              <a:off x="90616" y="8357104"/>
              <a:ext cx="1300907" cy="534442"/>
            </a:xfrm>
            <a:prstGeom prst="rect">
              <a:avLst/>
            </a:prstGeom>
            <a:solidFill>
              <a:srgbClr val="00C0B6"/>
            </a:solidFill>
            <a:ln w="12700">
              <a:miter lim="400000"/>
            </a:ln>
          </p:spPr>
          <p:txBody>
            <a:bodyPr lIns="50800" tIns="50800" rIns="50800" bIns="50800" anchor="ctr"/>
            <a:lstStyle/>
            <a:p>
              <a:endParaRPr lang="en-US" sz="1662" dirty="0"/>
            </a:p>
          </p:txBody>
        </p:sp>
        <p:sp>
          <p:nvSpPr>
            <p:cNvPr id="23" name="Rectangle"/>
            <p:cNvSpPr/>
            <p:nvPr userDrawn="1"/>
          </p:nvSpPr>
          <p:spPr>
            <a:xfrm>
              <a:off x="90616" y="8142097"/>
              <a:ext cx="1300907" cy="215008"/>
            </a:xfrm>
            <a:prstGeom prst="rect">
              <a:avLst/>
            </a:prstGeom>
            <a:solidFill>
              <a:srgbClr val="007272"/>
            </a:solidFill>
            <a:ln w="12700">
              <a:miter lim="400000"/>
            </a:ln>
          </p:spPr>
          <p:txBody>
            <a:bodyPr lIns="50800" tIns="50800" rIns="50800" bIns="50800" anchor="ctr"/>
            <a:lstStyle/>
            <a:p>
              <a:endParaRPr lang="en-US" sz="1662" dirty="0"/>
            </a:p>
          </p:txBody>
        </p:sp>
        <p:sp>
          <p:nvSpPr>
            <p:cNvPr id="24" name="Rectangle"/>
            <p:cNvSpPr/>
            <p:nvPr userDrawn="1"/>
          </p:nvSpPr>
          <p:spPr>
            <a:xfrm>
              <a:off x="90616" y="6154596"/>
              <a:ext cx="1300907" cy="1987502"/>
            </a:xfrm>
            <a:prstGeom prst="rect">
              <a:avLst/>
            </a:prstGeom>
            <a:solidFill>
              <a:srgbClr val="00A6AB"/>
            </a:solidFill>
            <a:ln w="12700">
              <a:miter lim="400000"/>
            </a:ln>
          </p:spPr>
          <p:txBody>
            <a:bodyPr lIns="50800" tIns="50800" rIns="50800" bIns="50800" anchor="ctr"/>
            <a:lstStyle/>
            <a:p>
              <a:endParaRPr lang="en-US" sz="1662" dirty="0"/>
            </a:p>
          </p:txBody>
        </p:sp>
        <p:sp>
          <p:nvSpPr>
            <p:cNvPr id="25" name="Rectangle"/>
            <p:cNvSpPr/>
            <p:nvPr userDrawn="1"/>
          </p:nvSpPr>
          <p:spPr>
            <a:xfrm>
              <a:off x="90616" y="5683158"/>
              <a:ext cx="1300907" cy="471439"/>
            </a:xfrm>
            <a:prstGeom prst="rect">
              <a:avLst/>
            </a:prstGeom>
            <a:solidFill>
              <a:srgbClr val="00C0B6"/>
            </a:solidFill>
            <a:ln w="12700">
              <a:miter lim="400000"/>
            </a:ln>
          </p:spPr>
          <p:txBody>
            <a:bodyPr lIns="50800" tIns="50800" rIns="50800" bIns="50800" anchor="ctr"/>
            <a:lstStyle/>
            <a:p>
              <a:endParaRPr lang="en-US" sz="1662" dirty="0"/>
            </a:p>
          </p:txBody>
        </p:sp>
        <p:sp>
          <p:nvSpPr>
            <p:cNvPr id="26" name="Rectangle"/>
            <p:cNvSpPr/>
            <p:nvPr userDrawn="1"/>
          </p:nvSpPr>
          <p:spPr>
            <a:xfrm>
              <a:off x="90616" y="329910"/>
              <a:ext cx="1300907" cy="813396"/>
            </a:xfrm>
            <a:prstGeom prst="rect">
              <a:avLst/>
            </a:prstGeom>
            <a:solidFill>
              <a:srgbClr val="00C0B6"/>
            </a:solidFill>
            <a:ln w="12700">
              <a:miter lim="400000"/>
            </a:ln>
          </p:spPr>
          <p:txBody>
            <a:bodyPr lIns="50800" tIns="50800" rIns="50800" bIns="50800" anchor="ctr"/>
            <a:lstStyle/>
            <a:p>
              <a:endParaRPr lang="en-US" sz="1662" dirty="0"/>
            </a:p>
          </p:txBody>
        </p:sp>
        <p:sp>
          <p:nvSpPr>
            <p:cNvPr id="27" name="Rectangle"/>
            <p:cNvSpPr/>
            <p:nvPr userDrawn="1"/>
          </p:nvSpPr>
          <p:spPr>
            <a:xfrm>
              <a:off x="90616" y="1143305"/>
              <a:ext cx="1300907" cy="4539854"/>
            </a:xfrm>
            <a:prstGeom prst="rect">
              <a:avLst/>
            </a:prstGeom>
            <a:solidFill>
              <a:srgbClr val="007272"/>
            </a:solidFill>
            <a:ln w="12700">
              <a:miter lim="400000"/>
            </a:ln>
          </p:spPr>
          <p:txBody>
            <a:bodyPr lIns="50800" tIns="50800" rIns="50800" bIns="50800" anchor="ctr"/>
            <a:lstStyle/>
            <a:p>
              <a:endParaRPr lang="en-US" sz="1662" dirty="0"/>
            </a:p>
          </p:txBody>
        </p:sp>
        <p:sp>
          <p:nvSpPr>
            <p:cNvPr id="28" name="Rectangle"/>
            <p:cNvSpPr/>
            <p:nvPr userDrawn="1"/>
          </p:nvSpPr>
          <p:spPr>
            <a:xfrm>
              <a:off x="90616" y="113613"/>
              <a:ext cx="1300907" cy="216298"/>
            </a:xfrm>
            <a:prstGeom prst="rect">
              <a:avLst/>
            </a:prstGeom>
            <a:solidFill>
              <a:srgbClr val="00A6AB"/>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2030784728"/>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showMasterSp="0" preserve="1" userDrawn="1">
  <p:cSld name="Divider 4">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1703826"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73A600"/>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AABA35"/>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94B301"/>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15939" y="99934"/>
            <a:ext cx="1113675" cy="6105588"/>
            <a:chOff x="160238" y="154880"/>
            <a:chExt cx="1300907" cy="8777933"/>
          </a:xfrm>
        </p:grpSpPr>
        <p:sp>
          <p:nvSpPr>
            <p:cNvPr id="22" name="Rectangle"/>
            <p:cNvSpPr/>
            <p:nvPr userDrawn="1"/>
          </p:nvSpPr>
          <p:spPr>
            <a:xfrm>
              <a:off x="160238" y="8398371"/>
              <a:ext cx="1300907" cy="534442"/>
            </a:xfrm>
            <a:prstGeom prst="rect">
              <a:avLst/>
            </a:prstGeom>
            <a:solidFill>
              <a:srgbClr val="AABA36"/>
            </a:solidFill>
            <a:ln w="12700">
              <a:miter lim="400000"/>
            </a:ln>
          </p:spPr>
          <p:txBody>
            <a:bodyPr lIns="50800" tIns="50800" rIns="50800" bIns="50800" anchor="ctr"/>
            <a:lstStyle/>
            <a:p>
              <a:endParaRPr lang="en-US" sz="1662" dirty="0"/>
            </a:p>
          </p:txBody>
        </p:sp>
        <p:sp>
          <p:nvSpPr>
            <p:cNvPr id="23" name="Rectangle"/>
            <p:cNvSpPr/>
            <p:nvPr userDrawn="1"/>
          </p:nvSpPr>
          <p:spPr>
            <a:xfrm>
              <a:off x="160238" y="8183364"/>
              <a:ext cx="1300907" cy="215008"/>
            </a:xfrm>
            <a:prstGeom prst="rect">
              <a:avLst/>
            </a:prstGeom>
            <a:solidFill>
              <a:srgbClr val="CEDD01"/>
            </a:solidFill>
            <a:ln w="12700">
              <a:miter lim="400000"/>
            </a:ln>
          </p:spPr>
          <p:txBody>
            <a:bodyPr lIns="50800" tIns="50800" rIns="50800" bIns="50800" anchor="ctr"/>
            <a:lstStyle/>
            <a:p>
              <a:endParaRPr lang="en-US" sz="1662" dirty="0"/>
            </a:p>
          </p:txBody>
        </p:sp>
        <p:sp>
          <p:nvSpPr>
            <p:cNvPr id="24" name="Rectangle"/>
            <p:cNvSpPr/>
            <p:nvPr userDrawn="1"/>
          </p:nvSpPr>
          <p:spPr>
            <a:xfrm>
              <a:off x="160238" y="6195863"/>
              <a:ext cx="1300907" cy="1987502"/>
            </a:xfrm>
            <a:prstGeom prst="rect">
              <a:avLst/>
            </a:prstGeom>
            <a:solidFill>
              <a:srgbClr val="94B301"/>
            </a:solidFill>
            <a:ln w="12700">
              <a:miter lim="400000"/>
            </a:ln>
          </p:spPr>
          <p:txBody>
            <a:bodyPr lIns="50800" tIns="50800" rIns="50800" bIns="50800" anchor="ctr"/>
            <a:lstStyle/>
            <a:p>
              <a:endParaRPr lang="en-US" sz="1662" dirty="0"/>
            </a:p>
          </p:txBody>
        </p:sp>
        <p:sp>
          <p:nvSpPr>
            <p:cNvPr id="25" name="Rectangle"/>
            <p:cNvSpPr/>
            <p:nvPr userDrawn="1"/>
          </p:nvSpPr>
          <p:spPr>
            <a:xfrm>
              <a:off x="160238" y="5724425"/>
              <a:ext cx="1300907" cy="471439"/>
            </a:xfrm>
            <a:prstGeom prst="rect">
              <a:avLst/>
            </a:prstGeom>
            <a:solidFill>
              <a:srgbClr val="AABA36"/>
            </a:solidFill>
            <a:ln w="12700">
              <a:miter lim="400000"/>
            </a:ln>
          </p:spPr>
          <p:txBody>
            <a:bodyPr lIns="50800" tIns="50800" rIns="50800" bIns="50800" anchor="ctr"/>
            <a:lstStyle/>
            <a:p>
              <a:endParaRPr lang="en-US" sz="1662" dirty="0"/>
            </a:p>
          </p:txBody>
        </p:sp>
        <p:sp>
          <p:nvSpPr>
            <p:cNvPr id="26" name="Rectangle"/>
            <p:cNvSpPr/>
            <p:nvPr userDrawn="1"/>
          </p:nvSpPr>
          <p:spPr>
            <a:xfrm>
              <a:off x="160238" y="371177"/>
              <a:ext cx="1300907" cy="813396"/>
            </a:xfrm>
            <a:prstGeom prst="rect">
              <a:avLst/>
            </a:prstGeom>
            <a:solidFill>
              <a:srgbClr val="CEDD01"/>
            </a:solidFill>
            <a:ln w="12700">
              <a:miter lim="400000"/>
            </a:ln>
          </p:spPr>
          <p:txBody>
            <a:bodyPr lIns="50800" tIns="50800" rIns="50800" bIns="50800" anchor="ctr"/>
            <a:lstStyle/>
            <a:p>
              <a:endParaRPr lang="en-US" sz="1662" dirty="0"/>
            </a:p>
          </p:txBody>
        </p:sp>
        <p:sp>
          <p:nvSpPr>
            <p:cNvPr id="27" name="Rectangle"/>
            <p:cNvSpPr/>
            <p:nvPr userDrawn="1"/>
          </p:nvSpPr>
          <p:spPr>
            <a:xfrm>
              <a:off x="160238" y="1184572"/>
              <a:ext cx="1300907" cy="4539854"/>
            </a:xfrm>
            <a:prstGeom prst="rect">
              <a:avLst/>
            </a:prstGeom>
            <a:solidFill>
              <a:srgbClr val="73A600"/>
            </a:solidFill>
            <a:ln w="12700">
              <a:miter lim="400000"/>
            </a:ln>
          </p:spPr>
          <p:txBody>
            <a:bodyPr lIns="50800" tIns="50800" rIns="50800" bIns="50800" anchor="ctr"/>
            <a:lstStyle/>
            <a:p>
              <a:endParaRPr lang="en-US" sz="1662" dirty="0"/>
            </a:p>
          </p:txBody>
        </p:sp>
        <p:sp>
          <p:nvSpPr>
            <p:cNvPr id="28" name="Rectangle"/>
            <p:cNvSpPr/>
            <p:nvPr userDrawn="1"/>
          </p:nvSpPr>
          <p:spPr>
            <a:xfrm>
              <a:off x="160238" y="154880"/>
              <a:ext cx="1300907" cy="216298"/>
            </a:xfrm>
            <a:prstGeom prst="rect">
              <a:avLst/>
            </a:prstGeom>
            <a:solidFill>
              <a:srgbClr val="94B301"/>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158436498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pic>
        <p:nvPicPr>
          <p:cNvPr id="4" name="Picture 5"/>
          <p:cNvPicPr>
            <a:picLocks noChangeAspect="1"/>
          </p:cNvPicPr>
          <p:nvPr userDrawn="1"/>
        </p:nvPicPr>
        <p:blipFill>
          <a:blip r:embed="rId3">
            <a:extLst>
              <a:ext uri="{28A0092B-C50C-407E-A947-70E740481C1C}">
                <a14:useLocalDpi xmlns:a14="http://schemas.microsoft.com/office/drawing/2010/main" val="0"/>
              </a:ext>
            </a:extLst>
          </a:blip>
          <a:srcRect t="30383" b="31548"/>
          <a:stretch>
            <a:fillRect/>
          </a:stretch>
        </p:blipFill>
        <p:spPr bwMode="auto">
          <a:xfrm>
            <a:off x="7295577" y="5542981"/>
            <a:ext cx="4744433" cy="8766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150" name="Rectangle 78"/>
          <p:cNvSpPr>
            <a:spLocks noGrp="1" noChangeArrowheads="1"/>
          </p:cNvSpPr>
          <p:nvPr>
            <p:ph type="ctrTitle"/>
          </p:nvPr>
        </p:nvSpPr>
        <p:spPr>
          <a:xfrm>
            <a:off x="804336" y="906466"/>
            <a:ext cx="10947400" cy="517525"/>
          </a:xfrm>
        </p:spPr>
        <p:txBody>
          <a:bodyPr/>
          <a:lstStyle>
            <a:lvl1pPr>
              <a:defRPr sz="3200"/>
            </a:lvl1pPr>
          </a:lstStyle>
          <a:p>
            <a:pPr lvl="0"/>
            <a:r>
              <a:rPr lang="en-US" noProof="0"/>
              <a:t>Click to edit Master title style</a:t>
            </a:r>
            <a:endParaRPr lang="en-US" noProof="0" dirty="0"/>
          </a:p>
        </p:txBody>
      </p:sp>
      <p:sp>
        <p:nvSpPr>
          <p:cNvPr id="3151" name="Rectangle 79"/>
          <p:cNvSpPr>
            <a:spLocks noGrp="1" noChangeArrowheads="1"/>
          </p:cNvSpPr>
          <p:nvPr>
            <p:ph type="subTitle" sz="quarter" idx="1"/>
          </p:nvPr>
        </p:nvSpPr>
        <p:spPr>
          <a:xfrm>
            <a:off x="804336" y="1397000"/>
            <a:ext cx="10962217" cy="1093788"/>
          </a:xfrm>
          <a:extLst>
            <a:ext uri="{91240B29-F687-4F45-9708-019B960494DF}">
              <a14:hiddenLine xmlns:a14="http://schemas.microsoft.com/office/drawing/2010/main" w="9525">
                <a:solidFill>
                  <a:schemeClr val="tx1"/>
                </a:solidFill>
                <a:miter lim="800000"/>
                <a:headEnd/>
                <a:tailEnd/>
              </a14:hiddenLine>
            </a:ext>
          </a:extLst>
        </p:spPr>
        <p:txBody>
          <a:bodyPr/>
          <a:lstStyle>
            <a:lvl1pPr marL="0" indent="0">
              <a:lnSpc>
                <a:spcPct val="100000"/>
              </a:lnSpc>
              <a:spcBef>
                <a:spcPct val="0"/>
              </a:spcBef>
              <a:spcAft>
                <a:spcPct val="0"/>
              </a:spcAft>
              <a:buFontTx/>
              <a:buNone/>
              <a:defRPr sz="3200">
                <a:solidFill>
                  <a:srgbClr val="00BDF2"/>
                </a:solidFill>
              </a:defRPr>
            </a:lvl1pPr>
          </a:lstStyle>
          <a:p>
            <a:pPr lvl="0"/>
            <a:r>
              <a:rPr lang="en-US" noProof="0"/>
              <a:t>Click to edit Master subtitle style</a:t>
            </a:r>
            <a:endParaRPr lang="en-US" noProof="0" dirty="0"/>
          </a:p>
        </p:txBody>
      </p:sp>
    </p:spTree>
    <p:extLst>
      <p:ext uri="{BB962C8B-B14F-4D97-AF65-F5344CB8AC3E}">
        <p14:creationId xmlns:p14="http://schemas.microsoft.com/office/powerpoint/2010/main" val="2746943251"/>
      </p:ext>
    </p:extLst>
  </p:cSld>
  <p:clrMapOvr>
    <a:overrideClrMapping bg1="lt1" tx1="dk1" bg2="lt2" tx2="dk2" accent1="accent1" accent2="accent2" accent3="accent3" accent4="accent4" accent5="accent5" accent6="accent6" hlink="hlink" folHlink="folHlink"/>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showMasterSp="0" preserve="1" userDrawn="1">
  <p:cSld name="Divider 5">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1704850"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70147B"/>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8B4093"/>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63006C"/>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15939" y="99934"/>
            <a:ext cx="1113675" cy="6105588"/>
            <a:chOff x="1081465" y="114688"/>
            <a:chExt cx="1300907" cy="8777933"/>
          </a:xfrm>
        </p:grpSpPr>
        <p:sp>
          <p:nvSpPr>
            <p:cNvPr id="22" name="Rectangle"/>
            <p:cNvSpPr/>
            <p:nvPr userDrawn="1"/>
          </p:nvSpPr>
          <p:spPr>
            <a:xfrm>
              <a:off x="1081465" y="8358179"/>
              <a:ext cx="1300907" cy="534442"/>
            </a:xfrm>
            <a:prstGeom prst="rect">
              <a:avLst/>
            </a:prstGeom>
            <a:solidFill>
              <a:srgbClr val="8C4395"/>
            </a:solidFill>
            <a:ln w="12700">
              <a:miter lim="400000"/>
            </a:ln>
          </p:spPr>
          <p:txBody>
            <a:bodyPr lIns="50800" tIns="50800" rIns="50800" bIns="50800" anchor="ctr"/>
            <a:lstStyle/>
            <a:p>
              <a:endParaRPr lang="en-US" sz="1662" dirty="0"/>
            </a:p>
          </p:txBody>
        </p:sp>
        <p:sp>
          <p:nvSpPr>
            <p:cNvPr id="23" name="Rectangle"/>
            <p:cNvSpPr/>
            <p:nvPr userDrawn="1"/>
          </p:nvSpPr>
          <p:spPr>
            <a:xfrm>
              <a:off x="1081465" y="8143172"/>
              <a:ext cx="1300907" cy="215008"/>
            </a:xfrm>
            <a:prstGeom prst="rect">
              <a:avLst/>
            </a:prstGeom>
            <a:solidFill>
              <a:srgbClr val="A469AB"/>
            </a:solidFill>
            <a:ln w="12700">
              <a:miter lim="400000"/>
            </a:ln>
          </p:spPr>
          <p:txBody>
            <a:bodyPr lIns="50800" tIns="50800" rIns="50800" bIns="50800" anchor="ctr"/>
            <a:lstStyle/>
            <a:p>
              <a:endParaRPr lang="en-US" sz="1662" dirty="0"/>
            </a:p>
          </p:txBody>
        </p:sp>
        <p:sp>
          <p:nvSpPr>
            <p:cNvPr id="24" name="Rectangle"/>
            <p:cNvSpPr/>
            <p:nvPr userDrawn="1"/>
          </p:nvSpPr>
          <p:spPr>
            <a:xfrm>
              <a:off x="1081465" y="6155671"/>
              <a:ext cx="1300907" cy="1987502"/>
            </a:xfrm>
            <a:prstGeom prst="rect">
              <a:avLst/>
            </a:prstGeom>
            <a:solidFill>
              <a:srgbClr val="63006C"/>
            </a:solidFill>
            <a:ln w="12700">
              <a:miter lim="400000"/>
            </a:ln>
          </p:spPr>
          <p:txBody>
            <a:bodyPr lIns="50800" tIns="50800" rIns="50800" bIns="50800" anchor="ctr"/>
            <a:lstStyle/>
            <a:p>
              <a:endParaRPr lang="en-US" sz="1662" dirty="0"/>
            </a:p>
          </p:txBody>
        </p:sp>
        <p:sp>
          <p:nvSpPr>
            <p:cNvPr id="25" name="Rectangle"/>
            <p:cNvSpPr/>
            <p:nvPr userDrawn="1"/>
          </p:nvSpPr>
          <p:spPr>
            <a:xfrm>
              <a:off x="1081465" y="5684233"/>
              <a:ext cx="1300907" cy="471439"/>
            </a:xfrm>
            <a:prstGeom prst="rect">
              <a:avLst/>
            </a:prstGeom>
            <a:solidFill>
              <a:srgbClr val="8B4193"/>
            </a:solidFill>
            <a:ln w="12700">
              <a:miter lim="400000"/>
            </a:ln>
          </p:spPr>
          <p:txBody>
            <a:bodyPr lIns="50800" tIns="50800" rIns="50800" bIns="50800" anchor="ctr"/>
            <a:lstStyle/>
            <a:p>
              <a:endParaRPr lang="en-US" sz="1662" dirty="0"/>
            </a:p>
          </p:txBody>
        </p:sp>
        <p:sp>
          <p:nvSpPr>
            <p:cNvPr id="26" name="Rectangle"/>
            <p:cNvSpPr/>
            <p:nvPr userDrawn="1"/>
          </p:nvSpPr>
          <p:spPr>
            <a:xfrm>
              <a:off x="1081465" y="330985"/>
              <a:ext cx="1300907" cy="813396"/>
            </a:xfrm>
            <a:prstGeom prst="rect">
              <a:avLst/>
            </a:prstGeom>
            <a:solidFill>
              <a:srgbClr val="8C4395"/>
            </a:solidFill>
            <a:ln w="12700">
              <a:miter lim="400000"/>
            </a:ln>
          </p:spPr>
          <p:txBody>
            <a:bodyPr lIns="50800" tIns="50800" rIns="50800" bIns="50800" anchor="ctr"/>
            <a:lstStyle/>
            <a:p>
              <a:endParaRPr lang="en-US" sz="1662" dirty="0"/>
            </a:p>
          </p:txBody>
        </p:sp>
        <p:sp>
          <p:nvSpPr>
            <p:cNvPr id="27" name="Rectangle"/>
            <p:cNvSpPr/>
            <p:nvPr userDrawn="1"/>
          </p:nvSpPr>
          <p:spPr>
            <a:xfrm>
              <a:off x="1081465" y="1144380"/>
              <a:ext cx="1300907" cy="4539854"/>
            </a:xfrm>
            <a:prstGeom prst="rect">
              <a:avLst/>
            </a:prstGeom>
            <a:solidFill>
              <a:srgbClr val="70147B"/>
            </a:solidFill>
            <a:ln w="12700">
              <a:miter lim="400000"/>
            </a:ln>
          </p:spPr>
          <p:txBody>
            <a:bodyPr lIns="50800" tIns="50800" rIns="50800" bIns="50800" anchor="ctr"/>
            <a:lstStyle/>
            <a:p>
              <a:endParaRPr lang="en-US" sz="1662" dirty="0"/>
            </a:p>
          </p:txBody>
        </p:sp>
        <p:sp>
          <p:nvSpPr>
            <p:cNvPr id="28" name="Rectangle"/>
            <p:cNvSpPr/>
            <p:nvPr userDrawn="1"/>
          </p:nvSpPr>
          <p:spPr>
            <a:xfrm>
              <a:off x="1081465" y="114688"/>
              <a:ext cx="1300907" cy="216298"/>
            </a:xfrm>
            <a:prstGeom prst="rect">
              <a:avLst/>
            </a:prstGeom>
            <a:solidFill>
              <a:srgbClr val="70147B"/>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706895143"/>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showMasterSp="0" preserve="1" userDrawn="1">
  <p:cSld name="Divider 6">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1705874"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016AA1"/>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104D6A"/>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2591C0"/>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09179" y="98854"/>
            <a:ext cx="1111928" cy="6096000"/>
            <a:chOff x="160238" y="154880"/>
            <a:chExt cx="1300907" cy="8777933"/>
          </a:xfrm>
        </p:grpSpPr>
        <p:sp>
          <p:nvSpPr>
            <p:cNvPr id="22" name="Rectangle"/>
            <p:cNvSpPr/>
            <p:nvPr userDrawn="1"/>
          </p:nvSpPr>
          <p:spPr>
            <a:xfrm>
              <a:off x="160238" y="8398371"/>
              <a:ext cx="1300907" cy="534442"/>
            </a:xfrm>
            <a:prstGeom prst="rect">
              <a:avLst/>
            </a:prstGeom>
            <a:solidFill>
              <a:srgbClr val="85CDD9"/>
            </a:solidFill>
            <a:ln w="12700">
              <a:miter lim="400000"/>
            </a:ln>
          </p:spPr>
          <p:txBody>
            <a:bodyPr lIns="50800" tIns="50800" rIns="50800" bIns="50800" anchor="ctr"/>
            <a:lstStyle/>
            <a:p>
              <a:endParaRPr lang="en-US" sz="1662" dirty="0"/>
            </a:p>
          </p:txBody>
        </p:sp>
        <p:sp>
          <p:nvSpPr>
            <p:cNvPr id="23" name="Rectangle"/>
            <p:cNvSpPr/>
            <p:nvPr userDrawn="1"/>
          </p:nvSpPr>
          <p:spPr>
            <a:xfrm>
              <a:off x="160238" y="8183364"/>
              <a:ext cx="1300907" cy="215008"/>
            </a:xfrm>
            <a:prstGeom prst="rect">
              <a:avLst/>
            </a:prstGeom>
            <a:solidFill>
              <a:srgbClr val="4D89AD"/>
            </a:solidFill>
            <a:ln w="12700">
              <a:miter lim="400000"/>
            </a:ln>
          </p:spPr>
          <p:txBody>
            <a:bodyPr lIns="50800" tIns="50800" rIns="50800" bIns="50800" anchor="ctr"/>
            <a:lstStyle/>
            <a:p>
              <a:endParaRPr lang="en-US" sz="1662" dirty="0"/>
            </a:p>
          </p:txBody>
        </p:sp>
        <p:sp>
          <p:nvSpPr>
            <p:cNvPr id="24" name="Rectangle"/>
            <p:cNvSpPr/>
            <p:nvPr userDrawn="1"/>
          </p:nvSpPr>
          <p:spPr>
            <a:xfrm>
              <a:off x="160238" y="6195863"/>
              <a:ext cx="1300907" cy="1987502"/>
            </a:xfrm>
            <a:prstGeom prst="rect">
              <a:avLst/>
            </a:prstGeom>
            <a:solidFill>
              <a:srgbClr val="2591C0"/>
            </a:solidFill>
            <a:ln w="12700">
              <a:miter lim="400000"/>
            </a:ln>
          </p:spPr>
          <p:txBody>
            <a:bodyPr lIns="50800" tIns="50800" rIns="50800" bIns="50800" anchor="ctr"/>
            <a:lstStyle/>
            <a:p>
              <a:endParaRPr lang="en-US" sz="1662" dirty="0"/>
            </a:p>
          </p:txBody>
        </p:sp>
        <p:sp>
          <p:nvSpPr>
            <p:cNvPr id="25" name="Rectangle"/>
            <p:cNvSpPr/>
            <p:nvPr userDrawn="1"/>
          </p:nvSpPr>
          <p:spPr>
            <a:xfrm>
              <a:off x="160238" y="5724425"/>
              <a:ext cx="1300907" cy="471439"/>
            </a:xfrm>
            <a:prstGeom prst="rect">
              <a:avLst/>
            </a:prstGeom>
            <a:solidFill>
              <a:srgbClr val="104D6A"/>
            </a:solidFill>
            <a:ln w="12700">
              <a:miter lim="400000"/>
            </a:ln>
          </p:spPr>
          <p:txBody>
            <a:bodyPr lIns="50800" tIns="50800" rIns="50800" bIns="50800" anchor="ctr"/>
            <a:lstStyle/>
            <a:p>
              <a:endParaRPr lang="en-US" sz="1662" dirty="0"/>
            </a:p>
          </p:txBody>
        </p:sp>
        <p:sp>
          <p:nvSpPr>
            <p:cNvPr id="26" name="Rectangle"/>
            <p:cNvSpPr/>
            <p:nvPr userDrawn="1"/>
          </p:nvSpPr>
          <p:spPr>
            <a:xfrm>
              <a:off x="160238" y="371177"/>
              <a:ext cx="1300907" cy="813396"/>
            </a:xfrm>
            <a:prstGeom prst="rect">
              <a:avLst/>
            </a:prstGeom>
            <a:solidFill>
              <a:srgbClr val="095B88"/>
            </a:solidFill>
            <a:ln w="12700">
              <a:miter lim="400000"/>
            </a:ln>
          </p:spPr>
          <p:txBody>
            <a:bodyPr lIns="50800" tIns="50800" rIns="50800" bIns="50800" anchor="ctr"/>
            <a:lstStyle/>
            <a:p>
              <a:endParaRPr lang="en-US" sz="1662" dirty="0"/>
            </a:p>
          </p:txBody>
        </p:sp>
        <p:sp>
          <p:nvSpPr>
            <p:cNvPr id="27" name="Rectangle"/>
            <p:cNvSpPr/>
            <p:nvPr userDrawn="1"/>
          </p:nvSpPr>
          <p:spPr>
            <a:xfrm>
              <a:off x="160238" y="1184572"/>
              <a:ext cx="1300907" cy="4539854"/>
            </a:xfrm>
            <a:prstGeom prst="rect">
              <a:avLst/>
            </a:prstGeom>
            <a:solidFill>
              <a:srgbClr val="016AA1"/>
            </a:solidFill>
            <a:ln w="12700">
              <a:miter lim="400000"/>
            </a:ln>
          </p:spPr>
          <p:txBody>
            <a:bodyPr lIns="50800" tIns="50800" rIns="50800" bIns="50800" anchor="ctr"/>
            <a:lstStyle/>
            <a:p>
              <a:endParaRPr lang="en-US" sz="1662" dirty="0"/>
            </a:p>
          </p:txBody>
        </p:sp>
        <p:sp>
          <p:nvSpPr>
            <p:cNvPr id="28" name="Rectangle"/>
            <p:cNvSpPr/>
            <p:nvPr userDrawn="1"/>
          </p:nvSpPr>
          <p:spPr>
            <a:xfrm>
              <a:off x="160238" y="154880"/>
              <a:ext cx="1300907" cy="216298"/>
            </a:xfrm>
            <a:prstGeom prst="rect">
              <a:avLst/>
            </a:prstGeom>
            <a:solidFill>
              <a:srgbClr val="85CDD9"/>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3433844210"/>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1706898"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562709" y="162000"/>
            <a:ext cx="11068060" cy="704087"/>
          </a:xfrm>
        </p:spPr>
        <p:txBody>
          <a:bodyPr anchor="t"/>
          <a:lstStyle>
            <a:lvl1pPr>
              <a:defRPr>
                <a:latin typeface="Arial"/>
                <a:sym typeface="Arial"/>
              </a:defRPr>
            </a:lvl1pPr>
          </a:lstStyle>
          <a:p>
            <a:endParaRPr lang="en-US" dirty="0"/>
          </a:p>
        </p:txBody>
      </p:sp>
      <p:sp>
        <p:nvSpPr>
          <p:cNvPr id="4" name="Text Placeholder 3"/>
          <p:cNvSpPr>
            <a:spLocks noGrp="1"/>
          </p:cNvSpPr>
          <p:nvPr>
            <p:ph type="body" sz="quarter" idx="10"/>
          </p:nvPr>
        </p:nvSpPr>
        <p:spPr>
          <a:xfrm>
            <a:off x="562709" y="1508760"/>
            <a:ext cx="11068060" cy="3997304"/>
          </a:xfrm>
        </p:spPr>
        <p:txBody>
          <a:bodyPr lIns="0" tIns="0" rIns="0" bIns="0"/>
          <a:lstStyle>
            <a:lvl1pPr>
              <a:spcBef>
                <a:spcPts val="354"/>
              </a:spcBef>
              <a:defRPr>
                <a:latin typeface="Arial"/>
                <a:sym typeface="Arial"/>
              </a:defRPr>
            </a:lvl1pPr>
            <a:lvl2pPr marL="422041" indent="-212682">
              <a:spcBef>
                <a:spcPts val="354"/>
              </a:spcBef>
              <a:defRPr>
                <a:latin typeface="Arial"/>
                <a:sym typeface="Arial"/>
              </a:defRPr>
            </a:lvl2pPr>
            <a:lvl3pPr marL="844083" indent="-212682">
              <a:spcBef>
                <a:spcPts val="354"/>
              </a:spcBef>
              <a:defRPr>
                <a:latin typeface="Arial"/>
                <a:sym typeface="Arial"/>
              </a:defRPr>
            </a:lvl3pPr>
            <a:lvl4pPr marL="1269447" indent="-216005">
              <a:spcBef>
                <a:spcPts val="354"/>
              </a:spcBef>
              <a:defRPr>
                <a:latin typeface="Arial"/>
                <a:sym typeface="Arial"/>
              </a:defRPr>
            </a:lvl4pPr>
            <a:lvl5pPr marL="1900848" indent="-212682">
              <a:spcBef>
                <a:spcPts val="354"/>
              </a:spcBef>
              <a:defRPr>
                <a:latin typeface="Arial"/>
                <a:sym typeface="Aria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6"/>
          <p:cNvSpPr>
            <a:spLocks noGrp="1"/>
          </p:cNvSpPr>
          <p:nvPr>
            <p:ph type="body" sz="quarter" idx="11"/>
          </p:nvPr>
        </p:nvSpPr>
        <p:spPr>
          <a:xfrm>
            <a:off x="562709" y="863601"/>
            <a:ext cx="11068060" cy="320359"/>
          </a:xfrm>
        </p:spPr>
        <p:txBody>
          <a:bodyPr anchor="t">
            <a:normAutofit/>
          </a:bodyPr>
          <a:lstStyle>
            <a:lvl1pPr>
              <a:defRPr sz="1385" b="0">
                <a:solidFill>
                  <a:srgbClr val="73C4EF"/>
                </a:solidFill>
              </a:defRPr>
            </a:lvl1pPr>
          </a:lstStyle>
          <a:p>
            <a:pPr lvl="0"/>
            <a:endParaRPr lang="en-US" dirty="0"/>
          </a:p>
        </p:txBody>
      </p:sp>
    </p:spTree>
    <p:extLst>
      <p:ext uri="{BB962C8B-B14F-4D97-AF65-F5344CB8AC3E}">
        <p14:creationId xmlns:p14="http://schemas.microsoft.com/office/powerpoint/2010/main" val="3433141476"/>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Text with bullets">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1707922" name="think-cell Slide" r:id="rId4" imgW="270" imgH="270" progId="TCLayout.ActiveDocument.1">
                  <p:embed/>
                </p:oleObj>
              </mc:Choice>
              <mc:Fallback>
                <p:oleObj name="think-cell Slide" r:id="rId4" imgW="270" imgH="270" progId="TCLayout.ActiveDocument.1">
                  <p:embed/>
                  <p:pic>
                    <p:nvPicPr>
                      <p:cNvPr id="6" name="Object 5"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ext Placeholder 7"/>
          <p:cNvSpPr>
            <a:spLocks noGrp="1"/>
          </p:cNvSpPr>
          <p:nvPr userDrawn="1">
            <p:ph type="body" sz="quarter" idx="13"/>
          </p:nvPr>
        </p:nvSpPr>
        <p:spPr>
          <a:xfrm>
            <a:off x="562709" y="1508400"/>
            <a:ext cx="11068060" cy="3997304"/>
          </a:xfrm>
          <a:prstGeom prst="rect">
            <a:avLst/>
          </a:prstGeom>
        </p:spPr>
        <p:txBody>
          <a:bodyPr lIns="0" tIns="0" rIns="0" bIns="0"/>
          <a:lstStyle>
            <a:lvl1pPr marL="159512" indent="-159512">
              <a:spcBef>
                <a:spcPts val="354"/>
              </a:spcBef>
              <a:buClr>
                <a:srgbClr val="002D72"/>
              </a:buClr>
              <a:buFont typeface="Arial" pitchFamily="34" charset="0"/>
              <a:buChar char="•"/>
              <a:tabLst/>
              <a:defRPr b="0">
                <a:latin typeface="Arial"/>
                <a:sym typeface="Arial"/>
              </a:defRPr>
            </a:lvl1pPr>
            <a:lvl2pPr marL="581553" indent="-212682">
              <a:spcBef>
                <a:spcPts val="354"/>
              </a:spcBef>
              <a:buFont typeface="Arial" pitchFamily="34" charset="0"/>
              <a:buChar char="–"/>
              <a:defRPr>
                <a:latin typeface="Arial"/>
                <a:sym typeface="Arial"/>
              </a:defRPr>
            </a:lvl2pPr>
            <a:lvl3pPr marL="993625" indent="-212682">
              <a:spcBef>
                <a:spcPts val="354"/>
              </a:spcBef>
              <a:defRPr>
                <a:latin typeface="Arial"/>
                <a:sym typeface="Arial"/>
              </a:defRPr>
            </a:lvl3pPr>
            <a:lvl4pPr marL="1425636" indent="-212682">
              <a:spcBef>
                <a:spcPts val="354"/>
              </a:spcBef>
              <a:defRPr>
                <a:latin typeface="Arial"/>
                <a:sym typeface="Arial"/>
              </a:defRPr>
            </a:lvl4pPr>
            <a:lvl5pPr marL="1900848" indent="-212682">
              <a:spcBef>
                <a:spcPts val="354"/>
              </a:spcBef>
              <a:defRPr>
                <a:latin typeface="Arial"/>
                <a:sym typeface="Aria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itle 1"/>
          <p:cNvSpPr>
            <a:spLocks noGrp="1"/>
          </p:cNvSpPr>
          <p:nvPr>
            <p:ph type="title"/>
          </p:nvPr>
        </p:nvSpPr>
        <p:spPr>
          <a:xfrm>
            <a:off x="562709" y="162000"/>
            <a:ext cx="11068060" cy="704087"/>
          </a:xfrm>
        </p:spPr>
        <p:txBody>
          <a:bodyPr anchor="t"/>
          <a:lstStyle>
            <a:lvl1pPr>
              <a:defRPr>
                <a:latin typeface="Arial"/>
                <a:sym typeface="Arial"/>
              </a:defRPr>
            </a:lvl1pPr>
          </a:lstStyle>
          <a:p>
            <a:endParaRPr lang="en-US" dirty="0"/>
          </a:p>
        </p:txBody>
      </p:sp>
      <p:sp>
        <p:nvSpPr>
          <p:cNvPr id="8" name="Text Placeholder 6"/>
          <p:cNvSpPr>
            <a:spLocks noGrp="1"/>
          </p:cNvSpPr>
          <p:nvPr>
            <p:ph type="body" sz="quarter" idx="11"/>
          </p:nvPr>
        </p:nvSpPr>
        <p:spPr>
          <a:xfrm>
            <a:off x="562709" y="863601"/>
            <a:ext cx="11068060" cy="320359"/>
          </a:xfrm>
        </p:spPr>
        <p:txBody>
          <a:bodyPr anchor="t">
            <a:normAutofit/>
          </a:bodyPr>
          <a:lstStyle>
            <a:lvl1pPr>
              <a:defRPr sz="1385" b="0">
                <a:solidFill>
                  <a:srgbClr val="73C4EF"/>
                </a:solidFill>
              </a:defRPr>
            </a:lvl1pPr>
          </a:lstStyle>
          <a:p>
            <a:pPr lvl="0"/>
            <a:endParaRPr lang="en-US" dirty="0"/>
          </a:p>
        </p:txBody>
      </p:sp>
    </p:spTree>
    <p:extLst>
      <p:ext uri="{BB962C8B-B14F-4D97-AF65-F5344CB8AC3E}">
        <p14:creationId xmlns:p14="http://schemas.microsoft.com/office/powerpoint/2010/main" val="967916046"/>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1708946" name="think-cell Slide" r:id="rId4" imgW="270" imgH="270" progId="TCLayout.ActiveDocument.1">
                  <p:embed/>
                </p:oleObj>
              </mc:Choice>
              <mc:Fallback>
                <p:oleObj name="think-cell Slide" r:id="rId4" imgW="270" imgH="270" progId="TCLayout.ActiveDocument.1">
                  <p:embed/>
                  <p:pic>
                    <p:nvPicPr>
                      <p:cNvPr id="7" name="Object 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le 1"/>
          <p:cNvSpPr>
            <a:spLocks noGrp="1"/>
          </p:cNvSpPr>
          <p:nvPr>
            <p:ph type="title"/>
          </p:nvPr>
        </p:nvSpPr>
        <p:spPr>
          <a:xfrm>
            <a:off x="562709" y="162000"/>
            <a:ext cx="11068060" cy="704087"/>
          </a:xfrm>
        </p:spPr>
        <p:txBody>
          <a:bodyPr anchor="t"/>
          <a:lstStyle>
            <a:lvl1pPr>
              <a:defRPr>
                <a:latin typeface="Arial"/>
                <a:sym typeface="Arial"/>
              </a:defRPr>
            </a:lvl1pPr>
          </a:lstStyle>
          <a:p>
            <a:endParaRPr lang="en-US" dirty="0"/>
          </a:p>
        </p:txBody>
      </p:sp>
      <p:sp>
        <p:nvSpPr>
          <p:cNvPr id="6" name="Text Placeholder 6"/>
          <p:cNvSpPr>
            <a:spLocks noGrp="1"/>
          </p:cNvSpPr>
          <p:nvPr>
            <p:ph type="body" sz="quarter" idx="11"/>
          </p:nvPr>
        </p:nvSpPr>
        <p:spPr>
          <a:xfrm>
            <a:off x="562709" y="863601"/>
            <a:ext cx="11068060" cy="320359"/>
          </a:xfrm>
        </p:spPr>
        <p:txBody>
          <a:bodyPr anchor="t">
            <a:normAutofit/>
          </a:bodyPr>
          <a:lstStyle>
            <a:lvl1pPr>
              <a:defRPr sz="1385" b="0">
                <a:solidFill>
                  <a:srgbClr val="73C4EF"/>
                </a:solidFill>
              </a:defRPr>
            </a:lvl1pPr>
          </a:lstStyle>
          <a:p>
            <a:pPr lvl="0"/>
            <a:endParaRPr lang="en-US" dirty="0"/>
          </a:p>
        </p:txBody>
      </p:sp>
    </p:spTree>
    <p:extLst>
      <p:ext uri="{BB962C8B-B14F-4D97-AF65-F5344CB8AC3E}">
        <p14:creationId xmlns:p14="http://schemas.microsoft.com/office/powerpoint/2010/main" val="1231217871"/>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1709970" name="think-cell Slide" r:id="rId4" imgW="270" imgH="270" progId="TCLayout.ActiveDocument.1">
                  <p:embed/>
                </p:oleObj>
              </mc:Choice>
              <mc:Fallback>
                <p:oleObj name="think-cell Slide" r:id="rId4" imgW="270" imgH="270" progId="TCLayout.ActiveDocument.1">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2093301584"/>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userDrawn="1">
  <p:cSld name="4_Custom Layout">
    <p:spTree>
      <p:nvGrpSpPr>
        <p:cNvPr id="1" name=""/>
        <p:cNvGrpSpPr/>
        <p:nvPr/>
      </p:nvGrpSpPr>
      <p:grpSpPr>
        <a:xfrm>
          <a:off x="0" y="0"/>
          <a:ext cx="0" cy="0"/>
          <a:chOff x="0" y="0"/>
          <a:chExt cx="0" cy="0"/>
        </a:xfrm>
      </p:grpSpPr>
      <p:sp>
        <p:nvSpPr>
          <p:cNvPr id="14" name="Rectangle 13"/>
          <p:cNvSpPr/>
          <p:nvPr userDrawn="1"/>
        </p:nvSpPr>
        <p:spPr>
          <a:xfrm>
            <a:off x="226611" y="6608"/>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grpSp>
        <p:nvGrpSpPr>
          <p:cNvPr id="15" name="Group 14"/>
          <p:cNvGrpSpPr/>
          <p:nvPr userDrawn="1"/>
        </p:nvGrpSpPr>
        <p:grpSpPr>
          <a:xfrm flipH="1">
            <a:off x="226609" y="98856"/>
            <a:ext cx="1203763" cy="6096001"/>
            <a:chOff x="160238" y="148877"/>
            <a:chExt cx="1300907" cy="8783936"/>
          </a:xfrm>
        </p:grpSpPr>
        <p:sp>
          <p:nvSpPr>
            <p:cNvPr id="16" name="Rectangle"/>
            <p:cNvSpPr/>
            <p:nvPr userDrawn="1"/>
          </p:nvSpPr>
          <p:spPr>
            <a:xfrm>
              <a:off x="160238" y="7811988"/>
              <a:ext cx="1300907" cy="1120825"/>
            </a:xfrm>
            <a:prstGeom prst="rect">
              <a:avLst/>
            </a:prstGeom>
            <a:solidFill>
              <a:srgbClr val="C4297F"/>
            </a:solidFill>
            <a:ln w="12700">
              <a:miter lim="400000"/>
            </a:ln>
          </p:spPr>
          <p:txBody>
            <a:bodyPr lIns="50800" tIns="50800" rIns="50800" bIns="50800" anchor="ctr"/>
            <a:lstStyle/>
            <a:p>
              <a:endParaRPr sz="1800">
                <a:solidFill>
                  <a:prstClr val="black"/>
                </a:solidFill>
              </a:endParaRPr>
            </a:p>
          </p:txBody>
        </p:sp>
        <p:sp>
          <p:nvSpPr>
            <p:cNvPr id="17" name="Rectangle"/>
            <p:cNvSpPr/>
            <p:nvPr userDrawn="1"/>
          </p:nvSpPr>
          <p:spPr>
            <a:xfrm>
              <a:off x="160238" y="7090072"/>
              <a:ext cx="1300907" cy="721917"/>
            </a:xfrm>
            <a:prstGeom prst="rect">
              <a:avLst/>
            </a:prstGeom>
            <a:solidFill>
              <a:srgbClr val="7C1A4F"/>
            </a:solidFill>
            <a:ln w="12700">
              <a:miter lim="400000"/>
            </a:ln>
          </p:spPr>
          <p:txBody>
            <a:bodyPr lIns="50800" tIns="50800" rIns="50800" bIns="50800" anchor="ctr"/>
            <a:lstStyle/>
            <a:p>
              <a:endParaRPr sz="1800">
                <a:solidFill>
                  <a:prstClr val="black"/>
                </a:solidFill>
              </a:endParaRPr>
            </a:p>
          </p:txBody>
        </p:sp>
        <p:sp>
          <p:nvSpPr>
            <p:cNvPr id="18" name="Rectangle"/>
            <p:cNvSpPr/>
            <p:nvPr userDrawn="1"/>
          </p:nvSpPr>
          <p:spPr>
            <a:xfrm>
              <a:off x="160238" y="6877694"/>
              <a:ext cx="1300907" cy="212379"/>
            </a:xfrm>
            <a:prstGeom prst="rect">
              <a:avLst/>
            </a:prstGeom>
            <a:solidFill>
              <a:srgbClr val="F79824"/>
            </a:solidFill>
            <a:ln w="12700">
              <a:miter lim="400000"/>
            </a:ln>
          </p:spPr>
          <p:txBody>
            <a:bodyPr lIns="50800" tIns="50800" rIns="50800" bIns="50800" anchor="ctr"/>
            <a:lstStyle/>
            <a:p>
              <a:endParaRPr sz="1800">
                <a:solidFill>
                  <a:prstClr val="black"/>
                </a:solidFill>
              </a:endParaRPr>
            </a:p>
          </p:txBody>
        </p:sp>
        <p:sp>
          <p:nvSpPr>
            <p:cNvPr id="19" name="Rectangle"/>
            <p:cNvSpPr/>
            <p:nvPr userDrawn="1"/>
          </p:nvSpPr>
          <p:spPr>
            <a:xfrm>
              <a:off x="160238" y="5875535"/>
              <a:ext cx="1300907" cy="1002160"/>
            </a:xfrm>
            <a:prstGeom prst="rect">
              <a:avLst/>
            </a:prstGeom>
            <a:solidFill>
              <a:srgbClr val="EE4329"/>
            </a:solidFill>
            <a:ln w="12700">
              <a:miter lim="400000"/>
            </a:ln>
          </p:spPr>
          <p:txBody>
            <a:bodyPr lIns="50800" tIns="50800" rIns="50800" bIns="50800" anchor="ctr"/>
            <a:lstStyle/>
            <a:p>
              <a:endParaRPr sz="1800">
                <a:solidFill>
                  <a:prstClr val="black"/>
                </a:solidFill>
              </a:endParaRPr>
            </a:p>
          </p:txBody>
        </p:sp>
        <p:sp>
          <p:nvSpPr>
            <p:cNvPr id="20" name="Rectangle"/>
            <p:cNvSpPr/>
            <p:nvPr userDrawn="1"/>
          </p:nvSpPr>
          <p:spPr>
            <a:xfrm>
              <a:off x="160238" y="3874095"/>
              <a:ext cx="1300907" cy="2001441"/>
            </a:xfrm>
            <a:prstGeom prst="rect">
              <a:avLst/>
            </a:prstGeom>
            <a:solidFill>
              <a:srgbClr val="F36F26"/>
            </a:solidFill>
            <a:ln w="12700">
              <a:miter lim="400000"/>
            </a:ln>
          </p:spPr>
          <p:txBody>
            <a:bodyPr lIns="50800" tIns="50800" rIns="50800" bIns="50800" anchor="ctr"/>
            <a:lstStyle/>
            <a:p>
              <a:endParaRPr sz="1800">
                <a:solidFill>
                  <a:prstClr val="black"/>
                </a:solidFill>
              </a:endParaRPr>
            </a:p>
          </p:txBody>
        </p:sp>
        <p:sp>
          <p:nvSpPr>
            <p:cNvPr id="21" name="Rectangle"/>
            <p:cNvSpPr/>
            <p:nvPr userDrawn="1"/>
          </p:nvSpPr>
          <p:spPr>
            <a:xfrm>
              <a:off x="160238" y="3154213"/>
              <a:ext cx="1300907" cy="721867"/>
            </a:xfrm>
            <a:prstGeom prst="rect">
              <a:avLst/>
            </a:prstGeom>
            <a:solidFill>
              <a:srgbClr val="016AA1"/>
            </a:solidFill>
            <a:ln w="12700">
              <a:miter lim="400000"/>
            </a:ln>
          </p:spPr>
          <p:txBody>
            <a:bodyPr lIns="50800" tIns="50800" rIns="50800" bIns="50800" anchor="ctr"/>
            <a:lstStyle/>
            <a:p>
              <a:endParaRPr sz="1800">
                <a:solidFill>
                  <a:prstClr val="black"/>
                </a:solidFill>
              </a:endParaRPr>
            </a:p>
          </p:txBody>
        </p:sp>
        <p:sp>
          <p:nvSpPr>
            <p:cNvPr id="22" name="Rectangle"/>
            <p:cNvSpPr/>
            <p:nvPr userDrawn="1"/>
          </p:nvSpPr>
          <p:spPr>
            <a:xfrm>
              <a:off x="160238" y="148877"/>
              <a:ext cx="1300907" cy="3005337"/>
            </a:xfrm>
            <a:prstGeom prst="rect">
              <a:avLst/>
            </a:prstGeom>
            <a:solidFill>
              <a:srgbClr val="86CBD8"/>
            </a:solidFill>
            <a:ln w="12700">
              <a:miter lim="400000"/>
            </a:ln>
          </p:spPr>
          <p:txBody>
            <a:bodyPr lIns="50800" tIns="50800" rIns="50800" bIns="50800" anchor="ctr"/>
            <a:lstStyle/>
            <a:p>
              <a:endParaRPr sz="1800">
                <a:solidFill>
                  <a:prstClr val="black"/>
                </a:solidFill>
              </a:endParaRPr>
            </a:p>
          </p:txBody>
        </p:sp>
      </p:grpSp>
    </p:spTree>
    <p:extLst>
      <p:ext uri="{BB962C8B-B14F-4D97-AF65-F5344CB8AC3E}">
        <p14:creationId xmlns:p14="http://schemas.microsoft.com/office/powerpoint/2010/main" val="332424905"/>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showMasterSp="0" preserve="1" userDrawn="1">
  <p:cSld name="Cover page">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61" y="1595"/>
          <a:ext cx="1953" cy="1587"/>
        </p:xfrm>
        <a:graphic>
          <a:graphicData uri="http://schemas.openxmlformats.org/presentationml/2006/ole">
            <mc:AlternateContent xmlns:mc="http://schemas.openxmlformats.org/markup-compatibility/2006">
              <mc:Choice xmlns:v="urn:schemas-microsoft-com:vml" Requires="v">
                <p:oleObj spid="_x0000_s1881987"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61" y="1595"/>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3" descr="Picture 3"/>
          <p:cNvPicPr>
            <a:picLocks noChangeAspect="1"/>
          </p:cNvPicPr>
          <p:nvPr userDrawn="1"/>
        </p:nvPicPr>
        <p:blipFill>
          <a:blip r:embed="rId6" cstate="print"/>
          <a:srcRect r="91525"/>
          <a:stretch>
            <a:fillRect/>
          </a:stretch>
        </p:blipFill>
        <p:spPr>
          <a:xfrm>
            <a:off x="0" y="0"/>
            <a:ext cx="1376613" cy="6858000"/>
          </a:xfrm>
          <a:prstGeom prst="rect">
            <a:avLst/>
          </a:prstGeom>
          <a:ln w="12700">
            <a:miter lim="400000"/>
          </a:ln>
        </p:spPr>
      </p:pic>
      <p:sp>
        <p:nvSpPr>
          <p:cNvPr id="18" name="Text Placeholder 17"/>
          <p:cNvSpPr>
            <a:spLocks noGrp="1"/>
          </p:cNvSpPr>
          <p:nvPr>
            <p:ph type="body" sz="quarter" idx="10" hasCustomPrompt="1"/>
          </p:nvPr>
        </p:nvSpPr>
        <p:spPr>
          <a:xfrm>
            <a:off x="1744395" y="722376"/>
            <a:ext cx="8924544" cy="649224"/>
          </a:xfrm>
        </p:spPr>
        <p:txBody>
          <a:bodyPr lIns="49634" tIns="62045" rIns="49634" bIns="62045" anchor="ctr">
            <a:noAutofit/>
          </a:bodyPr>
          <a:lstStyle>
            <a:lvl1pPr>
              <a:defRPr sz="3797" b="0" baseline="0">
                <a:solidFill>
                  <a:srgbClr val="86CBD8"/>
                </a:solidFill>
              </a:defRPr>
            </a:lvl1pPr>
          </a:lstStyle>
          <a:p>
            <a:pPr lvl="0"/>
            <a:r>
              <a:rPr lang="en-US" sz="3797" dirty="0" err="1">
                <a:solidFill>
                  <a:srgbClr val="86CBD8"/>
                </a:solidFill>
              </a:rPr>
              <a:t>Título</a:t>
            </a:r>
            <a:r>
              <a:rPr lang="en-US" sz="3797" dirty="0">
                <a:solidFill>
                  <a:srgbClr val="86CBD8"/>
                </a:solidFill>
              </a:rPr>
              <a:t> </a:t>
            </a:r>
            <a:r>
              <a:rPr lang="en-US" sz="3797" dirty="0" err="1">
                <a:solidFill>
                  <a:srgbClr val="86CBD8"/>
                </a:solidFill>
              </a:rPr>
              <a:t>Presentación</a:t>
            </a:r>
            <a:endParaRPr lang="en-US" dirty="0"/>
          </a:p>
        </p:txBody>
      </p:sp>
      <p:sp>
        <p:nvSpPr>
          <p:cNvPr id="20" name="Text Placeholder 19"/>
          <p:cNvSpPr>
            <a:spLocks noGrp="1"/>
          </p:cNvSpPr>
          <p:nvPr>
            <p:ph type="body" sz="quarter" idx="11" hasCustomPrompt="1"/>
          </p:nvPr>
        </p:nvSpPr>
        <p:spPr>
          <a:xfrm>
            <a:off x="1789413" y="2221992"/>
            <a:ext cx="10016196" cy="365760"/>
          </a:xfrm>
        </p:spPr>
        <p:txBody>
          <a:bodyPr lIns="49634" tIns="62045" rIns="49634" bIns="62045">
            <a:noAutofit/>
          </a:bodyPr>
          <a:lstStyle>
            <a:lvl1pPr>
              <a:defRPr sz="1687" b="1" baseline="0">
                <a:solidFill>
                  <a:srgbClr val="016AA1"/>
                </a:solidFill>
              </a:defRPr>
            </a:lvl1pPr>
          </a:lstStyle>
          <a:p>
            <a:pPr lvl="0"/>
            <a:r>
              <a:rPr lang="en-US" dirty="0" err="1"/>
              <a:t>Subtitulo</a:t>
            </a:r>
            <a:endParaRPr lang="en-US" dirty="0"/>
          </a:p>
        </p:txBody>
      </p:sp>
      <p:sp>
        <p:nvSpPr>
          <p:cNvPr id="22" name="Text Placeholder 21"/>
          <p:cNvSpPr>
            <a:spLocks noGrp="1"/>
          </p:cNvSpPr>
          <p:nvPr>
            <p:ph type="body" sz="quarter" idx="12" hasCustomPrompt="1"/>
          </p:nvPr>
        </p:nvSpPr>
        <p:spPr>
          <a:xfrm>
            <a:off x="1789411" y="4983480"/>
            <a:ext cx="9340948" cy="365760"/>
          </a:xfrm>
        </p:spPr>
        <p:txBody>
          <a:bodyPr lIns="49634" tIns="62045" rIns="49634" bIns="62045">
            <a:noAutofit/>
          </a:bodyPr>
          <a:lstStyle>
            <a:lvl1pPr>
              <a:defRPr sz="1687" b="0" baseline="0">
                <a:solidFill>
                  <a:srgbClr val="7C1A4F"/>
                </a:solidFill>
              </a:defRPr>
            </a:lvl1pPr>
          </a:lstStyle>
          <a:p>
            <a:pPr lvl="0"/>
            <a:r>
              <a:rPr lang="en-US" dirty="0" err="1"/>
              <a:t>Fecha</a:t>
            </a:r>
            <a:endParaRPr lang="en-US" dirty="0"/>
          </a:p>
        </p:txBody>
      </p:sp>
      <p:pic>
        <p:nvPicPr>
          <p:cNvPr id="9" name="footer-13.jpg" descr="footer-13.jpg"/>
          <p:cNvPicPr>
            <a:picLocks noChangeAspect="1"/>
          </p:cNvPicPr>
          <p:nvPr userDrawn="1"/>
        </p:nvPicPr>
        <p:blipFill>
          <a:blip r:embed="rId7" cstate="print"/>
          <a:stretch>
            <a:fillRect/>
          </a:stretch>
        </p:blipFill>
        <p:spPr>
          <a:xfrm>
            <a:off x="0" y="6221392"/>
            <a:ext cx="12192000" cy="574391"/>
          </a:xfrm>
          <a:prstGeom prst="rect">
            <a:avLst/>
          </a:prstGeom>
          <a:ln w="12700">
            <a:miter lim="400000"/>
          </a:ln>
        </p:spPr>
      </p:pic>
    </p:spTree>
    <p:extLst>
      <p:ext uri="{BB962C8B-B14F-4D97-AF65-F5344CB8AC3E}">
        <p14:creationId xmlns:p14="http://schemas.microsoft.com/office/powerpoint/2010/main" val="2800450436"/>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showMasterSp="0" preserve="1" userDrawn="1">
  <p:cSld name="Divider 1">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61" y="1595"/>
          <a:ext cx="1953" cy="1587"/>
        </p:xfrm>
        <a:graphic>
          <a:graphicData uri="http://schemas.openxmlformats.org/presentationml/2006/ole">
            <mc:AlternateContent xmlns:mc="http://schemas.openxmlformats.org/markup-compatibility/2006">
              <mc:Choice xmlns:v="urn:schemas-microsoft-com:vml" Requires="v">
                <p:oleObj spid="_x0000_s1883011"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61" y="1595"/>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6" y="1188720"/>
            <a:ext cx="9115865" cy="649224"/>
          </a:xfrm>
        </p:spPr>
        <p:txBody>
          <a:bodyPr lIns="49634" tIns="62045" rIns="49634" bIns="62045">
            <a:noAutofit/>
          </a:bodyPr>
          <a:lstStyle>
            <a:lvl1pPr>
              <a:defRPr sz="3797" b="0" baseline="0">
                <a:solidFill>
                  <a:srgbClr val="822455"/>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49634" tIns="62045" rIns="49634" bIns="62045">
            <a:noAutofit/>
          </a:bodyPr>
          <a:lstStyle>
            <a:lvl1pPr>
              <a:defRPr sz="1406" b="0">
                <a:solidFill>
                  <a:srgbClr val="DA2B57"/>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49634" tIns="62045" rIns="49634" bIns="62045">
            <a:noAutofit/>
          </a:bodyPr>
          <a:lstStyle>
            <a:lvl1pPr>
              <a:defRPr sz="1336" b="0">
                <a:solidFill>
                  <a:srgbClr val="7C194F"/>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grpSp>
        <p:nvGrpSpPr>
          <p:cNvPr id="8" name="Group 7"/>
          <p:cNvGrpSpPr/>
          <p:nvPr userDrawn="1"/>
        </p:nvGrpSpPr>
        <p:grpSpPr>
          <a:xfrm>
            <a:off x="213693" y="98860"/>
            <a:ext cx="1113676" cy="6105595"/>
            <a:chOff x="160238" y="154880"/>
            <a:chExt cx="1300907" cy="8777933"/>
          </a:xfrm>
        </p:grpSpPr>
        <p:sp>
          <p:nvSpPr>
            <p:cNvPr id="9" name="Rectangle"/>
            <p:cNvSpPr/>
            <p:nvPr userDrawn="1"/>
          </p:nvSpPr>
          <p:spPr>
            <a:xfrm>
              <a:off x="160238" y="8398371"/>
              <a:ext cx="1300907" cy="534442"/>
            </a:xfrm>
            <a:prstGeom prst="rect">
              <a:avLst/>
            </a:prstGeom>
            <a:solidFill>
              <a:srgbClr val="ED207D"/>
            </a:solidFill>
            <a:ln w="12700">
              <a:miter lim="400000"/>
            </a:ln>
          </p:spPr>
          <p:txBody>
            <a:bodyPr lIns="50800" tIns="50800" rIns="50800" bIns="50800" anchor="ctr"/>
            <a:lstStyle/>
            <a:p>
              <a:pPr defTabSz="872470"/>
              <a:endParaRPr lang="en-US" sz="1266" dirty="0">
                <a:solidFill>
                  <a:srgbClr val="002D72"/>
                </a:solidFill>
              </a:endParaRPr>
            </a:p>
          </p:txBody>
        </p:sp>
        <p:sp>
          <p:nvSpPr>
            <p:cNvPr id="10" name="Rectangle"/>
            <p:cNvSpPr/>
            <p:nvPr userDrawn="1"/>
          </p:nvSpPr>
          <p:spPr>
            <a:xfrm>
              <a:off x="160238" y="8183364"/>
              <a:ext cx="1300907" cy="215008"/>
            </a:xfrm>
            <a:prstGeom prst="rect">
              <a:avLst/>
            </a:prstGeom>
            <a:solidFill>
              <a:srgbClr val="BF1D7F"/>
            </a:solidFill>
            <a:ln w="12700">
              <a:miter lim="400000"/>
            </a:ln>
          </p:spPr>
          <p:txBody>
            <a:bodyPr lIns="50800" tIns="50800" rIns="50800" bIns="50800" anchor="ctr"/>
            <a:lstStyle/>
            <a:p>
              <a:pPr defTabSz="872470"/>
              <a:endParaRPr lang="en-US" sz="1266" dirty="0">
                <a:solidFill>
                  <a:srgbClr val="002D72"/>
                </a:solidFill>
              </a:endParaRPr>
            </a:p>
          </p:txBody>
        </p:sp>
        <p:sp>
          <p:nvSpPr>
            <p:cNvPr id="11" name="Rectangle"/>
            <p:cNvSpPr/>
            <p:nvPr userDrawn="1"/>
          </p:nvSpPr>
          <p:spPr>
            <a:xfrm>
              <a:off x="160238" y="6195863"/>
              <a:ext cx="1300907" cy="1987502"/>
            </a:xfrm>
            <a:prstGeom prst="rect">
              <a:avLst/>
            </a:prstGeom>
            <a:solidFill>
              <a:srgbClr val="7C1A4F"/>
            </a:solidFill>
            <a:ln w="12700">
              <a:miter lim="400000"/>
            </a:ln>
          </p:spPr>
          <p:txBody>
            <a:bodyPr lIns="50800" tIns="50800" rIns="50800" bIns="50800" anchor="ctr"/>
            <a:lstStyle/>
            <a:p>
              <a:pPr defTabSz="872470"/>
              <a:endParaRPr lang="en-US" sz="1266" dirty="0">
                <a:solidFill>
                  <a:srgbClr val="002D72"/>
                </a:solidFill>
              </a:endParaRPr>
            </a:p>
          </p:txBody>
        </p:sp>
        <p:sp>
          <p:nvSpPr>
            <p:cNvPr id="12" name="Rectangle"/>
            <p:cNvSpPr/>
            <p:nvPr userDrawn="1"/>
          </p:nvSpPr>
          <p:spPr>
            <a:xfrm>
              <a:off x="160238" y="5724425"/>
              <a:ext cx="1300907" cy="471439"/>
            </a:xfrm>
            <a:prstGeom prst="rect">
              <a:avLst/>
            </a:prstGeom>
            <a:solidFill>
              <a:srgbClr val="DA2C57"/>
            </a:solidFill>
            <a:ln w="12700">
              <a:miter lim="400000"/>
            </a:ln>
          </p:spPr>
          <p:txBody>
            <a:bodyPr lIns="50800" tIns="50800" rIns="50800" bIns="50800" anchor="ctr"/>
            <a:lstStyle/>
            <a:p>
              <a:pPr defTabSz="872470"/>
              <a:endParaRPr lang="en-US" sz="1266" dirty="0">
                <a:solidFill>
                  <a:srgbClr val="002D72"/>
                </a:solidFill>
              </a:endParaRPr>
            </a:p>
          </p:txBody>
        </p:sp>
        <p:sp>
          <p:nvSpPr>
            <p:cNvPr id="14" name="Rectangle"/>
            <p:cNvSpPr/>
            <p:nvPr userDrawn="1"/>
          </p:nvSpPr>
          <p:spPr>
            <a:xfrm>
              <a:off x="160238" y="371177"/>
              <a:ext cx="1300907" cy="813396"/>
            </a:xfrm>
            <a:prstGeom prst="rect">
              <a:avLst/>
            </a:prstGeom>
            <a:solidFill>
              <a:srgbClr val="C4297F"/>
            </a:solidFill>
            <a:ln w="12700">
              <a:miter lim="400000"/>
            </a:ln>
          </p:spPr>
          <p:txBody>
            <a:bodyPr lIns="50800" tIns="50800" rIns="50800" bIns="50800" anchor="ctr"/>
            <a:lstStyle/>
            <a:p>
              <a:pPr defTabSz="872470"/>
              <a:endParaRPr lang="en-US" sz="1266" dirty="0">
                <a:solidFill>
                  <a:srgbClr val="002D72"/>
                </a:solidFill>
              </a:endParaRPr>
            </a:p>
          </p:txBody>
        </p:sp>
        <p:sp>
          <p:nvSpPr>
            <p:cNvPr id="17" name="Rectangle"/>
            <p:cNvSpPr/>
            <p:nvPr userDrawn="1"/>
          </p:nvSpPr>
          <p:spPr>
            <a:xfrm>
              <a:off x="160238" y="1184572"/>
              <a:ext cx="1300907" cy="4539854"/>
            </a:xfrm>
            <a:prstGeom prst="rect">
              <a:avLst/>
            </a:prstGeom>
            <a:solidFill>
              <a:srgbClr val="822455"/>
            </a:solidFill>
            <a:ln w="12700">
              <a:miter lim="400000"/>
            </a:ln>
          </p:spPr>
          <p:txBody>
            <a:bodyPr lIns="50800" tIns="50800" rIns="50800" bIns="50800" anchor="ctr"/>
            <a:lstStyle/>
            <a:p>
              <a:pPr defTabSz="872470"/>
              <a:endParaRPr lang="en-US" sz="1266" dirty="0">
                <a:solidFill>
                  <a:srgbClr val="002D72"/>
                </a:solidFill>
              </a:endParaRPr>
            </a:p>
          </p:txBody>
        </p:sp>
        <p:sp>
          <p:nvSpPr>
            <p:cNvPr id="19" name="Rectangle"/>
            <p:cNvSpPr/>
            <p:nvPr userDrawn="1"/>
          </p:nvSpPr>
          <p:spPr>
            <a:xfrm>
              <a:off x="160238" y="154880"/>
              <a:ext cx="1300907" cy="216298"/>
            </a:xfrm>
            <a:prstGeom prst="rect">
              <a:avLst/>
            </a:prstGeom>
            <a:solidFill>
              <a:srgbClr val="DA2C57"/>
            </a:solidFill>
            <a:ln w="12700">
              <a:miter lim="400000"/>
            </a:ln>
          </p:spPr>
          <p:txBody>
            <a:bodyPr lIns="50800" tIns="50800" rIns="50800" bIns="50800" anchor="ctr"/>
            <a:lstStyle/>
            <a:p>
              <a:pPr defTabSz="872470"/>
              <a:endParaRPr lang="en-US" sz="1266" dirty="0">
                <a:solidFill>
                  <a:srgbClr val="002D72"/>
                </a:solidFill>
              </a:endParaRPr>
            </a:p>
          </p:txBody>
        </p:sp>
      </p:grpSp>
      <p:pic>
        <p:nvPicPr>
          <p:cNvPr id="20" name="footer-13.jpg" descr="footer-13.jpg"/>
          <p:cNvPicPr>
            <a:picLocks noChangeAspect="1"/>
          </p:cNvPicPr>
          <p:nvPr userDrawn="1"/>
        </p:nvPicPr>
        <p:blipFill>
          <a:blip r:embed="rId6" cstate="print"/>
          <a:stretch>
            <a:fillRect/>
          </a:stretch>
        </p:blipFill>
        <p:spPr>
          <a:xfrm>
            <a:off x="71486" y="6221392"/>
            <a:ext cx="12120516" cy="574391"/>
          </a:xfrm>
          <a:prstGeom prst="rect">
            <a:avLst/>
          </a:prstGeom>
          <a:ln w="12700">
            <a:miter lim="400000"/>
          </a:ln>
        </p:spPr>
      </p:pic>
    </p:spTree>
    <p:extLst>
      <p:ext uri="{BB962C8B-B14F-4D97-AF65-F5344CB8AC3E}">
        <p14:creationId xmlns:p14="http://schemas.microsoft.com/office/powerpoint/2010/main" val="2427155292"/>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showMasterSp="0" preserve="1" userDrawn="1">
  <p:cSld name="Divider 2">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61" y="1595"/>
          <a:ext cx="1953" cy="1587"/>
        </p:xfrm>
        <a:graphic>
          <a:graphicData uri="http://schemas.openxmlformats.org/presentationml/2006/ole">
            <mc:AlternateContent xmlns:mc="http://schemas.openxmlformats.org/markup-compatibility/2006">
              <mc:Choice xmlns:v="urn:schemas-microsoft-com:vml" Requires="v">
                <p:oleObj spid="_x0000_s1884035"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61" y="1595"/>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6" y="1188720"/>
            <a:ext cx="9115865" cy="649224"/>
          </a:xfrm>
        </p:spPr>
        <p:txBody>
          <a:bodyPr lIns="49634" tIns="62045" rIns="49634" bIns="62045">
            <a:noAutofit/>
          </a:bodyPr>
          <a:lstStyle>
            <a:lvl1pPr>
              <a:defRPr sz="3797" b="0" baseline="0">
                <a:solidFill>
                  <a:srgbClr val="EE4228"/>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49634" tIns="62045" rIns="49634" bIns="62045">
            <a:noAutofit/>
          </a:bodyPr>
          <a:lstStyle>
            <a:lvl1pPr>
              <a:defRPr sz="1406" b="0">
                <a:solidFill>
                  <a:srgbClr val="F69427"/>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49634" tIns="62045" rIns="49634" bIns="62045">
            <a:noAutofit/>
          </a:bodyPr>
          <a:lstStyle>
            <a:lvl1pPr>
              <a:defRPr sz="1336" b="0">
                <a:solidFill>
                  <a:srgbClr val="FCBA1A"/>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6" y="6221392"/>
            <a:ext cx="12120516" cy="574391"/>
          </a:xfrm>
          <a:prstGeom prst="rect">
            <a:avLst/>
          </a:prstGeom>
          <a:ln w="12700">
            <a:miter lim="400000"/>
          </a:ln>
        </p:spPr>
      </p:pic>
      <p:grpSp>
        <p:nvGrpSpPr>
          <p:cNvPr id="21" name="Group 20"/>
          <p:cNvGrpSpPr/>
          <p:nvPr userDrawn="1"/>
        </p:nvGrpSpPr>
        <p:grpSpPr>
          <a:xfrm>
            <a:off x="213693" y="98859"/>
            <a:ext cx="1113676" cy="6105595"/>
            <a:chOff x="160238" y="162796"/>
            <a:chExt cx="1300907" cy="8777933"/>
          </a:xfrm>
        </p:grpSpPr>
        <p:sp>
          <p:nvSpPr>
            <p:cNvPr id="22" name="Rectangle"/>
            <p:cNvSpPr/>
            <p:nvPr userDrawn="1"/>
          </p:nvSpPr>
          <p:spPr>
            <a:xfrm>
              <a:off x="160238" y="8406287"/>
              <a:ext cx="1300907" cy="534442"/>
            </a:xfrm>
            <a:prstGeom prst="rect">
              <a:avLst/>
            </a:prstGeom>
            <a:solidFill>
              <a:srgbClr val="D91F27"/>
            </a:solidFill>
            <a:ln w="12700">
              <a:miter lim="400000"/>
            </a:ln>
          </p:spPr>
          <p:txBody>
            <a:bodyPr lIns="50800" tIns="50800" rIns="50800" bIns="50800" anchor="ctr"/>
            <a:lstStyle/>
            <a:p>
              <a:pPr defTabSz="872470"/>
              <a:endParaRPr lang="en-US" sz="1266" dirty="0">
                <a:solidFill>
                  <a:srgbClr val="002D72"/>
                </a:solidFill>
              </a:endParaRPr>
            </a:p>
          </p:txBody>
        </p:sp>
        <p:sp>
          <p:nvSpPr>
            <p:cNvPr id="23" name="Rectangle"/>
            <p:cNvSpPr/>
            <p:nvPr userDrawn="1"/>
          </p:nvSpPr>
          <p:spPr>
            <a:xfrm>
              <a:off x="160238" y="8191280"/>
              <a:ext cx="1300907" cy="215008"/>
            </a:xfrm>
            <a:prstGeom prst="rect">
              <a:avLst/>
            </a:prstGeom>
            <a:solidFill>
              <a:srgbClr val="F36F26"/>
            </a:solidFill>
            <a:ln w="12700">
              <a:miter lim="400000"/>
            </a:ln>
          </p:spPr>
          <p:txBody>
            <a:bodyPr lIns="50800" tIns="50800" rIns="50800" bIns="50800" anchor="ctr"/>
            <a:lstStyle/>
            <a:p>
              <a:pPr defTabSz="872470"/>
              <a:endParaRPr lang="en-US" sz="1266" dirty="0">
                <a:solidFill>
                  <a:srgbClr val="002D72"/>
                </a:solidFill>
              </a:endParaRPr>
            </a:p>
          </p:txBody>
        </p:sp>
        <p:sp>
          <p:nvSpPr>
            <p:cNvPr id="24" name="Rectangle"/>
            <p:cNvSpPr/>
            <p:nvPr userDrawn="1"/>
          </p:nvSpPr>
          <p:spPr>
            <a:xfrm>
              <a:off x="160238" y="6203779"/>
              <a:ext cx="1300907" cy="1987502"/>
            </a:xfrm>
            <a:prstGeom prst="rect">
              <a:avLst/>
            </a:prstGeom>
            <a:solidFill>
              <a:srgbClr val="FBB91A"/>
            </a:solidFill>
            <a:ln w="12700">
              <a:miter lim="400000"/>
            </a:ln>
          </p:spPr>
          <p:txBody>
            <a:bodyPr lIns="50800" tIns="50800" rIns="50800" bIns="50800" anchor="ctr"/>
            <a:lstStyle/>
            <a:p>
              <a:pPr defTabSz="872470"/>
              <a:endParaRPr lang="en-US" sz="1266" dirty="0">
                <a:solidFill>
                  <a:srgbClr val="002D72"/>
                </a:solidFill>
              </a:endParaRPr>
            </a:p>
          </p:txBody>
        </p:sp>
        <p:sp>
          <p:nvSpPr>
            <p:cNvPr id="25" name="Rectangle"/>
            <p:cNvSpPr/>
            <p:nvPr userDrawn="1"/>
          </p:nvSpPr>
          <p:spPr>
            <a:xfrm>
              <a:off x="160238" y="5732341"/>
              <a:ext cx="1300907" cy="471439"/>
            </a:xfrm>
            <a:prstGeom prst="rect">
              <a:avLst/>
            </a:prstGeom>
            <a:solidFill>
              <a:srgbClr val="F69427"/>
            </a:solidFill>
            <a:ln w="12700">
              <a:miter lim="400000"/>
            </a:ln>
          </p:spPr>
          <p:txBody>
            <a:bodyPr lIns="50800" tIns="50800" rIns="50800" bIns="50800" anchor="ctr"/>
            <a:lstStyle/>
            <a:p>
              <a:pPr defTabSz="872470"/>
              <a:endParaRPr lang="en-US" sz="1266" dirty="0">
                <a:solidFill>
                  <a:srgbClr val="002D72"/>
                </a:solidFill>
              </a:endParaRPr>
            </a:p>
          </p:txBody>
        </p:sp>
        <p:sp>
          <p:nvSpPr>
            <p:cNvPr id="26" name="Rectangle"/>
            <p:cNvSpPr/>
            <p:nvPr userDrawn="1"/>
          </p:nvSpPr>
          <p:spPr>
            <a:xfrm>
              <a:off x="160238" y="379093"/>
              <a:ext cx="1300907" cy="813396"/>
            </a:xfrm>
            <a:prstGeom prst="rect">
              <a:avLst/>
            </a:prstGeom>
            <a:solidFill>
              <a:srgbClr val="F79824"/>
            </a:solidFill>
            <a:ln w="12700">
              <a:miter lim="400000"/>
            </a:ln>
          </p:spPr>
          <p:txBody>
            <a:bodyPr lIns="50800" tIns="50800" rIns="50800" bIns="50800" anchor="ctr"/>
            <a:lstStyle/>
            <a:p>
              <a:pPr defTabSz="872470"/>
              <a:endParaRPr lang="en-US" sz="1266" dirty="0">
                <a:solidFill>
                  <a:srgbClr val="002D72"/>
                </a:solidFill>
              </a:endParaRPr>
            </a:p>
          </p:txBody>
        </p:sp>
        <p:sp>
          <p:nvSpPr>
            <p:cNvPr id="27" name="Rectangle"/>
            <p:cNvSpPr/>
            <p:nvPr userDrawn="1"/>
          </p:nvSpPr>
          <p:spPr>
            <a:xfrm>
              <a:off x="160238" y="1192488"/>
              <a:ext cx="1300907" cy="4539854"/>
            </a:xfrm>
            <a:prstGeom prst="rect">
              <a:avLst/>
            </a:prstGeom>
            <a:solidFill>
              <a:srgbClr val="EE4329"/>
            </a:solidFill>
            <a:ln w="12700">
              <a:miter lim="400000"/>
            </a:ln>
          </p:spPr>
          <p:txBody>
            <a:bodyPr lIns="50800" tIns="50800" rIns="50800" bIns="50800" anchor="ctr"/>
            <a:lstStyle/>
            <a:p>
              <a:pPr defTabSz="872470"/>
              <a:endParaRPr lang="en-US" sz="1266" dirty="0">
                <a:solidFill>
                  <a:srgbClr val="002D72"/>
                </a:solidFill>
              </a:endParaRPr>
            </a:p>
          </p:txBody>
        </p:sp>
        <p:sp>
          <p:nvSpPr>
            <p:cNvPr id="28" name="Rectangle"/>
            <p:cNvSpPr/>
            <p:nvPr userDrawn="1"/>
          </p:nvSpPr>
          <p:spPr>
            <a:xfrm>
              <a:off x="160238" y="162796"/>
              <a:ext cx="1300907" cy="216298"/>
            </a:xfrm>
            <a:prstGeom prst="rect">
              <a:avLst/>
            </a:prstGeom>
            <a:solidFill>
              <a:srgbClr val="BF2126"/>
            </a:solidFill>
            <a:ln w="12700">
              <a:miter lim="400000"/>
            </a:ln>
          </p:spPr>
          <p:txBody>
            <a:bodyPr lIns="50800" tIns="50800" rIns="50800" bIns="50800" anchor="ctr"/>
            <a:lstStyle/>
            <a:p>
              <a:pPr defTabSz="872470"/>
              <a:endParaRPr lang="en-US" sz="1266" dirty="0">
                <a:solidFill>
                  <a:srgbClr val="002D72"/>
                </a:solidFill>
              </a:endParaRPr>
            </a:p>
          </p:txBody>
        </p:sp>
      </p:grpSp>
    </p:spTree>
    <p:extLst>
      <p:ext uri="{BB962C8B-B14F-4D97-AF65-F5344CB8AC3E}">
        <p14:creationId xmlns:p14="http://schemas.microsoft.com/office/powerpoint/2010/main" val="307604389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type="title" preserve="1">
  <p:cSld name="PORTADA">
    <p:spTree>
      <p:nvGrpSpPr>
        <p:cNvPr id="1" name=""/>
        <p:cNvGrpSpPr/>
        <p:nvPr/>
      </p:nvGrpSpPr>
      <p:grpSpPr>
        <a:xfrm>
          <a:off x="0" y="0"/>
          <a:ext cx="0" cy="0"/>
          <a:chOff x="0" y="0"/>
          <a:chExt cx="0" cy="0"/>
        </a:xfrm>
      </p:grpSpPr>
      <p:sp>
        <p:nvSpPr>
          <p:cNvPr id="3150" name="Rectangle 78"/>
          <p:cNvSpPr>
            <a:spLocks noGrp="1" noChangeArrowheads="1"/>
          </p:cNvSpPr>
          <p:nvPr>
            <p:ph type="ctrTitle"/>
          </p:nvPr>
        </p:nvSpPr>
        <p:spPr>
          <a:xfrm>
            <a:off x="804339" y="906468"/>
            <a:ext cx="10947400" cy="517525"/>
          </a:xfrm>
        </p:spPr>
        <p:txBody>
          <a:bodyPr/>
          <a:lstStyle>
            <a:lvl1pPr>
              <a:defRPr sz="3200"/>
            </a:lvl1pPr>
          </a:lstStyle>
          <a:p>
            <a:pPr lvl="0"/>
            <a:r>
              <a:rPr lang="en-US" noProof="0" dirty="0"/>
              <a:t>Click to edit Master title style</a:t>
            </a:r>
          </a:p>
        </p:txBody>
      </p:sp>
      <p:sp>
        <p:nvSpPr>
          <p:cNvPr id="3151" name="Rectangle 79"/>
          <p:cNvSpPr>
            <a:spLocks noGrp="1" noChangeArrowheads="1"/>
          </p:cNvSpPr>
          <p:nvPr>
            <p:ph type="subTitle" sz="quarter" idx="1"/>
          </p:nvPr>
        </p:nvSpPr>
        <p:spPr>
          <a:xfrm>
            <a:off x="804334" y="1423988"/>
            <a:ext cx="10962217" cy="1093788"/>
          </a:xfrm>
          <a:extLst>
            <a:ext uri="{91240B29-F687-4F45-9708-019B960494DF}">
              <a14:hiddenLine xmlns:a14="http://schemas.microsoft.com/office/drawing/2010/main" w="9525">
                <a:solidFill>
                  <a:schemeClr val="tx1"/>
                </a:solidFill>
                <a:miter lim="800000"/>
                <a:headEnd/>
                <a:tailEnd/>
              </a14:hiddenLine>
            </a:ext>
          </a:extLst>
        </p:spPr>
        <p:txBody>
          <a:bodyPr/>
          <a:lstStyle>
            <a:lvl1pPr marL="0" indent="0">
              <a:lnSpc>
                <a:spcPct val="100000"/>
              </a:lnSpc>
              <a:spcBef>
                <a:spcPct val="0"/>
              </a:spcBef>
              <a:spcAft>
                <a:spcPct val="0"/>
              </a:spcAft>
              <a:buFontTx/>
              <a:buNone/>
              <a:defRPr sz="3200">
                <a:solidFill>
                  <a:srgbClr val="00BDF2"/>
                </a:solidFill>
              </a:defRPr>
            </a:lvl1pPr>
          </a:lstStyle>
          <a:p>
            <a:pPr lvl="0"/>
            <a:r>
              <a:rPr lang="en-US" noProof="0"/>
              <a:t>Click to edit Master subtitle style</a:t>
            </a:r>
          </a:p>
        </p:txBody>
      </p:sp>
      <p:pic>
        <p:nvPicPr>
          <p:cNvPr id="4" name="Picture 3"/>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296215" y="4844121"/>
            <a:ext cx="4743391" cy="2301940"/>
          </a:xfrm>
          <a:prstGeom prst="rect">
            <a:avLst/>
          </a:prstGeom>
        </p:spPr>
      </p:pic>
    </p:spTree>
    <p:extLst>
      <p:ext uri="{BB962C8B-B14F-4D97-AF65-F5344CB8AC3E}">
        <p14:creationId xmlns:p14="http://schemas.microsoft.com/office/powerpoint/2010/main" val="412190223"/>
      </p:ext>
    </p:extLst>
  </p:cSld>
  <p:clrMapOvr>
    <a:overrideClrMapping bg1="lt1" tx1="dk1" bg2="lt2" tx2="dk2" accent1="accent1" accent2="accent2" accent3="accent3" accent4="accent4" accent5="accent5" accent6="accent6" hlink="hlink" folHlink="folHlink"/>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showMasterSp="0" preserve="1" userDrawn="1">
  <p:cSld name="Divider 3">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61" y="1595"/>
          <a:ext cx="1953" cy="1587"/>
        </p:xfrm>
        <a:graphic>
          <a:graphicData uri="http://schemas.openxmlformats.org/presentationml/2006/ole">
            <mc:AlternateContent xmlns:mc="http://schemas.openxmlformats.org/markup-compatibility/2006">
              <mc:Choice xmlns:v="urn:schemas-microsoft-com:vml" Requires="v">
                <p:oleObj spid="_x0000_s1885059"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61" y="1595"/>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6" y="1188720"/>
            <a:ext cx="9115865" cy="649224"/>
          </a:xfrm>
        </p:spPr>
        <p:txBody>
          <a:bodyPr lIns="49634" tIns="62045" rIns="49634" bIns="62045">
            <a:noAutofit/>
          </a:bodyPr>
          <a:lstStyle>
            <a:lvl1pPr>
              <a:defRPr sz="3797" b="0" baseline="0">
                <a:solidFill>
                  <a:srgbClr val="007272"/>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49634" tIns="62045" rIns="49634" bIns="62045">
            <a:noAutofit/>
          </a:bodyPr>
          <a:lstStyle>
            <a:lvl1pPr>
              <a:defRPr sz="1406" b="0">
                <a:solidFill>
                  <a:srgbClr val="00C0B6"/>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49634" tIns="62045" rIns="49634" bIns="62045">
            <a:noAutofit/>
          </a:bodyPr>
          <a:lstStyle>
            <a:lvl1pPr>
              <a:defRPr sz="1336" b="0">
                <a:solidFill>
                  <a:srgbClr val="00A6AB"/>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6" y="6221392"/>
            <a:ext cx="12120516" cy="574391"/>
          </a:xfrm>
          <a:prstGeom prst="rect">
            <a:avLst/>
          </a:prstGeom>
          <a:ln w="12700">
            <a:miter lim="400000"/>
          </a:ln>
        </p:spPr>
      </p:pic>
      <p:grpSp>
        <p:nvGrpSpPr>
          <p:cNvPr id="21" name="Group 20"/>
          <p:cNvGrpSpPr/>
          <p:nvPr userDrawn="1"/>
        </p:nvGrpSpPr>
        <p:grpSpPr>
          <a:xfrm>
            <a:off x="213693" y="99934"/>
            <a:ext cx="1113676" cy="6105588"/>
            <a:chOff x="90616" y="113613"/>
            <a:chExt cx="1300907" cy="8777933"/>
          </a:xfrm>
        </p:grpSpPr>
        <p:sp>
          <p:nvSpPr>
            <p:cNvPr id="22" name="Rectangle"/>
            <p:cNvSpPr/>
            <p:nvPr userDrawn="1"/>
          </p:nvSpPr>
          <p:spPr>
            <a:xfrm>
              <a:off x="90616" y="8357104"/>
              <a:ext cx="1300907" cy="534442"/>
            </a:xfrm>
            <a:prstGeom prst="rect">
              <a:avLst/>
            </a:prstGeom>
            <a:solidFill>
              <a:srgbClr val="00C0B6"/>
            </a:solidFill>
            <a:ln w="12700">
              <a:miter lim="400000"/>
            </a:ln>
          </p:spPr>
          <p:txBody>
            <a:bodyPr lIns="50800" tIns="50800" rIns="50800" bIns="50800" anchor="ctr"/>
            <a:lstStyle/>
            <a:p>
              <a:pPr defTabSz="872470"/>
              <a:endParaRPr lang="en-US" sz="1266" dirty="0">
                <a:solidFill>
                  <a:srgbClr val="002D72"/>
                </a:solidFill>
              </a:endParaRPr>
            </a:p>
          </p:txBody>
        </p:sp>
        <p:sp>
          <p:nvSpPr>
            <p:cNvPr id="23" name="Rectangle"/>
            <p:cNvSpPr/>
            <p:nvPr userDrawn="1"/>
          </p:nvSpPr>
          <p:spPr>
            <a:xfrm>
              <a:off x="90616" y="8142097"/>
              <a:ext cx="1300907" cy="215008"/>
            </a:xfrm>
            <a:prstGeom prst="rect">
              <a:avLst/>
            </a:prstGeom>
            <a:solidFill>
              <a:srgbClr val="007272"/>
            </a:solidFill>
            <a:ln w="12700">
              <a:miter lim="400000"/>
            </a:ln>
          </p:spPr>
          <p:txBody>
            <a:bodyPr lIns="50800" tIns="50800" rIns="50800" bIns="50800" anchor="ctr"/>
            <a:lstStyle/>
            <a:p>
              <a:pPr defTabSz="872470"/>
              <a:endParaRPr lang="en-US" sz="1266" dirty="0">
                <a:solidFill>
                  <a:srgbClr val="002D72"/>
                </a:solidFill>
              </a:endParaRPr>
            </a:p>
          </p:txBody>
        </p:sp>
        <p:sp>
          <p:nvSpPr>
            <p:cNvPr id="24" name="Rectangle"/>
            <p:cNvSpPr/>
            <p:nvPr userDrawn="1"/>
          </p:nvSpPr>
          <p:spPr>
            <a:xfrm>
              <a:off x="90616" y="6154596"/>
              <a:ext cx="1300907" cy="1987502"/>
            </a:xfrm>
            <a:prstGeom prst="rect">
              <a:avLst/>
            </a:prstGeom>
            <a:solidFill>
              <a:srgbClr val="00A6AB"/>
            </a:solidFill>
            <a:ln w="12700">
              <a:miter lim="400000"/>
            </a:ln>
          </p:spPr>
          <p:txBody>
            <a:bodyPr lIns="50800" tIns="50800" rIns="50800" bIns="50800" anchor="ctr"/>
            <a:lstStyle/>
            <a:p>
              <a:pPr defTabSz="872470"/>
              <a:endParaRPr lang="en-US" sz="1266" dirty="0">
                <a:solidFill>
                  <a:srgbClr val="002D72"/>
                </a:solidFill>
              </a:endParaRPr>
            </a:p>
          </p:txBody>
        </p:sp>
        <p:sp>
          <p:nvSpPr>
            <p:cNvPr id="25" name="Rectangle"/>
            <p:cNvSpPr/>
            <p:nvPr userDrawn="1"/>
          </p:nvSpPr>
          <p:spPr>
            <a:xfrm>
              <a:off x="90616" y="5683158"/>
              <a:ext cx="1300907" cy="471439"/>
            </a:xfrm>
            <a:prstGeom prst="rect">
              <a:avLst/>
            </a:prstGeom>
            <a:solidFill>
              <a:srgbClr val="00C0B6"/>
            </a:solidFill>
            <a:ln w="12700">
              <a:miter lim="400000"/>
            </a:ln>
          </p:spPr>
          <p:txBody>
            <a:bodyPr lIns="50800" tIns="50800" rIns="50800" bIns="50800" anchor="ctr"/>
            <a:lstStyle/>
            <a:p>
              <a:pPr defTabSz="872470"/>
              <a:endParaRPr lang="en-US" sz="1266" dirty="0">
                <a:solidFill>
                  <a:srgbClr val="002D72"/>
                </a:solidFill>
              </a:endParaRPr>
            </a:p>
          </p:txBody>
        </p:sp>
        <p:sp>
          <p:nvSpPr>
            <p:cNvPr id="26" name="Rectangle"/>
            <p:cNvSpPr/>
            <p:nvPr userDrawn="1"/>
          </p:nvSpPr>
          <p:spPr>
            <a:xfrm>
              <a:off x="90616" y="329910"/>
              <a:ext cx="1300907" cy="813396"/>
            </a:xfrm>
            <a:prstGeom prst="rect">
              <a:avLst/>
            </a:prstGeom>
            <a:solidFill>
              <a:srgbClr val="00C0B6"/>
            </a:solidFill>
            <a:ln w="12700">
              <a:miter lim="400000"/>
            </a:ln>
          </p:spPr>
          <p:txBody>
            <a:bodyPr lIns="50800" tIns="50800" rIns="50800" bIns="50800" anchor="ctr"/>
            <a:lstStyle/>
            <a:p>
              <a:pPr defTabSz="872470"/>
              <a:endParaRPr lang="en-US" sz="1266" dirty="0">
                <a:solidFill>
                  <a:srgbClr val="002D72"/>
                </a:solidFill>
              </a:endParaRPr>
            </a:p>
          </p:txBody>
        </p:sp>
        <p:sp>
          <p:nvSpPr>
            <p:cNvPr id="27" name="Rectangle"/>
            <p:cNvSpPr/>
            <p:nvPr userDrawn="1"/>
          </p:nvSpPr>
          <p:spPr>
            <a:xfrm>
              <a:off x="90616" y="1143305"/>
              <a:ext cx="1300907" cy="4539854"/>
            </a:xfrm>
            <a:prstGeom prst="rect">
              <a:avLst/>
            </a:prstGeom>
            <a:solidFill>
              <a:srgbClr val="007272"/>
            </a:solidFill>
            <a:ln w="12700">
              <a:miter lim="400000"/>
            </a:ln>
          </p:spPr>
          <p:txBody>
            <a:bodyPr lIns="50800" tIns="50800" rIns="50800" bIns="50800" anchor="ctr"/>
            <a:lstStyle/>
            <a:p>
              <a:pPr defTabSz="872470"/>
              <a:endParaRPr lang="en-US" sz="1266" dirty="0">
                <a:solidFill>
                  <a:srgbClr val="002D72"/>
                </a:solidFill>
              </a:endParaRPr>
            </a:p>
          </p:txBody>
        </p:sp>
        <p:sp>
          <p:nvSpPr>
            <p:cNvPr id="28" name="Rectangle"/>
            <p:cNvSpPr/>
            <p:nvPr userDrawn="1"/>
          </p:nvSpPr>
          <p:spPr>
            <a:xfrm>
              <a:off x="90616" y="113613"/>
              <a:ext cx="1300907" cy="216298"/>
            </a:xfrm>
            <a:prstGeom prst="rect">
              <a:avLst/>
            </a:prstGeom>
            <a:solidFill>
              <a:srgbClr val="00A6AB"/>
            </a:solidFill>
            <a:ln w="12700">
              <a:miter lim="400000"/>
            </a:ln>
          </p:spPr>
          <p:txBody>
            <a:bodyPr lIns="50800" tIns="50800" rIns="50800" bIns="50800" anchor="ctr"/>
            <a:lstStyle/>
            <a:p>
              <a:pPr defTabSz="872470"/>
              <a:endParaRPr lang="en-US" sz="1266" dirty="0">
                <a:solidFill>
                  <a:srgbClr val="002D72"/>
                </a:solidFill>
              </a:endParaRPr>
            </a:p>
          </p:txBody>
        </p:sp>
      </p:grpSp>
    </p:spTree>
    <p:extLst>
      <p:ext uri="{BB962C8B-B14F-4D97-AF65-F5344CB8AC3E}">
        <p14:creationId xmlns:p14="http://schemas.microsoft.com/office/powerpoint/2010/main" val="427993443"/>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showMasterSp="0" preserve="1" userDrawn="1">
  <p:cSld name="Divider 4">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61" y="1595"/>
          <a:ext cx="1953" cy="1587"/>
        </p:xfrm>
        <a:graphic>
          <a:graphicData uri="http://schemas.openxmlformats.org/presentationml/2006/ole">
            <mc:AlternateContent xmlns:mc="http://schemas.openxmlformats.org/markup-compatibility/2006">
              <mc:Choice xmlns:v="urn:schemas-microsoft-com:vml" Requires="v">
                <p:oleObj spid="_x0000_s1886083"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61" y="1595"/>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6" y="1188720"/>
            <a:ext cx="9115865" cy="649224"/>
          </a:xfrm>
        </p:spPr>
        <p:txBody>
          <a:bodyPr lIns="49634" tIns="62045" rIns="49634" bIns="62045">
            <a:noAutofit/>
          </a:bodyPr>
          <a:lstStyle>
            <a:lvl1pPr>
              <a:defRPr sz="3797" b="0" baseline="0">
                <a:solidFill>
                  <a:srgbClr val="73A600"/>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49634" tIns="62045" rIns="49634" bIns="62045">
            <a:noAutofit/>
          </a:bodyPr>
          <a:lstStyle>
            <a:lvl1pPr>
              <a:defRPr sz="1406" b="0">
                <a:solidFill>
                  <a:srgbClr val="AABA35"/>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49634" tIns="62045" rIns="49634" bIns="62045">
            <a:noAutofit/>
          </a:bodyPr>
          <a:lstStyle>
            <a:lvl1pPr>
              <a:defRPr sz="1336" b="0">
                <a:solidFill>
                  <a:srgbClr val="94B301"/>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6" y="6221392"/>
            <a:ext cx="12120516" cy="574391"/>
          </a:xfrm>
          <a:prstGeom prst="rect">
            <a:avLst/>
          </a:prstGeom>
          <a:ln w="12700">
            <a:miter lim="400000"/>
          </a:ln>
        </p:spPr>
      </p:pic>
      <p:grpSp>
        <p:nvGrpSpPr>
          <p:cNvPr id="21" name="Group 20"/>
          <p:cNvGrpSpPr/>
          <p:nvPr userDrawn="1"/>
        </p:nvGrpSpPr>
        <p:grpSpPr>
          <a:xfrm>
            <a:off x="215939" y="99934"/>
            <a:ext cx="1113675" cy="6105588"/>
            <a:chOff x="160238" y="154880"/>
            <a:chExt cx="1300907" cy="8777933"/>
          </a:xfrm>
        </p:grpSpPr>
        <p:sp>
          <p:nvSpPr>
            <p:cNvPr id="22" name="Rectangle"/>
            <p:cNvSpPr/>
            <p:nvPr userDrawn="1"/>
          </p:nvSpPr>
          <p:spPr>
            <a:xfrm>
              <a:off x="160238" y="8398371"/>
              <a:ext cx="1300907" cy="534442"/>
            </a:xfrm>
            <a:prstGeom prst="rect">
              <a:avLst/>
            </a:prstGeom>
            <a:solidFill>
              <a:srgbClr val="AABA36"/>
            </a:solidFill>
            <a:ln w="12700">
              <a:miter lim="400000"/>
            </a:ln>
          </p:spPr>
          <p:txBody>
            <a:bodyPr lIns="50800" tIns="50800" rIns="50800" bIns="50800" anchor="ctr"/>
            <a:lstStyle/>
            <a:p>
              <a:pPr defTabSz="872470"/>
              <a:endParaRPr lang="en-US" sz="1266" dirty="0">
                <a:solidFill>
                  <a:srgbClr val="002D72"/>
                </a:solidFill>
              </a:endParaRPr>
            </a:p>
          </p:txBody>
        </p:sp>
        <p:sp>
          <p:nvSpPr>
            <p:cNvPr id="23" name="Rectangle"/>
            <p:cNvSpPr/>
            <p:nvPr userDrawn="1"/>
          </p:nvSpPr>
          <p:spPr>
            <a:xfrm>
              <a:off x="160238" y="8183364"/>
              <a:ext cx="1300907" cy="215008"/>
            </a:xfrm>
            <a:prstGeom prst="rect">
              <a:avLst/>
            </a:prstGeom>
            <a:solidFill>
              <a:srgbClr val="CEDD01"/>
            </a:solidFill>
            <a:ln w="12700">
              <a:miter lim="400000"/>
            </a:ln>
          </p:spPr>
          <p:txBody>
            <a:bodyPr lIns="50800" tIns="50800" rIns="50800" bIns="50800" anchor="ctr"/>
            <a:lstStyle/>
            <a:p>
              <a:pPr defTabSz="872470"/>
              <a:endParaRPr lang="en-US" sz="1266" dirty="0">
                <a:solidFill>
                  <a:srgbClr val="002D72"/>
                </a:solidFill>
              </a:endParaRPr>
            </a:p>
          </p:txBody>
        </p:sp>
        <p:sp>
          <p:nvSpPr>
            <p:cNvPr id="24" name="Rectangle"/>
            <p:cNvSpPr/>
            <p:nvPr userDrawn="1"/>
          </p:nvSpPr>
          <p:spPr>
            <a:xfrm>
              <a:off x="160238" y="6195863"/>
              <a:ext cx="1300907" cy="1987502"/>
            </a:xfrm>
            <a:prstGeom prst="rect">
              <a:avLst/>
            </a:prstGeom>
            <a:solidFill>
              <a:srgbClr val="94B301"/>
            </a:solidFill>
            <a:ln w="12700">
              <a:miter lim="400000"/>
            </a:ln>
          </p:spPr>
          <p:txBody>
            <a:bodyPr lIns="50800" tIns="50800" rIns="50800" bIns="50800" anchor="ctr"/>
            <a:lstStyle/>
            <a:p>
              <a:pPr defTabSz="872470"/>
              <a:endParaRPr lang="en-US" sz="1266" dirty="0">
                <a:solidFill>
                  <a:srgbClr val="002D72"/>
                </a:solidFill>
              </a:endParaRPr>
            </a:p>
          </p:txBody>
        </p:sp>
        <p:sp>
          <p:nvSpPr>
            <p:cNvPr id="25" name="Rectangle"/>
            <p:cNvSpPr/>
            <p:nvPr userDrawn="1"/>
          </p:nvSpPr>
          <p:spPr>
            <a:xfrm>
              <a:off x="160238" y="5724425"/>
              <a:ext cx="1300907" cy="471439"/>
            </a:xfrm>
            <a:prstGeom prst="rect">
              <a:avLst/>
            </a:prstGeom>
            <a:solidFill>
              <a:srgbClr val="AABA36"/>
            </a:solidFill>
            <a:ln w="12700">
              <a:miter lim="400000"/>
            </a:ln>
          </p:spPr>
          <p:txBody>
            <a:bodyPr lIns="50800" tIns="50800" rIns="50800" bIns="50800" anchor="ctr"/>
            <a:lstStyle/>
            <a:p>
              <a:pPr defTabSz="872470"/>
              <a:endParaRPr lang="en-US" sz="1266" dirty="0">
                <a:solidFill>
                  <a:srgbClr val="002D72"/>
                </a:solidFill>
              </a:endParaRPr>
            </a:p>
          </p:txBody>
        </p:sp>
        <p:sp>
          <p:nvSpPr>
            <p:cNvPr id="26" name="Rectangle"/>
            <p:cNvSpPr/>
            <p:nvPr userDrawn="1"/>
          </p:nvSpPr>
          <p:spPr>
            <a:xfrm>
              <a:off x="160238" y="371177"/>
              <a:ext cx="1300907" cy="813396"/>
            </a:xfrm>
            <a:prstGeom prst="rect">
              <a:avLst/>
            </a:prstGeom>
            <a:solidFill>
              <a:srgbClr val="CEDD01"/>
            </a:solidFill>
            <a:ln w="12700">
              <a:miter lim="400000"/>
            </a:ln>
          </p:spPr>
          <p:txBody>
            <a:bodyPr lIns="50800" tIns="50800" rIns="50800" bIns="50800" anchor="ctr"/>
            <a:lstStyle/>
            <a:p>
              <a:pPr defTabSz="872470"/>
              <a:endParaRPr lang="en-US" sz="1266" dirty="0">
                <a:solidFill>
                  <a:srgbClr val="002D72"/>
                </a:solidFill>
              </a:endParaRPr>
            </a:p>
          </p:txBody>
        </p:sp>
        <p:sp>
          <p:nvSpPr>
            <p:cNvPr id="27" name="Rectangle"/>
            <p:cNvSpPr/>
            <p:nvPr userDrawn="1"/>
          </p:nvSpPr>
          <p:spPr>
            <a:xfrm>
              <a:off x="160238" y="1184572"/>
              <a:ext cx="1300907" cy="4539854"/>
            </a:xfrm>
            <a:prstGeom prst="rect">
              <a:avLst/>
            </a:prstGeom>
            <a:solidFill>
              <a:srgbClr val="73A600"/>
            </a:solidFill>
            <a:ln w="12700">
              <a:miter lim="400000"/>
            </a:ln>
          </p:spPr>
          <p:txBody>
            <a:bodyPr lIns="50800" tIns="50800" rIns="50800" bIns="50800" anchor="ctr"/>
            <a:lstStyle/>
            <a:p>
              <a:pPr defTabSz="872470"/>
              <a:endParaRPr lang="en-US" sz="1266" dirty="0">
                <a:solidFill>
                  <a:srgbClr val="002D72"/>
                </a:solidFill>
              </a:endParaRPr>
            </a:p>
          </p:txBody>
        </p:sp>
        <p:sp>
          <p:nvSpPr>
            <p:cNvPr id="28" name="Rectangle"/>
            <p:cNvSpPr/>
            <p:nvPr userDrawn="1"/>
          </p:nvSpPr>
          <p:spPr>
            <a:xfrm>
              <a:off x="160238" y="154880"/>
              <a:ext cx="1300907" cy="216298"/>
            </a:xfrm>
            <a:prstGeom prst="rect">
              <a:avLst/>
            </a:prstGeom>
            <a:solidFill>
              <a:srgbClr val="94B301"/>
            </a:solidFill>
            <a:ln w="12700">
              <a:miter lim="400000"/>
            </a:ln>
          </p:spPr>
          <p:txBody>
            <a:bodyPr lIns="50800" tIns="50800" rIns="50800" bIns="50800" anchor="ctr"/>
            <a:lstStyle/>
            <a:p>
              <a:pPr defTabSz="872470"/>
              <a:endParaRPr lang="en-US" sz="1266" dirty="0">
                <a:solidFill>
                  <a:srgbClr val="002D72"/>
                </a:solidFill>
              </a:endParaRPr>
            </a:p>
          </p:txBody>
        </p:sp>
      </p:grpSp>
    </p:spTree>
    <p:extLst>
      <p:ext uri="{BB962C8B-B14F-4D97-AF65-F5344CB8AC3E}">
        <p14:creationId xmlns:p14="http://schemas.microsoft.com/office/powerpoint/2010/main" val="341277578"/>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showMasterSp="0" preserve="1" userDrawn="1">
  <p:cSld name="Divider 5">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61" y="1595"/>
          <a:ext cx="1953" cy="1587"/>
        </p:xfrm>
        <a:graphic>
          <a:graphicData uri="http://schemas.openxmlformats.org/presentationml/2006/ole">
            <mc:AlternateContent xmlns:mc="http://schemas.openxmlformats.org/markup-compatibility/2006">
              <mc:Choice xmlns:v="urn:schemas-microsoft-com:vml" Requires="v">
                <p:oleObj spid="_x0000_s1887107"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61" y="1595"/>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6" y="1188720"/>
            <a:ext cx="9115865" cy="649224"/>
          </a:xfrm>
        </p:spPr>
        <p:txBody>
          <a:bodyPr lIns="49634" tIns="62045" rIns="49634" bIns="62045">
            <a:noAutofit/>
          </a:bodyPr>
          <a:lstStyle>
            <a:lvl1pPr>
              <a:defRPr sz="3797" b="0" baseline="0">
                <a:solidFill>
                  <a:srgbClr val="70147B"/>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49634" tIns="62045" rIns="49634" bIns="62045">
            <a:noAutofit/>
          </a:bodyPr>
          <a:lstStyle>
            <a:lvl1pPr>
              <a:defRPr sz="1406" b="0">
                <a:solidFill>
                  <a:srgbClr val="8B4093"/>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49634" tIns="62045" rIns="49634" bIns="62045">
            <a:noAutofit/>
          </a:bodyPr>
          <a:lstStyle>
            <a:lvl1pPr>
              <a:defRPr sz="1336" b="0">
                <a:solidFill>
                  <a:srgbClr val="63006C"/>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6" y="6221392"/>
            <a:ext cx="12120516" cy="574391"/>
          </a:xfrm>
          <a:prstGeom prst="rect">
            <a:avLst/>
          </a:prstGeom>
          <a:ln w="12700">
            <a:miter lim="400000"/>
          </a:ln>
        </p:spPr>
      </p:pic>
      <p:grpSp>
        <p:nvGrpSpPr>
          <p:cNvPr id="21" name="Group 20"/>
          <p:cNvGrpSpPr/>
          <p:nvPr userDrawn="1"/>
        </p:nvGrpSpPr>
        <p:grpSpPr>
          <a:xfrm>
            <a:off x="215939" y="99934"/>
            <a:ext cx="1113675" cy="6105588"/>
            <a:chOff x="1081465" y="114688"/>
            <a:chExt cx="1300907" cy="8777933"/>
          </a:xfrm>
        </p:grpSpPr>
        <p:sp>
          <p:nvSpPr>
            <p:cNvPr id="22" name="Rectangle"/>
            <p:cNvSpPr/>
            <p:nvPr userDrawn="1"/>
          </p:nvSpPr>
          <p:spPr>
            <a:xfrm>
              <a:off x="1081465" y="8358179"/>
              <a:ext cx="1300907" cy="534442"/>
            </a:xfrm>
            <a:prstGeom prst="rect">
              <a:avLst/>
            </a:prstGeom>
            <a:solidFill>
              <a:srgbClr val="8C4395"/>
            </a:solidFill>
            <a:ln w="12700">
              <a:miter lim="400000"/>
            </a:ln>
          </p:spPr>
          <p:txBody>
            <a:bodyPr lIns="50800" tIns="50800" rIns="50800" bIns="50800" anchor="ctr"/>
            <a:lstStyle/>
            <a:p>
              <a:pPr defTabSz="872470"/>
              <a:endParaRPr lang="en-US" sz="1266" dirty="0">
                <a:solidFill>
                  <a:srgbClr val="002D72"/>
                </a:solidFill>
              </a:endParaRPr>
            </a:p>
          </p:txBody>
        </p:sp>
        <p:sp>
          <p:nvSpPr>
            <p:cNvPr id="23" name="Rectangle"/>
            <p:cNvSpPr/>
            <p:nvPr userDrawn="1"/>
          </p:nvSpPr>
          <p:spPr>
            <a:xfrm>
              <a:off x="1081465" y="8143172"/>
              <a:ext cx="1300907" cy="215008"/>
            </a:xfrm>
            <a:prstGeom prst="rect">
              <a:avLst/>
            </a:prstGeom>
            <a:solidFill>
              <a:srgbClr val="A469AB"/>
            </a:solidFill>
            <a:ln w="12700">
              <a:miter lim="400000"/>
            </a:ln>
          </p:spPr>
          <p:txBody>
            <a:bodyPr lIns="50800" tIns="50800" rIns="50800" bIns="50800" anchor="ctr"/>
            <a:lstStyle/>
            <a:p>
              <a:pPr defTabSz="872470"/>
              <a:endParaRPr lang="en-US" sz="1266" dirty="0">
                <a:solidFill>
                  <a:srgbClr val="002D72"/>
                </a:solidFill>
              </a:endParaRPr>
            </a:p>
          </p:txBody>
        </p:sp>
        <p:sp>
          <p:nvSpPr>
            <p:cNvPr id="24" name="Rectangle"/>
            <p:cNvSpPr/>
            <p:nvPr userDrawn="1"/>
          </p:nvSpPr>
          <p:spPr>
            <a:xfrm>
              <a:off x="1081465" y="6155671"/>
              <a:ext cx="1300907" cy="1987502"/>
            </a:xfrm>
            <a:prstGeom prst="rect">
              <a:avLst/>
            </a:prstGeom>
            <a:solidFill>
              <a:srgbClr val="63006C"/>
            </a:solidFill>
            <a:ln w="12700">
              <a:miter lim="400000"/>
            </a:ln>
          </p:spPr>
          <p:txBody>
            <a:bodyPr lIns="50800" tIns="50800" rIns="50800" bIns="50800" anchor="ctr"/>
            <a:lstStyle/>
            <a:p>
              <a:pPr defTabSz="872470"/>
              <a:endParaRPr lang="en-US" sz="1266" dirty="0">
                <a:solidFill>
                  <a:srgbClr val="002D72"/>
                </a:solidFill>
              </a:endParaRPr>
            </a:p>
          </p:txBody>
        </p:sp>
        <p:sp>
          <p:nvSpPr>
            <p:cNvPr id="25" name="Rectangle"/>
            <p:cNvSpPr/>
            <p:nvPr userDrawn="1"/>
          </p:nvSpPr>
          <p:spPr>
            <a:xfrm>
              <a:off x="1081465" y="5684233"/>
              <a:ext cx="1300907" cy="471439"/>
            </a:xfrm>
            <a:prstGeom prst="rect">
              <a:avLst/>
            </a:prstGeom>
            <a:solidFill>
              <a:srgbClr val="8B4193"/>
            </a:solidFill>
            <a:ln w="12700">
              <a:miter lim="400000"/>
            </a:ln>
          </p:spPr>
          <p:txBody>
            <a:bodyPr lIns="50800" tIns="50800" rIns="50800" bIns="50800" anchor="ctr"/>
            <a:lstStyle/>
            <a:p>
              <a:pPr defTabSz="872470"/>
              <a:endParaRPr lang="en-US" sz="1266" dirty="0">
                <a:solidFill>
                  <a:srgbClr val="002D72"/>
                </a:solidFill>
              </a:endParaRPr>
            </a:p>
          </p:txBody>
        </p:sp>
        <p:sp>
          <p:nvSpPr>
            <p:cNvPr id="26" name="Rectangle"/>
            <p:cNvSpPr/>
            <p:nvPr userDrawn="1"/>
          </p:nvSpPr>
          <p:spPr>
            <a:xfrm>
              <a:off x="1081465" y="330985"/>
              <a:ext cx="1300907" cy="813396"/>
            </a:xfrm>
            <a:prstGeom prst="rect">
              <a:avLst/>
            </a:prstGeom>
            <a:solidFill>
              <a:srgbClr val="8C4395"/>
            </a:solidFill>
            <a:ln w="12700">
              <a:miter lim="400000"/>
            </a:ln>
          </p:spPr>
          <p:txBody>
            <a:bodyPr lIns="50800" tIns="50800" rIns="50800" bIns="50800" anchor="ctr"/>
            <a:lstStyle/>
            <a:p>
              <a:pPr defTabSz="872470"/>
              <a:endParaRPr lang="en-US" sz="1266" dirty="0">
                <a:solidFill>
                  <a:srgbClr val="002D72"/>
                </a:solidFill>
              </a:endParaRPr>
            </a:p>
          </p:txBody>
        </p:sp>
        <p:sp>
          <p:nvSpPr>
            <p:cNvPr id="27" name="Rectangle"/>
            <p:cNvSpPr/>
            <p:nvPr userDrawn="1"/>
          </p:nvSpPr>
          <p:spPr>
            <a:xfrm>
              <a:off x="1081465" y="1144380"/>
              <a:ext cx="1300907" cy="4539854"/>
            </a:xfrm>
            <a:prstGeom prst="rect">
              <a:avLst/>
            </a:prstGeom>
            <a:solidFill>
              <a:srgbClr val="70147B"/>
            </a:solidFill>
            <a:ln w="12700">
              <a:miter lim="400000"/>
            </a:ln>
          </p:spPr>
          <p:txBody>
            <a:bodyPr lIns="50800" tIns="50800" rIns="50800" bIns="50800" anchor="ctr"/>
            <a:lstStyle/>
            <a:p>
              <a:pPr defTabSz="872470"/>
              <a:endParaRPr lang="en-US" sz="1266" dirty="0">
                <a:solidFill>
                  <a:srgbClr val="002D72"/>
                </a:solidFill>
              </a:endParaRPr>
            </a:p>
          </p:txBody>
        </p:sp>
        <p:sp>
          <p:nvSpPr>
            <p:cNvPr id="28" name="Rectangle"/>
            <p:cNvSpPr/>
            <p:nvPr userDrawn="1"/>
          </p:nvSpPr>
          <p:spPr>
            <a:xfrm>
              <a:off x="1081465" y="114688"/>
              <a:ext cx="1300907" cy="216298"/>
            </a:xfrm>
            <a:prstGeom prst="rect">
              <a:avLst/>
            </a:prstGeom>
            <a:solidFill>
              <a:srgbClr val="70147B"/>
            </a:solidFill>
            <a:ln w="12700">
              <a:miter lim="400000"/>
            </a:ln>
          </p:spPr>
          <p:txBody>
            <a:bodyPr lIns="50800" tIns="50800" rIns="50800" bIns="50800" anchor="ctr"/>
            <a:lstStyle/>
            <a:p>
              <a:pPr defTabSz="872470"/>
              <a:endParaRPr lang="en-US" sz="1266" dirty="0">
                <a:solidFill>
                  <a:srgbClr val="002D72"/>
                </a:solidFill>
              </a:endParaRPr>
            </a:p>
          </p:txBody>
        </p:sp>
      </p:grpSp>
    </p:spTree>
    <p:extLst>
      <p:ext uri="{BB962C8B-B14F-4D97-AF65-F5344CB8AC3E}">
        <p14:creationId xmlns:p14="http://schemas.microsoft.com/office/powerpoint/2010/main" val="80689737"/>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showMasterSp="0" preserve="1" userDrawn="1">
  <p:cSld name="Divider 6">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61" y="1595"/>
          <a:ext cx="1953" cy="1587"/>
        </p:xfrm>
        <a:graphic>
          <a:graphicData uri="http://schemas.openxmlformats.org/presentationml/2006/ole">
            <mc:AlternateContent xmlns:mc="http://schemas.openxmlformats.org/markup-compatibility/2006">
              <mc:Choice xmlns:v="urn:schemas-microsoft-com:vml" Requires="v">
                <p:oleObj spid="_x0000_s1888131"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61" y="1595"/>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6" y="1188720"/>
            <a:ext cx="9115865" cy="649224"/>
          </a:xfrm>
        </p:spPr>
        <p:txBody>
          <a:bodyPr lIns="49634" tIns="62045" rIns="49634" bIns="62045">
            <a:noAutofit/>
          </a:bodyPr>
          <a:lstStyle>
            <a:lvl1pPr>
              <a:defRPr sz="3797" b="0" baseline="0">
                <a:solidFill>
                  <a:srgbClr val="016AA1"/>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49634" tIns="62045" rIns="49634" bIns="62045">
            <a:noAutofit/>
          </a:bodyPr>
          <a:lstStyle>
            <a:lvl1pPr>
              <a:defRPr sz="1406" b="0">
                <a:solidFill>
                  <a:srgbClr val="104D6A"/>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49634" tIns="62045" rIns="49634" bIns="62045">
            <a:noAutofit/>
          </a:bodyPr>
          <a:lstStyle>
            <a:lvl1pPr>
              <a:defRPr sz="1336" b="0">
                <a:solidFill>
                  <a:srgbClr val="2591C0"/>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6" y="6221392"/>
            <a:ext cx="12120516" cy="574391"/>
          </a:xfrm>
          <a:prstGeom prst="rect">
            <a:avLst/>
          </a:prstGeom>
          <a:ln w="12700">
            <a:miter lim="400000"/>
          </a:ln>
        </p:spPr>
      </p:pic>
      <p:grpSp>
        <p:nvGrpSpPr>
          <p:cNvPr id="21" name="Group 20"/>
          <p:cNvGrpSpPr/>
          <p:nvPr userDrawn="1"/>
        </p:nvGrpSpPr>
        <p:grpSpPr>
          <a:xfrm>
            <a:off x="209180" y="98854"/>
            <a:ext cx="1111928" cy="6096000"/>
            <a:chOff x="160238" y="154880"/>
            <a:chExt cx="1300907" cy="8777933"/>
          </a:xfrm>
        </p:grpSpPr>
        <p:sp>
          <p:nvSpPr>
            <p:cNvPr id="22" name="Rectangle"/>
            <p:cNvSpPr/>
            <p:nvPr userDrawn="1"/>
          </p:nvSpPr>
          <p:spPr>
            <a:xfrm>
              <a:off x="160238" y="8398371"/>
              <a:ext cx="1300907" cy="534442"/>
            </a:xfrm>
            <a:prstGeom prst="rect">
              <a:avLst/>
            </a:prstGeom>
            <a:solidFill>
              <a:srgbClr val="85CDD9"/>
            </a:solidFill>
            <a:ln w="12700">
              <a:miter lim="400000"/>
            </a:ln>
          </p:spPr>
          <p:txBody>
            <a:bodyPr lIns="50800" tIns="50800" rIns="50800" bIns="50800" anchor="ctr"/>
            <a:lstStyle/>
            <a:p>
              <a:pPr defTabSz="872470"/>
              <a:endParaRPr lang="en-US" sz="1266" dirty="0">
                <a:solidFill>
                  <a:srgbClr val="002D72"/>
                </a:solidFill>
              </a:endParaRPr>
            </a:p>
          </p:txBody>
        </p:sp>
        <p:sp>
          <p:nvSpPr>
            <p:cNvPr id="23" name="Rectangle"/>
            <p:cNvSpPr/>
            <p:nvPr userDrawn="1"/>
          </p:nvSpPr>
          <p:spPr>
            <a:xfrm>
              <a:off x="160238" y="8183364"/>
              <a:ext cx="1300907" cy="215008"/>
            </a:xfrm>
            <a:prstGeom prst="rect">
              <a:avLst/>
            </a:prstGeom>
            <a:solidFill>
              <a:srgbClr val="4D89AD"/>
            </a:solidFill>
            <a:ln w="12700">
              <a:miter lim="400000"/>
            </a:ln>
          </p:spPr>
          <p:txBody>
            <a:bodyPr lIns="50800" tIns="50800" rIns="50800" bIns="50800" anchor="ctr"/>
            <a:lstStyle/>
            <a:p>
              <a:pPr defTabSz="872470"/>
              <a:endParaRPr lang="en-US" sz="1266" dirty="0">
                <a:solidFill>
                  <a:srgbClr val="002D72"/>
                </a:solidFill>
              </a:endParaRPr>
            </a:p>
          </p:txBody>
        </p:sp>
        <p:sp>
          <p:nvSpPr>
            <p:cNvPr id="24" name="Rectangle"/>
            <p:cNvSpPr/>
            <p:nvPr userDrawn="1"/>
          </p:nvSpPr>
          <p:spPr>
            <a:xfrm>
              <a:off x="160238" y="6195863"/>
              <a:ext cx="1300907" cy="1987502"/>
            </a:xfrm>
            <a:prstGeom prst="rect">
              <a:avLst/>
            </a:prstGeom>
            <a:solidFill>
              <a:srgbClr val="2591C0"/>
            </a:solidFill>
            <a:ln w="12700">
              <a:miter lim="400000"/>
            </a:ln>
          </p:spPr>
          <p:txBody>
            <a:bodyPr lIns="50800" tIns="50800" rIns="50800" bIns="50800" anchor="ctr"/>
            <a:lstStyle/>
            <a:p>
              <a:pPr defTabSz="872470"/>
              <a:endParaRPr lang="en-US" sz="1266" dirty="0">
                <a:solidFill>
                  <a:srgbClr val="002D72"/>
                </a:solidFill>
              </a:endParaRPr>
            </a:p>
          </p:txBody>
        </p:sp>
        <p:sp>
          <p:nvSpPr>
            <p:cNvPr id="25" name="Rectangle"/>
            <p:cNvSpPr/>
            <p:nvPr userDrawn="1"/>
          </p:nvSpPr>
          <p:spPr>
            <a:xfrm>
              <a:off x="160238" y="5724425"/>
              <a:ext cx="1300907" cy="471439"/>
            </a:xfrm>
            <a:prstGeom prst="rect">
              <a:avLst/>
            </a:prstGeom>
            <a:solidFill>
              <a:srgbClr val="104D6A"/>
            </a:solidFill>
            <a:ln w="12700">
              <a:miter lim="400000"/>
            </a:ln>
          </p:spPr>
          <p:txBody>
            <a:bodyPr lIns="50800" tIns="50800" rIns="50800" bIns="50800" anchor="ctr"/>
            <a:lstStyle/>
            <a:p>
              <a:pPr defTabSz="872470"/>
              <a:endParaRPr lang="en-US" sz="1266" dirty="0">
                <a:solidFill>
                  <a:srgbClr val="002D72"/>
                </a:solidFill>
              </a:endParaRPr>
            </a:p>
          </p:txBody>
        </p:sp>
        <p:sp>
          <p:nvSpPr>
            <p:cNvPr id="26" name="Rectangle"/>
            <p:cNvSpPr/>
            <p:nvPr userDrawn="1"/>
          </p:nvSpPr>
          <p:spPr>
            <a:xfrm>
              <a:off x="160238" y="371177"/>
              <a:ext cx="1300907" cy="813396"/>
            </a:xfrm>
            <a:prstGeom prst="rect">
              <a:avLst/>
            </a:prstGeom>
            <a:solidFill>
              <a:srgbClr val="095B88"/>
            </a:solidFill>
            <a:ln w="12700">
              <a:miter lim="400000"/>
            </a:ln>
          </p:spPr>
          <p:txBody>
            <a:bodyPr lIns="50800" tIns="50800" rIns="50800" bIns="50800" anchor="ctr"/>
            <a:lstStyle/>
            <a:p>
              <a:pPr defTabSz="872470"/>
              <a:endParaRPr lang="en-US" sz="1266" dirty="0">
                <a:solidFill>
                  <a:srgbClr val="002D72"/>
                </a:solidFill>
              </a:endParaRPr>
            </a:p>
          </p:txBody>
        </p:sp>
        <p:sp>
          <p:nvSpPr>
            <p:cNvPr id="27" name="Rectangle"/>
            <p:cNvSpPr/>
            <p:nvPr userDrawn="1"/>
          </p:nvSpPr>
          <p:spPr>
            <a:xfrm>
              <a:off x="160238" y="1184572"/>
              <a:ext cx="1300907" cy="4539854"/>
            </a:xfrm>
            <a:prstGeom prst="rect">
              <a:avLst/>
            </a:prstGeom>
            <a:solidFill>
              <a:srgbClr val="016AA1"/>
            </a:solidFill>
            <a:ln w="12700">
              <a:miter lim="400000"/>
            </a:ln>
          </p:spPr>
          <p:txBody>
            <a:bodyPr lIns="50800" tIns="50800" rIns="50800" bIns="50800" anchor="ctr"/>
            <a:lstStyle/>
            <a:p>
              <a:pPr defTabSz="872470"/>
              <a:endParaRPr lang="en-US" sz="1266" dirty="0">
                <a:solidFill>
                  <a:srgbClr val="002D72"/>
                </a:solidFill>
              </a:endParaRPr>
            </a:p>
          </p:txBody>
        </p:sp>
        <p:sp>
          <p:nvSpPr>
            <p:cNvPr id="28" name="Rectangle"/>
            <p:cNvSpPr/>
            <p:nvPr userDrawn="1"/>
          </p:nvSpPr>
          <p:spPr>
            <a:xfrm>
              <a:off x="160238" y="154880"/>
              <a:ext cx="1300907" cy="216298"/>
            </a:xfrm>
            <a:prstGeom prst="rect">
              <a:avLst/>
            </a:prstGeom>
            <a:solidFill>
              <a:srgbClr val="85CDD9"/>
            </a:solidFill>
            <a:ln w="12700">
              <a:miter lim="400000"/>
            </a:ln>
          </p:spPr>
          <p:txBody>
            <a:bodyPr lIns="50800" tIns="50800" rIns="50800" bIns="50800" anchor="ctr"/>
            <a:lstStyle/>
            <a:p>
              <a:pPr defTabSz="872470"/>
              <a:endParaRPr lang="en-US" sz="1266" dirty="0">
                <a:solidFill>
                  <a:srgbClr val="002D72"/>
                </a:solidFill>
              </a:endParaRPr>
            </a:p>
          </p:txBody>
        </p:sp>
      </p:grpSp>
    </p:spTree>
    <p:extLst>
      <p:ext uri="{BB962C8B-B14F-4D97-AF65-F5344CB8AC3E}">
        <p14:creationId xmlns:p14="http://schemas.microsoft.com/office/powerpoint/2010/main" val="2275835141"/>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961" y="1595"/>
          <a:ext cx="1953" cy="1587"/>
        </p:xfrm>
        <a:graphic>
          <a:graphicData uri="http://schemas.openxmlformats.org/presentationml/2006/ole">
            <mc:AlternateContent xmlns:mc="http://schemas.openxmlformats.org/markup-compatibility/2006">
              <mc:Choice xmlns:v="urn:schemas-microsoft-com:vml" Requires="v">
                <p:oleObj spid="_x0000_s1889155"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61" y="1595"/>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562715" y="162002"/>
            <a:ext cx="11068060" cy="704087"/>
          </a:xfrm>
        </p:spPr>
        <p:txBody>
          <a:bodyPr anchor="t"/>
          <a:lstStyle>
            <a:lvl1pPr>
              <a:defRPr>
                <a:latin typeface="Arial"/>
                <a:sym typeface="Arial"/>
              </a:defRPr>
            </a:lvl1pPr>
          </a:lstStyle>
          <a:p>
            <a:r>
              <a:rPr lang="en-US"/>
              <a:t>Click to edit Master title style</a:t>
            </a:r>
            <a:endParaRPr lang="en-US" dirty="0"/>
          </a:p>
        </p:txBody>
      </p:sp>
      <p:sp>
        <p:nvSpPr>
          <p:cNvPr id="4" name="Text Placeholder 3"/>
          <p:cNvSpPr>
            <a:spLocks noGrp="1"/>
          </p:cNvSpPr>
          <p:nvPr>
            <p:ph type="body" sz="quarter" idx="10"/>
          </p:nvPr>
        </p:nvSpPr>
        <p:spPr>
          <a:xfrm>
            <a:off x="562715" y="1508761"/>
            <a:ext cx="11068060" cy="3997304"/>
          </a:xfrm>
        </p:spPr>
        <p:txBody>
          <a:bodyPr lIns="0" tIns="0" rIns="0" bIns="0"/>
          <a:lstStyle>
            <a:lvl1pPr>
              <a:spcBef>
                <a:spcPts val="366"/>
              </a:spcBef>
              <a:defRPr>
                <a:latin typeface="Arial"/>
                <a:sym typeface="Arial"/>
              </a:defRPr>
            </a:lvl1pPr>
            <a:lvl2pPr marL="436235" indent="-219835">
              <a:spcBef>
                <a:spcPts val="366"/>
              </a:spcBef>
              <a:defRPr>
                <a:latin typeface="Arial"/>
                <a:sym typeface="Arial"/>
              </a:defRPr>
            </a:lvl2pPr>
            <a:lvl3pPr marL="872470" indent="-219835">
              <a:spcBef>
                <a:spcPts val="366"/>
              </a:spcBef>
              <a:defRPr>
                <a:latin typeface="Arial"/>
                <a:sym typeface="Arial"/>
              </a:defRPr>
            </a:lvl3pPr>
            <a:lvl4pPr marL="1312141" indent="-223271">
              <a:spcBef>
                <a:spcPts val="366"/>
              </a:spcBef>
              <a:defRPr>
                <a:latin typeface="Arial"/>
                <a:sym typeface="Arial"/>
              </a:defRPr>
            </a:lvl4pPr>
            <a:lvl5pPr marL="1964776" indent="-219835">
              <a:spcBef>
                <a:spcPts val="366"/>
              </a:spcBef>
              <a:defRPr>
                <a:latin typeface="Arial"/>
                <a:sym typeface="Aria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6"/>
          <p:cNvSpPr>
            <a:spLocks noGrp="1"/>
          </p:cNvSpPr>
          <p:nvPr>
            <p:ph type="body" sz="quarter" idx="11"/>
          </p:nvPr>
        </p:nvSpPr>
        <p:spPr>
          <a:xfrm>
            <a:off x="562715" y="863601"/>
            <a:ext cx="11068060" cy="320359"/>
          </a:xfrm>
        </p:spPr>
        <p:txBody>
          <a:bodyPr anchor="t">
            <a:normAutofit/>
          </a:bodyPr>
          <a:lstStyle>
            <a:lvl1pPr>
              <a:defRPr sz="1406" b="0">
                <a:solidFill>
                  <a:srgbClr val="73C4EF"/>
                </a:solidFill>
              </a:defRPr>
            </a:lvl1pPr>
          </a:lstStyle>
          <a:p>
            <a:pPr lvl="0"/>
            <a:r>
              <a:rPr lang="en-US"/>
              <a:t>Click to edit Master text styles</a:t>
            </a:r>
          </a:p>
        </p:txBody>
      </p:sp>
    </p:spTree>
    <p:extLst>
      <p:ext uri="{BB962C8B-B14F-4D97-AF65-F5344CB8AC3E}">
        <p14:creationId xmlns:p14="http://schemas.microsoft.com/office/powerpoint/2010/main" val="2192935701"/>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Text with bullets">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1961" y="1595"/>
          <a:ext cx="1953" cy="1587"/>
        </p:xfrm>
        <a:graphic>
          <a:graphicData uri="http://schemas.openxmlformats.org/presentationml/2006/ole">
            <mc:AlternateContent xmlns:mc="http://schemas.openxmlformats.org/markup-compatibility/2006">
              <mc:Choice xmlns:v="urn:schemas-microsoft-com:vml" Requires="v">
                <p:oleObj spid="_x0000_s1890179" name="think-cell Slide" r:id="rId4" imgW="270" imgH="270" progId="TCLayout.ActiveDocument.1">
                  <p:embed/>
                </p:oleObj>
              </mc:Choice>
              <mc:Fallback>
                <p:oleObj name="think-cell Slide" r:id="rId4" imgW="270" imgH="270" progId="TCLayout.ActiveDocument.1">
                  <p:embed/>
                  <p:pic>
                    <p:nvPicPr>
                      <p:cNvPr id="6" name="Object 5"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61" y="1595"/>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ext Placeholder 7"/>
          <p:cNvSpPr>
            <a:spLocks noGrp="1"/>
          </p:cNvSpPr>
          <p:nvPr userDrawn="1">
            <p:ph type="body" sz="quarter" idx="13"/>
          </p:nvPr>
        </p:nvSpPr>
        <p:spPr>
          <a:xfrm>
            <a:off x="562715" y="1508401"/>
            <a:ext cx="11068060" cy="3997304"/>
          </a:xfrm>
          <a:prstGeom prst="rect">
            <a:avLst/>
          </a:prstGeom>
        </p:spPr>
        <p:txBody>
          <a:bodyPr lIns="0" tIns="0" rIns="0" bIns="0"/>
          <a:lstStyle>
            <a:lvl1pPr marL="164877" indent="-164877">
              <a:spcBef>
                <a:spcPts val="366"/>
              </a:spcBef>
              <a:buClr>
                <a:srgbClr val="002D72"/>
              </a:buClr>
              <a:buFont typeface="Arial" pitchFamily="34" charset="0"/>
              <a:buChar char="•"/>
              <a:tabLst/>
              <a:defRPr b="0">
                <a:latin typeface="Arial"/>
                <a:sym typeface="Arial"/>
              </a:defRPr>
            </a:lvl1pPr>
            <a:lvl2pPr marL="601111" indent="-219835">
              <a:spcBef>
                <a:spcPts val="366"/>
              </a:spcBef>
              <a:buFont typeface="Arial" pitchFamily="34" charset="0"/>
              <a:buChar char="–"/>
              <a:defRPr>
                <a:latin typeface="Arial"/>
                <a:sym typeface="Arial"/>
              </a:defRPr>
            </a:lvl2pPr>
            <a:lvl3pPr marL="1027044" indent="-219835">
              <a:spcBef>
                <a:spcPts val="366"/>
              </a:spcBef>
              <a:defRPr>
                <a:latin typeface="Arial"/>
                <a:sym typeface="Arial"/>
              </a:defRPr>
            </a:lvl3pPr>
            <a:lvl4pPr marL="1473583" indent="-219835">
              <a:spcBef>
                <a:spcPts val="366"/>
              </a:spcBef>
              <a:defRPr>
                <a:latin typeface="Arial"/>
                <a:sym typeface="Arial"/>
              </a:defRPr>
            </a:lvl4pPr>
            <a:lvl5pPr marL="1964776" indent="-219835">
              <a:spcBef>
                <a:spcPts val="366"/>
              </a:spcBef>
              <a:defRPr>
                <a:latin typeface="Arial"/>
                <a:sym typeface="Aria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itle 1"/>
          <p:cNvSpPr>
            <a:spLocks noGrp="1"/>
          </p:cNvSpPr>
          <p:nvPr>
            <p:ph type="title"/>
          </p:nvPr>
        </p:nvSpPr>
        <p:spPr>
          <a:xfrm>
            <a:off x="562715" y="162002"/>
            <a:ext cx="11068060" cy="704087"/>
          </a:xfrm>
        </p:spPr>
        <p:txBody>
          <a:bodyPr anchor="t"/>
          <a:lstStyle>
            <a:lvl1pPr>
              <a:defRPr>
                <a:latin typeface="Arial"/>
                <a:sym typeface="Arial"/>
              </a:defRPr>
            </a:lvl1pPr>
          </a:lstStyle>
          <a:p>
            <a:r>
              <a:rPr lang="en-US"/>
              <a:t>Click to edit Master title style</a:t>
            </a:r>
            <a:endParaRPr lang="en-US" dirty="0"/>
          </a:p>
        </p:txBody>
      </p:sp>
      <p:sp>
        <p:nvSpPr>
          <p:cNvPr id="8" name="Text Placeholder 6"/>
          <p:cNvSpPr>
            <a:spLocks noGrp="1"/>
          </p:cNvSpPr>
          <p:nvPr>
            <p:ph type="body" sz="quarter" idx="11"/>
          </p:nvPr>
        </p:nvSpPr>
        <p:spPr>
          <a:xfrm>
            <a:off x="562715" y="863601"/>
            <a:ext cx="11068060" cy="320359"/>
          </a:xfrm>
        </p:spPr>
        <p:txBody>
          <a:bodyPr anchor="t">
            <a:normAutofit/>
          </a:bodyPr>
          <a:lstStyle>
            <a:lvl1pPr>
              <a:defRPr sz="1406" b="0">
                <a:solidFill>
                  <a:srgbClr val="73C4EF"/>
                </a:solidFill>
              </a:defRPr>
            </a:lvl1pPr>
          </a:lstStyle>
          <a:p>
            <a:pPr lvl="0"/>
            <a:r>
              <a:rPr lang="en-US"/>
              <a:t>Click to edit Master text styles</a:t>
            </a:r>
          </a:p>
        </p:txBody>
      </p:sp>
    </p:spTree>
    <p:extLst>
      <p:ext uri="{BB962C8B-B14F-4D97-AF65-F5344CB8AC3E}">
        <p14:creationId xmlns:p14="http://schemas.microsoft.com/office/powerpoint/2010/main" val="1351908371"/>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961" y="1595"/>
          <a:ext cx="1953" cy="1587"/>
        </p:xfrm>
        <a:graphic>
          <a:graphicData uri="http://schemas.openxmlformats.org/presentationml/2006/ole">
            <mc:AlternateContent xmlns:mc="http://schemas.openxmlformats.org/markup-compatibility/2006">
              <mc:Choice xmlns:v="urn:schemas-microsoft-com:vml" Requires="v">
                <p:oleObj spid="_x0000_s1891203" name="think-cell Slide" r:id="rId4" imgW="270" imgH="270" progId="TCLayout.ActiveDocument.1">
                  <p:embed/>
                </p:oleObj>
              </mc:Choice>
              <mc:Fallback>
                <p:oleObj name="think-cell Slide" r:id="rId4" imgW="270" imgH="270" progId="TCLayout.ActiveDocument.1">
                  <p:embed/>
                  <p:pic>
                    <p:nvPicPr>
                      <p:cNvPr id="7" name="Object 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61" y="1595"/>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le 1"/>
          <p:cNvSpPr>
            <a:spLocks noGrp="1"/>
          </p:cNvSpPr>
          <p:nvPr>
            <p:ph type="title"/>
          </p:nvPr>
        </p:nvSpPr>
        <p:spPr>
          <a:xfrm>
            <a:off x="562715" y="162002"/>
            <a:ext cx="11068060" cy="704087"/>
          </a:xfrm>
        </p:spPr>
        <p:txBody>
          <a:bodyPr anchor="t"/>
          <a:lstStyle>
            <a:lvl1pPr>
              <a:defRPr>
                <a:latin typeface="Arial"/>
                <a:sym typeface="Arial"/>
              </a:defRPr>
            </a:lvl1pPr>
          </a:lstStyle>
          <a:p>
            <a:r>
              <a:rPr lang="en-US"/>
              <a:t>Click to edit Master title style</a:t>
            </a:r>
            <a:endParaRPr lang="en-US" dirty="0"/>
          </a:p>
        </p:txBody>
      </p:sp>
      <p:sp>
        <p:nvSpPr>
          <p:cNvPr id="6" name="Text Placeholder 6"/>
          <p:cNvSpPr>
            <a:spLocks noGrp="1"/>
          </p:cNvSpPr>
          <p:nvPr>
            <p:ph type="body" sz="quarter" idx="11"/>
          </p:nvPr>
        </p:nvSpPr>
        <p:spPr>
          <a:xfrm>
            <a:off x="562715" y="863601"/>
            <a:ext cx="11068060" cy="320359"/>
          </a:xfrm>
        </p:spPr>
        <p:txBody>
          <a:bodyPr anchor="t">
            <a:normAutofit/>
          </a:bodyPr>
          <a:lstStyle>
            <a:lvl1pPr>
              <a:defRPr sz="1406" b="0">
                <a:solidFill>
                  <a:srgbClr val="73C4EF"/>
                </a:solidFill>
              </a:defRPr>
            </a:lvl1pPr>
          </a:lstStyle>
          <a:p>
            <a:pPr lvl="0"/>
            <a:r>
              <a:rPr lang="en-US"/>
              <a:t>Click to edit Master text styles</a:t>
            </a:r>
          </a:p>
        </p:txBody>
      </p:sp>
    </p:spTree>
    <p:extLst>
      <p:ext uri="{BB962C8B-B14F-4D97-AF65-F5344CB8AC3E}">
        <p14:creationId xmlns:p14="http://schemas.microsoft.com/office/powerpoint/2010/main" val="3518977103"/>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1961" y="1595"/>
          <a:ext cx="1953" cy="1587"/>
        </p:xfrm>
        <a:graphic>
          <a:graphicData uri="http://schemas.openxmlformats.org/presentationml/2006/ole">
            <mc:AlternateContent xmlns:mc="http://schemas.openxmlformats.org/markup-compatibility/2006">
              <mc:Choice xmlns:v="urn:schemas-microsoft-com:vml" Requires="v">
                <p:oleObj spid="_x0000_s1892227" name="think-cell Slide" r:id="rId4" imgW="270" imgH="270" progId="TCLayout.ActiveDocument.1">
                  <p:embed/>
                </p:oleObj>
              </mc:Choice>
              <mc:Fallback>
                <p:oleObj name="think-cell Slide" r:id="rId4" imgW="270" imgH="270" progId="TCLayout.ActiveDocument.1">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61" y="1595"/>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3925313479"/>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userDrawn="1">
  <p:cSld name="18_Title and Tex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2126" y="1596"/>
          <a:ext cx="2116" cy="1587"/>
        </p:xfrm>
        <a:graphic>
          <a:graphicData uri="http://schemas.openxmlformats.org/presentationml/2006/ole">
            <mc:AlternateContent xmlns:mc="http://schemas.openxmlformats.org/markup-compatibility/2006">
              <mc:Choice xmlns:v="urn:schemas-microsoft-com:vml" Requires="v">
                <p:oleObj spid="_x0000_s1893251" name="think-cell Slide" r:id="rId4" imgW="360" imgH="360" progId="TCLayout.ActiveDocument.1">
                  <p:embed/>
                </p:oleObj>
              </mc:Choice>
              <mc:Fallback>
                <p:oleObj name="think-cell Slide" r:id="rId4" imgW="360" imgH="360" progId="TCLayout.ActiveDocument.1">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26" y="1596"/>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ext Placeholder 4"/>
          <p:cNvSpPr>
            <a:spLocks noGrp="1"/>
          </p:cNvSpPr>
          <p:nvPr>
            <p:ph type="body" sz="quarter" idx="10"/>
          </p:nvPr>
        </p:nvSpPr>
        <p:spPr>
          <a:xfrm>
            <a:off x="579977" y="1509715"/>
            <a:ext cx="11032068" cy="4613275"/>
          </a:xfrm>
          <a:prstGeom prst="rect">
            <a:avLst/>
          </a:prstGeom>
        </p:spPr>
        <p:txBody>
          <a:bodyPr/>
          <a:lstStyle>
            <a:lvl2pPr marL="437751" indent="-212060">
              <a:defRPr/>
            </a:lvl2pPr>
            <a:lvl3pPr marL="863383" indent="-201456">
              <a:defRPr/>
            </a:lvl3pPr>
            <a:lvl4pPr marL="1305677" indent="-207516">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Line 3"/>
          <p:cNvSpPr>
            <a:spLocks noChangeShapeType="1"/>
          </p:cNvSpPr>
          <p:nvPr userDrawn="1"/>
        </p:nvSpPr>
        <p:spPr bwMode="gray">
          <a:xfrm>
            <a:off x="585226" y="996696"/>
            <a:ext cx="11033759" cy="0"/>
          </a:xfrm>
          <a:prstGeom prst="line">
            <a:avLst/>
          </a:prstGeom>
          <a:noFill/>
          <a:ln w="12700">
            <a:solidFill>
              <a:srgbClr val="002D72"/>
            </a:solidFill>
            <a:round/>
            <a:headEnd/>
            <a:tailEnd/>
          </a:ln>
        </p:spPr>
        <p:txBody>
          <a:bodyPr wrap="none" lIns="87250" tIns="43625" rIns="87250" bIns="43625" anchor="ctr"/>
          <a:lstStyle/>
          <a:p>
            <a:pPr algn="ctr" defTabSz="872470">
              <a:defRPr/>
            </a:pPr>
            <a:endParaRPr lang="en-US" sz="1336" b="1" dirty="0">
              <a:solidFill>
                <a:srgbClr val="000000"/>
              </a:solidFill>
              <a:cs typeface="Arial" pitchFamily="34" charset="0"/>
            </a:endParaRPr>
          </a:p>
        </p:txBody>
      </p:sp>
      <p:sp>
        <p:nvSpPr>
          <p:cNvPr id="7" name="Title Placeholder 9"/>
          <p:cNvSpPr>
            <a:spLocks noGrp="1"/>
          </p:cNvSpPr>
          <p:nvPr>
            <p:ph type="title"/>
          </p:nvPr>
        </p:nvSpPr>
        <p:spPr>
          <a:xfrm>
            <a:off x="585216" y="152408"/>
            <a:ext cx="11033760" cy="809625"/>
          </a:xfrm>
          <a:prstGeom prst="rect">
            <a:avLst/>
          </a:prstGeom>
        </p:spPr>
        <p:txBody>
          <a:bodyPr vert="horz" lIns="0" tIns="0" rIns="0" bIns="0" rtlCol="0" anchor="b" anchorCtr="0">
            <a:normAutofit/>
          </a:bodyPr>
          <a:lstStyle/>
          <a:p>
            <a:r>
              <a:rPr lang="en-US" dirty="0"/>
              <a:t>Click to edit Master title style</a:t>
            </a:r>
          </a:p>
        </p:txBody>
      </p:sp>
    </p:spTree>
    <p:extLst>
      <p:ext uri="{BB962C8B-B14F-4D97-AF65-F5344CB8AC3E}">
        <p14:creationId xmlns:p14="http://schemas.microsoft.com/office/powerpoint/2010/main" val="3070115136"/>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type="titleOnly" preserve="1">
  <p:cSld name="1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1961" y="1595"/>
          <a:ext cx="1953" cy="1587"/>
        </p:xfrm>
        <a:graphic>
          <a:graphicData uri="http://schemas.openxmlformats.org/presentationml/2006/ole">
            <mc:AlternateContent xmlns:mc="http://schemas.openxmlformats.org/markup-compatibility/2006">
              <mc:Choice xmlns:v="urn:schemas-microsoft-com:vml" Requires="v">
                <p:oleObj spid="_x0000_s1894275" name="think-cell Slide" r:id="rId4" imgW="270" imgH="270" progId="TCLayout.ActiveDocument.1">
                  <p:embed/>
                </p:oleObj>
              </mc:Choice>
              <mc:Fallback>
                <p:oleObj name="think-cell Slide" r:id="rId4" imgW="270" imgH="270" progId="TCLayout.ActiveDocument.1">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61" y="1595"/>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s-MX"/>
          </a:p>
        </p:txBody>
      </p:sp>
    </p:spTree>
    <p:extLst>
      <p:ext uri="{BB962C8B-B14F-4D97-AF65-F5344CB8AC3E}">
        <p14:creationId xmlns:p14="http://schemas.microsoft.com/office/powerpoint/2010/main" val="425259361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85"/>
          <p:cNvSpPr>
            <a:spLocks noGrp="1" noChangeArrowheads="1"/>
          </p:cNvSpPr>
          <p:nvPr>
            <p:ph type="sldNum" sz="quarter" idx="10"/>
          </p:nvPr>
        </p:nvSpPr>
        <p:spPr>
          <a:ln/>
        </p:spPr>
        <p:txBody>
          <a:bodyPr/>
          <a:lstStyle>
            <a:lvl1pPr>
              <a:defRPr/>
            </a:lvl1pPr>
          </a:lstStyle>
          <a:p>
            <a:pPr>
              <a:defRPr/>
            </a:pPr>
            <a:fld id="{92C380FF-0397-644C-B316-9BC79B505A0E}" type="slidenum">
              <a:rPr lang="en-US">
                <a:solidFill>
                  <a:srgbClr val="53565A"/>
                </a:solidFill>
              </a:rPr>
              <a:pPr>
                <a:defRPr/>
              </a:pPr>
              <a:t>‹#›</a:t>
            </a:fld>
            <a:endParaRPr lang="en-US">
              <a:solidFill>
                <a:srgbClr val="53565A"/>
              </a:solidFill>
            </a:endParaRPr>
          </a:p>
        </p:txBody>
      </p:sp>
      <p:sp>
        <p:nvSpPr>
          <p:cNvPr id="6" name="Rectangle 92"/>
          <p:cNvSpPr>
            <a:spLocks noGrp="1" noChangeArrowheads="1"/>
          </p:cNvSpPr>
          <p:nvPr>
            <p:ph type="ftr" sz="quarter" idx="12"/>
          </p:nvPr>
        </p:nvSpPr>
        <p:spPr>
          <a:ln/>
        </p:spPr>
        <p:txBody>
          <a:bodyPr/>
          <a:lstStyle>
            <a:lvl1pPr>
              <a:defRPr/>
            </a:lvl1pPr>
          </a:lstStyle>
          <a:p>
            <a:pPr>
              <a:defRPr/>
            </a:pPr>
            <a:r>
              <a:rPr lang="en-US">
                <a:solidFill>
                  <a:srgbClr val="53565A"/>
                </a:solidFill>
              </a:rPr>
              <a:t>Presentation Title</a:t>
            </a:r>
          </a:p>
        </p:txBody>
      </p:sp>
    </p:spTree>
    <p:extLst>
      <p:ext uri="{BB962C8B-B14F-4D97-AF65-F5344CB8AC3E}">
        <p14:creationId xmlns:p14="http://schemas.microsoft.com/office/powerpoint/2010/main" val="2118442588"/>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showMasterSp="0" type="tx">
  <p:cSld name="Title and Content copy 3">
    <p:spTree>
      <p:nvGrpSpPr>
        <p:cNvPr id="1" name=""/>
        <p:cNvGrpSpPr/>
        <p:nvPr/>
      </p:nvGrpSpPr>
      <p:grpSpPr>
        <a:xfrm>
          <a:off x="0" y="0"/>
          <a:ext cx="0" cy="0"/>
          <a:chOff x="0" y="0"/>
          <a:chExt cx="0" cy="0"/>
        </a:xfrm>
      </p:grpSpPr>
      <p:pic>
        <p:nvPicPr>
          <p:cNvPr id="74" name="Picture 3" descr="Picture 3"/>
          <p:cNvPicPr>
            <a:picLocks noChangeAspect="1"/>
          </p:cNvPicPr>
          <p:nvPr/>
        </p:nvPicPr>
        <p:blipFill>
          <a:blip r:embed="rId2"/>
          <a:srcRect l="12" r="55235"/>
          <a:stretch>
            <a:fillRect/>
          </a:stretch>
        </p:blipFill>
        <p:spPr>
          <a:xfrm>
            <a:off x="2093" y="0"/>
            <a:ext cx="7269137" cy="6858000"/>
          </a:xfrm>
          <a:prstGeom prst="rect">
            <a:avLst/>
          </a:prstGeom>
          <a:ln w="12700">
            <a:miter lim="400000"/>
          </a:ln>
        </p:spPr>
      </p:pic>
      <p:pic>
        <p:nvPicPr>
          <p:cNvPr id="75" name="Picture 3" descr="Picture 3"/>
          <p:cNvPicPr>
            <a:picLocks noChangeAspect="1"/>
          </p:cNvPicPr>
          <p:nvPr/>
        </p:nvPicPr>
        <p:blipFill>
          <a:blip r:embed="rId2"/>
          <a:srcRect l="59142"/>
          <a:stretch>
            <a:fillRect/>
          </a:stretch>
        </p:blipFill>
        <p:spPr>
          <a:xfrm>
            <a:off x="5558685" y="0"/>
            <a:ext cx="6636572" cy="6858000"/>
          </a:xfrm>
          <a:prstGeom prst="rect">
            <a:avLst/>
          </a:prstGeom>
          <a:ln w="12700">
            <a:miter lim="400000"/>
          </a:ln>
        </p:spPr>
      </p:pic>
      <p:sp>
        <p:nvSpPr>
          <p:cNvPr id="76" name="Slide Number"/>
          <p:cNvSpPr txBox="1">
            <a:spLocks noGrp="1"/>
          </p:cNvSpPr>
          <p:nvPr>
            <p:ph type="sldNum" sz="quarter" idx="2"/>
          </p:nvPr>
        </p:nvSpPr>
        <p:spPr>
          <a:xfrm>
            <a:off x="7904019" y="4328137"/>
            <a:ext cx="287488" cy="282359"/>
          </a:xfrm>
          <a:prstGeom prst="rect">
            <a:avLst/>
          </a:prstGeom>
        </p:spPr>
        <p:txBody>
          <a:bodyPr lIns="124130" tIns="62065" rIns="124130" bIns="62065"/>
          <a:lstStyle/>
          <a:p>
            <a:fld id="{86CB4B4D-7CA3-9044-876B-883B54F8677D}" type="slidenum">
              <a:rPr/>
              <a:pPr/>
              <a:t>‹#›</a:t>
            </a:fld>
            <a:endParaRPr/>
          </a:p>
        </p:txBody>
      </p:sp>
    </p:spTree>
    <p:extLst>
      <p:ext uri="{BB962C8B-B14F-4D97-AF65-F5344CB8AC3E}">
        <p14:creationId xmlns:p14="http://schemas.microsoft.com/office/powerpoint/2010/main" val="682890084"/>
      </p:ext>
    </p:extLst>
  </p:cSld>
  <p:clrMapOvr>
    <a:masterClrMapping/>
  </p:clrMapOvr>
  <p:transition spd="med"/>
</p:sldLayout>
</file>

<file path=ppt/slideLayouts/slideLayout16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3150" name="Rectangle 78"/>
          <p:cNvSpPr>
            <a:spLocks noGrp="1" noChangeArrowheads="1"/>
          </p:cNvSpPr>
          <p:nvPr>
            <p:ph type="ctrTitle"/>
          </p:nvPr>
        </p:nvSpPr>
        <p:spPr>
          <a:xfrm>
            <a:off x="804333" y="906466"/>
            <a:ext cx="10947400" cy="517525"/>
          </a:xfrm>
        </p:spPr>
        <p:txBody>
          <a:bodyPr/>
          <a:lstStyle>
            <a:lvl1pPr>
              <a:defRPr sz="2400"/>
            </a:lvl1pPr>
          </a:lstStyle>
          <a:p>
            <a:pPr lvl="0"/>
            <a:r>
              <a:rPr lang="en-US" noProof="0"/>
              <a:t>Click to edit Master title style</a:t>
            </a:r>
            <a:endParaRPr lang="en-US" noProof="0" dirty="0"/>
          </a:p>
        </p:txBody>
      </p:sp>
      <p:sp>
        <p:nvSpPr>
          <p:cNvPr id="3151" name="Rectangle 79"/>
          <p:cNvSpPr>
            <a:spLocks noGrp="1" noChangeArrowheads="1"/>
          </p:cNvSpPr>
          <p:nvPr>
            <p:ph type="subTitle" sz="quarter" idx="1"/>
          </p:nvPr>
        </p:nvSpPr>
        <p:spPr>
          <a:xfrm>
            <a:off x="804336" y="1397000"/>
            <a:ext cx="10962217" cy="1093788"/>
          </a:xfrm>
          <a:extLst>
            <a:ext uri="{91240B29-F687-4F45-9708-019B960494DF}">
              <a14:hiddenLine xmlns:a14="http://schemas.microsoft.com/office/drawing/2010/main" w="9525">
                <a:solidFill>
                  <a:schemeClr val="tx1"/>
                </a:solidFill>
                <a:miter lim="800000"/>
                <a:headEnd/>
                <a:tailEnd/>
              </a14:hiddenLine>
            </a:ext>
          </a:extLst>
        </p:spPr>
        <p:txBody>
          <a:bodyPr tIns="0" rIns="0" bIns="0"/>
          <a:lstStyle>
            <a:lvl1pPr marL="0" indent="0">
              <a:lnSpc>
                <a:spcPct val="100000"/>
              </a:lnSpc>
              <a:spcBef>
                <a:spcPct val="0"/>
              </a:spcBef>
              <a:spcAft>
                <a:spcPct val="0"/>
              </a:spcAft>
              <a:buFontTx/>
              <a:buNone/>
              <a:defRPr sz="2400">
                <a:solidFill>
                  <a:srgbClr val="00BDF2"/>
                </a:solidFill>
              </a:defRPr>
            </a:lvl1pPr>
          </a:lstStyle>
          <a:p>
            <a:pPr lvl="0"/>
            <a:r>
              <a:rPr lang="en-US" noProof="0"/>
              <a:t>Click to edit Master subtitle style</a:t>
            </a:r>
            <a:endParaRPr lang="en-US" noProof="0" dirty="0"/>
          </a:p>
        </p:txBody>
      </p:sp>
      <p:pic>
        <p:nvPicPr>
          <p:cNvPr id="7" name="Picture 6"/>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8033573" y="5695406"/>
            <a:ext cx="3557543" cy="627018"/>
          </a:xfrm>
          <a:prstGeom prst="rect">
            <a:avLst/>
          </a:prstGeom>
        </p:spPr>
      </p:pic>
    </p:spTree>
    <p:extLst>
      <p:ext uri="{BB962C8B-B14F-4D97-AF65-F5344CB8AC3E}">
        <p14:creationId xmlns:p14="http://schemas.microsoft.com/office/powerpoint/2010/main" val="4107158868"/>
      </p:ext>
    </p:extLst>
  </p:cSld>
  <p:clrMapOvr>
    <a:overrideClrMapping bg1="lt1" tx1="dk1" bg2="lt2" tx2="dk2" accent1="accent1" accent2="accent2" accent3="accent3" accent4="accent4" accent5="accent5" accent6="accent6" hlink="hlink" folHlink="folHlink"/>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032187400"/>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showMasterSp="0" preserve="1" userDrawn="1">
  <p:cSld name="Separator">
    <p:bg>
      <p:bgPr>
        <a:solidFill>
          <a:schemeClr val="tx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1447800" y="2661158"/>
            <a:ext cx="9296400" cy="574773"/>
          </a:xfrm>
        </p:spPr>
        <p:txBody>
          <a:bodyPr wrap="square">
            <a:spAutoFit/>
          </a:bodyPr>
          <a:lstStyle>
            <a:lvl1pPr marL="0" indent="0">
              <a:buNone/>
              <a:defRPr sz="3300" b="1" baseline="0">
                <a:solidFill>
                  <a:schemeClr val="bg1"/>
                </a:solidFill>
              </a:defRPr>
            </a:lvl1pPr>
            <a:lvl2pPr>
              <a:defRPr sz="3000">
                <a:solidFill>
                  <a:schemeClr val="bg1"/>
                </a:solidFill>
              </a:defRPr>
            </a:lvl2pPr>
            <a:lvl3pPr>
              <a:defRPr sz="3000">
                <a:solidFill>
                  <a:schemeClr val="bg1"/>
                </a:solidFill>
              </a:defRPr>
            </a:lvl3pPr>
            <a:lvl4pPr>
              <a:defRPr sz="3000">
                <a:solidFill>
                  <a:schemeClr val="bg1"/>
                </a:solidFill>
              </a:defRPr>
            </a:lvl4pPr>
            <a:lvl5pPr>
              <a:defRPr sz="3000">
                <a:solidFill>
                  <a:schemeClr val="bg1"/>
                </a:solidFill>
              </a:defRPr>
            </a:lvl5pPr>
          </a:lstStyle>
          <a:p>
            <a:pPr lvl="0"/>
            <a:r>
              <a:rPr lang="en-US" dirty="0"/>
              <a:t>Separator text</a:t>
            </a:r>
            <a:endParaRPr lang="es-MX" dirty="0"/>
          </a:p>
        </p:txBody>
      </p:sp>
      <p:sp>
        <p:nvSpPr>
          <p:cNvPr id="7" name="Text Placeholder 3"/>
          <p:cNvSpPr>
            <a:spLocks noGrp="1"/>
          </p:cNvSpPr>
          <p:nvPr>
            <p:ph type="body" sz="quarter" idx="11" hasCustomPrompt="1"/>
          </p:nvPr>
        </p:nvSpPr>
        <p:spPr>
          <a:xfrm>
            <a:off x="1447800" y="3556508"/>
            <a:ext cx="9296400" cy="487056"/>
          </a:xfrm>
        </p:spPr>
        <p:txBody>
          <a:bodyPr wrap="square">
            <a:spAutoFit/>
          </a:bodyPr>
          <a:lstStyle>
            <a:lvl1pPr marL="0" indent="0">
              <a:buNone/>
              <a:defRPr sz="2700" baseline="0">
                <a:solidFill>
                  <a:schemeClr val="bg1"/>
                </a:solidFill>
              </a:defRPr>
            </a:lvl1pPr>
            <a:lvl2pPr>
              <a:defRPr sz="3000">
                <a:solidFill>
                  <a:schemeClr val="bg1"/>
                </a:solidFill>
              </a:defRPr>
            </a:lvl2pPr>
            <a:lvl3pPr>
              <a:defRPr sz="3000">
                <a:solidFill>
                  <a:schemeClr val="bg1"/>
                </a:solidFill>
              </a:defRPr>
            </a:lvl3pPr>
            <a:lvl4pPr>
              <a:defRPr sz="3000">
                <a:solidFill>
                  <a:schemeClr val="bg1"/>
                </a:solidFill>
              </a:defRPr>
            </a:lvl4pPr>
            <a:lvl5pPr>
              <a:defRPr sz="3000">
                <a:solidFill>
                  <a:schemeClr val="bg1"/>
                </a:solidFill>
              </a:defRPr>
            </a:lvl5pPr>
          </a:lstStyle>
          <a:p>
            <a:pPr lvl="0"/>
            <a:r>
              <a:rPr lang="en-US" dirty="0"/>
              <a:t>Separator text</a:t>
            </a:r>
            <a:endParaRPr lang="es-MX" dirty="0"/>
          </a:p>
        </p:txBody>
      </p:sp>
    </p:spTree>
    <p:extLst>
      <p:ext uri="{BB962C8B-B14F-4D97-AF65-F5344CB8AC3E}">
        <p14:creationId xmlns:p14="http://schemas.microsoft.com/office/powerpoint/2010/main" val="753525058"/>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26572" y="249010"/>
            <a:ext cx="11541581" cy="495300"/>
          </a:xfrm>
        </p:spPr>
        <p:txBody>
          <a:bodyPr/>
          <a:lstStyle/>
          <a:p>
            <a:r>
              <a:rPr lang="en-US" dirty="0"/>
              <a:t>Click to edit Master title style</a:t>
            </a:r>
          </a:p>
        </p:txBody>
      </p:sp>
      <p:sp>
        <p:nvSpPr>
          <p:cNvPr id="3" name="Content Placeholder 2"/>
          <p:cNvSpPr>
            <a:spLocks noGrp="1"/>
          </p:cNvSpPr>
          <p:nvPr>
            <p:ph idx="1"/>
          </p:nvPr>
        </p:nvSpPr>
        <p:spPr>
          <a:xfrm>
            <a:off x="326573" y="1320800"/>
            <a:ext cx="11541580" cy="494665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5"/>
          <p:cNvSpPr>
            <a:spLocks noGrp="1"/>
          </p:cNvSpPr>
          <p:nvPr>
            <p:ph type="body" sz="quarter" idx="10" hasCustomPrompt="1"/>
          </p:nvPr>
        </p:nvSpPr>
        <p:spPr>
          <a:xfrm>
            <a:off x="326571" y="631011"/>
            <a:ext cx="11541155" cy="300038"/>
          </a:xfrm>
        </p:spPr>
        <p:txBody>
          <a:bodyPr/>
          <a:lstStyle>
            <a:lvl1pPr marL="0" indent="0">
              <a:buNone/>
              <a:defRPr sz="1200">
                <a:solidFill>
                  <a:schemeClr val="tx1">
                    <a:lumMod val="50000"/>
                  </a:schemeClr>
                </a:solidFill>
              </a:defRPr>
            </a:lvl1pPr>
          </a:lstStyle>
          <a:p>
            <a:pPr lvl="0"/>
            <a:r>
              <a:rPr lang="es-MX" dirty="0" err="1"/>
              <a:t>Subtitle</a:t>
            </a:r>
            <a:endParaRPr lang="es-MX" dirty="0"/>
          </a:p>
        </p:txBody>
      </p:sp>
    </p:spTree>
    <p:extLst>
      <p:ext uri="{BB962C8B-B14F-4D97-AF65-F5344CB8AC3E}">
        <p14:creationId xmlns:p14="http://schemas.microsoft.com/office/powerpoint/2010/main" val="1265419839"/>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804335" y="314325"/>
            <a:ext cx="11055351" cy="495300"/>
          </a:xfrm>
        </p:spPr>
        <p:txBody>
          <a:bodyPr/>
          <a:lstStyle/>
          <a:p>
            <a:r>
              <a:rPr lang="en-US"/>
              <a:t>Click to edit Master title style</a:t>
            </a:r>
          </a:p>
        </p:txBody>
      </p:sp>
      <p:sp>
        <p:nvSpPr>
          <p:cNvPr id="3" name="Content Placeholder 2"/>
          <p:cNvSpPr>
            <a:spLocks noGrp="1"/>
          </p:cNvSpPr>
          <p:nvPr>
            <p:ph sz="half" idx="1"/>
          </p:nvPr>
        </p:nvSpPr>
        <p:spPr>
          <a:xfrm>
            <a:off x="804333" y="1320800"/>
            <a:ext cx="5429251" cy="4946650"/>
          </a:xfrm>
        </p:spPr>
        <p:txBody>
          <a:bodyPr/>
          <a:lstStyle>
            <a:lvl1pPr>
              <a:defRPr sz="2100"/>
            </a:lvl1pPr>
            <a:lvl2pPr>
              <a:defRPr sz="1800"/>
            </a:lvl2pPr>
            <a:lvl3pPr>
              <a:defRPr sz="1500"/>
            </a:lvl3pPr>
            <a:lvl4pPr>
              <a:defRPr sz="1350"/>
            </a:lvl4pPr>
            <a:lvl5pPr>
              <a:defRPr sz="1350"/>
            </a:lvl5pPr>
            <a:lvl6pPr>
              <a:defRPr sz="1350"/>
            </a:lvl6pPr>
            <a:lvl7pPr>
              <a:defRPr sz="1350"/>
            </a:lvl7pPr>
            <a:lvl8pPr>
              <a:defRPr sz="1350"/>
            </a:lvl8pPr>
            <a:lvl9pPr>
              <a:defRPr sz="13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436786" y="1320800"/>
            <a:ext cx="5431367" cy="4946650"/>
          </a:xfrm>
        </p:spPr>
        <p:txBody>
          <a:bodyPr/>
          <a:lstStyle>
            <a:lvl1pPr>
              <a:defRPr sz="2100"/>
            </a:lvl1pPr>
            <a:lvl2pPr>
              <a:defRPr sz="1800"/>
            </a:lvl2pPr>
            <a:lvl3pPr>
              <a:defRPr sz="1500"/>
            </a:lvl3pPr>
            <a:lvl4pPr>
              <a:defRPr sz="1350"/>
            </a:lvl4pPr>
            <a:lvl5pPr>
              <a:defRPr sz="1350"/>
            </a:lvl5pPr>
            <a:lvl6pPr>
              <a:defRPr sz="1350"/>
            </a:lvl6pPr>
            <a:lvl7pPr>
              <a:defRPr sz="1350"/>
            </a:lvl7pPr>
            <a:lvl8pPr>
              <a:defRPr sz="1350"/>
            </a:lvl8pPr>
            <a:lvl9pPr>
              <a:defRPr sz="13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05989215"/>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804335" y="314325"/>
            <a:ext cx="11055351" cy="495300"/>
          </a:xfrm>
        </p:spPr>
        <p:txBody>
          <a:bodyPr/>
          <a:lstStyle/>
          <a:p>
            <a:r>
              <a:rPr lang="en-US"/>
              <a:t>Click to edit Master title style</a:t>
            </a:r>
          </a:p>
        </p:txBody>
      </p:sp>
    </p:spTree>
    <p:extLst>
      <p:ext uri="{BB962C8B-B14F-4D97-AF65-F5344CB8AC3E}">
        <p14:creationId xmlns:p14="http://schemas.microsoft.com/office/powerpoint/2010/main" val="2675154806"/>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userDrawn="1">
  <p:cSld name="Contents">
    <p:spTree>
      <p:nvGrpSpPr>
        <p:cNvPr id="1" name=""/>
        <p:cNvGrpSpPr/>
        <p:nvPr/>
      </p:nvGrpSpPr>
      <p:grpSpPr>
        <a:xfrm>
          <a:off x="0" y="0"/>
          <a:ext cx="0" cy="0"/>
          <a:chOff x="0" y="0"/>
          <a:chExt cx="0" cy="0"/>
        </a:xfrm>
      </p:grpSpPr>
      <p:sp>
        <p:nvSpPr>
          <p:cNvPr id="10" name="Content Placeholder 20"/>
          <p:cNvSpPr>
            <a:spLocks noGrp="1"/>
          </p:cNvSpPr>
          <p:nvPr>
            <p:ph sz="quarter" idx="12"/>
          </p:nvPr>
        </p:nvSpPr>
        <p:spPr bwMode="gray">
          <a:xfrm>
            <a:off x="548639" y="1399032"/>
            <a:ext cx="6823268" cy="4882896"/>
          </a:xfrm>
          <a:prstGeom prst="rect">
            <a:avLst/>
          </a:prstGeom>
        </p:spPr>
        <p:txBody>
          <a:bodyPr vert="horz" wrap="square" lIns="0" tIns="0" rIns="0" bIns="0" rtlCol="0">
            <a:noAutofit/>
          </a:bodyPr>
          <a:lstStyle>
            <a:lvl1pPr marL="0" marR="0" indent="0" algn="l" defTabSz="514350" rtl="0" eaLnBrk="1" fontAlgn="base" latinLnBrk="0" hangingPunct="1">
              <a:lnSpc>
                <a:spcPct val="100000"/>
              </a:lnSpc>
              <a:spcBef>
                <a:spcPts val="1238"/>
              </a:spcBef>
              <a:spcAft>
                <a:spcPct val="0"/>
              </a:spcAft>
              <a:buClrTx/>
              <a:buSzTx/>
              <a:buFont typeface="Arial" pitchFamily="34" charset="0"/>
              <a:buNone/>
              <a:tabLst>
                <a:tab pos="2828925" algn="r"/>
              </a:tabLst>
              <a:defRPr kumimoji="0" lang="en-US" sz="1125" b="0" i="0" u="none" strike="noStrike" kern="1200" cap="none" normalizeH="0" baseline="0" dirty="0" smtClean="0">
                <a:ln>
                  <a:noFill/>
                </a:ln>
                <a:solidFill>
                  <a:schemeClr val="tx2"/>
                </a:solidFill>
                <a:effectLst/>
                <a:latin typeface="+mn-lt"/>
                <a:ea typeface="+mn-ea"/>
                <a:cs typeface="Arial" pitchFamily="34" charset="0"/>
              </a:defRPr>
            </a:lvl1pPr>
            <a:lvl2pPr marL="98227" marR="0" indent="-97334" algn="l" defTabSz="514350" rtl="0" eaLnBrk="1" fontAlgn="base" latinLnBrk="0" hangingPunct="1">
              <a:lnSpc>
                <a:spcPct val="100000"/>
              </a:lnSpc>
              <a:spcAft>
                <a:spcPct val="0"/>
              </a:spcAft>
              <a:buFont typeface="Arial" pitchFamily="34" charset="0"/>
              <a:tabLst>
                <a:tab pos="2828925" algn="r"/>
              </a:tabLst>
              <a:defRPr kumimoji="0" lang="en-US" sz="1125" b="0" i="0" u="none" strike="noStrike" kern="1200" cap="none" normalizeH="0" baseline="0" dirty="0" smtClean="0">
                <a:ln>
                  <a:noFill/>
                </a:ln>
                <a:solidFill>
                  <a:schemeClr val="tx2"/>
                </a:solidFill>
                <a:effectLst/>
                <a:latin typeface="+mn-lt"/>
                <a:ea typeface="+mn-ea"/>
                <a:cs typeface="Arial" pitchFamily="34" charset="0"/>
              </a:defRPr>
            </a:lvl2pPr>
            <a:lvl3pPr marR="0" algn="l" defTabSz="514350" rtl="0" eaLnBrk="1" fontAlgn="base" latinLnBrk="0" hangingPunct="1">
              <a:lnSpc>
                <a:spcPct val="100000"/>
              </a:lnSpc>
              <a:spcAft>
                <a:spcPct val="0"/>
              </a:spcAft>
              <a:buFont typeface="Arial" pitchFamily="34" charset="0"/>
              <a:tabLst>
                <a:tab pos="2828925" algn="r"/>
              </a:tabLst>
              <a:defRPr kumimoji="0" lang="en-US" sz="1013" b="0" i="0" u="none" strike="noStrike" kern="1200" cap="none" normalizeH="0" baseline="0" dirty="0" smtClean="0">
                <a:ln>
                  <a:noFill/>
                </a:ln>
                <a:solidFill>
                  <a:schemeClr val="tx2"/>
                </a:solidFill>
                <a:effectLst/>
                <a:latin typeface="Arial" pitchFamily="34" charset="0"/>
                <a:ea typeface="+mn-ea"/>
                <a:cs typeface="Arial" pitchFamily="34" charset="0"/>
              </a:defRPr>
            </a:lvl3pPr>
            <a:lvl4pPr marR="0" algn="l" defTabSz="514350" rtl="0" eaLnBrk="1" fontAlgn="base" latinLnBrk="0" hangingPunct="1">
              <a:lnSpc>
                <a:spcPct val="100000"/>
              </a:lnSpc>
              <a:spcAft>
                <a:spcPct val="0"/>
              </a:spcAft>
              <a:buFont typeface="Arial" pitchFamily="34" charset="0"/>
              <a:tabLst>
                <a:tab pos="2828925" algn="r"/>
              </a:tabLst>
              <a:defRPr kumimoji="0" lang="en-US" sz="1013" b="0" i="0" u="none" strike="noStrike" kern="1200" cap="none" normalizeH="0" baseline="0" dirty="0" smtClean="0">
                <a:ln>
                  <a:noFill/>
                </a:ln>
                <a:solidFill>
                  <a:schemeClr val="tx2"/>
                </a:solidFill>
                <a:effectLst/>
                <a:latin typeface="+mn-lt"/>
                <a:ea typeface="+mn-ea"/>
                <a:cs typeface="Arial" pitchFamily="34" charset="0"/>
              </a:defRPr>
            </a:lvl4pPr>
            <a:lvl5pPr marR="0" algn="l" defTabSz="514350" rtl="0" eaLnBrk="1" fontAlgn="base" latinLnBrk="0" hangingPunct="1">
              <a:lnSpc>
                <a:spcPct val="100000"/>
              </a:lnSpc>
              <a:spcAft>
                <a:spcPct val="0"/>
              </a:spcAft>
              <a:buFont typeface="Arial" pitchFamily="34" charset="0"/>
              <a:tabLst>
                <a:tab pos="2828925" algn="r"/>
              </a:tabLst>
              <a:defRPr kumimoji="0" lang="en-US" sz="1013" b="0" i="0" u="none" strike="noStrike" kern="1200" cap="none" normalizeH="0" baseline="0" dirty="0" smtClean="0">
                <a:ln>
                  <a:noFill/>
                </a:ln>
                <a:solidFill>
                  <a:schemeClr val="tx2"/>
                </a:solidFill>
                <a:effectLst/>
                <a:latin typeface="+mn-lt"/>
                <a:ea typeface="+mn-ea"/>
                <a:cs typeface="Arial" pitchFamily="34" charset="0"/>
              </a:defRPr>
            </a:lvl5pPr>
            <a:lvl6pPr marR="0" algn="l" defTabSz="514350" rtl="0" eaLnBrk="1" fontAlgn="base" latinLnBrk="0" hangingPunct="1">
              <a:lnSpc>
                <a:spcPct val="100000"/>
              </a:lnSpc>
              <a:spcAft>
                <a:spcPct val="0"/>
              </a:spcAft>
              <a:buFont typeface="Arial" pitchFamily="34" charset="0"/>
              <a:tabLst/>
              <a:defRPr kumimoji="0" lang="en-US" sz="1013" b="0" i="0" u="none" strike="noStrike" kern="1200" cap="none" normalizeH="0" baseline="0" dirty="0" smtClean="0">
                <a:ln>
                  <a:noFill/>
                </a:ln>
                <a:solidFill>
                  <a:schemeClr val="tx2"/>
                </a:solidFill>
                <a:effectLst/>
                <a:latin typeface="+mn-lt"/>
                <a:ea typeface="+mn-ea"/>
                <a:cs typeface="Arial" pitchFamily="34" charset="0"/>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Title Placeholder 10"/>
          <p:cNvSpPr>
            <a:spLocks noGrp="1"/>
          </p:cNvSpPr>
          <p:nvPr>
            <p:ph type="title"/>
          </p:nvPr>
        </p:nvSpPr>
        <p:spPr bwMode="gray">
          <a:xfrm>
            <a:off x="552451" y="450281"/>
            <a:ext cx="11106912" cy="249299"/>
          </a:xfrm>
          <a:prstGeom prst="rect">
            <a:avLst/>
          </a:prstGeom>
        </p:spPr>
        <p:txBody>
          <a:bodyPr lIns="0" tIns="0" rIns="0" bIns="0">
            <a:spAutoFit/>
          </a:bodyPr>
          <a:lstStyle/>
          <a:p>
            <a:pPr marL="0" marR="0" lvl="0" indent="0" algn="l" defTabSz="514350" rtl="0" eaLnBrk="0" fontAlgn="base" latinLnBrk="0" hangingPunct="0">
              <a:lnSpc>
                <a:spcPct val="90000"/>
              </a:lnSpc>
              <a:spcBef>
                <a:spcPct val="0"/>
              </a:spcBef>
              <a:spcAft>
                <a:spcPct val="0"/>
              </a:spcAft>
              <a:buClrTx/>
              <a:buSzTx/>
              <a:buFontTx/>
              <a:buNone/>
              <a:tabLst/>
              <a:defRPr/>
            </a:pPr>
            <a:r>
              <a:rPr lang="en-US"/>
              <a:t>Click to edit Master title style</a:t>
            </a:r>
            <a:endParaRPr lang="en-US" dirty="0"/>
          </a:p>
        </p:txBody>
      </p:sp>
    </p:spTree>
    <p:extLst>
      <p:ext uri="{BB962C8B-B14F-4D97-AF65-F5344CB8AC3E}">
        <p14:creationId xmlns:p14="http://schemas.microsoft.com/office/powerpoint/2010/main" val="433667992"/>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userDrawn="1">
  <p:cSld name="Title and subtitle Only">
    <p:spTree>
      <p:nvGrpSpPr>
        <p:cNvPr id="1" name=""/>
        <p:cNvGrpSpPr/>
        <p:nvPr/>
      </p:nvGrpSpPr>
      <p:grpSpPr>
        <a:xfrm>
          <a:off x="0" y="0"/>
          <a:ext cx="0" cy="0"/>
          <a:chOff x="0" y="0"/>
          <a:chExt cx="0" cy="0"/>
        </a:xfrm>
      </p:grpSpPr>
      <p:sp>
        <p:nvSpPr>
          <p:cNvPr id="2" name="Title 1"/>
          <p:cNvSpPr>
            <a:spLocks noGrp="1"/>
          </p:cNvSpPr>
          <p:nvPr>
            <p:ph type="title"/>
          </p:nvPr>
        </p:nvSpPr>
        <p:spPr>
          <a:xfrm>
            <a:off x="429686" y="122241"/>
            <a:ext cx="11332633" cy="427037"/>
          </a:xfrm>
        </p:spPr>
        <p:txBody>
          <a:bodyPr/>
          <a:lstStyle/>
          <a:p>
            <a:r>
              <a:rPr lang="en-US"/>
              <a:t>Click to edit Master title style</a:t>
            </a:r>
          </a:p>
        </p:txBody>
      </p:sp>
      <p:sp>
        <p:nvSpPr>
          <p:cNvPr id="7" name="Content Placeholder 6"/>
          <p:cNvSpPr>
            <a:spLocks noGrp="1"/>
          </p:cNvSpPr>
          <p:nvPr>
            <p:ph sz="quarter" idx="10" hasCustomPrompt="1"/>
          </p:nvPr>
        </p:nvSpPr>
        <p:spPr>
          <a:xfrm>
            <a:off x="429686" y="698957"/>
            <a:ext cx="11332633" cy="245837"/>
          </a:xfrm>
        </p:spPr>
        <p:txBody>
          <a:bodyPr>
            <a:spAutoFit/>
          </a:bodyPr>
          <a:lstStyle>
            <a:lvl1pPr marL="0" indent="0">
              <a:spcBef>
                <a:spcPts val="0"/>
              </a:spcBef>
              <a:buNone/>
              <a:defRPr sz="1050">
                <a:latin typeface="+mj-lt"/>
              </a:defRPr>
            </a:lvl1pPr>
          </a:lstStyle>
          <a:p>
            <a:pPr lvl="0"/>
            <a:r>
              <a:rPr lang="en-US" dirty="0"/>
              <a:t>Click to edit subtitle</a:t>
            </a:r>
            <a:endParaRPr lang="es-MX" dirty="0"/>
          </a:p>
        </p:txBody>
      </p:sp>
    </p:spTree>
    <p:extLst>
      <p:ext uri="{BB962C8B-B14F-4D97-AF65-F5344CB8AC3E}">
        <p14:creationId xmlns:p14="http://schemas.microsoft.com/office/powerpoint/2010/main" val="431462616"/>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3150" name="Rectangle 78"/>
          <p:cNvSpPr>
            <a:spLocks noGrp="1" noChangeArrowheads="1"/>
          </p:cNvSpPr>
          <p:nvPr>
            <p:ph type="ctrTitle"/>
          </p:nvPr>
        </p:nvSpPr>
        <p:spPr>
          <a:xfrm>
            <a:off x="804333" y="906466"/>
            <a:ext cx="10947400" cy="517525"/>
          </a:xfrm>
        </p:spPr>
        <p:txBody>
          <a:bodyPr/>
          <a:lstStyle>
            <a:lvl1pPr>
              <a:defRPr sz="2400"/>
            </a:lvl1pPr>
          </a:lstStyle>
          <a:p>
            <a:pPr lvl="0"/>
            <a:r>
              <a:rPr lang="en-US" noProof="0"/>
              <a:t>Click to edit Master title style</a:t>
            </a:r>
            <a:endParaRPr lang="en-US" noProof="0" dirty="0"/>
          </a:p>
        </p:txBody>
      </p:sp>
      <p:sp>
        <p:nvSpPr>
          <p:cNvPr id="3151" name="Rectangle 79"/>
          <p:cNvSpPr>
            <a:spLocks noGrp="1" noChangeArrowheads="1"/>
          </p:cNvSpPr>
          <p:nvPr>
            <p:ph type="subTitle" sz="quarter" idx="1"/>
          </p:nvPr>
        </p:nvSpPr>
        <p:spPr>
          <a:xfrm>
            <a:off x="804336" y="1397000"/>
            <a:ext cx="10962217" cy="1093788"/>
          </a:xfrm>
          <a:extLst>
            <a:ext uri="{91240B29-F687-4F45-9708-019B960494DF}">
              <a14:hiddenLine xmlns:a14="http://schemas.microsoft.com/office/drawing/2010/main" w="9525">
                <a:solidFill>
                  <a:schemeClr val="tx1"/>
                </a:solidFill>
                <a:miter lim="800000"/>
                <a:headEnd/>
                <a:tailEnd/>
              </a14:hiddenLine>
            </a:ext>
          </a:extLst>
        </p:spPr>
        <p:txBody>
          <a:bodyPr tIns="0" rIns="0" bIns="0"/>
          <a:lstStyle>
            <a:lvl1pPr marL="0" indent="0">
              <a:lnSpc>
                <a:spcPct val="100000"/>
              </a:lnSpc>
              <a:spcBef>
                <a:spcPct val="0"/>
              </a:spcBef>
              <a:spcAft>
                <a:spcPct val="0"/>
              </a:spcAft>
              <a:buFontTx/>
              <a:buNone/>
              <a:defRPr sz="2400">
                <a:solidFill>
                  <a:srgbClr val="00BDF2"/>
                </a:solidFill>
              </a:defRPr>
            </a:lvl1pPr>
          </a:lstStyle>
          <a:p>
            <a:pPr lvl="0"/>
            <a:r>
              <a:rPr lang="en-US" noProof="0"/>
              <a:t>Click to edit Master subtitle style</a:t>
            </a:r>
            <a:endParaRPr lang="en-US" noProof="0" dirty="0"/>
          </a:p>
        </p:txBody>
      </p:sp>
      <p:pic>
        <p:nvPicPr>
          <p:cNvPr id="7" name="Picture 6"/>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8033573" y="5695406"/>
            <a:ext cx="3557543" cy="627018"/>
          </a:xfrm>
          <a:prstGeom prst="rect">
            <a:avLst/>
          </a:prstGeom>
        </p:spPr>
      </p:pic>
    </p:spTree>
    <p:extLst>
      <p:ext uri="{BB962C8B-B14F-4D97-AF65-F5344CB8AC3E}">
        <p14:creationId xmlns:p14="http://schemas.microsoft.com/office/powerpoint/2010/main" val="1078646160"/>
      </p:ext>
    </p:extLst>
  </p:cSld>
  <p:clrMapOvr>
    <a:overrideClrMapping bg1="lt1" tx1="dk1" bg2="lt2" tx2="dk2" accent1="accent1" accent2="accent2" accent3="accent3" accent4="accent4" accent5="accent5" accent6="accent6" hlink="hlink" folHlink="folHlink"/>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Rectangle 85"/>
          <p:cNvSpPr>
            <a:spLocks noGrp="1" noChangeArrowheads="1"/>
          </p:cNvSpPr>
          <p:nvPr>
            <p:ph type="sldNum" sz="quarter" idx="10"/>
          </p:nvPr>
        </p:nvSpPr>
        <p:spPr>
          <a:ln/>
        </p:spPr>
        <p:txBody>
          <a:bodyPr/>
          <a:lstStyle>
            <a:lvl1pPr>
              <a:defRPr/>
            </a:lvl1pPr>
          </a:lstStyle>
          <a:p>
            <a:pPr>
              <a:defRPr/>
            </a:pPr>
            <a:fld id="{B53A4395-16C9-6F44-AB3C-C7A6087BA63D}" type="slidenum">
              <a:rPr lang="en-US">
                <a:solidFill>
                  <a:srgbClr val="53565A"/>
                </a:solidFill>
              </a:rPr>
              <a:pPr>
                <a:defRPr/>
              </a:pPr>
              <a:t>‹#›</a:t>
            </a:fld>
            <a:endParaRPr lang="en-US">
              <a:solidFill>
                <a:srgbClr val="53565A"/>
              </a:solidFill>
            </a:endParaRPr>
          </a:p>
        </p:txBody>
      </p:sp>
      <p:sp>
        <p:nvSpPr>
          <p:cNvPr id="4" name="Rectangle 87"/>
          <p:cNvSpPr>
            <a:spLocks noGrp="1" noChangeArrowheads="1"/>
          </p:cNvSpPr>
          <p:nvPr>
            <p:ph type="dt" sz="half" idx="11"/>
          </p:nvPr>
        </p:nvSpPr>
        <p:spPr>
          <a:ln/>
        </p:spPr>
        <p:txBody>
          <a:bodyPr/>
          <a:lstStyle>
            <a:lvl1pPr>
              <a:defRPr/>
            </a:lvl1pPr>
          </a:lstStyle>
          <a:p>
            <a:pPr>
              <a:defRPr/>
            </a:pPr>
            <a:r>
              <a:rPr lang="en-US">
                <a:solidFill>
                  <a:srgbClr val="53565A"/>
                </a:solidFill>
              </a:rPr>
              <a:t>MM.DD.YY</a:t>
            </a:r>
          </a:p>
        </p:txBody>
      </p:sp>
      <p:sp>
        <p:nvSpPr>
          <p:cNvPr id="5" name="Rectangle 92"/>
          <p:cNvSpPr>
            <a:spLocks noGrp="1" noChangeArrowheads="1"/>
          </p:cNvSpPr>
          <p:nvPr>
            <p:ph type="ftr" sz="quarter" idx="12"/>
          </p:nvPr>
        </p:nvSpPr>
        <p:spPr>
          <a:ln/>
        </p:spPr>
        <p:txBody>
          <a:bodyPr/>
          <a:lstStyle>
            <a:lvl1pPr>
              <a:defRPr/>
            </a:lvl1pPr>
          </a:lstStyle>
          <a:p>
            <a:pPr>
              <a:defRPr/>
            </a:pPr>
            <a:r>
              <a:rPr lang="en-US">
                <a:solidFill>
                  <a:srgbClr val="53565A"/>
                </a:solidFill>
              </a:rPr>
              <a:t>Presentation Title</a:t>
            </a:r>
          </a:p>
        </p:txBody>
      </p:sp>
    </p:spTree>
    <p:extLst>
      <p:ext uri="{BB962C8B-B14F-4D97-AF65-F5344CB8AC3E}">
        <p14:creationId xmlns:p14="http://schemas.microsoft.com/office/powerpoint/2010/main" val="185374025"/>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57842728"/>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showMasterSp="0" preserve="1" userDrawn="1">
  <p:cSld name="Separator">
    <p:bg>
      <p:bgPr>
        <a:solidFill>
          <a:schemeClr val="tx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1447800" y="2661158"/>
            <a:ext cx="9296400" cy="574773"/>
          </a:xfrm>
        </p:spPr>
        <p:txBody>
          <a:bodyPr wrap="square">
            <a:spAutoFit/>
          </a:bodyPr>
          <a:lstStyle>
            <a:lvl1pPr marL="0" indent="0">
              <a:buNone/>
              <a:defRPr sz="3300" b="1" baseline="0">
                <a:solidFill>
                  <a:schemeClr val="bg1"/>
                </a:solidFill>
              </a:defRPr>
            </a:lvl1pPr>
            <a:lvl2pPr>
              <a:defRPr sz="3000">
                <a:solidFill>
                  <a:schemeClr val="bg1"/>
                </a:solidFill>
              </a:defRPr>
            </a:lvl2pPr>
            <a:lvl3pPr>
              <a:defRPr sz="3000">
                <a:solidFill>
                  <a:schemeClr val="bg1"/>
                </a:solidFill>
              </a:defRPr>
            </a:lvl3pPr>
            <a:lvl4pPr>
              <a:defRPr sz="3000">
                <a:solidFill>
                  <a:schemeClr val="bg1"/>
                </a:solidFill>
              </a:defRPr>
            </a:lvl4pPr>
            <a:lvl5pPr>
              <a:defRPr sz="3000">
                <a:solidFill>
                  <a:schemeClr val="bg1"/>
                </a:solidFill>
              </a:defRPr>
            </a:lvl5pPr>
          </a:lstStyle>
          <a:p>
            <a:pPr lvl="0"/>
            <a:r>
              <a:rPr lang="en-US" dirty="0"/>
              <a:t>Separator text</a:t>
            </a:r>
            <a:endParaRPr lang="es-MX" dirty="0"/>
          </a:p>
        </p:txBody>
      </p:sp>
      <p:sp>
        <p:nvSpPr>
          <p:cNvPr id="7" name="Text Placeholder 3"/>
          <p:cNvSpPr>
            <a:spLocks noGrp="1"/>
          </p:cNvSpPr>
          <p:nvPr>
            <p:ph type="body" sz="quarter" idx="11" hasCustomPrompt="1"/>
          </p:nvPr>
        </p:nvSpPr>
        <p:spPr>
          <a:xfrm>
            <a:off x="1447800" y="3556508"/>
            <a:ext cx="9296400" cy="487056"/>
          </a:xfrm>
        </p:spPr>
        <p:txBody>
          <a:bodyPr wrap="square">
            <a:spAutoFit/>
          </a:bodyPr>
          <a:lstStyle>
            <a:lvl1pPr marL="0" indent="0">
              <a:buNone/>
              <a:defRPr sz="2700" baseline="0">
                <a:solidFill>
                  <a:schemeClr val="bg1"/>
                </a:solidFill>
              </a:defRPr>
            </a:lvl1pPr>
            <a:lvl2pPr>
              <a:defRPr sz="3000">
                <a:solidFill>
                  <a:schemeClr val="bg1"/>
                </a:solidFill>
              </a:defRPr>
            </a:lvl2pPr>
            <a:lvl3pPr>
              <a:defRPr sz="3000">
                <a:solidFill>
                  <a:schemeClr val="bg1"/>
                </a:solidFill>
              </a:defRPr>
            </a:lvl3pPr>
            <a:lvl4pPr>
              <a:defRPr sz="3000">
                <a:solidFill>
                  <a:schemeClr val="bg1"/>
                </a:solidFill>
              </a:defRPr>
            </a:lvl4pPr>
            <a:lvl5pPr>
              <a:defRPr sz="3000">
                <a:solidFill>
                  <a:schemeClr val="bg1"/>
                </a:solidFill>
              </a:defRPr>
            </a:lvl5pPr>
          </a:lstStyle>
          <a:p>
            <a:pPr lvl="0"/>
            <a:r>
              <a:rPr lang="en-US" dirty="0"/>
              <a:t>Separator text</a:t>
            </a:r>
            <a:endParaRPr lang="es-MX" dirty="0"/>
          </a:p>
        </p:txBody>
      </p:sp>
    </p:spTree>
    <p:extLst>
      <p:ext uri="{BB962C8B-B14F-4D97-AF65-F5344CB8AC3E}">
        <p14:creationId xmlns:p14="http://schemas.microsoft.com/office/powerpoint/2010/main" val="1045197756"/>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26572" y="249010"/>
            <a:ext cx="11541581" cy="495300"/>
          </a:xfrm>
        </p:spPr>
        <p:txBody>
          <a:bodyPr/>
          <a:lstStyle/>
          <a:p>
            <a:r>
              <a:rPr lang="en-US" dirty="0"/>
              <a:t>Click to edit Master title style</a:t>
            </a:r>
          </a:p>
        </p:txBody>
      </p:sp>
      <p:sp>
        <p:nvSpPr>
          <p:cNvPr id="3" name="Content Placeholder 2"/>
          <p:cNvSpPr>
            <a:spLocks noGrp="1"/>
          </p:cNvSpPr>
          <p:nvPr>
            <p:ph idx="1"/>
          </p:nvPr>
        </p:nvSpPr>
        <p:spPr>
          <a:xfrm>
            <a:off x="326573" y="1320800"/>
            <a:ext cx="11541580" cy="494665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5"/>
          <p:cNvSpPr>
            <a:spLocks noGrp="1"/>
          </p:cNvSpPr>
          <p:nvPr>
            <p:ph type="body" sz="quarter" idx="10" hasCustomPrompt="1"/>
          </p:nvPr>
        </p:nvSpPr>
        <p:spPr>
          <a:xfrm>
            <a:off x="326571" y="631011"/>
            <a:ext cx="11541155" cy="300038"/>
          </a:xfrm>
        </p:spPr>
        <p:txBody>
          <a:bodyPr/>
          <a:lstStyle>
            <a:lvl1pPr marL="0" indent="0">
              <a:buNone/>
              <a:defRPr sz="1200">
                <a:solidFill>
                  <a:schemeClr val="tx1">
                    <a:lumMod val="50000"/>
                  </a:schemeClr>
                </a:solidFill>
              </a:defRPr>
            </a:lvl1pPr>
          </a:lstStyle>
          <a:p>
            <a:pPr lvl="0"/>
            <a:r>
              <a:rPr lang="es-MX" dirty="0" err="1"/>
              <a:t>Subtitle</a:t>
            </a:r>
            <a:endParaRPr lang="es-MX" dirty="0"/>
          </a:p>
        </p:txBody>
      </p:sp>
    </p:spTree>
    <p:extLst>
      <p:ext uri="{BB962C8B-B14F-4D97-AF65-F5344CB8AC3E}">
        <p14:creationId xmlns:p14="http://schemas.microsoft.com/office/powerpoint/2010/main" val="574684329"/>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804335" y="314325"/>
            <a:ext cx="11055351" cy="495300"/>
          </a:xfrm>
        </p:spPr>
        <p:txBody>
          <a:bodyPr/>
          <a:lstStyle/>
          <a:p>
            <a:r>
              <a:rPr lang="en-US"/>
              <a:t>Click to edit Master title style</a:t>
            </a:r>
          </a:p>
        </p:txBody>
      </p:sp>
      <p:sp>
        <p:nvSpPr>
          <p:cNvPr id="3" name="Content Placeholder 2"/>
          <p:cNvSpPr>
            <a:spLocks noGrp="1"/>
          </p:cNvSpPr>
          <p:nvPr>
            <p:ph sz="half" idx="1"/>
          </p:nvPr>
        </p:nvSpPr>
        <p:spPr>
          <a:xfrm>
            <a:off x="804333" y="1320800"/>
            <a:ext cx="5429251" cy="4946650"/>
          </a:xfrm>
        </p:spPr>
        <p:txBody>
          <a:bodyPr/>
          <a:lstStyle>
            <a:lvl1pPr>
              <a:defRPr sz="2100"/>
            </a:lvl1pPr>
            <a:lvl2pPr>
              <a:defRPr sz="1800"/>
            </a:lvl2pPr>
            <a:lvl3pPr>
              <a:defRPr sz="1500"/>
            </a:lvl3pPr>
            <a:lvl4pPr>
              <a:defRPr sz="1350"/>
            </a:lvl4pPr>
            <a:lvl5pPr>
              <a:defRPr sz="1350"/>
            </a:lvl5pPr>
            <a:lvl6pPr>
              <a:defRPr sz="1350"/>
            </a:lvl6pPr>
            <a:lvl7pPr>
              <a:defRPr sz="1350"/>
            </a:lvl7pPr>
            <a:lvl8pPr>
              <a:defRPr sz="1350"/>
            </a:lvl8pPr>
            <a:lvl9pPr>
              <a:defRPr sz="13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436786" y="1320800"/>
            <a:ext cx="5431367" cy="4946650"/>
          </a:xfrm>
        </p:spPr>
        <p:txBody>
          <a:bodyPr/>
          <a:lstStyle>
            <a:lvl1pPr>
              <a:defRPr sz="2100"/>
            </a:lvl1pPr>
            <a:lvl2pPr>
              <a:defRPr sz="1800"/>
            </a:lvl2pPr>
            <a:lvl3pPr>
              <a:defRPr sz="1500"/>
            </a:lvl3pPr>
            <a:lvl4pPr>
              <a:defRPr sz="1350"/>
            </a:lvl4pPr>
            <a:lvl5pPr>
              <a:defRPr sz="1350"/>
            </a:lvl5pPr>
            <a:lvl6pPr>
              <a:defRPr sz="1350"/>
            </a:lvl6pPr>
            <a:lvl7pPr>
              <a:defRPr sz="1350"/>
            </a:lvl7pPr>
            <a:lvl8pPr>
              <a:defRPr sz="1350"/>
            </a:lvl8pPr>
            <a:lvl9pPr>
              <a:defRPr sz="13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52326899"/>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804335" y="314325"/>
            <a:ext cx="11055351" cy="495300"/>
          </a:xfrm>
        </p:spPr>
        <p:txBody>
          <a:bodyPr/>
          <a:lstStyle/>
          <a:p>
            <a:r>
              <a:rPr lang="en-US"/>
              <a:t>Click to edit Master title style</a:t>
            </a:r>
          </a:p>
        </p:txBody>
      </p:sp>
    </p:spTree>
    <p:extLst>
      <p:ext uri="{BB962C8B-B14F-4D97-AF65-F5344CB8AC3E}">
        <p14:creationId xmlns:p14="http://schemas.microsoft.com/office/powerpoint/2010/main" val="739818755"/>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userDrawn="1">
  <p:cSld name="Contents">
    <p:spTree>
      <p:nvGrpSpPr>
        <p:cNvPr id="1" name=""/>
        <p:cNvGrpSpPr/>
        <p:nvPr/>
      </p:nvGrpSpPr>
      <p:grpSpPr>
        <a:xfrm>
          <a:off x="0" y="0"/>
          <a:ext cx="0" cy="0"/>
          <a:chOff x="0" y="0"/>
          <a:chExt cx="0" cy="0"/>
        </a:xfrm>
      </p:grpSpPr>
      <p:sp>
        <p:nvSpPr>
          <p:cNvPr id="10" name="Content Placeholder 20"/>
          <p:cNvSpPr>
            <a:spLocks noGrp="1"/>
          </p:cNvSpPr>
          <p:nvPr>
            <p:ph sz="quarter" idx="12"/>
          </p:nvPr>
        </p:nvSpPr>
        <p:spPr bwMode="gray">
          <a:xfrm>
            <a:off x="548639" y="1399032"/>
            <a:ext cx="6823268" cy="4882896"/>
          </a:xfrm>
          <a:prstGeom prst="rect">
            <a:avLst/>
          </a:prstGeom>
        </p:spPr>
        <p:txBody>
          <a:bodyPr vert="horz" wrap="square" lIns="0" tIns="0" rIns="0" bIns="0" rtlCol="0">
            <a:noAutofit/>
          </a:bodyPr>
          <a:lstStyle>
            <a:lvl1pPr marL="0" marR="0" indent="0" algn="l" defTabSz="514350" rtl="0" eaLnBrk="1" fontAlgn="base" latinLnBrk="0" hangingPunct="1">
              <a:lnSpc>
                <a:spcPct val="100000"/>
              </a:lnSpc>
              <a:spcBef>
                <a:spcPts val="1238"/>
              </a:spcBef>
              <a:spcAft>
                <a:spcPct val="0"/>
              </a:spcAft>
              <a:buClrTx/>
              <a:buSzTx/>
              <a:buFont typeface="Arial" pitchFamily="34" charset="0"/>
              <a:buNone/>
              <a:tabLst>
                <a:tab pos="2828925" algn="r"/>
              </a:tabLst>
              <a:defRPr kumimoji="0" lang="en-US" sz="1125" b="0" i="0" u="none" strike="noStrike" kern="1200" cap="none" normalizeH="0" baseline="0" dirty="0" smtClean="0">
                <a:ln>
                  <a:noFill/>
                </a:ln>
                <a:solidFill>
                  <a:schemeClr val="tx2"/>
                </a:solidFill>
                <a:effectLst/>
                <a:latin typeface="+mn-lt"/>
                <a:ea typeface="+mn-ea"/>
                <a:cs typeface="Arial" pitchFamily="34" charset="0"/>
              </a:defRPr>
            </a:lvl1pPr>
            <a:lvl2pPr marL="98227" marR="0" indent="-97334" algn="l" defTabSz="514350" rtl="0" eaLnBrk="1" fontAlgn="base" latinLnBrk="0" hangingPunct="1">
              <a:lnSpc>
                <a:spcPct val="100000"/>
              </a:lnSpc>
              <a:spcAft>
                <a:spcPct val="0"/>
              </a:spcAft>
              <a:buFont typeface="Arial" pitchFamily="34" charset="0"/>
              <a:tabLst>
                <a:tab pos="2828925" algn="r"/>
              </a:tabLst>
              <a:defRPr kumimoji="0" lang="en-US" sz="1125" b="0" i="0" u="none" strike="noStrike" kern="1200" cap="none" normalizeH="0" baseline="0" dirty="0" smtClean="0">
                <a:ln>
                  <a:noFill/>
                </a:ln>
                <a:solidFill>
                  <a:schemeClr val="tx2"/>
                </a:solidFill>
                <a:effectLst/>
                <a:latin typeface="+mn-lt"/>
                <a:ea typeface="+mn-ea"/>
                <a:cs typeface="Arial" pitchFamily="34" charset="0"/>
              </a:defRPr>
            </a:lvl2pPr>
            <a:lvl3pPr marR="0" algn="l" defTabSz="514350" rtl="0" eaLnBrk="1" fontAlgn="base" latinLnBrk="0" hangingPunct="1">
              <a:lnSpc>
                <a:spcPct val="100000"/>
              </a:lnSpc>
              <a:spcAft>
                <a:spcPct val="0"/>
              </a:spcAft>
              <a:buFont typeface="Arial" pitchFamily="34" charset="0"/>
              <a:tabLst>
                <a:tab pos="2828925" algn="r"/>
              </a:tabLst>
              <a:defRPr kumimoji="0" lang="en-US" sz="1013" b="0" i="0" u="none" strike="noStrike" kern="1200" cap="none" normalizeH="0" baseline="0" dirty="0" smtClean="0">
                <a:ln>
                  <a:noFill/>
                </a:ln>
                <a:solidFill>
                  <a:schemeClr val="tx2"/>
                </a:solidFill>
                <a:effectLst/>
                <a:latin typeface="Arial" pitchFamily="34" charset="0"/>
                <a:ea typeface="+mn-ea"/>
                <a:cs typeface="Arial" pitchFamily="34" charset="0"/>
              </a:defRPr>
            </a:lvl3pPr>
            <a:lvl4pPr marR="0" algn="l" defTabSz="514350" rtl="0" eaLnBrk="1" fontAlgn="base" latinLnBrk="0" hangingPunct="1">
              <a:lnSpc>
                <a:spcPct val="100000"/>
              </a:lnSpc>
              <a:spcAft>
                <a:spcPct val="0"/>
              </a:spcAft>
              <a:buFont typeface="Arial" pitchFamily="34" charset="0"/>
              <a:tabLst>
                <a:tab pos="2828925" algn="r"/>
              </a:tabLst>
              <a:defRPr kumimoji="0" lang="en-US" sz="1013" b="0" i="0" u="none" strike="noStrike" kern="1200" cap="none" normalizeH="0" baseline="0" dirty="0" smtClean="0">
                <a:ln>
                  <a:noFill/>
                </a:ln>
                <a:solidFill>
                  <a:schemeClr val="tx2"/>
                </a:solidFill>
                <a:effectLst/>
                <a:latin typeface="+mn-lt"/>
                <a:ea typeface="+mn-ea"/>
                <a:cs typeface="Arial" pitchFamily="34" charset="0"/>
              </a:defRPr>
            </a:lvl4pPr>
            <a:lvl5pPr marR="0" algn="l" defTabSz="514350" rtl="0" eaLnBrk="1" fontAlgn="base" latinLnBrk="0" hangingPunct="1">
              <a:lnSpc>
                <a:spcPct val="100000"/>
              </a:lnSpc>
              <a:spcAft>
                <a:spcPct val="0"/>
              </a:spcAft>
              <a:buFont typeface="Arial" pitchFamily="34" charset="0"/>
              <a:tabLst>
                <a:tab pos="2828925" algn="r"/>
              </a:tabLst>
              <a:defRPr kumimoji="0" lang="en-US" sz="1013" b="0" i="0" u="none" strike="noStrike" kern="1200" cap="none" normalizeH="0" baseline="0" dirty="0" smtClean="0">
                <a:ln>
                  <a:noFill/>
                </a:ln>
                <a:solidFill>
                  <a:schemeClr val="tx2"/>
                </a:solidFill>
                <a:effectLst/>
                <a:latin typeface="+mn-lt"/>
                <a:ea typeface="+mn-ea"/>
                <a:cs typeface="Arial" pitchFamily="34" charset="0"/>
              </a:defRPr>
            </a:lvl5pPr>
            <a:lvl6pPr marR="0" algn="l" defTabSz="514350" rtl="0" eaLnBrk="1" fontAlgn="base" latinLnBrk="0" hangingPunct="1">
              <a:lnSpc>
                <a:spcPct val="100000"/>
              </a:lnSpc>
              <a:spcAft>
                <a:spcPct val="0"/>
              </a:spcAft>
              <a:buFont typeface="Arial" pitchFamily="34" charset="0"/>
              <a:tabLst/>
              <a:defRPr kumimoji="0" lang="en-US" sz="1013" b="0" i="0" u="none" strike="noStrike" kern="1200" cap="none" normalizeH="0" baseline="0" dirty="0" smtClean="0">
                <a:ln>
                  <a:noFill/>
                </a:ln>
                <a:solidFill>
                  <a:schemeClr val="tx2"/>
                </a:solidFill>
                <a:effectLst/>
                <a:latin typeface="+mn-lt"/>
                <a:ea typeface="+mn-ea"/>
                <a:cs typeface="Arial" pitchFamily="34" charset="0"/>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Title Placeholder 10"/>
          <p:cNvSpPr>
            <a:spLocks noGrp="1"/>
          </p:cNvSpPr>
          <p:nvPr>
            <p:ph type="title"/>
          </p:nvPr>
        </p:nvSpPr>
        <p:spPr bwMode="gray">
          <a:xfrm>
            <a:off x="552451" y="450281"/>
            <a:ext cx="11106912" cy="249299"/>
          </a:xfrm>
          <a:prstGeom prst="rect">
            <a:avLst/>
          </a:prstGeom>
        </p:spPr>
        <p:txBody>
          <a:bodyPr lIns="0" tIns="0" rIns="0" bIns="0">
            <a:spAutoFit/>
          </a:bodyPr>
          <a:lstStyle/>
          <a:p>
            <a:pPr marL="0" marR="0" lvl="0" indent="0" algn="l" defTabSz="514350" rtl="0" eaLnBrk="0" fontAlgn="base" latinLnBrk="0" hangingPunct="0">
              <a:lnSpc>
                <a:spcPct val="90000"/>
              </a:lnSpc>
              <a:spcBef>
                <a:spcPct val="0"/>
              </a:spcBef>
              <a:spcAft>
                <a:spcPct val="0"/>
              </a:spcAft>
              <a:buClrTx/>
              <a:buSzTx/>
              <a:buFontTx/>
              <a:buNone/>
              <a:tabLst/>
              <a:defRPr/>
            </a:pPr>
            <a:r>
              <a:rPr lang="en-US"/>
              <a:t>Click to edit Master title style</a:t>
            </a:r>
            <a:endParaRPr lang="en-US" dirty="0"/>
          </a:p>
        </p:txBody>
      </p:sp>
    </p:spTree>
    <p:extLst>
      <p:ext uri="{BB962C8B-B14F-4D97-AF65-F5344CB8AC3E}">
        <p14:creationId xmlns:p14="http://schemas.microsoft.com/office/powerpoint/2010/main" val="1303278236"/>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userDrawn="1">
  <p:cSld name="Title and subtitle Only">
    <p:spTree>
      <p:nvGrpSpPr>
        <p:cNvPr id="1" name=""/>
        <p:cNvGrpSpPr/>
        <p:nvPr/>
      </p:nvGrpSpPr>
      <p:grpSpPr>
        <a:xfrm>
          <a:off x="0" y="0"/>
          <a:ext cx="0" cy="0"/>
          <a:chOff x="0" y="0"/>
          <a:chExt cx="0" cy="0"/>
        </a:xfrm>
      </p:grpSpPr>
      <p:sp>
        <p:nvSpPr>
          <p:cNvPr id="2" name="Title 1"/>
          <p:cNvSpPr>
            <a:spLocks noGrp="1"/>
          </p:cNvSpPr>
          <p:nvPr>
            <p:ph type="title"/>
          </p:nvPr>
        </p:nvSpPr>
        <p:spPr>
          <a:xfrm>
            <a:off x="429686" y="122241"/>
            <a:ext cx="11332633" cy="427037"/>
          </a:xfrm>
        </p:spPr>
        <p:txBody>
          <a:bodyPr/>
          <a:lstStyle/>
          <a:p>
            <a:r>
              <a:rPr lang="en-US"/>
              <a:t>Click to edit Master title style</a:t>
            </a:r>
          </a:p>
        </p:txBody>
      </p:sp>
      <p:sp>
        <p:nvSpPr>
          <p:cNvPr id="7" name="Content Placeholder 6"/>
          <p:cNvSpPr>
            <a:spLocks noGrp="1"/>
          </p:cNvSpPr>
          <p:nvPr>
            <p:ph sz="quarter" idx="10" hasCustomPrompt="1"/>
          </p:nvPr>
        </p:nvSpPr>
        <p:spPr>
          <a:xfrm>
            <a:off x="429686" y="698957"/>
            <a:ext cx="11332633" cy="245837"/>
          </a:xfrm>
        </p:spPr>
        <p:txBody>
          <a:bodyPr>
            <a:spAutoFit/>
          </a:bodyPr>
          <a:lstStyle>
            <a:lvl1pPr marL="0" indent="0">
              <a:spcBef>
                <a:spcPts val="0"/>
              </a:spcBef>
              <a:buNone/>
              <a:defRPr sz="1050">
                <a:latin typeface="+mj-lt"/>
              </a:defRPr>
            </a:lvl1pPr>
          </a:lstStyle>
          <a:p>
            <a:pPr lvl="0"/>
            <a:r>
              <a:rPr lang="en-US" dirty="0"/>
              <a:t>Click to edit subtitle</a:t>
            </a:r>
            <a:endParaRPr lang="es-MX" dirty="0"/>
          </a:p>
        </p:txBody>
      </p:sp>
    </p:spTree>
    <p:extLst>
      <p:ext uri="{BB962C8B-B14F-4D97-AF65-F5344CB8AC3E}">
        <p14:creationId xmlns:p14="http://schemas.microsoft.com/office/powerpoint/2010/main" val="1827320092"/>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userDrawn="1">
  <p:cSld name="4_Custom Layout">
    <p:spTree>
      <p:nvGrpSpPr>
        <p:cNvPr id="1" name=""/>
        <p:cNvGrpSpPr/>
        <p:nvPr/>
      </p:nvGrpSpPr>
      <p:grpSpPr>
        <a:xfrm>
          <a:off x="0" y="0"/>
          <a:ext cx="0" cy="0"/>
          <a:chOff x="0" y="0"/>
          <a:chExt cx="0" cy="0"/>
        </a:xfrm>
      </p:grpSpPr>
      <p:sp>
        <p:nvSpPr>
          <p:cNvPr id="14" name="Rectangle 13"/>
          <p:cNvSpPr/>
          <p:nvPr userDrawn="1"/>
        </p:nvSpPr>
        <p:spPr>
          <a:xfrm>
            <a:off x="226611" y="6608"/>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grpSp>
        <p:nvGrpSpPr>
          <p:cNvPr id="15" name="Group 14"/>
          <p:cNvGrpSpPr/>
          <p:nvPr userDrawn="1"/>
        </p:nvGrpSpPr>
        <p:grpSpPr>
          <a:xfrm flipH="1">
            <a:off x="226609" y="98856"/>
            <a:ext cx="1203763" cy="6096001"/>
            <a:chOff x="160238" y="148877"/>
            <a:chExt cx="1300907" cy="8783936"/>
          </a:xfrm>
        </p:grpSpPr>
        <p:sp>
          <p:nvSpPr>
            <p:cNvPr id="16" name="Rectangle"/>
            <p:cNvSpPr/>
            <p:nvPr userDrawn="1"/>
          </p:nvSpPr>
          <p:spPr>
            <a:xfrm>
              <a:off x="160238" y="7811988"/>
              <a:ext cx="1300907" cy="1120825"/>
            </a:xfrm>
            <a:prstGeom prst="rect">
              <a:avLst/>
            </a:prstGeom>
            <a:solidFill>
              <a:srgbClr val="C4297F"/>
            </a:solidFill>
            <a:ln w="12700">
              <a:miter lim="400000"/>
            </a:ln>
          </p:spPr>
          <p:txBody>
            <a:bodyPr lIns="50800" tIns="50800" rIns="50800" bIns="50800" anchor="ctr"/>
            <a:lstStyle/>
            <a:p>
              <a:endParaRPr sz="1800">
                <a:solidFill>
                  <a:prstClr val="black"/>
                </a:solidFill>
              </a:endParaRPr>
            </a:p>
          </p:txBody>
        </p:sp>
        <p:sp>
          <p:nvSpPr>
            <p:cNvPr id="17" name="Rectangle"/>
            <p:cNvSpPr/>
            <p:nvPr userDrawn="1"/>
          </p:nvSpPr>
          <p:spPr>
            <a:xfrm>
              <a:off x="160238" y="7090072"/>
              <a:ext cx="1300907" cy="721917"/>
            </a:xfrm>
            <a:prstGeom prst="rect">
              <a:avLst/>
            </a:prstGeom>
            <a:solidFill>
              <a:srgbClr val="7C1A4F"/>
            </a:solidFill>
            <a:ln w="12700">
              <a:miter lim="400000"/>
            </a:ln>
          </p:spPr>
          <p:txBody>
            <a:bodyPr lIns="50800" tIns="50800" rIns="50800" bIns="50800" anchor="ctr"/>
            <a:lstStyle/>
            <a:p>
              <a:endParaRPr sz="1800">
                <a:solidFill>
                  <a:prstClr val="black"/>
                </a:solidFill>
              </a:endParaRPr>
            </a:p>
          </p:txBody>
        </p:sp>
        <p:sp>
          <p:nvSpPr>
            <p:cNvPr id="18" name="Rectangle"/>
            <p:cNvSpPr/>
            <p:nvPr userDrawn="1"/>
          </p:nvSpPr>
          <p:spPr>
            <a:xfrm>
              <a:off x="160238" y="6877694"/>
              <a:ext cx="1300907" cy="212379"/>
            </a:xfrm>
            <a:prstGeom prst="rect">
              <a:avLst/>
            </a:prstGeom>
            <a:solidFill>
              <a:srgbClr val="F79824"/>
            </a:solidFill>
            <a:ln w="12700">
              <a:miter lim="400000"/>
            </a:ln>
          </p:spPr>
          <p:txBody>
            <a:bodyPr lIns="50800" tIns="50800" rIns="50800" bIns="50800" anchor="ctr"/>
            <a:lstStyle/>
            <a:p>
              <a:endParaRPr sz="1800">
                <a:solidFill>
                  <a:prstClr val="black"/>
                </a:solidFill>
              </a:endParaRPr>
            </a:p>
          </p:txBody>
        </p:sp>
        <p:sp>
          <p:nvSpPr>
            <p:cNvPr id="19" name="Rectangle"/>
            <p:cNvSpPr/>
            <p:nvPr userDrawn="1"/>
          </p:nvSpPr>
          <p:spPr>
            <a:xfrm>
              <a:off x="160238" y="5875535"/>
              <a:ext cx="1300907" cy="1002160"/>
            </a:xfrm>
            <a:prstGeom prst="rect">
              <a:avLst/>
            </a:prstGeom>
            <a:solidFill>
              <a:srgbClr val="EE4329"/>
            </a:solidFill>
            <a:ln w="12700">
              <a:miter lim="400000"/>
            </a:ln>
          </p:spPr>
          <p:txBody>
            <a:bodyPr lIns="50800" tIns="50800" rIns="50800" bIns="50800" anchor="ctr"/>
            <a:lstStyle/>
            <a:p>
              <a:endParaRPr sz="1800">
                <a:solidFill>
                  <a:prstClr val="black"/>
                </a:solidFill>
              </a:endParaRPr>
            </a:p>
          </p:txBody>
        </p:sp>
        <p:sp>
          <p:nvSpPr>
            <p:cNvPr id="20" name="Rectangle"/>
            <p:cNvSpPr/>
            <p:nvPr userDrawn="1"/>
          </p:nvSpPr>
          <p:spPr>
            <a:xfrm>
              <a:off x="160238" y="3874095"/>
              <a:ext cx="1300907" cy="2001441"/>
            </a:xfrm>
            <a:prstGeom prst="rect">
              <a:avLst/>
            </a:prstGeom>
            <a:solidFill>
              <a:srgbClr val="F36F26"/>
            </a:solidFill>
            <a:ln w="12700">
              <a:miter lim="400000"/>
            </a:ln>
          </p:spPr>
          <p:txBody>
            <a:bodyPr lIns="50800" tIns="50800" rIns="50800" bIns="50800" anchor="ctr"/>
            <a:lstStyle/>
            <a:p>
              <a:endParaRPr sz="1800">
                <a:solidFill>
                  <a:prstClr val="black"/>
                </a:solidFill>
              </a:endParaRPr>
            </a:p>
          </p:txBody>
        </p:sp>
        <p:sp>
          <p:nvSpPr>
            <p:cNvPr id="21" name="Rectangle"/>
            <p:cNvSpPr/>
            <p:nvPr userDrawn="1"/>
          </p:nvSpPr>
          <p:spPr>
            <a:xfrm>
              <a:off x="160238" y="3154213"/>
              <a:ext cx="1300907" cy="721867"/>
            </a:xfrm>
            <a:prstGeom prst="rect">
              <a:avLst/>
            </a:prstGeom>
            <a:solidFill>
              <a:srgbClr val="016AA1"/>
            </a:solidFill>
            <a:ln w="12700">
              <a:miter lim="400000"/>
            </a:ln>
          </p:spPr>
          <p:txBody>
            <a:bodyPr lIns="50800" tIns="50800" rIns="50800" bIns="50800" anchor="ctr"/>
            <a:lstStyle/>
            <a:p>
              <a:endParaRPr sz="1800">
                <a:solidFill>
                  <a:prstClr val="black"/>
                </a:solidFill>
              </a:endParaRPr>
            </a:p>
          </p:txBody>
        </p:sp>
        <p:sp>
          <p:nvSpPr>
            <p:cNvPr id="22" name="Rectangle"/>
            <p:cNvSpPr/>
            <p:nvPr userDrawn="1"/>
          </p:nvSpPr>
          <p:spPr>
            <a:xfrm>
              <a:off x="160238" y="148877"/>
              <a:ext cx="1300907" cy="3005337"/>
            </a:xfrm>
            <a:prstGeom prst="rect">
              <a:avLst/>
            </a:prstGeom>
            <a:solidFill>
              <a:srgbClr val="86CBD8"/>
            </a:solidFill>
            <a:ln w="12700">
              <a:miter lim="400000"/>
            </a:ln>
          </p:spPr>
          <p:txBody>
            <a:bodyPr lIns="50800" tIns="50800" rIns="50800" bIns="50800" anchor="ctr"/>
            <a:lstStyle/>
            <a:p>
              <a:endParaRPr sz="1800">
                <a:solidFill>
                  <a:prstClr val="black"/>
                </a:solidFill>
              </a:endParaRPr>
            </a:p>
          </p:txBody>
        </p:sp>
      </p:grpSp>
    </p:spTree>
    <p:extLst>
      <p:ext uri="{BB962C8B-B14F-4D97-AF65-F5344CB8AC3E}">
        <p14:creationId xmlns:p14="http://schemas.microsoft.com/office/powerpoint/2010/main" val="4171363053"/>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userDrawn="1">
  <p:cSld name="Separador1">
    <p:spTree>
      <p:nvGrpSpPr>
        <p:cNvPr id="1" name=""/>
        <p:cNvGrpSpPr/>
        <p:nvPr/>
      </p:nvGrpSpPr>
      <p:grpSpPr>
        <a:xfrm>
          <a:off x="0" y="0"/>
          <a:ext cx="0" cy="0"/>
          <a:chOff x="0" y="0"/>
          <a:chExt cx="0" cy="0"/>
        </a:xfrm>
      </p:grpSpPr>
      <p:sp>
        <p:nvSpPr>
          <p:cNvPr id="11" name="Rectangle 10"/>
          <p:cNvSpPr/>
          <p:nvPr userDrawn="1"/>
        </p:nvSpPr>
        <p:spPr>
          <a:xfrm>
            <a:off x="226611" y="6608"/>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grpSp>
        <p:nvGrpSpPr>
          <p:cNvPr id="19" name="Group 18"/>
          <p:cNvGrpSpPr/>
          <p:nvPr userDrawn="1"/>
        </p:nvGrpSpPr>
        <p:grpSpPr>
          <a:xfrm>
            <a:off x="226614" y="98854"/>
            <a:ext cx="1204588" cy="6096000"/>
            <a:chOff x="160238" y="154880"/>
            <a:chExt cx="1300907" cy="8777933"/>
          </a:xfrm>
        </p:grpSpPr>
        <p:sp>
          <p:nvSpPr>
            <p:cNvPr id="12" name="Rectangle"/>
            <p:cNvSpPr/>
            <p:nvPr userDrawn="1"/>
          </p:nvSpPr>
          <p:spPr>
            <a:xfrm>
              <a:off x="160238" y="8398371"/>
              <a:ext cx="1300907" cy="534442"/>
            </a:xfrm>
            <a:prstGeom prst="rect">
              <a:avLst/>
            </a:prstGeom>
            <a:solidFill>
              <a:srgbClr val="85CDD9"/>
            </a:solidFill>
            <a:ln w="12700">
              <a:miter lim="400000"/>
            </a:ln>
          </p:spPr>
          <p:txBody>
            <a:bodyPr lIns="50800" tIns="50800" rIns="50800" bIns="50800" anchor="ctr"/>
            <a:lstStyle/>
            <a:p>
              <a:endParaRPr sz="1800">
                <a:solidFill>
                  <a:prstClr val="black"/>
                </a:solidFill>
              </a:endParaRPr>
            </a:p>
          </p:txBody>
        </p:sp>
        <p:sp>
          <p:nvSpPr>
            <p:cNvPr id="13" name="Rectangle"/>
            <p:cNvSpPr/>
            <p:nvPr userDrawn="1"/>
          </p:nvSpPr>
          <p:spPr>
            <a:xfrm>
              <a:off x="160238" y="8183364"/>
              <a:ext cx="1300907" cy="215008"/>
            </a:xfrm>
            <a:prstGeom prst="rect">
              <a:avLst/>
            </a:prstGeom>
            <a:solidFill>
              <a:srgbClr val="4D89AD"/>
            </a:solidFill>
            <a:ln w="12700">
              <a:miter lim="400000"/>
            </a:ln>
          </p:spPr>
          <p:txBody>
            <a:bodyPr lIns="50800" tIns="50800" rIns="50800" bIns="50800" anchor="ctr"/>
            <a:lstStyle/>
            <a:p>
              <a:endParaRPr sz="1800">
                <a:solidFill>
                  <a:prstClr val="black"/>
                </a:solidFill>
              </a:endParaRPr>
            </a:p>
          </p:txBody>
        </p:sp>
        <p:sp>
          <p:nvSpPr>
            <p:cNvPr id="14" name="Rectangle"/>
            <p:cNvSpPr/>
            <p:nvPr userDrawn="1"/>
          </p:nvSpPr>
          <p:spPr>
            <a:xfrm>
              <a:off x="160238" y="6195863"/>
              <a:ext cx="1300907" cy="1987502"/>
            </a:xfrm>
            <a:prstGeom prst="rect">
              <a:avLst/>
            </a:prstGeom>
            <a:solidFill>
              <a:srgbClr val="2591C0"/>
            </a:solidFill>
            <a:ln w="12700">
              <a:miter lim="400000"/>
            </a:ln>
          </p:spPr>
          <p:txBody>
            <a:bodyPr lIns="50800" tIns="50800" rIns="50800" bIns="50800" anchor="ctr"/>
            <a:lstStyle/>
            <a:p>
              <a:endParaRPr sz="1800">
                <a:solidFill>
                  <a:prstClr val="black"/>
                </a:solidFill>
              </a:endParaRPr>
            </a:p>
          </p:txBody>
        </p:sp>
        <p:sp>
          <p:nvSpPr>
            <p:cNvPr id="15" name="Rectangle"/>
            <p:cNvSpPr/>
            <p:nvPr userDrawn="1"/>
          </p:nvSpPr>
          <p:spPr>
            <a:xfrm>
              <a:off x="160238" y="5724425"/>
              <a:ext cx="1300907" cy="471439"/>
            </a:xfrm>
            <a:prstGeom prst="rect">
              <a:avLst/>
            </a:prstGeom>
            <a:solidFill>
              <a:srgbClr val="104D6A"/>
            </a:solidFill>
            <a:ln w="12700">
              <a:miter lim="400000"/>
            </a:ln>
          </p:spPr>
          <p:txBody>
            <a:bodyPr lIns="50800" tIns="50800" rIns="50800" bIns="50800" anchor="ctr"/>
            <a:lstStyle/>
            <a:p>
              <a:endParaRPr sz="1800">
                <a:solidFill>
                  <a:prstClr val="black"/>
                </a:solidFill>
              </a:endParaRPr>
            </a:p>
          </p:txBody>
        </p:sp>
        <p:sp>
          <p:nvSpPr>
            <p:cNvPr id="16" name="Rectangle"/>
            <p:cNvSpPr/>
            <p:nvPr userDrawn="1"/>
          </p:nvSpPr>
          <p:spPr>
            <a:xfrm>
              <a:off x="160238" y="371177"/>
              <a:ext cx="1300907" cy="813396"/>
            </a:xfrm>
            <a:prstGeom prst="rect">
              <a:avLst/>
            </a:prstGeom>
            <a:solidFill>
              <a:srgbClr val="095B88"/>
            </a:solidFill>
            <a:ln w="12700">
              <a:miter lim="400000"/>
            </a:ln>
          </p:spPr>
          <p:txBody>
            <a:bodyPr lIns="50800" tIns="50800" rIns="50800" bIns="50800" anchor="ctr"/>
            <a:lstStyle/>
            <a:p>
              <a:endParaRPr sz="1800">
                <a:solidFill>
                  <a:prstClr val="black"/>
                </a:solidFill>
              </a:endParaRPr>
            </a:p>
          </p:txBody>
        </p:sp>
        <p:sp>
          <p:nvSpPr>
            <p:cNvPr id="17" name="Rectangle"/>
            <p:cNvSpPr/>
            <p:nvPr userDrawn="1"/>
          </p:nvSpPr>
          <p:spPr>
            <a:xfrm>
              <a:off x="160238" y="1184572"/>
              <a:ext cx="1300907" cy="4539854"/>
            </a:xfrm>
            <a:prstGeom prst="rect">
              <a:avLst/>
            </a:prstGeom>
            <a:solidFill>
              <a:srgbClr val="016AA1"/>
            </a:solidFill>
            <a:ln w="12700">
              <a:miter lim="400000"/>
            </a:ln>
          </p:spPr>
          <p:txBody>
            <a:bodyPr lIns="50800" tIns="50800" rIns="50800" bIns="50800" anchor="ctr"/>
            <a:lstStyle/>
            <a:p>
              <a:endParaRPr sz="1800">
                <a:solidFill>
                  <a:prstClr val="black"/>
                </a:solidFill>
              </a:endParaRPr>
            </a:p>
          </p:txBody>
        </p:sp>
        <p:sp>
          <p:nvSpPr>
            <p:cNvPr id="18" name="Rectangle"/>
            <p:cNvSpPr/>
            <p:nvPr userDrawn="1"/>
          </p:nvSpPr>
          <p:spPr>
            <a:xfrm>
              <a:off x="160238" y="154880"/>
              <a:ext cx="1300907" cy="216298"/>
            </a:xfrm>
            <a:prstGeom prst="rect">
              <a:avLst/>
            </a:prstGeom>
            <a:solidFill>
              <a:srgbClr val="85CDD9"/>
            </a:solidFill>
            <a:ln w="12700">
              <a:miter lim="400000"/>
            </a:ln>
          </p:spPr>
          <p:txBody>
            <a:bodyPr lIns="50800" tIns="50800" rIns="50800" bIns="50800" anchor="ctr"/>
            <a:lstStyle/>
            <a:p>
              <a:endParaRPr sz="1800">
                <a:solidFill>
                  <a:prstClr val="black"/>
                </a:solidFill>
              </a:endParaRPr>
            </a:p>
          </p:txBody>
        </p:sp>
      </p:grpSp>
    </p:spTree>
    <p:extLst>
      <p:ext uri="{BB962C8B-B14F-4D97-AF65-F5344CB8AC3E}">
        <p14:creationId xmlns:p14="http://schemas.microsoft.com/office/powerpoint/2010/main" val="1236283626"/>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3150" name="Rectangle 78"/>
          <p:cNvSpPr>
            <a:spLocks noGrp="1" noChangeArrowheads="1"/>
          </p:cNvSpPr>
          <p:nvPr>
            <p:ph type="ctrTitle"/>
          </p:nvPr>
        </p:nvSpPr>
        <p:spPr>
          <a:xfrm>
            <a:off x="804333" y="906466"/>
            <a:ext cx="10947400" cy="517525"/>
          </a:xfrm>
        </p:spPr>
        <p:txBody>
          <a:bodyPr/>
          <a:lstStyle>
            <a:lvl1pPr>
              <a:defRPr sz="2400"/>
            </a:lvl1pPr>
          </a:lstStyle>
          <a:p>
            <a:pPr lvl="0"/>
            <a:r>
              <a:rPr lang="en-US" noProof="0"/>
              <a:t>Click to edit Master title style</a:t>
            </a:r>
            <a:endParaRPr lang="en-US" noProof="0" dirty="0"/>
          </a:p>
        </p:txBody>
      </p:sp>
      <p:sp>
        <p:nvSpPr>
          <p:cNvPr id="3151" name="Rectangle 79"/>
          <p:cNvSpPr>
            <a:spLocks noGrp="1" noChangeArrowheads="1"/>
          </p:cNvSpPr>
          <p:nvPr>
            <p:ph type="subTitle" sz="quarter" idx="1"/>
          </p:nvPr>
        </p:nvSpPr>
        <p:spPr>
          <a:xfrm>
            <a:off x="804336" y="1397000"/>
            <a:ext cx="10962217" cy="1093788"/>
          </a:xfrm>
          <a:extLst>
            <a:ext uri="{91240B29-F687-4F45-9708-019B960494DF}">
              <a14:hiddenLine xmlns:a14="http://schemas.microsoft.com/office/drawing/2010/main" w="9525">
                <a:solidFill>
                  <a:schemeClr val="tx1"/>
                </a:solidFill>
                <a:miter lim="800000"/>
                <a:headEnd/>
                <a:tailEnd/>
              </a14:hiddenLine>
            </a:ext>
          </a:extLst>
        </p:spPr>
        <p:txBody>
          <a:bodyPr tIns="0" rIns="0" bIns="0"/>
          <a:lstStyle>
            <a:lvl1pPr marL="0" indent="0">
              <a:lnSpc>
                <a:spcPct val="100000"/>
              </a:lnSpc>
              <a:spcBef>
                <a:spcPct val="0"/>
              </a:spcBef>
              <a:spcAft>
                <a:spcPct val="0"/>
              </a:spcAft>
              <a:buFontTx/>
              <a:buNone/>
              <a:defRPr sz="2400">
                <a:solidFill>
                  <a:srgbClr val="00BDF2"/>
                </a:solidFill>
              </a:defRPr>
            </a:lvl1pPr>
          </a:lstStyle>
          <a:p>
            <a:pPr lvl="0"/>
            <a:r>
              <a:rPr lang="en-US" noProof="0"/>
              <a:t>Click to edit Master subtitle style</a:t>
            </a:r>
            <a:endParaRPr lang="en-US" noProof="0" dirty="0"/>
          </a:p>
        </p:txBody>
      </p:sp>
      <p:pic>
        <p:nvPicPr>
          <p:cNvPr id="7" name="Picture 6"/>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8033573" y="5695406"/>
            <a:ext cx="3557543" cy="627018"/>
          </a:xfrm>
          <a:prstGeom prst="rect">
            <a:avLst/>
          </a:prstGeom>
        </p:spPr>
      </p:pic>
    </p:spTree>
    <p:extLst>
      <p:ext uri="{BB962C8B-B14F-4D97-AF65-F5344CB8AC3E}">
        <p14:creationId xmlns:p14="http://schemas.microsoft.com/office/powerpoint/2010/main" val="3787819471"/>
      </p:ext>
    </p:extLst>
  </p:cSld>
  <p:clrMapOvr>
    <a:overrideClrMapping bg1="lt1" tx1="dk1" bg2="lt2" tx2="dk2" accent1="accent1" accent2="accent2" accent3="accent3" accent4="accent4" accent5="accent5" accent6="accent6" hlink="hlink" folHlink="folHlink"/>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SUB PORTADA BW">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stretch>
            <a:fillRect/>
          </a:stretch>
        </p:blipFill>
        <p:spPr>
          <a:xfrm>
            <a:off x="0" y="-89377"/>
            <a:ext cx="12283621" cy="6962249"/>
          </a:xfrm>
          <a:prstGeom prst="rect">
            <a:avLst/>
          </a:prstGeom>
        </p:spPr>
      </p:pic>
      <p:sp>
        <p:nvSpPr>
          <p:cNvPr id="6" name="Title 1"/>
          <p:cNvSpPr>
            <a:spLocks noGrp="1"/>
          </p:cNvSpPr>
          <p:nvPr>
            <p:ph type="ctrTitle" idx="4294967295"/>
          </p:nvPr>
        </p:nvSpPr>
        <p:spPr>
          <a:xfrm>
            <a:off x="819156" y="3311525"/>
            <a:ext cx="10947400" cy="517525"/>
          </a:xfrm>
        </p:spPr>
        <p:txBody>
          <a:bodyPr/>
          <a:lstStyle/>
          <a:p>
            <a:pPr>
              <a:defRPr/>
            </a:pPr>
            <a:r>
              <a:rPr lang="es-ES_tradnl" sz="3200" dirty="0">
                <a:solidFill>
                  <a:schemeClr val="bg1"/>
                </a:solidFill>
              </a:rPr>
              <a:t>T</a:t>
            </a:r>
            <a:r>
              <a:rPr lang="en-US" sz="3200" dirty="0" err="1">
                <a:solidFill>
                  <a:schemeClr val="bg1"/>
                </a:solidFill>
              </a:rPr>
              <a:t>í</a:t>
            </a:r>
            <a:r>
              <a:rPr lang="es-ES_tradnl" sz="3200" dirty="0" err="1">
                <a:solidFill>
                  <a:schemeClr val="bg1"/>
                </a:solidFill>
              </a:rPr>
              <a:t>tulo</a:t>
            </a:r>
            <a:r>
              <a:rPr lang="es-ES_tradnl" sz="3200" dirty="0">
                <a:solidFill>
                  <a:schemeClr val="bg1"/>
                </a:solidFill>
              </a:rPr>
              <a:t> va aquí</a:t>
            </a:r>
            <a:endParaRPr lang="en-US" sz="3200" dirty="0">
              <a:solidFill>
                <a:schemeClr val="bg1"/>
              </a:solidFill>
            </a:endParaRPr>
          </a:p>
        </p:txBody>
      </p:sp>
      <p:sp>
        <p:nvSpPr>
          <p:cNvPr id="7" name="Subtitle 2"/>
          <p:cNvSpPr>
            <a:spLocks noGrp="1"/>
          </p:cNvSpPr>
          <p:nvPr>
            <p:ph type="subTitle" sz="quarter" idx="4294967295"/>
          </p:nvPr>
        </p:nvSpPr>
        <p:spPr>
          <a:xfrm>
            <a:off x="823384" y="3829051"/>
            <a:ext cx="10962216" cy="1014413"/>
          </a:xfrm>
          <a:extLst>
            <a:ext uri="{91240B29-F687-4F45-9708-019B960494DF}">
              <a14:hiddenLine xmlns:a14="http://schemas.microsoft.com/office/drawing/2010/main" w="9525">
                <a:solidFill>
                  <a:schemeClr val="tx1"/>
                </a:solidFill>
                <a:miter lim="800000"/>
                <a:headEnd/>
                <a:tailEnd/>
              </a14:hiddenLine>
            </a:ext>
          </a:extLst>
        </p:spPr>
        <p:txBody>
          <a:bodyPr tIns="0" rIns="0" bIns="0"/>
          <a:lstStyle>
            <a:lvl1pPr marL="0" indent="0">
              <a:lnSpc>
                <a:spcPct val="100000"/>
              </a:lnSpc>
              <a:spcBef>
                <a:spcPct val="0"/>
              </a:spcBef>
              <a:spcAft>
                <a:spcPct val="0"/>
              </a:spcAft>
              <a:buFontTx/>
              <a:buNone/>
              <a:defRPr/>
            </a:lvl1pPr>
          </a:lstStyle>
          <a:p>
            <a:pPr marL="0" indent="0">
              <a:lnSpc>
                <a:spcPct val="100000"/>
              </a:lnSpc>
              <a:spcBef>
                <a:spcPct val="0"/>
              </a:spcBef>
              <a:spcAft>
                <a:spcPct val="0"/>
              </a:spcAft>
              <a:buFontTx/>
              <a:buNone/>
              <a:defRPr/>
            </a:pPr>
            <a:r>
              <a:rPr lang="es-ES_tradnl" sz="3200" dirty="0">
                <a:solidFill>
                  <a:srgbClr val="00BDF2"/>
                </a:solidFill>
              </a:rPr>
              <a:t>Subtitulo va aquí</a:t>
            </a:r>
          </a:p>
        </p:txBody>
      </p:sp>
      <p:pic>
        <p:nvPicPr>
          <p:cNvPr id="9" name="Picture 8"/>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305360" y="4843463"/>
            <a:ext cx="4754651" cy="2307404"/>
          </a:xfrm>
          <a:prstGeom prst="rect">
            <a:avLst/>
          </a:prstGeom>
        </p:spPr>
      </p:pic>
    </p:spTree>
    <p:extLst>
      <p:ext uri="{BB962C8B-B14F-4D97-AF65-F5344CB8AC3E}">
        <p14:creationId xmlns:p14="http://schemas.microsoft.com/office/powerpoint/2010/main" val="2533790759"/>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626137714"/>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showMasterSp="0" preserve="1" userDrawn="1">
  <p:cSld name="Separator">
    <p:bg>
      <p:bgPr>
        <a:solidFill>
          <a:schemeClr val="tx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1447800" y="2661158"/>
            <a:ext cx="9296400" cy="574773"/>
          </a:xfrm>
        </p:spPr>
        <p:txBody>
          <a:bodyPr wrap="square">
            <a:spAutoFit/>
          </a:bodyPr>
          <a:lstStyle>
            <a:lvl1pPr marL="0" indent="0">
              <a:buNone/>
              <a:defRPr sz="3300" b="1" baseline="0">
                <a:solidFill>
                  <a:schemeClr val="bg1"/>
                </a:solidFill>
              </a:defRPr>
            </a:lvl1pPr>
            <a:lvl2pPr>
              <a:defRPr sz="3000">
                <a:solidFill>
                  <a:schemeClr val="bg1"/>
                </a:solidFill>
              </a:defRPr>
            </a:lvl2pPr>
            <a:lvl3pPr>
              <a:defRPr sz="3000">
                <a:solidFill>
                  <a:schemeClr val="bg1"/>
                </a:solidFill>
              </a:defRPr>
            </a:lvl3pPr>
            <a:lvl4pPr>
              <a:defRPr sz="3000">
                <a:solidFill>
                  <a:schemeClr val="bg1"/>
                </a:solidFill>
              </a:defRPr>
            </a:lvl4pPr>
            <a:lvl5pPr>
              <a:defRPr sz="3000">
                <a:solidFill>
                  <a:schemeClr val="bg1"/>
                </a:solidFill>
              </a:defRPr>
            </a:lvl5pPr>
          </a:lstStyle>
          <a:p>
            <a:pPr lvl="0"/>
            <a:r>
              <a:rPr lang="en-US" dirty="0"/>
              <a:t>Separator text</a:t>
            </a:r>
            <a:endParaRPr lang="es-MX" dirty="0"/>
          </a:p>
        </p:txBody>
      </p:sp>
      <p:sp>
        <p:nvSpPr>
          <p:cNvPr id="7" name="Text Placeholder 3"/>
          <p:cNvSpPr>
            <a:spLocks noGrp="1"/>
          </p:cNvSpPr>
          <p:nvPr>
            <p:ph type="body" sz="quarter" idx="11" hasCustomPrompt="1"/>
          </p:nvPr>
        </p:nvSpPr>
        <p:spPr>
          <a:xfrm>
            <a:off x="1447800" y="3556508"/>
            <a:ext cx="9296400" cy="487056"/>
          </a:xfrm>
        </p:spPr>
        <p:txBody>
          <a:bodyPr wrap="square">
            <a:spAutoFit/>
          </a:bodyPr>
          <a:lstStyle>
            <a:lvl1pPr marL="0" indent="0">
              <a:buNone/>
              <a:defRPr sz="2700" baseline="0">
                <a:solidFill>
                  <a:schemeClr val="bg1"/>
                </a:solidFill>
              </a:defRPr>
            </a:lvl1pPr>
            <a:lvl2pPr>
              <a:defRPr sz="3000">
                <a:solidFill>
                  <a:schemeClr val="bg1"/>
                </a:solidFill>
              </a:defRPr>
            </a:lvl2pPr>
            <a:lvl3pPr>
              <a:defRPr sz="3000">
                <a:solidFill>
                  <a:schemeClr val="bg1"/>
                </a:solidFill>
              </a:defRPr>
            </a:lvl3pPr>
            <a:lvl4pPr>
              <a:defRPr sz="3000">
                <a:solidFill>
                  <a:schemeClr val="bg1"/>
                </a:solidFill>
              </a:defRPr>
            </a:lvl4pPr>
            <a:lvl5pPr>
              <a:defRPr sz="3000">
                <a:solidFill>
                  <a:schemeClr val="bg1"/>
                </a:solidFill>
              </a:defRPr>
            </a:lvl5pPr>
          </a:lstStyle>
          <a:p>
            <a:pPr lvl="0"/>
            <a:r>
              <a:rPr lang="en-US" dirty="0"/>
              <a:t>Separator text</a:t>
            </a:r>
            <a:endParaRPr lang="es-MX" dirty="0"/>
          </a:p>
        </p:txBody>
      </p:sp>
    </p:spTree>
    <p:extLst>
      <p:ext uri="{BB962C8B-B14F-4D97-AF65-F5344CB8AC3E}">
        <p14:creationId xmlns:p14="http://schemas.microsoft.com/office/powerpoint/2010/main" val="2663066812"/>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26572" y="249010"/>
            <a:ext cx="11541581" cy="495300"/>
          </a:xfrm>
        </p:spPr>
        <p:txBody>
          <a:bodyPr/>
          <a:lstStyle/>
          <a:p>
            <a:r>
              <a:rPr lang="en-US" dirty="0"/>
              <a:t>Click to edit Master title style</a:t>
            </a:r>
          </a:p>
        </p:txBody>
      </p:sp>
      <p:sp>
        <p:nvSpPr>
          <p:cNvPr id="3" name="Content Placeholder 2"/>
          <p:cNvSpPr>
            <a:spLocks noGrp="1"/>
          </p:cNvSpPr>
          <p:nvPr>
            <p:ph idx="1"/>
          </p:nvPr>
        </p:nvSpPr>
        <p:spPr>
          <a:xfrm>
            <a:off x="326573" y="1320800"/>
            <a:ext cx="11541580" cy="494665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5"/>
          <p:cNvSpPr>
            <a:spLocks noGrp="1"/>
          </p:cNvSpPr>
          <p:nvPr>
            <p:ph type="body" sz="quarter" idx="10" hasCustomPrompt="1"/>
          </p:nvPr>
        </p:nvSpPr>
        <p:spPr>
          <a:xfrm>
            <a:off x="326571" y="631011"/>
            <a:ext cx="11541155" cy="300038"/>
          </a:xfrm>
        </p:spPr>
        <p:txBody>
          <a:bodyPr/>
          <a:lstStyle>
            <a:lvl1pPr marL="0" indent="0">
              <a:buNone/>
              <a:defRPr sz="1200">
                <a:solidFill>
                  <a:schemeClr val="tx1">
                    <a:lumMod val="50000"/>
                  </a:schemeClr>
                </a:solidFill>
              </a:defRPr>
            </a:lvl1pPr>
          </a:lstStyle>
          <a:p>
            <a:pPr lvl="0"/>
            <a:r>
              <a:rPr lang="es-MX" dirty="0" err="1"/>
              <a:t>Subtitle</a:t>
            </a:r>
            <a:endParaRPr lang="es-MX" dirty="0"/>
          </a:p>
        </p:txBody>
      </p:sp>
    </p:spTree>
    <p:extLst>
      <p:ext uri="{BB962C8B-B14F-4D97-AF65-F5344CB8AC3E}">
        <p14:creationId xmlns:p14="http://schemas.microsoft.com/office/powerpoint/2010/main" val="846147973"/>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804335" y="314325"/>
            <a:ext cx="11055351" cy="495300"/>
          </a:xfrm>
        </p:spPr>
        <p:txBody>
          <a:bodyPr/>
          <a:lstStyle/>
          <a:p>
            <a:r>
              <a:rPr lang="en-US"/>
              <a:t>Click to edit Master title style</a:t>
            </a:r>
          </a:p>
        </p:txBody>
      </p:sp>
      <p:sp>
        <p:nvSpPr>
          <p:cNvPr id="3" name="Content Placeholder 2"/>
          <p:cNvSpPr>
            <a:spLocks noGrp="1"/>
          </p:cNvSpPr>
          <p:nvPr>
            <p:ph sz="half" idx="1"/>
          </p:nvPr>
        </p:nvSpPr>
        <p:spPr>
          <a:xfrm>
            <a:off x="804333" y="1320800"/>
            <a:ext cx="5429251" cy="4946650"/>
          </a:xfrm>
        </p:spPr>
        <p:txBody>
          <a:bodyPr/>
          <a:lstStyle>
            <a:lvl1pPr>
              <a:defRPr sz="2100"/>
            </a:lvl1pPr>
            <a:lvl2pPr>
              <a:defRPr sz="1800"/>
            </a:lvl2pPr>
            <a:lvl3pPr>
              <a:defRPr sz="1500"/>
            </a:lvl3pPr>
            <a:lvl4pPr>
              <a:defRPr sz="1350"/>
            </a:lvl4pPr>
            <a:lvl5pPr>
              <a:defRPr sz="1350"/>
            </a:lvl5pPr>
            <a:lvl6pPr>
              <a:defRPr sz="1350"/>
            </a:lvl6pPr>
            <a:lvl7pPr>
              <a:defRPr sz="1350"/>
            </a:lvl7pPr>
            <a:lvl8pPr>
              <a:defRPr sz="1350"/>
            </a:lvl8pPr>
            <a:lvl9pPr>
              <a:defRPr sz="13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436786" y="1320800"/>
            <a:ext cx="5431367" cy="4946650"/>
          </a:xfrm>
        </p:spPr>
        <p:txBody>
          <a:bodyPr/>
          <a:lstStyle>
            <a:lvl1pPr>
              <a:defRPr sz="2100"/>
            </a:lvl1pPr>
            <a:lvl2pPr>
              <a:defRPr sz="1800"/>
            </a:lvl2pPr>
            <a:lvl3pPr>
              <a:defRPr sz="1500"/>
            </a:lvl3pPr>
            <a:lvl4pPr>
              <a:defRPr sz="1350"/>
            </a:lvl4pPr>
            <a:lvl5pPr>
              <a:defRPr sz="1350"/>
            </a:lvl5pPr>
            <a:lvl6pPr>
              <a:defRPr sz="1350"/>
            </a:lvl6pPr>
            <a:lvl7pPr>
              <a:defRPr sz="1350"/>
            </a:lvl7pPr>
            <a:lvl8pPr>
              <a:defRPr sz="1350"/>
            </a:lvl8pPr>
            <a:lvl9pPr>
              <a:defRPr sz="13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71857214"/>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804335" y="314325"/>
            <a:ext cx="11055351" cy="495300"/>
          </a:xfrm>
        </p:spPr>
        <p:txBody>
          <a:bodyPr/>
          <a:lstStyle/>
          <a:p>
            <a:r>
              <a:rPr lang="en-US"/>
              <a:t>Click to edit Master title style</a:t>
            </a:r>
          </a:p>
        </p:txBody>
      </p:sp>
    </p:spTree>
    <p:extLst>
      <p:ext uri="{BB962C8B-B14F-4D97-AF65-F5344CB8AC3E}">
        <p14:creationId xmlns:p14="http://schemas.microsoft.com/office/powerpoint/2010/main" val="3411747600"/>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userDrawn="1">
  <p:cSld name="Contents">
    <p:spTree>
      <p:nvGrpSpPr>
        <p:cNvPr id="1" name=""/>
        <p:cNvGrpSpPr/>
        <p:nvPr/>
      </p:nvGrpSpPr>
      <p:grpSpPr>
        <a:xfrm>
          <a:off x="0" y="0"/>
          <a:ext cx="0" cy="0"/>
          <a:chOff x="0" y="0"/>
          <a:chExt cx="0" cy="0"/>
        </a:xfrm>
      </p:grpSpPr>
      <p:sp>
        <p:nvSpPr>
          <p:cNvPr id="10" name="Content Placeholder 20"/>
          <p:cNvSpPr>
            <a:spLocks noGrp="1"/>
          </p:cNvSpPr>
          <p:nvPr>
            <p:ph sz="quarter" idx="12"/>
          </p:nvPr>
        </p:nvSpPr>
        <p:spPr bwMode="gray">
          <a:xfrm>
            <a:off x="548639" y="1399032"/>
            <a:ext cx="6823268" cy="4882896"/>
          </a:xfrm>
          <a:prstGeom prst="rect">
            <a:avLst/>
          </a:prstGeom>
        </p:spPr>
        <p:txBody>
          <a:bodyPr vert="horz" wrap="square" lIns="0" tIns="0" rIns="0" bIns="0" rtlCol="0">
            <a:noAutofit/>
          </a:bodyPr>
          <a:lstStyle>
            <a:lvl1pPr marL="0" marR="0" indent="0" algn="l" defTabSz="514350" rtl="0" eaLnBrk="1" fontAlgn="base" latinLnBrk="0" hangingPunct="1">
              <a:lnSpc>
                <a:spcPct val="100000"/>
              </a:lnSpc>
              <a:spcBef>
                <a:spcPts val="1238"/>
              </a:spcBef>
              <a:spcAft>
                <a:spcPct val="0"/>
              </a:spcAft>
              <a:buClrTx/>
              <a:buSzTx/>
              <a:buFont typeface="Arial" pitchFamily="34" charset="0"/>
              <a:buNone/>
              <a:tabLst>
                <a:tab pos="2828925" algn="r"/>
              </a:tabLst>
              <a:defRPr kumimoji="0" lang="en-US" sz="1125" b="0" i="0" u="none" strike="noStrike" kern="1200" cap="none" normalizeH="0" baseline="0" dirty="0" smtClean="0">
                <a:ln>
                  <a:noFill/>
                </a:ln>
                <a:solidFill>
                  <a:schemeClr val="tx2"/>
                </a:solidFill>
                <a:effectLst/>
                <a:latin typeface="+mn-lt"/>
                <a:ea typeface="+mn-ea"/>
                <a:cs typeface="Arial" pitchFamily="34" charset="0"/>
              </a:defRPr>
            </a:lvl1pPr>
            <a:lvl2pPr marL="98227" marR="0" indent="-97334" algn="l" defTabSz="514350" rtl="0" eaLnBrk="1" fontAlgn="base" latinLnBrk="0" hangingPunct="1">
              <a:lnSpc>
                <a:spcPct val="100000"/>
              </a:lnSpc>
              <a:spcAft>
                <a:spcPct val="0"/>
              </a:spcAft>
              <a:buFont typeface="Arial" pitchFamily="34" charset="0"/>
              <a:tabLst>
                <a:tab pos="2828925" algn="r"/>
              </a:tabLst>
              <a:defRPr kumimoji="0" lang="en-US" sz="1125" b="0" i="0" u="none" strike="noStrike" kern="1200" cap="none" normalizeH="0" baseline="0" dirty="0" smtClean="0">
                <a:ln>
                  <a:noFill/>
                </a:ln>
                <a:solidFill>
                  <a:schemeClr val="tx2"/>
                </a:solidFill>
                <a:effectLst/>
                <a:latin typeface="+mn-lt"/>
                <a:ea typeface="+mn-ea"/>
                <a:cs typeface="Arial" pitchFamily="34" charset="0"/>
              </a:defRPr>
            </a:lvl2pPr>
            <a:lvl3pPr marR="0" algn="l" defTabSz="514350" rtl="0" eaLnBrk="1" fontAlgn="base" latinLnBrk="0" hangingPunct="1">
              <a:lnSpc>
                <a:spcPct val="100000"/>
              </a:lnSpc>
              <a:spcAft>
                <a:spcPct val="0"/>
              </a:spcAft>
              <a:buFont typeface="Arial" pitchFamily="34" charset="0"/>
              <a:tabLst>
                <a:tab pos="2828925" algn="r"/>
              </a:tabLst>
              <a:defRPr kumimoji="0" lang="en-US" sz="1013" b="0" i="0" u="none" strike="noStrike" kern="1200" cap="none" normalizeH="0" baseline="0" dirty="0" smtClean="0">
                <a:ln>
                  <a:noFill/>
                </a:ln>
                <a:solidFill>
                  <a:schemeClr val="tx2"/>
                </a:solidFill>
                <a:effectLst/>
                <a:latin typeface="Arial" pitchFamily="34" charset="0"/>
                <a:ea typeface="+mn-ea"/>
                <a:cs typeface="Arial" pitchFamily="34" charset="0"/>
              </a:defRPr>
            </a:lvl3pPr>
            <a:lvl4pPr marR="0" algn="l" defTabSz="514350" rtl="0" eaLnBrk="1" fontAlgn="base" latinLnBrk="0" hangingPunct="1">
              <a:lnSpc>
                <a:spcPct val="100000"/>
              </a:lnSpc>
              <a:spcAft>
                <a:spcPct val="0"/>
              </a:spcAft>
              <a:buFont typeface="Arial" pitchFamily="34" charset="0"/>
              <a:tabLst>
                <a:tab pos="2828925" algn="r"/>
              </a:tabLst>
              <a:defRPr kumimoji="0" lang="en-US" sz="1013" b="0" i="0" u="none" strike="noStrike" kern="1200" cap="none" normalizeH="0" baseline="0" dirty="0" smtClean="0">
                <a:ln>
                  <a:noFill/>
                </a:ln>
                <a:solidFill>
                  <a:schemeClr val="tx2"/>
                </a:solidFill>
                <a:effectLst/>
                <a:latin typeface="+mn-lt"/>
                <a:ea typeface="+mn-ea"/>
                <a:cs typeface="Arial" pitchFamily="34" charset="0"/>
              </a:defRPr>
            </a:lvl4pPr>
            <a:lvl5pPr marR="0" algn="l" defTabSz="514350" rtl="0" eaLnBrk="1" fontAlgn="base" latinLnBrk="0" hangingPunct="1">
              <a:lnSpc>
                <a:spcPct val="100000"/>
              </a:lnSpc>
              <a:spcAft>
                <a:spcPct val="0"/>
              </a:spcAft>
              <a:buFont typeface="Arial" pitchFamily="34" charset="0"/>
              <a:tabLst>
                <a:tab pos="2828925" algn="r"/>
              </a:tabLst>
              <a:defRPr kumimoji="0" lang="en-US" sz="1013" b="0" i="0" u="none" strike="noStrike" kern="1200" cap="none" normalizeH="0" baseline="0" dirty="0" smtClean="0">
                <a:ln>
                  <a:noFill/>
                </a:ln>
                <a:solidFill>
                  <a:schemeClr val="tx2"/>
                </a:solidFill>
                <a:effectLst/>
                <a:latin typeface="+mn-lt"/>
                <a:ea typeface="+mn-ea"/>
                <a:cs typeface="Arial" pitchFamily="34" charset="0"/>
              </a:defRPr>
            </a:lvl5pPr>
            <a:lvl6pPr marR="0" algn="l" defTabSz="514350" rtl="0" eaLnBrk="1" fontAlgn="base" latinLnBrk="0" hangingPunct="1">
              <a:lnSpc>
                <a:spcPct val="100000"/>
              </a:lnSpc>
              <a:spcAft>
                <a:spcPct val="0"/>
              </a:spcAft>
              <a:buFont typeface="Arial" pitchFamily="34" charset="0"/>
              <a:tabLst/>
              <a:defRPr kumimoji="0" lang="en-US" sz="1013" b="0" i="0" u="none" strike="noStrike" kern="1200" cap="none" normalizeH="0" baseline="0" dirty="0" smtClean="0">
                <a:ln>
                  <a:noFill/>
                </a:ln>
                <a:solidFill>
                  <a:schemeClr val="tx2"/>
                </a:solidFill>
                <a:effectLst/>
                <a:latin typeface="+mn-lt"/>
                <a:ea typeface="+mn-ea"/>
                <a:cs typeface="Arial" pitchFamily="34" charset="0"/>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Title Placeholder 10"/>
          <p:cNvSpPr>
            <a:spLocks noGrp="1"/>
          </p:cNvSpPr>
          <p:nvPr>
            <p:ph type="title"/>
          </p:nvPr>
        </p:nvSpPr>
        <p:spPr bwMode="gray">
          <a:xfrm>
            <a:off x="552451" y="450281"/>
            <a:ext cx="11106912" cy="249299"/>
          </a:xfrm>
          <a:prstGeom prst="rect">
            <a:avLst/>
          </a:prstGeom>
        </p:spPr>
        <p:txBody>
          <a:bodyPr lIns="0" tIns="0" rIns="0" bIns="0">
            <a:spAutoFit/>
          </a:bodyPr>
          <a:lstStyle/>
          <a:p>
            <a:pPr marL="0" marR="0" lvl="0" indent="0" algn="l" defTabSz="514350" rtl="0" eaLnBrk="0" fontAlgn="base" latinLnBrk="0" hangingPunct="0">
              <a:lnSpc>
                <a:spcPct val="90000"/>
              </a:lnSpc>
              <a:spcBef>
                <a:spcPct val="0"/>
              </a:spcBef>
              <a:spcAft>
                <a:spcPct val="0"/>
              </a:spcAft>
              <a:buClrTx/>
              <a:buSzTx/>
              <a:buFontTx/>
              <a:buNone/>
              <a:tabLst/>
              <a:defRPr/>
            </a:pPr>
            <a:r>
              <a:rPr lang="en-US"/>
              <a:t>Click to edit Master title style</a:t>
            </a:r>
            <a:endParaRPr lang="en-US" dirty="0"/>
          </a:p>
        </p:txBody>
      </p:sp>
    </p:spTree>
    <p:extLst>
      <p:ext uri="{BB962C8B-B14F-4D97-AF65-F5344CB8AC3E}">
        <p14:creationId xmlns:p14="http://schemas.microsoft.com/office/powerpoint/2010/main" val="83230668"/>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userDrawn="1">
  <p:cSld name="Title and subtitle Only">
    <p:spTree>
      <p:nvGrpSpPr>
        <p:cNvPr id="1" name=""/>
        <p:cNvGrpSpPr/>
        <p:nvPr/>
      </p:nvGrpSpPr>
      <p:grpSpPr>
        <a:xfrm>
          <a:off x="0" y="0"/>
          <a:ext cx="0" cy="0"/>
          <a:chOff x="0" y="0"/>
          <a:chExt cx="0" cy="0"/>
        </a:xfrm>
      </p:grpSpPr>
      <p:sp>
        <p:nvSpPr>
          <p:cNvPr id="2" name="Title 1"/>
          <p:cNvSpPr>
            <a:spLocks noGrp="1"/>
          </p:cNvSpPr>
          <p:nvPr>
            <p:ph type="title"/>
          </p:nvPr>
        </p:nvSpPr>
        <p:spPr>
          <a:xfrm>
            <a:off x="429686" y="122241"/>
            <a:ext cx="11332633" cy="427037"/>
          </a:xfrm>
        </p:spPr>
        <p:txBody>
          <a:bodyPr/>
          <a:lstStyle/>
          <a:p>
            <a:r>
              <a:rPr lang="en-US"/>
              <a:t>Click to edit Master title style</a:t>
            </a:r>
          </a:p>
        </p:txBody>
      </p:sp>
      <p:sp>
        <p:nvSpPr>
          <p:cNvPr id="7" name="Content Placeholder 6"/>
          <p:cNvSpPr>
            <a:spLocks noGrp="1"/>
          </p:cNvSpPr>
          <p:nvPr>
            <p:ph sz="quarter" idx="10" hasCustomPrompt="1"/>
          </p:nvPr>
        </p:nvSpPr>
        <p:spPr>
          <a:xfrm>
            <a:off x="429686" y="698957"/>
            <a:ext cx="11332633" cy="245837"/>
          </a:xfrm>
        </p:spPr>
        <p:txBody>
          <a:bodyPr>
            <a:spAutoFit/>
          </a:bodyPr>
          <a:lstStyle>
            <a:lvl1pPr marL="0" indent="0">
              <a:spcBef>
                <a:spcPts val="0"/>
              </a:spcBef>
              <a:buNone/>
              <a:defRPr sz="1050">
                <a:latin typeface="+mj-lt"/>
              </a:defRPr>
            </a:lvl1pPr>
          </a:lstStyle>
          <a:p>
            <a:pPr lvl="0"/>
            <a:r>
              <a:rPr lang="en-US" dirty="0"/>
              <a:t>Click to edit subtitle</a:t>
            </a:r>
            <a:endParaRPr lang="es-MX" dirty="0"/>
          </a:p>
        </p:txBody>
      </p:sp>
    </p:spTree>
    <p:extLst>
      <p:ext uri="{BB962C8B-B14F-4D97-AF65-F5344CB8AC3E}">
        <p14:creationId xmlns:p14="http://schemas.microsoft.com/office/powerpoint/2010/main" val="401589640"/>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userDrawn="1">
  <p:cSld name="4_Custom Layout">
    <p:spTree>
      <p:nvGrpSpPr>
        <p:cNvPr id="1" name=""/>
        <p:cNvGrpSpPr/>
        <p:nvPr/>
      </p:nvGrpSpPr>
      <p:grpSpPr>
        <a:xfrm>
          <a:off x="0" y="0"/>
          <a:ext cx="0" cy="0"/>
          <a:chOff x="0" y="0"/>
          <a:chExt cx="0" cy="0"/>
        </a:xfrm>
      </p:grpSpPr>
      <p:sp>
        <p:nvSpPr>
          <p:cNvPr id="14" name="Rectangle 13"/>
          <p:cNvSpPr/>
          <p:nvPr userDrawn="1"/>
        </p:nvSpPr>
        <p:spPr>
          <a:xfrm>
            <a:off x="226611" y="6608"/>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grpSp>
        <p:nvGrpSpPr>
          <p:cNvPr id="15" name="Group 14"/>
          <p:cNvGrpSpPr/>
          <p:nvPr userDrawn="1"/>
        </p:nvGrpSpPr>
        <p:grpSpPr>
          <a:xfrm flipH="1">
            <a:off x="226609" y="98856"/>
            <a:ext cx="1203763" cy="6096001"/>
            <a:chOff x="160238" y="148877"/>
            <a:chExt cx="1300907" cy="8783936"/>
          </a:xfrm>
        </p:grpSpPr>
        <p:sp>
          <p:nvSpPr>
            <p:cNvPr id="16" name="Rectangle"/>
            <p:cNvSpPr/>
            <p:nvPr userDrawn="1"/>
          </p:nvSpPr>
          <p:spPr>
            <a:xfrm>
              <a:off x="160238" y="7811988"/>
              <a:ext cx="1300907" cy="1120825"/>
            </a:xfrm>
            <a:prstGeom prst="rect">
              <a:avLst/>
            </a:prstGeom>
            <a:solidFill>
              <a:srgbClr val="C4297F"/>
            </a:solidFill>
            <a:ln w="12700">
              <a:miter lim="400000"/>
            </a:ln>
          </p:spPr>
          <p:txBody>
            <a:bodyPr lIns="50800" tIns="50800" rIns="50800" bIns="50800" anchor="ctr"/>
            <a:lstStyle/>
            <a:p>
              <a:endParaRPr sz="1800">
                <a:solidFill>
                  <a:prstClr val="black"/>
                </a:solidFill>
              </a:endParaRPr>
            </a:p>
          </p:txBody>
        </p:sp>
        <p:sp>
          <p:nvSpPr>
            <p:cNvPr id="17" name="Rectangle"/>
            <p:cNvSpPr/>
            <p:nvPr userDrawn="1"/>
          </p:nvSpPr>
          <p:spPr>
            <a:xfrm>
              <a:off x="160238" y="7090072"/>
              <a:ext cx="1300907" cy="721917"/>
            </a:xfrm>
            <a:prstGeom prst="rect">
              <a:avLst/>
            </a:prstGeom>
            <a:solidFill>
              <a:srgbClr val="7C1A4F"/>
            </a:solidFill>
            <a:ln w="12700">
              <a:miter lim="400000"/>
            </a:ln>
          </p:spPr>
          <p:txBody>
            <a:bodyPr lIns="50800" tIns="50800" rIns="50800" bIns="50800" anchor="ctr"/>
            <a:lstStyle/>
            <a:p>
              <a:endParaRPr sz="1800">
                <a:solidFill>
                  <a:prstClr val="black"/>
                </a:solidFill>
              </a:endParaRPr>
            </a:p>
          </p:txBody>
        </p:sp>
        <p:sp>
          <p:nvSpPr>
            <p:cNvPr id="18" name="Rectangle"/>
            <p:cNvSpPr/>
            <p:nvPr userDrawn="1"/>
          </p:nvSpPr>
          <p:spPr>
            <a:xfrm>
              <a:off x="160238" y="6877694"/>
              <a:ext cx="1300907" cy="212379"/>
            </a:xfrm>
            <a:prstGeom prst="rect">
              <a:avLst/>
            </a:prstGeom>
            <a:solidFill>
              <a:srgbClr val="F79824"/>
            </a:solidFill>
            <a:ln w="12700">
              <a:miter lim="400000"/>
            </a:ln>
          </p:spPr>
          <p:txBody>
            <a:bodyPr lIns="50800" tIns="50800" rIns="50800" bIns="50800" anchor="ctr"/>
            <a:lstStyle/>
            <a:p>
              <a:endParaRPr sz="1800">
                <a:solidFill>
                  <a:prstClr val="black"/>
                </a:solidFill>
              </a:endParaRPr>
            </a:p>
          </p:txBody>
        </p:sp>
        <p:sp>
          <p:nvSpPr>
            <p:cNvPr id="19" name="Rectangle"/>
            <p:cNvSpPr/>
            <p:nvPr userDrawn="1"/>
          </p:nvSpPr>
          <p:spPr>
            <a:xfrm>
              <a:off x="160238" y="5875535"/>
              <a:ext cx="1300907" cy="1002160"/>
            </a:xfrm>
            <a:prstGeom prst="rect">
              <a:avLst/>
            </a:prstGeom>
            <a:solidFill>
              <a:srgbClr val="EE4329"/>
            </a:solidFill>
            <a:ln w="12700">
              <a:miter lim="400000"/>
            </a:ln>
          </p:spPr>
          <p:txBody>
            <a:bodyPr lIns="50800" tIns="50800" rIns="50800" bIns="50800" anchor="ctr"/>
            <a:lstStyle/>
            <a:p>
              <a:endParaRPr sz="1800">
                <a:solidFill>
                  <a:prstClr val="black"/>
                </a:solidFill>
              </a:endParaRPr>
            </a:p>
          </p:txBody>
        </p:sp>
        <p:sp>
          <p:nvSpPr>
            <p:cNvPr id="20" name="Rectangle"/>
            <p:cNvSpPr/>
            <p:nvPr userDrawn="1"/>
          </p:nvSpPr>
          <p:spPr>
            <a:xfrm>
              <a:off x="160238" y="3874095"/>
              <a:ext cx="1300907" cy="2001441"/>
            </a:xfrm>
            <a:prstGeom prst="rect">
              <a:avLst/>
            </a:prstGeom>
            <a:solidFill>
              <a:srgbClr val="F36F26"/>
            </a:solidFill>
            <a:ln w="12700">
              <a:miter lim="400000"/>
            </a:ln>
          </p:spPr>
          <p:txBody>
            <a:bodyPr lIns="50800" tIns="50800" rIns="50800" bIns="50800" anchor="ctr"/>
            <a:lstStyle/>
            <a:p>
              <a:endParaRPr sz="1800">
                <a:solidFill>
                  <a:prstClr val="black"/>
                </a:solidFill>
              </a:endParaRPr>
            </a:p>
          </p:txBody>
        </p:sp>
        <p:sp>
          <p:nvSpPr>
            <p:cNvPr id="21" name="Rectangle"/>
            <p:cNvSpPr/>
            <p:nvPr userDrawn="1"/>
          </p:nvSpPr>
          <p:spPr>
            <a:xfrm>
              <a:off x="160238" y="3154213"/>
              <a:ext cx="1300907" cy="721867"/>
            </a:xfrm>
            <a:prstGeom prst="rect">
              <a:avLst/>
            </a:prstGeom>
            <a:solidFill>
              <a:srgbClr val="016AA1"/>
            </a:solidFill>
            <a:ln w="12700">
              <a:miter lim="400000"/>
            </a:ln>
          </p:spPr>
          <p:txBody>
            <a:bodyPr lIns="50800" tIns="50800" rIns="50800" bIns="50800" anchor="ctr"/>
            <a:lstStyle/>
            <a:p>
              <a:endParaRPr sz="1800">
                <a:solidFill>
                  <a:prstClr val="black"/>
                </a:solidFill>
              </a:endParaRPr>
            </a:p>
          </p:txBody>
        </p:sp>
        <p:sp>
          <p:nvSpPr>
            <p:cNvPr id="22" name="Rectangle"/>
            <p:cNvSpPr/>
            <p:nvPr userDrawn="1"/>
          </p:nvSpPr>
          <p:spPr>
            <a:xfrm>
              <a:off x="160238" y="148877"/>
              <a:ext cx="1300907" cy="3005337"/>
            </a:xfrm>
            <a:prstGeom prst="rect">
              <a:avLst/>
            </a:prstGeom>
            <a:solidFill>
              <a:srgbClr val="86CBD8"/>
            </a:solidFill>
            <a:ln w="12700">
              <a:miter lim="400000"/>
            </a:ln>
          </p:spPr>
          <p:txBody>
            <a:bodyPr lIns="50800" tIns="50800" rIns="50800" bIns="50800" anchor="ctr"/>
            <a:lstStyle/>
            <a:p>
              <a:endParaRPr sz="1800">
                <a:solidFill>
                  <a:prstClr val="black"/>
                </a:solidFill>
              </a:endParaRPr>
            </a:p>
          </p:txBody>
        </p:sp>
      </p:grpSp>
    </p:spTree>
    <p:extLst>
      <p:ext uri="{BB962C8B-B14F-4D97-AF65-F5344CB8AC3E}">
        <p14:creationId xmlns:p14="http://schemas.microsoft.com/office/powerpoint/2010/main" val="3294907972"/>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userDrawn="1">
  <p:cSld name="Separador1">
    <p:spTree>
      <p:nvGrpSpPr>
        <p:cNvPr id="1" name=""/>
        <p:cNvGrpSpPr/>
        <p:nvPr/>
      </p:nvGrpSpPr>
      <p:grpSpPr>
        <a:xfrm>
          <a:off x="0" y="0"/>
          <a:ext cx="0" cy="0"/>
          <a:chOff x="0" y="0"/>
          <a:chExt cx="0" cy="0"/>
        </a:xfrm>
      </p:grpSpPr>
      <p:sp>
        <p:nvSpPr>
          <p:cNvPr id="11" name="Rectangle 10"/>
          <p:cNvSpPr/>
          <p:nvPr userDrawn="1"/>
        </p:nvSpPr>
        <p:spPr>
          <a:xfrm>
            <a:off x="226611" y="6608"/>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grpSp>
        <p:nvGrpSpPr>
          <p:cNvPr id="19" name="Group 18"/>
          <p:cNvGrpSpPr/>
          <p:nvPr userDrawn="1"/>
        </p:nvGrpSpPr>
        <p:grpSpPr>
          <a:xfrm>
            <a:off x="226614" y="98854"/>
            <a:ext cx="1204588" cy="6096000"/>
            <a:chOff x="160238" y="154880"/>
            <a:chExt cx="1300907" cy="8777933"/>
          </a:xfrm>
        </p:grpSpPr>
        <p:sp>
          <p:nvSpPr>
            <p:cNvPr id="12" name="Rectangle"/>
            <p:cNvSpPr/>
            <p:nvPr userDrawn="1"/>
          </p:nvSpPr>
          <p:spPr>
            <a:xfrm>
              <a:off x="160238" y="8398371"/>
              <a:ext cx="1300907" cy="534442"/>
            </a:xfrm>
            <a:prstGeom prst="rect">
              <a:avLst/>
            </a:prstGeom>
            <a:solidFill>
              <a:srgbClr val="85CDD9"/>
            </a:solidFill>
            <a:ln w="12700">
              <a:miter lim="400000"/>
            </a:ln>
          </p:spPr>
          <p:txBody>
            <a:bodyPr lIns="50800" tIns="50800" rIns="50800" bIns="50800" anchor="ctr"/>
            <a:lstStyle/>
            <a:p>
              <a:endParaRPr sz="1800">
                <a:solidFill>
                  <a:prstClr val="black"/>
                </a:solidFill>
              </a:endParaRPr>
            </a:p>
          </p:txBody>
        </p:sp>
        <p:sp>
          <p:nvSpPr>
            <p:cNvPr id="13" name="Rectangle"/>
            <p:cNvSpPr/>
            <p:nvPr userDrawn="1"/>
          </p:nvSpPr>
          <p:spPr>
            <a:xfrm>
              <a:off x="160238" y="8183364"/>
              <a:ext cx="1300907" cy="215008"/>
            </a:xfrm>
            <a:prstGeom prst="rect">
              <a:avLst/>
            </a:prstGeom>
            <a:solidFill>
              <a:srgbClr val="4D89AD"/>
            </a:solidFill>
            <a:ln w="12700">
              <a:miter lim="400000"/>
            </a:ln>
          </p:spPr>
          <p:txBody>
            <a:bodyPr lIns="50800" tIns="50800" rIns="50800" bIns="50800" anchor="ctr"/>
            <a:lstStyle/>
            <a:p>
              <a:endParaRPr sz="1800">
                <a:solidFill>
                  <a:prstClr val="black"/>
                </a:solidFill>
              </a:endParaRPr>
            </a:p>
          </p:txBody>
        </p:sp>
        <p:sp>
          <p:nvSpPr>
            <p:cNvPr id="14" name="Rectangle"/>
            <p:cNvSpPr/>
            <p:nvPr userDrawn="1"/>
          </p:nvSpPr>
          <p:spPr>
            <a:xfrm>
              <a:off x="160238" y="6195863"/>
              <a:ext cx="1300907" cy="1987502"/>
            </a:xfrm>
            <a:prstGeom prst="rect">
              <a:avLst/>
            </a:prstGeom>
            <a:solidFill>
              <a:srgbClr val="2591C0"/>
            </a:solidFill>
            <a:ln w="12700">
              <a:miter lim="400000"/>
            </a:ln>
          </p:spPr>
          <p:txBody>
            <a:bodyPr lIns="50800" tIns="50800" rIns="50800" bIns="50800" anchor="ctr"/>
            <a:lstStyle/>
            <a:p>
              <a:endParaRPr sz="1800">
                <a:solidFill>
                  <a:prstClr val="black"/>
                </a:solidFill>
              </a:endParaRPr>
            </a:p>
          </p:txBody>
        </p:sp>
        <p:sp>
          <p:nvSpPr>
            <p:cNvPr id="15" name="Rectangle"/>
            <p:cNvSpPr/>
            <p:nvPr userDrawn="1"/>
          </p:nvSpPr>
          <p:spPr>
            <a:xfrm>
              <a:off x="160238" y="5724425"/>
              <a:ext cx="1300907" cy="471439"/>
            </a:xfrm>
            <a:prstGeom prst="rect">
              <a:avLst/>
            </a:prstGeom>
            <a:solidFill>
              <a:srgbClr val="104D6A"/>
            </a:solidFill>
            <a:ln w="12700">
              <a:miter lim="400000"/>
            </a:ln>
          </p:spPr>
          <p:txBody>
            <a:bodyPr lIns="50800" tIns="50800" rIns="50800" bIns="50800" anchor="ctr"/>
            <a:lstStyle/>
            <a:p>
              <a:endParaRPr sz="1800">
                <a:solidFill>
                  <a:prstClr val="black"/>
                </a:solidFill>
              </a:endParaRPr>
            </a:p>
          </p:txBody>
        </p:sp>
        <p:sp>
          <p:nvSpPr>
            <p:cNvPr id="16" name="Rectangle"/>
            <p:cNvSpPr/>
            <p:nvPr userDrawn="1"/>
          </p:nvSpPr>
          <p:spPr>
            <a:xfrm>
              <a:off x="160238" y="371177"/>
              <a:ext cx="1300907" cy="813396"/>
            </a:xfrm>
            <a:prstGeom prst="rect">
              <a:avLst/>
            </a:prstGeom>
            <a:solidFill>
              <a:srgbClr val="095B88"/>
            </a:solidFill>
            <a:ln w="12700">
              <a:miter lim="400000"/>
            </a:ln>
          </p:spPr>
          <p:txBody>
            <a:bodyPr lIns="50800" tIns="50800" rIns="50800" bIns="50800" anchor="ctr"/>
            <a:lstStyle/>
            <a:p>
              <a:endParaRPr sz="1800">
                <a:solidFill>
                  <a:prstClr val="black"/>
                </a:solidFill>
              </a:endParaRPr>
            </a:p>
          </p:txBody>
        </p:sp>
        <p:sp>
          <p:nvSpPr>
            <p:cNvPr id="17" name="Rectangle"/>
            <p:cNvSpPr/>
            <p:nvPr userDrawn="1"/>
          </p:nvSpPr>
          <p:spPr>
            <a:xfrm>
              <a:off x="160238" y="1184572"/>
              <a:ext cx="1300907" cy="4539854"/>
            </a:xfrm>
            <a:prstGeom prst="rect">
              <a:avLst/>
            </a:prstGeom>
            <a:solidFill>
              <a:srgbClr val="016AA1"/>
            </a:solidFill>
            <a:ln w="12700">
              <a:miter lim="400000"/>
            </a:ln>
          </p:spPr>
          <p:txBody>
            <a:bodyPr lIns="50800" tIns="50800" rIns="50800" bIns="50800" anchor="ctr"/>
            <a:lstStyle/>
            <a:p>
              <a:endParaRPr sz="1800">
                <a:solidFill>
                  <a:prstClr val="black"/>
                </a:solidFill>
              </a:endParaRPr>
            </a:p>
          </p:txBody>
        </p:sp>
        <p:sp>
          <p:nvSpPr>
            <p:cNvPr id="18" name="Rectangle"/>
            <p:cNvSpPr/>
            <p:nvPr userDrawn="1"/>
          </p:nvSpPr>
          <p:spPr>
            <a:xfrm>
              <a:off x="160238" y="154880"/>
              <a:ext cx="1300907" cy="216298"/>
            </a:xfrm>
            <a:prstGeom prst="rect">
              <a:avLst/>
            </a:prstGeom>
            <a:solidFill>
              <a:srgbClr val="85CDD9"/>
            </a:solidFill>
            <a:ln w="12700">
              <a:miter lim="400000"/>
            </a:ln>
          </p:spPr>
          <p:txBody>
            <a:bodyPr lIns="50800" tIns="50800" rIns="50800" bIns="50800" anchor="ctr"/>
            <a:lstStyle/>
            <a:p>
              <a:endParaRPr sz="1800">
                <a:solidFill>
                  <a:prstClr val="black"/>
                </a:solidFill>
              </a:endParaRPr>
            </a:p>
          </p:txBody>
        </p:sp>
      </p:grpSp>
    </p:spTree>
    <p:extLst>
      <p:ext uri="{BB962C8B-B14F-4D97-AF65-F5344CB8AC3E}">
        <p14:creationId xmlns:p14="http://schemas.microsoft.com/office/powerpoint/2010/main" val="2367393294"/>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separdor 2">
    <p:spTree>
      <p:nvGrpSpPr>
        <p:cNvPr id="1" name=""/>
        <p:cNvGrpSpPr/>
        <p:nvPr/>
      </p:nvGrpSpPr>
      <p:grpSpPr>
        <a:xfrm>
          <a:off x="0" y="0"/>
          <a:ext cx="0" cy="0"/>
          <a:chOff x="0" y="0"/>
          <a:chExt cx="0" cy="0"/>
        </a:xfrm>
      </p:grpSpPr>
      <p:sp>
        <p:nvSpPr>
          <p:cNvPr id="6" name="Rectangle 5"/>
          <p:cNvSpPr/>
          <p:nvPr userDrawn="1"/>
        </p:nvSpPr>
        <p:spPr>
          <a:xfrm>
            <a:off x="144731" y="21107"/>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grpSp>
        <p:nvGrpSpPr>
          <p:cNvPr id="7" name="Group 6"/>
          <p:cNvGrpSpPr/>
          <p:nvPr userDrawn="1"/>
        </p:nvGrpSpPr>
        <p:grpSpPr>
          <a:xfrm>
            <a:off x="231503" y="98856"/>
            <a:ext cx="1206483" cy="6105595"/>
            <a:chOff x="160238" y="154880"/>
            <a:chExt cx="1300907" cy="8777933"/>
          </a:xfrm>
        </p:grpSpPr>
        <p:sp>
          <p:nvSpPr>
            <p:cNvPr id="8" name="Rectangle"/>
            <p:cNvSpPr/>
            <p:nvPr userDrawn="1"/>
          </p:nvSpPr>
          <p:spPr>
            <a:xfrm>
              <a:off x="160238" y="8398371"/>
              <a:ext cx="1300907" cy="534442"/>
            </a:xfrm>
            <a:prstGeom prst="rect">
              <a:avLst/>
            </a:prstGeom>
            <a:solidFill>
              <a:srgbClr val="ED207D"/>
            </a:solidFill>
            <a:ln w="12700">
              <a:miter lim="400000"/>
            </a:ln>
          </p:spPr>
          <p:txBody>
            <a:bodyPr lIns="50800" tIns="50800" rIns="50800" bIns="50800" anchor="ctr"/>
            <a:lstStyle/>
            <a:p>
              <a:endParaRPr sz="1800">
                <a:solidFill>
                  <a:prstClr val="black"/>
                </a:solidFill>
              </a:endParaRPr>
            </a:p>
          </p:txBody>
        </p:sp>
        <p:sp>
          <p:nvSpPr>
            <p:cNvPr id="9" name="Rectangle"/>
            <p:cNvSpPr/>
            <p:nvPr userDrawn="1"/>
          </p:nvSpPr>
          <p:spPr>
            <a:xfrm>
              <a:off x="160238" y="8183364"/>
              <a:ext cx="1300907" cy="215008"/>
            </a:xfrm>
            <a:prstGeom prst="rect">
              <a:avLst/>
            </a:prstGeom>
            <a:solidFill>
              <a:srgbClr val="BF1D7F"/>
            </a:solidFill>
            <a:ln w="12700">
              <a:miter lim="400000"/>
            </a:ln>
          </p:spPr>
          <p:txBody>
            <a:bodyPr lIns="50800" tIns="50800" rIns="50800" bIns="50800" anchor="ctr"/>
            <a:lstStyle/>
            <a:p>
              <a:endParaRPr sz="1800">
                <a:solidFill>
                  <a:prstClr val="black"/>
                </a:solidFill>
              </a:endParaRPr>
            </a:p>
          </p:txBody>
        </p:sp>
        <p:sp>
          <p:nvSpPr>
            <p:cNvPr id="10" name="Rectangle"/>
            <p:cNvSpPr/>
            <p:nvPr userDrawn="1"/>
          </p:nvSpPr>
          <p:spPr>
            <a:xfrm>
              <a:off x="160238" y="6195863"/>
              <a:ext cx="1300907" cy="1987502"/>
            </a:xfrm>
            <a:prstGeom prst="rect">
              <a:avLst/>
            </a:prstGeom>
            <a:solidFill>
              <a:srgbClr val="7C1A4F"/>
            </a:solidFill>
            <a:ln w="12700">
              <a:miter lim="400000"/>
            </a:ln>
          </p:spPr>
          <p:txBody>
            <a:bodyPr lIns="50800" tIns="50800" rIns="50800" bIns="50800" anchor="ctr"/>
            <a:lstStyle/>
            <a:p>
              <a:endParaRPr sz="1800">
                <a:solidFill>
                  <a:prstClr val="black"/>
                </a:solidFill>
              </a:endParaRPr>
            </a:p>
          </p:txBody>
        </p:sp>
        <p:sp>
          <p:nvSpPr>
            <p:cNvPr id="11" name="Rectangle"/>
            <p:cNvSpPr/>
            <p:nvPr userDrawn="1"/>
          </p:nvSpPr>
          <p:spPr>
            <a:xfrm>
              <a:off x="160238" y="5724425"/>
              <a:ext cx="1300907" cy="471439"/>
            </a:xfrm>
            <a:prstGeom prst="rect">
              <a:avLst/>
            </a:prstGeom>
            <a:solidFill>
              <a:srgbClr val="DA2C57"/>
            </a:solidFill>
            <a:ln w="12700">
              <a:miter lim="400000"/>
            </a:ln>
          </p:spPr>
          <p:txBody>
            <a:bodyPr lIns="50800" tIns="50800" rIns="50800" bIns="50800" anchor="ctr"/>
            <a:lstStyle/>
            <a:p>
              <a:endParaRPr sz="1800">
                <a:solidFill>
                  <a:prstClr val="black"/>
                </a:solidFill>
              </a:endParaRPr>
            </a:p>
          </p:txBody>
        </p:sp>
        <p:sp>
          <p:nvSpPr>
            <p:cNvPr id="12" name="Rectangle"/>
            <p:cNvSpPr/>
            <p:nvPr userDrawn="1"/>
          </p:nvSpPr>
          <p:spPr>
            <a:xfrm>
              <a:off x="160238" y="371177"/>
              <a:ext cx="1300907" cy="813396"/>
            </a:xfrm>
            <a:prstGeom prst="rect">
              <a:avLst/>
            </a:prstGeom>
            <a:solidFill>
              <a:srgbClr val="C4297F"/>
            </a:solidFill>
            <a:ln w="12700">
              <a:miter lim="400000"/>
            </a:ln>
          </p:spPr>
          <p:txBody>
            <a:bodyPr lIns="50800" tIns="50800" rIns="50800" bIns="50800" anchor="ctr"/>
            <a:lstStyle/>
            <a:p>
              <a:endParaRPr sz="1800">
                <a:solidFill>
                  <a:prstClr val="black"/>
                </a:solidFill>
              </a:endParaRPr>
            </a:p>
          </p:txBody>
        </p:sp>
        <p:sp>
          <p:nvSpPr>
            <p:cNvPr id="13" name="Rectangle"/>
            <p:cNvSpPr/>
            <p:nvPr userDrawn="1"/>
          </p:nvSpPr>
          <p:spPr>
            <a:xfrm>
              <a:off x="160238" y="1184572"/>
              <a:ext cx="1300907" cy="4539854"/>
            </a:xfrm>
            <a:prstGeom prst="rect">
              <a:avLst/>
            </a:prstGeom>
            <a:solidFill>
              <a:srgbClr val="822455"/>
            </a:solidFill>
            <a:ln w="12700">
              <a:miter lim="400000"/>
            </a:ln>
          </p:spPr>
          <p:txBody>
            <a:bodyPr lIns="50800" tIns="50800" rIns="50800" bIns="50800" anchor="ctr"/>
            <a:lstStyle/>
            <a:p>
              <a:endParaRPr sz="1800">
                <a:solidFill>
                  <a:prstClr val="black"/>
                </a:solidFill>
              </a:endParaRPr>
            </a:p>
          </p:txBody>
        </p:sp>
        <p:sp>
          <p:nvSpPr>
            <p:cNvPr id="14" name="Rectangle"/>
            <p:cNvSpPr/>
            <p:nvPr userDrawn="1"/>
          </p:nvSpPr>
          <p:spPr>
            <a:xfrm>
              <a:off x="160238" y="154880"/>
              <a:ext cx="1300907" cy="216298"/>
            </a:xfrm>
            <a:prstGeom prst="rect">
              <a:avLst/>
            </a:prstGeom>
            <a:solidFill>
              <a:srgbClr val="DA2C57"/>
            </a:solidFill>
            <a:ln w="12700">
              <a:miter lim="400000"/>
            </a:ln>
          </p:spPr>
          <p:txBody>
            <a:bodyPr lIns="50800" tIns="50800" rIns="50800" bIns="50800" anchor="ctr"/>
            <a:lstStyle/>
            <a:p>
              <a:endParaRPr sz="1800">
                <a:solidFill>
                  <a:prstClr val="black"/>
                </a:solidFill>
              </a:endParaRPr>
            </a:p>
          </p:txBody>
        </p:sp>
      </p:grpSp>
    </p:spTree>
    <p:extLst>
      <p:ext uri="{BB962C8B-B14F-4D97-AF65-F5344CB8AC3E}">
        <p14:creationId xmlns:p14="http://schemas.microsoft.com/office/powerpoint/2010/main" val="21549359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Quote_Azul">
    <p:spTree>
      <p:nvGrpSpPr>
        <p:cNvPr id="1" name=""/>
        <p:cNvGrpSpPr/>
        <p:nvPr/>
      </p:nvGrpSpPr>
      <p:grpSpPr>
        <a:xfrm>
          <a:off x="0" y="0"/>
          <a:ext cx="0" cy="0"/>
          <a:chOff x="0" y="0"/>
          <a:chExt cx="0" cy="0"/>
        </a:xfrm>
      </p:grpSpPr>
      <p:sp>
        <p:nvSpPr>
          <p:cNvPr id="6" name="Rectangle 4"/>
          <p:cNvSpPr>
            <a:spLocks noChangeArrowheads="1"/>
          </p:cNvSpPr>
          <p:nvPr userDrawn="1"/>
        </p:nvSpPr>
        <p:spPr bwMode="auto">
          <a:xfrm>
            <a:off x="-24676" y="0"/>
            <a:ext cx="12192000" cy="6858000"/>
          </a:xfrm>
          <a:prstGeom prst="rect">
            <a:avLst/>
          </a:prstGeom>
          <a:solidFill>
            <a:srgbClr val="002D72"/>
          </a:solidFill>
          <a:ln w="12700">
            <a:solidFill>
              <a:schemeClr val="tx2"/>
            </a:solidFill>
            <a:round/>
            <a:headEnd/>
            <a:tailEnd/>
          </a:ln>
        </p:spPr>
        <p:txBody>
          <a:bodyPr wrap="none" anchor="ctr"/>
          <a:lstStyle/>
          <a:p>
            <a:pPr algn="ctr" defTabSz="914400" fontAlgn="base">
              <a:spcBef>
                <a:spcPct val="0"/>
              </a:spcBef>
              <a:spcAft>
                <a:spcPct val="0"/>
              </a:spcAft>
            </a:pPr>
            <a:endParaRPr lang="es-ES_tradnl" sz="2400">
              <a:solidFill>
                <a:srgbClr val="002D72"/>
              </a:solidFill>
              <a:ea typeface="ＭＳ Ｐゴシック" charset="0"/>
            </a:endParaRPr>
          </a:p>
        </p:txBody>
      </p:sp>
      <p:grpSp>
        <p:nvGrpSpPr>
          <p:cNvPr id="7" name="Group 24"/>
          <p:cNvGrpSpPr>
            <a:grpSpLocks/>
          </p:cNvGrpSpPr>
          <p:nvPr userDrawn="1"/>
        </p:nvGrpSpPr>
        <p:grpSpPr bwMode="auto">
          <a:xfrm>
            <a:off x="490519" y="391003"/>
            <a:ext cx="1233216" cy="615424"/>
            <a:chOff x="-3315972" y="-924674"/>
            <a:chExt cx="6411831" cy="4278160"/>
          </a:xfrm>
          <a:solidFill>
            <a:schemeClr val="accent1"/>
          </a:solidFill>
        </p:grpSpPr>
        <p:sp>
          <p:nvSpPr>
            <p:cNvPr id="8" name="Trapezoid 21"/>
            <p:cNvSpPr>
              <a:spLocks/>
            </p:cNvSpPr>
            <p:nvPr/>
          </p:nvSpPr>
          <p:spPr bwMode="auto">
            <a:xfrm>
              <a:off x="-3315972"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defTabSz="914400" fontAlgn="base">
                <a:spcBef>
                  <a:spcPct val="0"/>
                </a:spcBef>
                <a:spcAft>
                  <a:spcPct val="0"/>
                </a:spcAft>
                <a:defRPr/>
              </a:pPr>
              <a:endParaRPr lang="en-US" sz="2400">
                <a:solidFill>
                  <a:srgbClr val="53565A"/>
                </a:solidFill>
                <a:ea typeface="ヒラギノ角ゴ Pro W3" charset="0"/>
                <a:cs typeface="ヒラギノ角ゴ Pro W3" charset="0"/>
              </a:endParaRPr>
            </a:p>
          </p:txBody>
        </p:sp>
        <p:sp>
          <p:nvSpPr>
            <p:cNvPr id="9" name="Trapezoid 21"/>
            <p:cNvSpPr>
              <a:spLocks/>
            </p:cNvSpPr>
            <p:nvPr/>
          </p:nvSpPr>
          <p:spPr bwMode="auto">
            <a:xfrm>
              <a:off x="839130"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defTabSz="914400" fontAlgn="base">
                <a:spcBef>
                  <a:spcPct val="0"/>
                </a:spcBef>
                <a:spcAft>
                  <a:spcPct val="0"/>
                </a:spcAft>
                <a:defRPr/>
              </a:pPr>
              <a:endParaRPr lang="en-US" sz="2400">
                <a:solidFill>
                  <a:srgbClr val="53565A"/>
                </a:solidFill>
                <a:ea typeface="ヒラギノ角ゴ Pro W3" charset="0"/>
                <a:cs typeface="ヒラギノ角ゴ Pro W3" charset="0"/>
              </a:endParaRPr>
            </a:p>
          </p:txBody>
        </p:sp>
      </p:grpSp>
      <p:grpSp>
        <p:nvGrpSpPr>
          <p:cNvPr id="10" name="Group 25"/>
          <p:cNvGrpSpPr>
            <a:grpSpLocks/>
          </p:cNvGrpSpPr>
          <p:nvPr userDrawn="1"/>
        </p:nvGrpSpPr>
        <p:grpSpPr bwMode="auto">
          <a:xfrm flipH="1" flipV="1">
            <a:off x="10549240" y="6005514"/>
            <a:ext cx="1233216" cy="615421"/>
            <a:chOff x="-3315972" y="-924674"/>
            <a:chExt cx="6411831" cy="4278160"/>
          </a:xfrm>
          <a:solidFill>
            <a:schemeClr val="accent1"/>
          </a:solidFill>
        </p:grpSpPr>
        <p:sp>
          <p:nvSpPr>
            <p:cNvPr id="11" name="Trapezoid 21"/>
            <p:cNvSpPr>
              <a:spLocks/>
            </p:cNvSpPr>
            <p:nvPr/>
          </p:nvSpPr>
          <p:spPr bwMode="auto">
            <a:xfrm>
              <a:off x="-3315972"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defTabSz="914400" fontAlgn="base">
                <a:spcBef>
                  <a:spcPct val="0"/>
                </a:spcBef>
                <a:spcAft>
                  <a:spcPct val="0"/>
                </a:spcAft>
                <a:defRPr/>
              </a:pPr>
              <a:endParaRPr lang="en-US" sz="2400">
                <a:solidFill>
                  <a:srgbClr val="53565A"/>
                </a:solidFill>
                <a:ea typeface="ヒラギノ角ゴ Pro W3" charset="0"/>
                <a:cs typeface="ヒラギノ角ゴ Pro W3" charset="0"/>
              </a:endParaRPr>
            </a:p>
          </p:txBody>
        </p:sp>
        <p:sp>
          <p:nvSpPr>
            <p:cNvPr id="12" name="Trapezoid 21"/>
            <p:cNvSpPr>
              <a:spLocks/>
            </p:cNvSpPr>
            <p:nvPr/>
          </p:nvSpPr>
          <p:spPr bwMode="auto">
            <a:xfrm>
              <a:off x="839130"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defTabSz="914400" fontAlgn="base">
                <a:spcBef>
                  <a:spcPct val="0"/>
                </a:spcBef>
                <a:spcAft>
                  <a:spcPct val="0"/>
                </a:spcAft>
                <a:defRPr/>
              </a:pPr>
              <a:endParaRPr lang="en-US" sz="2400">
                <a:solidFill>
                  <a:srgbClr val="53565A"/>
                </a:solidFill>
                <a:ea typeface="ヒラギノ角ゴ Pro W3" charset="0"/>
                <a:cs typeface="ヒラギノ角ゴ Pro W3" charset="0"/>
              </a:endParaRPr>
            </a:p>
          </p:txBody>
        </p:sp>
      </p:grpSp>
      <p:sp>
        <p:nvSpPr>
          <p:cNvPr id="24" name="Text Placeholder 23"/>
          <p:cNvSpPr>
            <a:spLocks noGrp="1"/>
          </p:cNvSpPr>
          <p:nvPr>
            <p:ph type="body" sz="quarter" idx="10"/>
          </p:nvPr>
        </p:nvSpPr>
        <p:spPr>
          <a:xfrm>
            <a:off x="2357968" y="1006427"/>
            <a:ext cx="8191273" cy="3686224"/>
          </a:xfrm>
        </p:spPr>
        <p:txBody>
          <a:bodyPr/>
          <a:lstStyle>
            <a:lvl1pPr marL="0" indent="0" algn="l">
              <a:buNone/>
              <a:defRPr sz="3600">
                <a:solidFill>
                  <a:schemeClr val="bg1"/>
                </a:solidFill>
              </a:defRPr>
            </a:lvl1pPr>
            <a:lvl2pPr marL="403225" indent="0" algn="l">
              <a:buNone/>
              <a:defRPr sz="3600">
                <a:solidFill>
                  <a:schemeClr val="bg1"/>
                </a:solidFill>
              </a:defRPr>
            </a:lvl2pPr>
            <a:lvl3pPr marL="747712" indent="0" algn="l">
              <a:buNone/>
              <a:defRPr sz="3600">
                <a:solidFill>
                  <a:schemeClr val="bg1"/>
                </a:solidFill>
              </a:defRPr>
            </a:lvl3pPr>
            <a:lvl4pPr marL="1089025" indent="0" algn="l">
              <a:buNone/>
              <a:defRPr sz="3600">
                <a:solidFill>
                  <a:schemeClr val="bg1"/>
                </a:solidFill>
              </a:defRPr>
            </a:lvl4pPr>
            <a:lvl5pPr marL="1427162" indent="0" algn="l">
              <a:buNone/>
              <a:defRPr sz="360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5" name="Text Placeholder 23"/>
          <p:cNvSpPr>
            <a:spLocks noGrp="1"/>
          </p:cNvSpPr>
          <p:nvPr>
            <p:ph type="body" sz="quarter" idx="11"/>
          </p:nvPr>
        </p:nvSpPr>
        <p:spPr>
          <a:xfrm>
            <a:off x="2357968" y="4944980"/>
            <a:ext cx="8191273" cy="1335504"/>
          </a:xfrm>
        </p:spPr>
        <p:txBody>
          <a:bodyPr/>
          <a:lstStyle>
            <a:lvl1pPr marL="0" indent="0" algn="l">
              <a:buNone/>
              <a:defRPr sz="2400">
                <a:solidFill>
                  <a:srgbClr val="00B3F0"/>
                </a:solidFill>
              </a:defRPr>
            </a:lvl1pPr>
            <a:lvl2pPr marL="403225" indent="0" algn="l">
              <a:buNone/>
              <a:defRPr sz="2400">
                <a:solidFill>
                  <a:srgbClr val="00B3F0"/>
                </a:solidFill>
              </a:defRPr>
            </a:lvl2pPr>
            <a:lvl3pPr marL="747712" indent="0" algn="l">
              <a:buNone/>
              <a:defRPr sz="2400">
                <a:solidFill>
                  <a:srgbClr val="00B3F0"/>
                </a:solidFill>
              </a:defRPr>
            </a:lvl3pPr>
            <a:lvl4pPr marL="1089025" indent="0" algn="l">
              <a:buNone/>
              <a:defRPr sz="2400">
                <a:solidFill>
                  <a:srgbClr val="00B3F0"/>
                </a:solidFill>
              </a:defRPr>
            </a:lvl4pPr>
            <a:lvl5pPr marL="1427162" indent="0" algn="l">
              <a:buNone/>
              <a:defRPr sz="2400">
                <a:solidFill>
                  <a:srgbClr val="00B3F0"/>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077072905"/>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6" name="Rectangle 5"/>
          <p:cNvSpPr/>
          <p:nvPr userDrawn="1"/>
        </p:nvSpPr>
        <p:spPr>
          <a:xfrm>
            <a:off x="120826" y="14846"/>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grpSp>
        <p:nvGrpSpPr>
          <p:cNvPr id="14" name="Group 13"/>
          <p:cNvGrpSpPr/>
          <p:nvPr userDrawn="1"/>
        </p:nvGrpSpPr>
        <p:grpSpPr>
          <a:xfrm>
            <a:off x="231503" y="98855"/>
            <a:ext cx="1206483" cy="6105595"/>
            <a:chOff x="160238" y="162796"/>
            <a:chExt cx="1300907" cy="8777933"/>
          </a:xfrm>
        </p:grpSpPr>
        <p:sp>
          <p:nvSpPr>
            <p:cNvPr id="15" name="Rectangle"/>
            <p:cNvSpPr/>
            <p:nvPr userDrawn="1"/>
          </p:nvSpPr>
          <p:spPr>
            <a:xfrm>
              <a:off x="160238" y="8406287"/>
              <a:ext cx="1300907" cy="534442"/>
            </a:xfrm>
            <a:prstGeom prst="rect">
              <a:avLst/>
            </a:prstGeom>
            <a:solidFill>
              <a:srgbClr val="D91F27"/>
            </a:solidFill>
            <a:ln w="12700">
              <a:miter lim="400000"/>
            </a:ln>
          </p:spPr>
          <p:txBody>
            <a:bodyPr lIns="50800" tIns="50800" rIns="50800" bIns="50800" anchor="ctr"/>
            <a:lstStyle/>
            <a:p>
              <a:endParaRPr sz="1800">
                <a:solidFill>
                  <a:prstClr val="black"/>
                </a:solidFill>
              </a:endParaRPr>
            </a:p>
          </p:txBody>
        </p:sp>
        <p:sp>
          <p:nvSpPr>
            <p:cNvPr id="16" name="Rectangle"/>
            <p:cNvSpPr/>
            <p:nvPr userDrawn="1"/>
          </p:nvSpPr>
          <p:spPr>
            <a:xfrm>
              <a:off x="160238" y="8191280"/>
              <a:ext cx="1300907" cy="215008"/>
            </a:xfrm>
            <a:prstGeom prst="rect">
              <a:avLst/>
            </a:prstGeom>
            <a:solidFill>
              <a:srgbClr val="F36F26"/>
            </a:solidFill>
            <a:ln w="12700">
              <a:miter lim="400000"/>
            </a:ln>
          </p:spPr>
          <p:txBody>
            <a:bodyPr lIns="50800" tIns="50800" rIns="50800" bIns="50800" anchor="ctr"/>
            <a:lstStyle/>
            <a:p>
              <a:endParaRPr sz="1800">
                <a:solidFill>
                  <a:prstClr val="black"/>
                </a:solidFill>
              </a:endParaRPr>
            </a:p>
          </p:txBody>
        </p:sp>
        <p:sp>
          <p:nvSpPr>
            <p:cNvPr id="17" name="Rectangle"/>
            <p:cNvSpPr/>
            <p:nvPr userDrawn="1"/>
          </p:nvSpPr>
          <p:spPr>
            <a:xfrm>
              <a:off x="160238" y="6203779"/>
              <a:ext cx="1300907" cy="1987502"/>
            </a:xfrm>
            <a:prstGeom prst="rect">
              <a:avLst/>
            </a:prstGeom>
            <a:solidFill>
              <a:srgbClr val="FBB91A"/>
            </a:solidFill>
            <a:ln w="12700">
              <a:miter lim="400000"/>
            </a:ln>
          </p:spPr>
          <p:txBody>
            <a:bodyPr lIns="50800" tIns="50800" rIns="50800" bIns="50800" anchor="ctr"/>
            <a:lstStyle/>
            <a:p>
              <a:endParaRPr sz="1800">
                <a:solidFill>
                  <a:prstClr val="black"/>
                </a:solidFill>
              </a:endParaRPr>
            </a:p>
          </p:txBody>
        </p:sp>
        <p:sp>
          <p:nvSpPr>
            <p:cNvPr id="18" name="Rectangle"/>
            <p:cNvSpPr/>
            <p:nvPr userDrawn="1"/>
          </p:nvSpPr>
          <p:spPr>
            <a:xfrm>
              <a:off x="160238" y="5732341"/>
              <a:ext cx="1300907" cy="471439"/>
            </a:xfrm>
            <a:prstGeom prst="rect">
              <a:avLst/>
            </a:prstGeom>
            <a:solidFill>
              <a:srgbClr val="F69427"/>
            </a:solidFill>
            <a:ln w="12700">
              <a:miter lim="400000"/>
            </a:ln>
          </p:spPr>
          <p:txBody>
            <a:bodyPr lIns="50800" tIns="50800" rIns="50800" bIns="50800" anchor="ctr"/>
            <a:lstStyle/>
            <a:p>
              <a:endParaRPr sz="1800">
                <a:solidFill>
                  <a:prstClr val="black"/>
                </a:solidFill>
              </a:endParaRPr>
            </a:p>
          </p:txBody>
        </p:sp>
        <p:sp>
          <p:nvSpPr>
            <p:cNvPr id="19" name="Rectangle"/>
            <p:cNvSpPr/>
            <p:nvPr userDrawn="1"/>
          </p:nvSpPr>
          <p:spPr>
            <a:xfrm>
              <a:off x="160238" y="379093"/>
              <a:ext cx="1300907" cy="813396"/>
            </a:xfrm>
            <a:prstGeom prst="rect">
              <a:avLst/>
            </a:prstGeom>
            <a:solidFill>
              <a:srgbClr val="F79824"/>
            </a:solidFill>
            <a:ln w="12700">
              <a:miter lim="400000"/>
            </a:ln>
          </p:spPr>
          <p:txBody>
            <a:bodyPr lIns="50800" tIns="50800" rIns="50800" bIns="50800" anchor="ctr"/>
            <a:lstStyle/>
            <a:p>
              <a:endParaRPr sz="1800">
                <a:solidFill>
                  <a:prstClr val="black"/>
                </a:solidFill>
              </a:endParaRPr>
            </a:p>
          </p:txBody>
        </p:sp>
        <p:sp>
          <p:nvSpPr>
            <p:cNvPr id="20" name="Rectangle"/>
            <p:cNvSpPr/>
            <p:nvPr userDrawn="1"/>
          </p:nvSpPr>
          <p:spPr>
            <a:xfrm>
              <a:off x="160238" y="1192488"/>
              <a:ext cx="1300907" cy="4539854"/>
            </a:xfrm>
            <a:prstGeom prst="rect">
              <a:avLst/>
            </a:prstGeom>
            <a:solidFill>
              <a:srgbClr val="EE4329"/>
            </a:solidFill>
            <a:ln w="12700">
              <a:miter lim="400000"/>
            </a:ln>
          </p:spPr>
          <p:txBody>
            <a:bodyPr lIns="50800" tIns="50800" rIns="50800" bIns="50800" anchor="ctr"/>
            <a:lstStyle/>
            <a:p>
              <a:endParaRPr sz="1800">
                <a:solidFill>
                  <a:prstClr val="black"/>
                </a:solidFill>
              </a:endParaRPr>
            </a:p>
          </p:txBody>
        </p:sp>
        <p:sp>
          <p:nvSpPr>
            <p:cNvPr id="21" name="Rectangle"/>
            <p:cNvSpPr/>
            <p:nvPr userDrawn="1"/>
          </p:nvSpPr>
          <p:spPr>
            <a:xfrm>
              <a:off x="160238" y="162796"/>
              <a:ext cx="1300907" cy="216298"/>
            </a:xfrm>
            <a:prstGeom prst="rect">
              <a:avLst/>
            </a:prstGeom>
            <a:solidFill>
              <a:srgbClr val="BF2126"/>
            </a:solidFill>
            <a:ln w="12700">
              <a:miter lim="400000"/>
            </a:ln>
          </p:spPr>
          <p:txBody>
            <a:bodyPr lIns="50800" tIns="50800" rIns="50800" bIns="50800" anchor="ctr"/>
            <a:lstStyle/>
            <a:p>
              <a:endParaRPr sz="1800">
                <a:solidFill>
                  <a:prstClr val="black"/>
                </a:solidFill>
              </a:endParaRPr>
            </a:p>
          </p:txBody>
        </p:sp>
      </p:grpSp>
    </p:spTree>
    <p:extLst>
      <p:ext uri="{BB962C8B-B14F-4D97-AF65-F5344CB8AC3E}">
        <p14:creationId xmlns:p14="http://schemas.microsoft.com/office/powerpoint/2010/main" val="2224745114"/>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6" name="Rectangle 5"/>
          <p:cNvSpPr/>
          <p:nvPr userDrawn="1"/>
        </p:nvSpPr>
        <p:spPr>
          <a:xfrm>
            <a:off x="120826" y="14846"/>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grpSp>
        <p:nvGrpSpPr>
          <p:cNvPr id="7" name="Group 6"/>
          <p:cNvGrpSpPr/>
          <p:nvPr userDrawn="1"/>
        </p:nvGrpSpPr>
        <p:grpSpPr>
          <a:xfrm>
            <a:off x="231503" y="99934"/>
            <a:ext cx="1206483" cy="6105588"/>
            <a:chOff x="90616" y="113613"/>
            <a:chExt cx="1300907" cy="8777933"/>
          </a:xfrm>
        </p:grpSpPr>
        <p:sp>
          <p:nvSpPr>
            <p:cNvPr id="8" name="Rectangle"/>
            <p:cNvSpPr/>
            <p:nvPr userDrawn="1"/>
          </p:nvSpPr>
          <p:spPr>
            <a:xfrm>
              <a:off x="90616" y="8357104"/>
              <a:ext cx="1300907" cy="534442"/>
            </a:xfrm>
            <a:prstGeom prst="rect">
              <a:avLst/>
            </a:prstGeom>
            <a:solidFill>
              <a:srgbClr val="00C0B6"/>
            </a:solidFill>
            <a:ln w="12700">
              <a:miter lim="400000"/>
            </a:ln>
          </p:spPr>
          <p:txBody>
            <a:bodyPr lIns="50800" tIns="50800" rIns="50800" bIns="50800" anchor="ctr"/>
            <a:lstStyle/>
            <a:p>
              <a:endParaRPr sz="1800">
                <a:solidFill>
                  <a:prstClr val="black"/>
                </a:solidFill>
              </a:endParaRPr>
            </a:p>
          </p:txBody>
        </p:sp>
        <p:sp>
          <p:nvSpPr>
            <p:cNvPr id="9" name="Rectangle"/>
            <p:cNvSpPr/>
            <p:nvPr userDrawn="1"/>
          </p:nvSpPr>
          <p:spPr>
            <a:xfrm>
              <a:off x="90616" y="8142097"/>
              <a:ext cx="1300907" cy="215008"/>
            </a:xfrm>
            <a:prstGeom prst="rect">
              <a:avLst/>
            </a:prstGeom>
            <a:solidFill>
              <a:srgbClr val="007272"/>
            </a:solidFill>
            <a:ln w="12700">
              <a:miter lim="400000"/>
            </a:ln>
          </p:spPr>
          <p:txBody>
            <a:bodyPr lIns="50800" tIns="50800" rIns="50800" bIns="50800" anchor="ctr"/>
            <a:lstStyle/>
            <a:p>
              <a:endParaRPr sz="1800">
                <a:solidFill>
                  <a:prstClr val="black"/>
                </a:solidFill>
              </a:endParaRPr>
            </a:p>
          </p:txBody>
        </p:sp>
        <p:sp>
          <p:nvSpPr>
            <p:cNvPr id="10" name="Rectangle"/>
            <p:cNvSpPr/>
            <p:nvPr userDrawn="1"/>
          </p:nvSpPr>
          <p:spPr>
            <a:xfrm>
              <a:off x="90616" y="6154596"/>
              <a:ext cx="1300907" cy="1987502"/>
            </a:xfrm>
            <a:prstGeom prst="rect">
              <a:avLst/>
            </a:prstGeom>
            <a:solidFill>
              <a:srgbClr val="00A6AB"/>
            </a:solidFill>
            <a:ln w="12700">
              <a:miter lim="400000"/>
            </a:ln>
          </p:spPr>
          <p:txBody>
            <a:bodyPr lIns="50800" tIns="50800" rIns="50800" bIns="50800" anchor="ctr"/>
            <a:lstStyle/>
            <a:p>
              <a:endParaRPr sz="1800">
                <a:solidFill>
                  <a:prstClr val="black"/>
                </a:solidFill>
              </a:endParaRPr>
            </a:p>
          </p:txBody>
        </p:sp>
        <p:sp>
          <p:nvSpPr>
            <p:cNvPr id="11" name="Rectangle"/>
            <p:cNvSpPr/>
            <p:nvPr userDrawn="1"/>
          </p:nvSpPr>
          <p:spPr>
            <a:xfrm>
              <a:off x="90616" y="5683158"/>
              <a:ext cx="1300907" cy="471439"/>
            </a:xfrm>
            <a:prstGeom prst="rect">
              <a:avLst/>
            </a:prstGeom>
            <a:solidFill>
              <a:srgbClr val="00C0B6"/>
            </a:solidFill>
            <a:ln w="12700">
              <a:miter lim="400000"/>
            </a:ln>
          </p:spPr>
          <p:txBody>
            <a:bodyPr lIns="50800" tIns="50800" rIns="50800" bIns="50800" anchor="ctr"/>
            <a:lstStyle/>
            <a:p>
              <a:endParaRPr sz="1800">
                <a:solidFill>
                  <a:prstClr val="black"/>
                </a:solidFill>
              </a:endParaRPr>
            </a:p>
          </p:txBody>
        </p:sp>
        <p:sp>
          <p:nvSpPr>
            <p:cNvPr id="12" name="Rectangle"/>
            <p:cNvSpPr/>
            <p:nvPr userDrawn="1"/>
          </p:nvSpPr>
          <p:spPr>
            <a:xfrm>
              <a:off x="90616" y="329910"/>
              <a:ext cx="1300907" cy="813396"/>
            </a:xfrm>
            <a:prstGeom prst="rect">
              <a:avLst/>
            </a:prstGeom>
            <a:solidFill>
              <a:srgbClr val="00C0B6"/>
            </a:solidFill>
            <a:ln w="12700">
              <a:miter lim="400000"/>
            </a:ln>
          </p:spPr>
          <p:txBody>
            <a:bodyPr lIns="50800" tIns="50800" rIns="50800" bIns="50800" anchor="ctr"/>
            <a:lstStyle/>
            <a:p>
              <a:endParaRPr sz="1800">
                <a:solidFill>
                  <a:prstClr val="black"/>
                </a:solidFill>
              </a:endParaRPr>
            </a:p>
          </p:txBody>
        </p:sp>
        <p:sp>
          <p:nvSpPr>
            <p:cNvPr id="13" name="Rectangle"/>
            <p:cNvSpPr/>
            <p:nvPr userDrawn="1"/>
          </p:nvSpPr>
          <p:spPr>
            <a:xfrm>
              <a:off x="90616" y="1143305"/>
              <a:ext cx="1300907" cy="4539854"/>
            </a:xfrm>
            <a:prstGeom prst="rect">
              <a:avLst/>
            </a:prstGeom>
            <a:solidFill>
              <a:srgbClr val="007272"/>
            </a:solidFill>
            <a:ln w="12700">
              <a:miter lim="400000"/>
            </a:ln>
          </p:spPr>
          <p:txBody>
            <a:bodyPr lIns="50800" tIns="50800" rIns="50800" bIns="50800" anchor="ctr"/>
            <a:lstStyle/>
            <a:p>
              <a:endParaRPr sz="1800">
                <a:solidFill>
                  <a:prstClr val="black"/>
                </a:solidFill>
              </a:endParaRPr>
            </a:p>
          </p:txBody>
        </p:sp>
        <p:sp>
          <p:nvSpPr>
            <p:cNvPr id="14" name="Rectangle"/>
            <p:cNvSpPr/>
            <p:nvPr userDrawn="1"/>
          </p:nvSpPr>
          <p:spPr>
            <a:xfrm>
              <a:off x="90616" y="113613"/>
              <a:ext cx="1300907" cy="216298"/>
            </a:xfrm>
            <a:prstGeom prst="rect">
              <a:avLst/>
            </a:prstGeom>
            <a:solidFill>
              <a:srgbClr val="00A6AB"/>
            </a:solidFill>
            <a:ln w="12700">
              <a:miter lim="400000"/>
            </a:ln>
          </p:spPr>
          <p:txBody>
            <a:bodyPr lIns="50800" tIns="50800" rIns="50800" bIns="50800" anchor="ctr"/>
            <a:lstStyle/>
            <a:p>
              <a:endParaRPr sz="1800">
                <a:solidFill>
                  <a:prstClr val="black"/>
                </a:solidFill>
              </a:endParaRPr>
            </a:p>
          </p:txBody>
        </p:sp>
      </p:grpSp>
    </p:spTree>
    <p:extLst>
      <p:ext uri="{BB962C8B-B14F-4D97-AF65-F5344CB8AC3E}">
        <p14:creationId xmlns:p14="http://schemas.microsoft.com/office/powerpoint/2010/main" val="3754194732"/>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6" name="Rectangle 5"/>
          <p:cNvSpPr/>
          <p:nvPr userDrawn="1"/>
        </p:nvSpPr>
        <p:spPr>
          <a:xfrm>
            <a:off x="120826" y="14846"/>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grpSp>
        <p:nvGrpSpPr>
          <p:cNvPr id="7" name="Group 6"/>
          <p:cNvGrpSpPr/>
          <p:nvPr userDrawn="1"/>
        </p:nvGrpSpPr>
        <p:grpSpPr>
          <a:xfrm>
            <a:off x="233936" y="99934"/>
            <a:ext cx="1206481" cy="6105588"/>
            <a:chOff x="160238" y="154880"/>
            <a:chExt cx="1300907" cy="8777933"/>
          </a:xfrm>
        </p:grpSpPr>
        <p:sp>
          <p:nvSpPr>
            <p:cNvPr id="8" name="Rectangle"/>
            <p:cNvSpPr/>
            <p:nvPr userDrawn="1"/>
          </p:nvSpPr>
          <p:spPr>
            <a:xfrm>
              <a:off x="160238" y="8398371"/>
              <a:ext cx="1300907" cy="534442"/>
            </a:xfrm>
            <a:prstGeom prst="rect">
              <a:avLst/>
            </a:prstGeom>
            <a:solidFill>
              <a:srgbClr val="AABA36"/>
            </a:solidFill>
            <a:ln w="12700">
              <a:miter lim="400000"/>
            </a:ln>
          </p:spPr>
          <p:txBody>
            <a:bodyPr lIns="50800" tIns="50800" rIns="50800" bIns="50800" anchor="ctr"/>
            <a:lstStyle/>
            <a:p>
              <a:endParaRPr sz="1800">
                <a:solidFill>
                  <a:prstClr val="black"/>
                </a:solidFill>
              </a:endParaRPr>
            </a:p>
          </p:txBody>
        </p:sp>
        <p:sp>
          <p:nvSpPr>
            <p:cNvPr id="9" name="Rectangle"/>
            <p:cNvSpPr/>
            <p:nvPr userDrawn="1"/>
          </p:nvSpPr>
          <p:spPr>
            <a:xfrm>
              <a:off x="160238" y="8183364"/>
              <a:ext cx="1300907" cy="215008"/>
            </a:xfrm>
            <a:prstGeom prst="rect">
              <a:avLst/>
            </a:prstGeom>
            <a:solidFill>
              <a:srgbClr val="CEDD01"/>
            </a:solidFill>
            <a:ln w="12700">
              <a:miter lim="400000"/>
            </a:ln>
          </p:spPr>
          <p:txBody>
            <a:bodyPr lIns="50800" tIns="50800" rIns="50800" bIns="50800" anchor="ctr"/>
            <a:lstStyle/>
            <a:p>
              <a:endParaRPr sz="1800">
                <a:solidFill>
                  <a:prstClr val="black"/>
                </a:solidFill>
              </a:endParaRPr>
            </a:p>
          </p:txBody>
        </p:sp>
        <p:sp>
          <p:nvSpPr>
            <p:cNvPr id="10" name="Rectangle"/>
            <p:cNvSpPr/>
            <p:nvPr userDrawn="1"/>
          </p:nvSpPr>
          <p:spPr>
            <a:xfrm>
              <a:off x="160238" y="6195863"/>
              <a:ext cx="1300907" cy="1987502"/>
            </a:xfrm>
            <a:prstGeom prst="rect">
              <a:avLst/>
            </a:prstGeom>
            <a:solidFill>
              <a:srgbClr val="94B301"/>
            </a:solidFill>
            <a:ln w="12700">
              <a:miter lim="400000"/>
            </a:ln>
          </p:spPr>
          <p:txBody>
            <a:bodyPr lIns="50800" tIns="50800" rIns="50800" bIns="50800" anchor="ctr"/>
            <a:lstStyle/>
            <a:p>
              <a:endParaRPr sz="1800">
                <a:solidFill>
                  <a:prstClr val="black"/>
                </a:solidFill>
              </a:endParaRPr>
            </a:p>
          </p:txBody>
        </p:sp>
        <p:sp>
          <p:nvSpPr>
            <p:cNvPr id="11" name="Rectangle"/>
            <p:cNvSpPr/>
            <p:nvPr userDrawn="1"/>
          </p:nvSpPr>
          <p:spPr>
            <a:xfrm>
              <a:off x="160238" y="5724425"/>
              <a:ext cx="1300907" cy="471439"/>
            </a:xfrm>
            <a:prstGeom prst="rect">
              <a:avLst/>
            </a:prstGeom>
            <a:solidFill>
              <a:srgbClr val="AABA36"/>
            </a:solidFill>
            <a:ln w="12700">
              <a:miter lim="400000"/>
            </a:ln>
          </p:spPr>
          <p:txBody>
            <a:bodyPr lIns="50800" tIns="50800" rIns="50800" bIns="50800" anchor="ctr"/>
            <a:lstStyle/>
            <a:p>
              <a:endParaRPr sz="1800">
                <a:solidFill>
                  <a:prstClr val="black"/>
                </a:solidFill>
              </a:endParaRPr>
            </a:p>
          </p:txBody>
        </p:sp>
        <p:sp>
          <p:nvSpPr>
            <p:cNvPr id="12" name="Rectangle"/>
            <p:cNvSpPr/>
            <p:nvPr userDrawn="1"/>
          </p:nvSpPr>
          <p:spPr>
            <a:xfrm>
              <a:off x="160238" y="371177"/>
              <a:ext cx="1300907" cy="813396"/>
            </a:xfrm>
            <a:prstGeom prst="rect">
              <a:avLst/>
            </a:prstGeom>
            <a:solidFill>
              <a:srgbClr val="CEDD01"/>
            </a:solidFill>
            <a:ln w="12700">
              <a:miter lim="400000"/>
            </a:ln>
          </p:spPr>
          <p:txBody>
            <a:bodyPr lIns="50800" tIns="50800" rIns="50800" bIns="50800" anchor="ctr"/>
            <a:lstStyle/>
            <a:p>
              <a:endParaRPr sz="1800">
                <a:solidFill>
                  <a:prstClr val="black"/>
                </a:solidFill>
              </a:endParaRPr>
            </a:p>
          </p:txBody>
        </p:sp>
        <p:sp>
          <p:nvSpPr>
            <p:cNvPr id="13" name="Rectangle"/>
            <p:cNvSpPr/>
            <p:nvPr userDrawn="1"/>
          </p:nvSpPr>
          <p:spPr>
            <a:xfrm>
              <a:off x="160238" y="1184572"/>
              <a:ext cx="1300907" cy="4539854"/>
            </a:xfrm>
            <a:prstGeom prst="rect">
              <a:avLst/>
            </a:prstGeom>
            <a:solidFill>
              <a:srgbClr val="73A600"/>
            </a:solidFill>
            <a:ln w="12700">
              <a:miter lim="400000"/>
            </a:ln>
          </p:spPr>
          <p:txBody>
            <a:bodyPr lIns="50800" tIns="50800" rIns="50800" bIns="50800" anchor="ctr"/>
            <a:lstStyle/>
            <a:p>
              <a:endParaRPr sz="1800">
                <a:solidFill>
                  <a:prstClr val="black"/>
                </a:solidFill>
              </a:endParaRPr>
            </a:p>
          </p:txBody>
        </p:sp>
        <p:sp>
          <p:nvSpPr>
            <p:cNvPr id="14" name="Rectangle"/>
            <p:cNvSpPr/>
            <p:nvPr userDrawn="1"/>
          </p:nvSpPr>
          <p:spPr>
            <a:xfrm>
              <a:off x="160238" y="154880"/>
              <a:ext cx="1300907" cy="216298"/>
            </a:xfrm>
            <a:prstGeom prst="rect">
              <a:avLst/>
            </a:prstGeom>
            <a:solidFill>
              <a:srgbClr val="94B301"/>
            </a:solidFill>
            <a:ln w="12700">
              <a:miter lim="400000"/>
            </a:ln>
          </p:spPr>
          <p:txBody>
            <a:bodyPr lIns="50800" tIns="50800" rIns="50800" bIns="50800" anchor="ctr"/>
            <a:lstStyle/>
            <a:p>
              <a:endParaRPr sz="1800">
                <a:solidFill>
                  <a:prstClr val="black"/>
                </a:solidFill>
              </a:endParaRPr>
            </a:p>
          </p:txBody>
        </p:sp>
      </p:grpSp>
    </p:spTree>
    <p:extLst>
      <p:ext uri="{BB962C8B-B14F-4D97-AF65-F5344CB8AC3E}">
        <p14:creationId xmlns:p14="http://schemas.microsoft.com/office/powerpoint/2010/main" val="3684557392"/>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6" name="Rectangle 5"/>
          <p:cNvSpPr/>
          <p:nvPr userDrawn="1"/>
        </p:nvSpPr>
        <p:spPr>
          <a:xfrm>
            <a:off x="120826" y="14846"/>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grpSp>
        <p:nvGrpSpPr>
          <p:cNvPr id="7" name="Group 6"/>
          <p:cNvGrpSpPr/>
          <p:nvPr userDrawn="1"/>
        </p:nvGrpSpPr>
        <p:grpSpPr>
          <a:xfrm>
            <a:off x="233934" y="99934"/>
            <a:ext cx="1206481" cy="6105588"/>
            <a:chOff x="1081465" y="114688"/>
            <a:chExt cx="1300907" cy="8777933"/>
          </a:xfrm>
        </p:grpSpPr>
        <p:sp>
          <p:nvSpPr>
            <p:cNvPr id="8" name="Rectangle"/>
            <p:cNvSpPr/>
            <p:nvPr userDrawn="1"/>
          </p:nvSpPr>
          <p:spPr>
            <a:xfrm>
              <a:off x="1081465" y="8358179"/>
              <a:ext cx="1300907" cy="534442"/>
            </a:xfrm>
            <a:prstGeom prst="rect">
              <a:avLst/>
            </a:prstGeom>
            <a:solidFill>
              <a:srgbClr val="8C4395"/>
            </a:solidFill>
            <a:ln w="12700">
              <a:miter lim="400000"/>
            </a:ln>
          </p:spPr>
          <p:txBody>
            <a:bodyPr lIns="50800" tIns="50800" rIns="50800" bIns="50800" anchor="ctr"/>
            <a:lstStyle/>
            <a:p>
              <a:endParaRPr sz="1800">
                <a:solidFill>
                  <a:prstClr val="black"/>
                </a:solidFill>
              </a:endParaRPr>
            </a:p>
          </p:txBody>
        </p:sp>
        <p:sp>
          <p:nvSpPr>
            <p:cNvPr id="9" name="Rectangle"/>
            <p:cNvSpPr/>
            <p:nvPr userDrawn="1"/>
          </p:nvSpPr>
          <p:spPr>
            <a:xfrm>
              <a:off x="1081465" y="8143172"/>
              <a:ext cx="1300907" cy="215008"/>
            </a:xfrm>
            <a:prstGeom prst="rect">
              <a:avLst/>
            </a:prstGeom>
            <a:solidFill>
              <a:srgbClr val="A469AB"/>
            </a:solidFill>
            <a:ln w="12700">
              <a:miter lim="400000"/>
            </a:ln>
          </p:spPr>
          <p:txBody>
            <a:bodyPr lIns="50800" tIns="50800" rIns="50800" bIns="50800" anchor="ctr"/>
            <a:lstStyle/>
            <a:p>
              <a:endParaRPr sz="1800">
                <a:solidFill>
                  <a:prstClr val="black"/>
                </a:solidFill>
              </a:endParaRPr>
            </a:p>
          </p:txBody>
        </p:sp>
        <p:sp>
          <p:nvSpPr>
            <p:cNvPr id="10" name="Rectangle"/>
            <p:cNvSpPr/>
            <p:nvPr userDrawn="1"/>
          </p:nvSpPr>
          <p:spPr>
            <a:xfrm>
              <a:off x="1081465" y="6155671"/>
              <a:ext cx="1300907" cy="1987502"/>
            </a:xfrm>
            <a:prstGeom prst="rect">
              <a:avLst/>
            </a:prstGeom>
            <a:solidFill>
              <a:srgbClr val="63006C"/>
            </a:solidFill>
            <a:ln w="12700">
              <a:miter lim="400000"/>
            </a:ln>
          </p:spPr>
          <p:txBody>
            <a:bodyPr lIns="50800" tIns="50800" rIns="50800" bIns="50800" anchor="ctr"/>
            <a:lstStyle/>
            <a:p>
              <a:endParaRPr sz="1800">
                <a:solidFill>
                  <a:prstClr val="black"/>
                </a:solidFill>
              </a:endParaRPr>
            </a:p>
          </p:txBody>
        </p:sp>
        <p:sp>
          <p:nvSpPr>
            <p:cNvPr id="11" name="Rectangle"/>
            <p:cNvSpPr/>
            <p:nvPr userDrawn="1"/>
          </p:nvSpPr>
          <p:spPr>
            <a:xfrm>
              <a:off x="1081465" y="5684233"/>
              <a:ext cx="1300907" cy="471439"/>
            </a:xfrm>
            <a:prstGeom prst="rect">
              <a:avLst/>
            </a:prstGeom>
            <a:solidFill>
              <a:srgbClr val="8B4193"/>
            </a:solidFill>
            <a:ln w="12700">
              <a:miter lim="400000"/>
            </a:ln>
          </p:spPr>
          <p:txBody>
            <a:bodyPr lIns="50800" tIns="50800" rIns="50800" bIns="50800" anchor="ctr"/>
            <a:lstStyle/>
            <a:p>
              <a:endParaRPr sz="1800">
                <a:solidFill>
                  <a:prstClr val="black"/>
                </a:solidFill>
              </a:endParaRPr>
            </a:p>
          </p:txBody>
        </p:sp>
        <p:sp>
          <p:nvSpPr>
            <p:cNvPr id="12" name="Rectangle"/>
            <p:cNvSpPr/>
            <p:nvPr userDrawn="1"/>
          </p:nvSpPr>
          <p:spPr>
            <a:xfrm>
              <a:off x="1081465" y="330985"/>
              <a:ext cx="1300907" cy="813396"/>
            </a:xfrm>
            <a:prstGeom prst="rect">
              <a:avLst/>
            </a:prstGeom>
            <a:solidFill>
              <a:srgbClr val="8C4395"/>
            </a:solidFill>
            <a:ln w="12700">
              <a:miter lim="400000"/>
            </a:ln>
          </p:spPr>
          <p:txBody>
            <a:bodyPr lIns="50800" tIns="50800" rIns="50800" bIns="50800" anchor="ctr"/>
            <a:lstStyle/>
            <a:p>
              <a:endParaRPr sz="1800">
                <a:solidFill>
                  <a:prstClr val="black"/>
                </a:solidFill>
              </a:endParaRPr>
            </a:p>
          </p:txBody>
        </p:sp>
        <p:sp>
          <p:nvSpPr>
            <p:cNvPr id="13" name="Rectangle"/>
            <p:cNvSpPr/>
            <p:nvPr userDrawn="1"/>
          </p:nvSpPr>
          <p:spPr>
            <a:xfrm>
              <a:off x="1081465" y="1144380"/>
              <a:ext cx="1300907" cy="4539854"/>
            </a:xfrm>
            <a:prstGeom prst="rect">
              <a:avLst/>
            </a:prstGeom>
            <a:solidFill>
              <a:srgbClr val="70147B"/>
            </a:solidFill>
            <a:ln w="12700">
              <a:miter lim="400000"/>
            </a:ln>
          </p:spPr>
          <p:txBody>
            <a:bodyPr lIns="50800" tIns="50800" rIns="50800" bIns="50800" anchor="ctr"/>
            <a:lstStyle/>
            <a:p>
              <a:endParaRPr sz="1800">
                <a:solidFill>
                  <a:prstClr val="black"/>
                </a:solidFill>
              </a:endParaRPr>
            </a:p>
          </p:txBody>
        </p:sp>
        <p:sp>
          <p:nvSpPr>
            <p:cNvPr id="14" name="Rectangle"/>
            <p:cNvSpPr/>
            <p:nvPr userDrawn="1"/>
          </p:nvSpPr>
          <p:spPr>
            <a:xfrm>
              <a:off x="1081465" y="114688"/>
              <a:ext cx="1300907" cy="216298"/>
            </a:xfrm>
            <a:prstGeom prst="rect">
              <a:avLst/>
            </a:prstGeom>
            <a:solidFill>
              <a:srgbClr val="70147B"/>
            </a:solidFill>
            <a:ln w="12700">
              <a:miter lim="400000"/>
            </a:ln>
          </p:spPr>
          <p:txBody>
            <a:bodyPr lIns="50800" tIns="50800" rIns="50800" bIns="50800" anchor="ctr"/>
            <a:lstStyle/>
            <a:p>
              <a:endParaRPr sz="1800">
                <a:solidFill>
                  <a:prstClr val="black"/>
                </a:solidFill>
              </a:endParaRPr>
            </a:p>
          </p:txBody>
        </p:sp>
      </p:grpSp>
    </p:spTree>
    <p:extLst>
      <p:ext uri="{BB962C8B-B14F-4D97-AF65-F5344CB8AC3E}">
        <p14:creationId xmlns:p14="http://schemas.microsoft.com/office/powerpoint/2010/main" val="1088932536"/>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6" name="Rectangle 5"/>
          <p:cNvSpPr/>
          <p:nvPr userDrawn="1"/>
        </p:nvSpPr>
        <p:spPr>
          <a:xfrm>
            <a:off x="4" y="0"/>
            <a:ext cx="12093145"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sp>
        <p:nvSpPr>
          <p:cNvPr id="7" name="Slide Number Placeholder 5"/>
          <p:cNvSpPr txBox="1">
            <a:spLocks/>
          </p:cNvSpPr>
          <p:nvPr userDrawn="1"/>
        </p:nvSpPr>
        <p:spPr>
          <a:xfrm>
            <a:off x="3057376" y="6356356"/>
            <a:ext cx="3319272" cy="365125"/>
          </a:xfrm>
          <a:prstGeom prst="rect">
            <a:avLst/>
          </a:prstGeom>
        </p:spPr>
        <p:txBody>
          <a:bodyPr vert="horz" lIns="91426" tIns="45712" rIns="91426" bIns="45712"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FC7F43E-2420-6848-A2B2-B5C9DEF3CEAA}" type="slidenum">
              <a:rPr lang="en-US" sz="1200" smtClean="0">
                <a:solidFill>
                  <a:prstClr val="black">
                    <a:tint val="75000"/>
                  </a:prstClr>
                </a:solidFill>
              </a:rPr>
              <a:pPr/>
              <a:t>‹#›</a:t>
            </a:fld>
            <a:endParaRPr lang="en-US" sz="1200" dirty="0">
              <a:solidFill>
                <a:prstClr val="black">
                  <a:tint val="75000"/>
                </a:prstClr>
              </a:solidFill>
            </a:endParaRPr>
          </a:p>
        </p:txBody>
      </p:sp>
      <p:pic>
        <p:nvPicPr>
          <p:cNvPr id="9" name="pasted-image.pdf" descr="pasted-image.pdf"/>
          <p:cNvPicPr>
            <a:picLocks noChangeAspect="1"/>
          </p:cNvPicPr>
          <p:nvPr userDrawn="1"/>
        </p:nvPicPr>
        <p:blipFill>
          <a:blip r:embed="rId2"/>
          <a:stretch>
            <a:fillRect/>
          </a:stretch>
        </p:blipFill>
        <p:spPr>
          <a:xfrm>
            <a:off x="393794" y="6356356"/>
            <a:ext cx="736953" cy="365125"/>
          </a:xfrm>
          <a:prstGeom prst="rect">
            <a:avLst/>
          </a:prstGeom>
          <a:ln w="12700">
            <a:miter lim="400000"/>
          </a:ln>
        </p:spPr>
      </p:pic>
      <p:pic>
        <p:nvPicPr>
          <p:cNvPr id="2" name="Picture 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411014" y="6480627"/>
            <a:ext cx="1561852" cy="204993"/>
          </a:xfrm>
          <a:prstGeom prst="rect">
            <a:avLst/>
          </a:prstGeom>
        </p:spPr>
      </p:pic>
    </p:spTree>
    <p:extLst>
      <p:ext uri="{BB962C8B-B14F-4D97-AF65-F5344CB8AC3E}">
        <p14:creationId xmlns:p14="http://schemas.microsoft.com/office/powerpoint/2010/main" val="3917937280"/>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userDrawn="1">
  <p:cSld name="Text with bullets">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2020" y="1642"/>
          <a:ext cx="1953" cy="1587"/>
        </p:xfrm>
        <a:graphic>
          <a:graphicData uri="http://schemas.openxmlformats.org/presentationml/2006/ole">
            <mc:AlternateContent xmlns:mc="http://schemas.openxmlformats.org/markup-compatibility/2006">
              <mc:Choice xmlns:v="urn:schemas-microsoft-com:vml" Requires="v">
                <p:oleObj spid="_x0000_s2205428" name="think-cell Slide" r:id="rId4" imgW="270" imgH="270" progId="TCLayout.ActiveDocument.1">
                  <p:embed/>
                </p:oleObj>
              </mc:Choice>
              <mc:Fallback>
                <p:oleObj name="think-cell Slide" r:id="rId4" imgW="270" imgH="270" progId="TCLayout.ActiveDocument.1">
                  <p:embed/>
                  <p:pic>
                    <p:nvPicPr>
                      <p:cNvPr id="6" name="Object 5"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020" y="1642"/>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ext Placeholder 7"/>
          <p:cNvSpPr>
            <a:spLocks noGrp="1"/>
          </p:cNvSpPr>
          <p:nvPr userDrawn="1">
            <p:ph type="body" sz="quarter" idx="13"/>
          </p:nvPr>
        </p:nvSpPr>
        <p:spPr>
          <a:xfrm>
            <a:off x="562773" y="1508401"/>
            <a:ext cx="11068060" cy="3997304"/>
          </a:xfrm>
          <a:prstGeom prst="rect">
            <a:avLst/>
          </a:prstGeom>
        </p:spPr>
        <p:txBody>
          <a:bodyPr lIns="0" tIns="0" rIns="0" bIns="0"/>
          <a:lstStyle>
            <a:lvl1pPr marL="164376" indent="-164376">
              <a:spcBef>
                <a:spcPts val="366"/>
              </a:spcBef>
              <a:buClr>
                <a:srgbClr val="002D72"/>
              </a:buClr>
              <a:buFont typeface="Arial" pitchFamily="34" charset="0"/>
              <a:buChar char="•"/>
              <a:tabLst/>
              <a:defRPr b="0">
                <a:latin typeface="Arial"/>
                <a:sym typeface="Arial"/>
              </a:defRPr>
            </a:lvl1pPr>
            <a:lvl2pPr marL="599263" indent="-219163">
              <a:spcBef>
                <a:spcPts val="366"/>
              </a:spcBef>
              <a:buFont typeface="Arial" pitchFamily="34" charset="0"/>
              <a:buChar char="–"/>
              <a:defRPr>
                <a:latin typeface="Arial"/>
                <a:sym typeface="Arial"/>
              </a:defRPr>
            </a:lvl2pPr>
            <a:lvl3pPr marL="1023900" indent="-219163">
              <a:spcBef>
                <a:spcPts val="366"/>
              </a:spcBef>
              <a:defRPr>
                <a:latin typeface="Arial"/>
                <a:sym typeface="Arial"/>
              </a:defRPr>
            </a:lvl3pPr>
            <a:lvl4pPr marL="1469054" indent="-219163">
              <a:spcBef>
                <a:spcPts val="366"/>
              </a:spcBef>
              <a:defRPr>
                <a:latin typeface="Arial"/>
                <a:sym typeface="Arial"/>
              </a:defRPr>
            </a:lvl4pPr>
            <a:lvl5pPr marL="1958743" indent="-219163">
              <a:spcBef>
                <a:spcPts val="366"/>
              </a:spcBef>
              <a:defRPr>
                <a:latin typeface="Arial"/>
                <a:sym typeface="Aria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itle 1"/>
          <p:cNvSpPr>
            <a:spLocks noGrp="1"/>
          </p:cNvSpPr>
          <p:nvPr>
            <p:ph type="title"/>
          </p:nvPr>
        </p:nvSpPr>
        <p:spPr>
          <a:xfrm>
            <a:off x="562773" y="162002"/>
            <a:ext cx="11068060" cy="704087"/>
          </a:xfrm>
        </p:spPr>
        <p:txBody>
          <a:bodyPr anchor="t"/>
          <a:lstStyle>
            <a:lvl1pPr>
              <a:defRPr>
                <a:latin typeface="Arial"/>
                <a:sym typeface="Arial"/>
              </a:defRPr>
            </a:lvl1pPr>
          </a:lstStyle>
          <a:p>
            <a:r>
              <a:rPr lang="en-US"/>
              <a:t>Click to edit Master title style</a:t>
            </a:r>
            <a:endParaRPr lang="en-US" dirty="0"/>
          </a:p>
        </p:txBody>
      </p:sp>
      <p:sp>
        <p:nvSpPr>
          <p:cNvPr id="8" name="Text Placeholder 6"/>
          <p:cNvSpPr>
            <a:spLocks noGrp="1"/>
          </p:cNvSpPr>
          <p:nvPr>
            <p:ph type="body" sz="quarter" idx="11"/>
          </p:nvPr>
        </p:nvSpPr>
        <p:spPr>
          <a:xfrm>
            <a:off x="562773" y="863601"/>
            <a:ext cx="11068060" cy="320359"/>
          </a:xfrm>
        </p:spPr>
        <p:txBody>
          <a:bodyPr anchor="t">
            <a:normAutofit/>
          </a:bodyPr>
          <a:lstStyle>
            <a:lvl1pPr>
              <a:defRPr sz="1406" b="0">
                <a:solidFill>
                  <a:srgbClr val="73C4EF"/>
                </a:solidFill>
              </a:defRPr>
            </a:lvl1pPr>
          </a:lstStyle>
          <a:p>
            <a:pPr lvl="0"/>
            <a:r>
              <a:rPr lang="en-US"/>
              <a:t>Click to edit Master text styles</a:t>
            </a:r>
          </a:p>
        </p:txBody>
      </p:sp>
      <p:sp>
        <p:nvSpPr>
          <p:cNvPr id="9" name="Rectangle 8"/>
          <p:cNvSpPr/>
          <p:nvPr userDrawn="1"/>
        </p:nvSpPr>
        <p:spPr>
          <a:xfrm>
            <a:off x="357863" y="6719991"/>
            <a:ext cx="2058751" cy="126563"/>
          </a:xfrm>
          <a:prstGeom prst="rect">
            <a:avLst/>
          </a:prstGeom>
          <a:solidFill>
            <a:schemeClr val="bg1"/>
          </a:solidFill>
          <a:ln w="952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tIns="63281" bIns="63281" rtlCol="0" anchor="ctr" anchorCtr="0"/>
          <a:lstStyle/>
          <a:p>
            <a:pPr algn="ctr"/>
            <a:endParaRPr lang="en-US" sz="984" dirty="0">
              <a:solidFill>
                <a:srgbClr val="002D72"/>
              </a:solidFill>
              <a:latin typeface="Arial" pitchFamily="34" charset="0"/>
              <a:cs typeface="Arial" pitchFamily="34" charset="0"/>
            </a:endParaRPr>
          </a:p>
        </p:txBody>
      </p:sp>
    </p:spTree>
    <p:extLst>
      <p:ext uri="{BB962C8B-B14F-4D97-AF65-F5344CB8AC3E}">
        <p14:creationId xmlns:p14="http://schemas.microsoft.com/office/powerpoint/2010/main" val="80230579"/>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showMasterSp="0" preserve="1" userDrawn="1">
  <p:cSld name="Cover page">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6" y="1591"/>
          <a:ext cx="1953" cy="1587"/>
        </p:xfrm>
        <a:graphic>
          <a:graphicData uri="http://schemas.openxmlformats.org/presentationml/2006/ole">
            <mc:AlternateContent xmlns:mc="http://schemas.openxmlformats.org/markup-compatibility/2006">
              <mc:Choice xmlns:v="urn:schemas-microsoft-com:vml" Requires="v">
                <p:oleObj spid="_x0000_s2051842"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6" y="1591"/>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3" descr="Picture 3"/>
          <p:cNvPicPr>
            <a:picLocks noChangeAspect="1"/>
          </p:cNvPicPr>
          <p:nvPr userDrawn="1"/>
        </p:nvPicPr>
        <p:blipFill>
          <a:blip r:embed="rId6" cstate="print"/>
          <a:srcRect r="91525"/>
          <a:stretch>
            <a:fillRect/>
          </a:stretch>
        </p:blipFill>
        <p:spPr>
          <a:xfrm>
            <a:off x="0" y="0"/>
            <a:ext cx="1376613" cy="6858000"/>
          </a:xfrm>
          <a:prstGeom prst="rect">
            <a:avLst/>
          </a:prstGeom>
          <a:ln w="12700">
            <a:miter lim="400000"/>
          </a:ln>
        </p:spPr>
      </p:pic>
      <p:sp>
        <p:nvSpPr>
          <p:cNvPr id="18" name="Text Placeholder 17"/>
          <p:cNvSpPr>
            <a:spLocks noGrp="1"/>
          </p:cNvSpPr>
          <p:nvPr>
            <p:ph type="body" sz="quarter" idx="10" hasCustomPrompt="1"/>
          </p:nvPr>
        </p:nvSpPr>
        <p:spPr>
          <a:xfrm>
            <a:off x="1744395" y="722376"/>
            <a:ext cx="8924544" cy="649224"/>
          </a:xfrm>
        </p:spPr>
        <p:txBody>
          <a:bodyPr lIns="36576" tIns="45720" rIns="36576" bIns="45720" anchor="ctr">
            <a:noAutofit/>
          </a:bodyPr>
          <a:lstStyle>
            <a:lvl1pPr>
              <a:defRPr sz="3000" b="0" baseline="0">
                <a:solidFill>
                  <a:srgbClr val="86CBD8"/>
                </a:solidFill>
              </a:defRPr>
            </a:lvl1pPr>
          </a:lstStyle>
          <a:p>
            <a:pPr lvl="0"/>
            <a:r>
              <a:rPr lang="en-US" sz="3000" dirty="0" err="1">
                <a:solidFill>
                  <a:srgbClr val="86CBD8"/>
                </a:solidFill>
              </a:rPr>
              <a:t>Título</a:t>
            </a:r>
            <a:r>
              <a:rPr lang="en-US" sz="3000" dirty="0">
                <a:solidFill>
                  <a:srgbClr val="86CBD8"/>
                </a:solidFill>
              </a:rPr>
              <a:t> </a:t>
            </a:r>
            <a:r>
              <a:rPr lang="en-US" sz="3000" dirty="0" err="1">
                <a:solidFill>
                  <a:srgbClr val="86CBD8"/>
                </a:solidFill>
              </a:rPr>
              <a:t>Presentación</a:t>
            </a:r>
            <a:endParaRPr lang="en-US" dirty="0"/>
          </a:p>
        </p:txBody>
      </p:sp>
      <p:sp>
        <p:nvSpPr>
          <p:cNvPr id="20" name="Text Placeholder 19"/>
          <p:cNvSpPr>
            <a:spLocks noGrp="1"/>
          </p:cNvSpPr>
          <p:nvPr>
            <p:ph type="body" sz="quarter" idx="11" hasCustomPrompt="1"/>
          </p:nvPr>
        </p:nvSpPr>
        <p:spPr>
          <a:xfrm>
            <a:off x="1789411" y="2221992"/>
            <a:ext cx="10016197" cy="365760"/>
          </a:xfrm>
        </p:spPr>
        <p:txBody>
          <a:bodyPr lIns="36576" tIns="45720" rIns="36576" bIns="45720">
            <a:noAutofit/>
          </a:bodyPr>
          <a:lstStyle>
            <a:lvl1pPr>
              <a:defRPr sz="1350" b="1" baseline="0">
                <a:solidFill>
                  <a:srgbClr val="016AA1"/>
                </a:solidFill>
              </a:defRPr>
            </a:lvl1pPr>
          </a:lstStyle>
          <a:p>
            <a:pPr lvl="0"/>
            <a:r>
              <a:rPr lang="en-US" dirty="0" err="1"/>
              <a:t>Subtitulo</a:t>
            </a:r>
            <a:endParaRPr lang="en-US" dirty="0"/>
          </a:p>
        </p:txBody>
      </p:sp>
      <p:sp>
        <p:nvSpPr>
          <p:cNvPr id="22" name="Text Placeholder 21"/>
          <p:cNvSpPr>
            <a:spLocks noGrp="1"/>
          </p:cNvSpPr>
          <p:nvPr>
            <p:ph type="body" sz="quarter" idx="12" hasCustomPrompt="1"/>
          </p:nvPr>
        </p:nvSpPr>
        <p:spPr>
          <a:xfrm>
            <a:off x="1789411" y="4983480"/>
            <a:ext cx="9340948" cy="365760"/>
          </a:xfrm>
        </p:spPr>
        <p:txBody>
          <a:bodyPr lIns="36576" tIns="45720" rIns="36576" bIns="45720">
            <a:noAutofit/>
          </a:bodyPr>
          <a:lstStyle>
            <a:lvl1pPr>
              <a:defRPr sz="1350" b="0" baseline="0">
                <a:solidFill>
                  <a:srgbClr val="7C1A4F"/>
                </a:solidFill>
              </a:defRPr>
            </a:lvl1pPr>
          </a:lstStyle>
          <a:p>
            <a:pPr lvl="0"/>
            <a:r>
              <a:rPr lang="en-US" dirty="0" err="1"/>
              <a:t>Fecha</a:t>
            </a:r>
            <a:endParaRPr lang="en-US" dirty="0"/>
          </a:p>
        </p:txBody>
      </p:sp>
      <p:pic>
        <p:nvPicPr>
          <p:cNvPr id="9" name="footer-13.jpg" descr="footer-13.jpg"/>
          <p:cNvPicPr>
            <a:picLocks noChangeAspect="1"/>
          </p:cNvPicPr>
          <p:nvPr userDrawn="1"/>
        </p:nvPicPr>
        <p:blipFill>
          <a:blip r:embed="rId7" cstate="print"/>
          <a:stretch>
            <a:fillRect/>
          </a:stretch>
        </p:blipFill>
        <p:spPr>
          <a:xfrm>
            <a:off x="0" y="6221394"/>
            <a:ext cx="12192000" cy="574391"/>
          </a:xfrm>
          <a:prstGeom prst="rect">
            <a:avLst/>
          </a:prstGeom>
          <a:ln w="12700">
            <a:miter lim="400000"/>
          </a:ln>
        </p:spPr>
      </p:pic>
    </p:spTree>
    <p:extLst>
      <p:ext uri="{BB962C8B-B14F-4D97-AF65-F5344CB8AC3E}">
        <p14:creationId xmlns:p14="http://schemas.microsoft.com/office/powerpoint/2010/main" val="336917201"/>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showMasterSp="0" preserve="1" userDrawn="1">
  <p:cSld name="Divider 1">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6" y="1591"/>
          <a:ext cx="1953" cy="1587"/>
        </p:xfrm>
        <a:graphic>
          <a:graphicData uri="http://schemas.openxmlformats.org/presentationml/2006/ole">
            <mc:AlternateContent xmlns:mc="http://schemas.openxmlformats.org/markup-compatibility/2006">
              <mc:Choice xmlns:v="urn:schemas-microsoft-com:vml" Requires="v">
                <p:oleObj spid="_x0000_s2052866"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6" y="1591"/>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6" y="1188720"/>
            <a:ext cx="9115865" cy="649224"/>
          </a:xfrm>
        </p:spPr>
        <p:txBody>
          <a:bodyPr lIns="36576" tIns="45720" rIns="36576" bIns="45720">
            <a:noAutofit/>
          </a:bodyPr>
          <a:lstStyle>
            <a:lvl1pPr>
              <a:defRPr sz="3000" b="0" baseline="0">
                <a:solidFill>
                  <a:srgbClr val="822455"/>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39" y="3968496"/>
            <a:ext cx="5818399" cy="320040"/>
          </a:xfrm>
        </p:spPr>
        <p:txBody>
          <a:bodyPr lIns="36576" tIns="45720" rIns="36576" bIns="45720">
            <a:noAutofit/>
          </a:bodyPr>
          <a:lstStyle>
            <a:lvl1pPr>
              <a:defRPr sz="1125" b="0">
                <a:solidFill>
                  <a:srgbClr val="DA2B57"/>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39" y="4462272"/>
            <a:ext cx="5818399" cy="521208"/>
          </a:xfrm>
        </p:spPr>
        <p:txBody>
          <a:bodyPr lIns="36576" tIns="45720" rIns="36576" bIns="45720">
            <a:noAutofit/>
          </a:bodyPr>
          <a:lstStyle>
            <a:lvl1pPr>
              <a:defRPr sz="1050" b="0">
                <a:solidFill>
                  <a:srgbClr val="7C194F"/>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grpSp>
        <p:nvGrpSpPr>
          <p:cNvPr id="8" name="Group 7"/>
          <p:cNvGrpSpPr/>
          <p:nvPr userDrawn="1"/>
        </p:nvGrpSpPr>
        <p:grpSpPr>
          <a:xfrm>
            <a:off x="213691" y="98856"/>
            <a:ext cx="1113676" cy="6105595"/>
            <a:chOff x="160238" y="154880"/>
            <a:chExt cx="1300907" cy="8777933"/>
          </a:xfrm>
        </p:grpSpPr>
        <p:sp>
          <p:nvSpPr>
            <p:cNvPr id="9" name="Rectangle"/>
            <p:cNvSpPr/>
            <p:nvPr userDrawn="1"/>
          </p:nvSpPr>
          <p:spPr>
            <a:xfrm>
              <a:off x="160238" y="8398371"/>
              <a:ext cx="1300907" cy="534442"/>
            </a:xfrm>
            <a:prstGeom prst="rect">
              <a:avLst/>
            </a:prstGeom>
            <a:solidFill>
              <a:srgbClr val="ED207D"/>
            </a:solidFill>
            <a:ln w="12700">
              <a:miter lim="400000"/>
            </a:ln>
          </p:spPr>
          <p:txBody>
            <a:bodyPr lIns="50800" tIns="50800" rIns="50800" bIns="50800" anchor="ctr"/>
            <a:lstStyle/>
            <a:p>
              <a:endParaRPr lang="en-US" sz="1350" dirty="0"/>
            </a:p>
          </p:txBody>
        </p:sp>
        <p:sp>
          <p:nvSpPr>
            <p:cNvPr id="10" name="Rectangle"/>
            <p:cNvSpPr/>
            <p:nvPr userDrawn="1"/>
          </p:nvSpPr>
          <p:spPr>
            <a:xfrm>
              <a:off x="160238" y="8183364"/>
              <a:ext cx="1300907" cy="215008"/>
            </a:xfrm>
            <a:prstGeom prst="rect">
              <a:avLst/>
            </a:prstGeom>
            <a:solidFill>
              <a:srgbClr val="BF1D7F"/>
            </a:solidFill>
            <a:ln w="12700">
              <a:miter lim="400000"/>
            </a:ln>
          </p:spPr>
          <p:txBody>
            <a:bodyPr lIns="50800" tIns="50800" rIns="50800" bIns="50800" anchor="ctr"/>
            <a:lstStyle/>
            <a:p>
              <a:endParaRPr lang="en-US" sz="1350" dirty="0"/>
            </a:p>
          </p:txBody>
        </p:sp>
        <p:sp>
          <p:nvSpPr>
            <p:cNvPr id="11" name="Rectangle"/>
            <p:cNvSpPr/>
            <p:nvPr userDrawn="1"/>
          </p:nvSpPr>
          <p:spPr>
            <a:xfrm>
              <a:off x="160238" y="6195863"/>
              <a:ext cx="1300907" cy="1987502"/>
            </a:xfrm>
            <a:prstGeom prst="rect">
              <a:avLst/>
            </a:prstGeom>
            <a:solidFill>
              <a:srgbClr val="7C1A4F"/>
            </a:solidFill>
            <a:ln w="12700">
              <a:miter lim="400000"/>
            </a:ln>
          </p:spPr>
          <p:txBody>
            <a:bodyPr lIns="50800" tIns="50800" rIns="50800" bIns="50800" anchor="ctr"/>
            <a:lstStyle/>
            <a:p>
              <a:endParaRPr lang="en-US" sz="1350" dirty="0"/>
            </a:p>
          </p:txBody>
        </p:sp>
        <p:sp>
          <p:nvSpPr>
            <p:cNvPr id="12" name="Rectangle"/>
            <p:cNvSpPr/>
            <p:nvPr userDrawn="1"/>
          </p:nvSpPr>
          <p:spPr>
            <a:xfrm>
              <a:off x="160238" y="5724425"/>
              <a:ext cx="1300907" cy="471439"/>
            </a:xfrm>
            <a:prstGeom prst="rect">
              <a:avLst/>
            </a:prstGeom>
            <a:solidFill>
              <a:srgbClr val="DA2C57"/>
            </a:solidFill>
            <a:ln w="12700">
              <a:miter lim="400000"/>
            </a:ln>
          </p:spPr>
          <p:txBody>
            <a:bodyPr lIns="50800" tIns="50800" rIns="50800" bIns="50800" anchor="ctr"/>
            <a:lstStyle/>
            <a:p>
              <a:endParaRPr lang="en-US" sz="1350" dirty="0"/>
            </a:p>
          </p:txBody>
        </p:sp>
        <p:sp>
          <p:nvSpPr>
            <p:cNvPr id="14" name="Rectangle"/>
            <p:cNvSpPr/>
            <p:nvPr userDrawn="1"/>
          </p:nvSpPr>
          <p:spPr>
            <a:xfrm>
              <a:off x="160238" y="371177"/>
              <a:ext cx="1300907" cy="813396"/>
            </a:xfrm>
            <a:prstGeom prst="rect">
              <a:avLst/>
            </a:prstGeom>
            <a:solidFill>
              <a:srgbClr val="C4297F"/>
            </a:solidFill>
            <a:ln w="12700">
              <a:miter lim="400000"/>
            </a:ln>
          </p:spPr>
          <p:txBody>
            <a:bodyPr lIns="50800" tIns="50800" rIns="50800" bIns="50800" anchor="ctr"/>
            <a:lstStyle/>
            <a:p>
              <a:endParaRPr lang="en-US" sz="1350" dirty="0"/>
            </a:p>
          </p:txBody>
        </p:sp>
        <p:sp>
          <p:nvSpPr>
            <p:cNvPr id="17" name="Rectangle"/>
            <p:cNvSpPr/>
            <p:nvPr userDrawn="1"/>
          </p:nvSpPr>
          <p:spPr>
            <a:xfrm>
              <a:off x="160238" y="1184572"/>
              <a:ext cx="1300907" cy="4539854"/>
            </a:xfrm>
            <a:prstGeom prst="rect">
              <a:avLst/>
            </a:prstGeom>
            <a:solidFill>
              <a:srgbClr val="822455"/>
            </a:solidFill>
            <a:ln w="12700">
              <a:miter lim="400000"/>
            </a:ln>
          </p:spPr>
          <p:txBody>
            <a:bodyPr lIns="50800" tIns="50800" rIns="50800" bIns="50800" anchor="ctr"/>
            <a:lstStyle/>
            <a:p>
              <a:endParaRPr lang="en-US" sz="1350" dirty="0"/>
            </a:p>
          </p:txBody>
        </p:sp>
        <p:sp>
          <p:nvSpPr>
            <p:cNvPr id="19" name="Rectangle"/>
            <p:cNvSpPr/>
            <p:nvPr userDrawn="1"/>
          </p:nvSpPr>
          <p:spPr>
            <a:xfrm>
              <a:off x="160238" y="154880"/>
              <a:ext cx="1300907" cy="216298"/>
            </a:xfrm>
            <a:prstGeom prst="rect">
              <a:avLst/>
            </a:prstGeom>
            <a:solidFill>
              <a:srgbClr val="DA2C57"/>
            </a:solidFill>
            <a:ln w="12700">
              <a:miter lim="400000"/>
            </a:ln>
          </p:spPr>
          <p:txBody>
            <a:bodyPr lIns="50800" tIns="50800" rIns="50800" bIns="50800" anchor="ctr"/>
            <a:lstStyle/>
            <a:p>
              <a:endParaRPr lang="en-US" sz="1350" dirty="0"/>
            </a:p>
          </p:txBody>
        </p:sp>
      </p:grpSp>
      <p:pic>
        <p:nvPicPr>
          <p:cNvPr id="20" name="footer-13.jpg" descr="footer-13.jpg"/>
          <p:cNvPicPr>
            <a:picLocks noChangeAspect="1"/>
          </p:cNvPicPr>
          <p:nvPr userDrawn="1"/>
        </p:nvPicPr>
        <p:blipFill>
          <a:blip r:embed="rId6" cstate="print"/>
          <a:stretch>
            <a:fillRect/>
          </a:stretch>
        </p:blipFill>
        <p:spPr>
          <a:xfrm>
            <a:off x="71484" y="6221394"/>
            <a:ext cx="12120517" cy="574391"/>
          </a:xfrm>
          <a:prstGeom prst="rect">
            <a:avLst/>
          </a:prstGeom>
          <a:ln w="12700">
            <a:miter lim="400000"/>
          </a:ln>
        </p:spPr>
      </p:pic>
    </p:spTree>
    <p:extLst>
      <p:ext uri="{BB962C8B-B14F-4D97-AF65-F5344CB8AC3E}">
        <p14:creationId xmlns:p14="http://schemas.microsoft.com/office/powerpoint/2010/main" val="2153504444"/>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showMasterSp="0" preserve="1" userDrawn="1">
  <p:cSld name="Divider 2">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6" y="1591"/>
          <a:ext cx="1953" cy="1587"/>
        </p:xfrm>
        <a:graphic>
          <a:graphicData uri="http://schemas.openxmlformats.org/presentationml/2006/ole">
            <mc:AlternateContent xmlns:mc="http://schemas.openxmlformats.org/markup-compatibility/2006">
              <mc:Choice xmlns:v="urn:schemas-microsoft-com:vml" Requires="v">
                <p:oleObj spid="_x0000_s2053890"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6" y="1591"/>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6" y="1188720"/>
            <a:ext cx="9115865" cy="649224"/>
          </a:xfrm>
        </p:spPr>
        <p:txBody>
          <a:bodyPr lIns="36576" tIns="45720" rIns="36576" bIns="45720">
            <a:noAutofit/>
          </a:bodyPr>
          <a:lstStyle>
            <a:lvl1pPr>
              <a:defRPr sz="3000" b="0" baseline="0">
                <a:solidFill>
                  <a:srgbClr val="EE4228"/>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39" y="3968496"/>
            <a:ext cx="5818399" cy="320040"/>
          </a:xfrm>
        </p:spPr>
        <p:txBody>
          <a:bodyPr lIns="36576" tIns="45720" rIns="36576" bIns="45720">
            <a:noAutofit/>
          </a:bodyPr>
          <a:lstStyle>
            <a:lvl1pPr>
              <a:defRPr sz="1125" b="0">
                <a:solidFill>
                  <a:srgbClr val="F69427"/>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39" y="4462272"/>
            <a:ext cx="5818399" cy="521208"/>
          </a:xfrm>
        </p:spPr>
        <p:txBody>
          <a:bodyPr lIns="36576" tIns="45720" rIns="36576" bIns="45720">
            <a:noAutofit/>
          </a:bodyPr>
          <a:lstStyle>
            <a:lvl1pPr>
              <a:defRPr sz="1050" b="0">
                <a:solidFill>
                  <a:srgbClr val="FCBA1A"/>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4" y="6221394"/>
            <a:ext cx="12120517" cy="574391"/>
          </a:xfrm>
          <a:prstGeom prst="rect">
            <a:avLst/>
          </a:prstGeom>
          <a:ln w="12700">
            <a:miter lim="400000"/>
          </a:ln>
        </p:spPr>
      </p:pic>
      <p:grpSp>
        <p:nvGrpSpPr>
          <p:cNvPr id="21" name="Group 20"/>
          <p:cNvGrpSpPr/>
          <p:nvPr userDrawn="1"/>
        </p:nvGrpSpPr>
        <p:grpSpPr>
          <a:xfrm>
            <a:off x="213691" y="98855"/>
            <a:ext cx="1113676" cy="6105595"/>
            <a:chOff x="160238" y="162796"/>
            <a:chExt cx="1300907" cy="8777933"/>
          </a:xfrm>
        </p:grpSpPr>
        <p:sp>
          <p:nvSpPr>
            <p:cNvPr id="22" name="Rectangle"/>
            <p:cNvSpPr/>
            <p:nvPr userDrawn="1"/>
          </p:nvSpPr>
          <p:spPr>
            <a:xfrm>
              <a:off x="160238" y="8406287"/>
              <a:ext cx="1300907" cy="534442"/>
            </a:xfrm>
            <a:prstGeom prst="rect">
              <a:avLst/>
            </a:prstGeom>
            <a:solidFill>
              <a:srgbClr val="D91F27"/>
            </a:solidFill>
            <a:ln w="12700">
              <a:miter lim="400000"/>
            </a:ln>
          </p:spPr>
          <p:txBody>
            <a:bodyPr lIns="50800" tIns="50800" rIns="50800" bIns="50800" anchor="ctr"/>
            <a:lstStyle/>
            <a:p>
              <a:endParaRPr lang="en-US" sz="1350" dirty="0"/>
            </a:p>
          </p:txBody>
        </p:sp>
        <p:sp>
          <p:nvSpPr>
            <p:cNvPr id="23" name="Rectangle"/>
            <p:cNvSpPr/>
            <p:nvPr userDrawn="1"/>
          </p:nvSpPr>
          <p:spPr>
            <a:xfrm>
              <a:off x="160238" y="8191280"/>
              <a:ext cx="1300907" cy="215008"/>
            </a:xfrm>
            <a:prstGeom prst="rect">
              <a:avLst/>
            </a:prstGeom>
            <a:solidFill>
              <a:srgbClr val="F36F26"/>
            </a:solidFill>
            <a:ln w="12700">
              <a:miter lim="400000"/>
            </a:ln>
          </p:spPr>
          <p:txBody>
            <a:bodyPr lIns="50800" tIns="50800" rIns="50800" bIns="50800" anchor="ctr"/>
            <a:lstStyle/>
            <a:p>
              <a:endParaRPr lang="en-US" sz="1350" dirty="0"/>
            </a:p>
          </p:txBody>
        </p:sp>
        <p:sp>
          <p:nvSpPr>
            <p:cNvPr id="24" name="Rectangle"/>
            <p:cNvSpPr/>
            <p:nvPr userDrawn="1"/>
          </p:nvSpPr>
          <p:spPr>
            <a:xfrm>
              <a:off x="160238" y="6203779"/>
              <a:ext cx="1300907" cy="1987502"/>
            </a:xfrm>
            <a:prstGeom prst="rect">
              <a:avLst/>
            </a:prstGeom>
            <a:solidFill>
              <a:srgbClr val="FBB91A"/>
            </a:solidFill>
            <a:ln w="12700">
              <a:miter lim="400000"/>
            </a:ln>
          </p:spPr>
          <p:txBody>
            <a:bodyPr lIns="50800" tIns="50800" rIns="50800" bIns="50800" anchor="ctr"/>
            <a:lstStyle/>
            <a:p>
              <a:endParaRPr lang="en-US" sz="1350" dirty="0"/>
            </a:p>
          </p:txBody>
        </p:sp>
        <p:sp>
          <p:nvSpPr>
            <p:cNvPr id="25" name="Rectangle"/>
            <p:cNvSpPr/>
            <p:nvPr userDrawn="1"/>
          </p:nvSpPr>
          <p:spPr>
            <a:xfrm>
              <a:off x="160238" y="5732341"/>
              <a:ext cx="1300907" cy="471439"/>
            </a:xfrm>
            <a:prstGeom prst="rect">
              <a:avLst/>
            </a:prstGeom>
            <a:solidFill>
              <a:srgbClr val="F69427"/>
            </a:solidFill>
            <a:ln w="12700">
              <a:miter lim="400000"/>
            </a:ln>
          </p:spPr>
          <p:txBody>
            <a:bodyPr lIns="50800" tIns="50800" rIns="50800" bIns="50800" anchor="ctr"/>
            <a:lstStyle/>
            <a:p>
              <a:endParaRPr lang="en-US" sz="1350" dirty="0"/>
            </a:p>
          </p:txBody>
        </p:sp>
        <p:sp>
          <p:nvSpPr>
            <p:cNvPr id="26" name="Rectangle"/>
            <p:cNvSpPr/>
            <p:nvPr userDrawn="1"/>
          </p:nvSpPr>
          <p:spPr>
            <a:xfrm>
              <a:off x="160238" y="379093"/>
              <a:ext cx="1300907" cy="813396"/>
            </a:xfrm>
            <a:prstGeom prst="rect">
              <a:avLst/>
            </a:prstGeom>
            <a:solidFill>
              <a:srgbClr val="F79824"/>
            </a:solidFill>
            <a:ln w="12700">
              <a:miter lim="400000"/>
            </a:ln>
          </p:spPr>
          <p:txBody>
            <a:bodyPr lIns="50800" tIns="50800" rIns="50800" bIns="50800" anchor="ctr"/>
            <a:lstStyle/>
            <a:p>
              <a:endParaRPr lang="en-US" sz="1350" dirty="0"/>
            </a:p>
          </p:txBody>
        </p:sp>
        <p:sp>
          <p:nvSpPr>
            <p:cNvPr id="27" name="Rectangle"/>
            <p:cNvSpPr/>
            <p:nvPr userDrawn="1"/>
          </p:nvSpPr>
          <p:spPr>
            <a:xfrm>
              <a:off x="160238" y="1192488"/>
              <a:ext cx="1300907" cy="4539854"/>
            </a:xfrm>
            <a:prstGeom prst="rect">
              <a:avLst/>
            </a:prstGeom>
            <a:solidFill>
              <a:srgbClr val="EE4329"/>
            </a:solidFill>
            <a:ln w="12700">
              <a:miter lim="400000"/>
            </a:ln>
          </p:spPr>
          <p:txBody>
            <a:bodyPr lIns="50800" tIns="50800" rIns="50800" bIns="50800" anchor="ctr"/>
            <a:lstStyle/>
            <a:p>
              <a:endParaRPr lang="en-US" sz="1350" dirty="0"/>
            </a:p>
          </p:txBody>
        </p:sp>
        <p:sp>
          <p:nvSpPr>
            <p:cNvPr id="28" name="Rectangle"/>
            <p:cNvSpPr/>
            <p:nvPr userDrawn="1"/>
          </p:nvSpPr>
          <p:spPr>
            <a:xfrm>
              <a:off x="160238" y="162796"/>
              <a:ext cx="1300907" cy="216298"/>
            </a:xfrm>
            <a:prstGeom prst="rect">
              <a:avLst/>
            </a:prstGeom>
            <a:solidFill>
              <a:srgbClr val="BF2126"/>
            </a:solidFill>
            <a:ln w="12700">
              <a:miter lim="400000"/>
            </a:ln>
          </p:spPr>
          <p:txBody>
            <a:bodyPr lIns="50800" tIns="50800" rIns="50800" bIns="50800" anchor="ctr"/>
            <a:lstStyle/>
            <a:p>
              <a:endParaRPr lang="en-US" sz="1350" dirty="0"/>
            </a:p>
          </p:txBody>
        </p:sp>
      </p:grpSp>
    </p:spTree>
    <p:extLst>
      <p:ext uri="{BB962C8B-B14F-4D97-AF65-F5344CB8AC3E}">
        <p14:creationId xmlns:p14="http://schemas.microsoft.com/office/powerpoint/2010/main" val="868414593"/>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showMasterSp="0" preserve="1" userDrawn="1">
  <p:cSld name="Divider 3">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6" y="1591"/>
          <a:ext cx="1953" cy="1587"/>
        </p:xfrm>
        <a:graphic>
          <a:graphicData uri="http://schemas.openxmlformats.org/presentationml/2006/ole">
            <mc:AlternateContent xmlns:mc="http://schemas.openxmlformats.org/markup-compatibility/2006">
              <mc:Choice xmlns:v="urn:schemas-microsoft-com:vml" Requires="v">
                <p:oleObj spid="_x0000_s2054914"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6" y="1591"/>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6" y="1188720"/>
            <a:ext cx="9115865" cy="649224"/>
          </a:xfrm>
        </p:spPr>
        <p:txBody>
          <a:bodyPr lIns="36576" tIns="45720" rIns="36576" bIns="45720">
            <a:noAutofit/>
          </a:bodyPr>
          <a:lstStyle>
            <a:lvl1pPr>
              <a:defRPr sz="3000" b="0" baseline="0">
                <a:solidFill>
                  <a:srgbClr val="007272"/>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39" y="3968496"/>
            <a:ext cx="5818399" cy="320040"/>
          </a:xfrm>
        </p:spPr>
        <p:txBody>
          <a:bodyPr lIns="36576" tIns="45720" rIns="36576" bIns="45720">
            <a:noAutofit/>
          </a:bodyPr>
          <a:lstStyle>
            <a:lvl1pPr>
              <a:defRPr sz="1125" b="0">
                <a:solidFill>
                  <a:srgbClr val="00C0B6"/>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39" y="4462272"/>
            <a:ext cx="5818399" cy="521208"/>
          </a:xfrm>
        </p:spPr>
        <p:txBody>
          <a:bodyPr lIns="36576" tIns="45720" rIns="36576" bIns="45720">
            <a:noAutofit/>
          </a:bodyPr>
          <a:lstStyle>
            <a:lvl1pPr>
              <a:defRPr sz="1050" b="0">
                <a:solidFill>
                  <a:srgbClr val="00A6AB"/>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4" y="6221394"/>
            <a:ext cx="12120517" cy="574391"/>
          </a:xfrm>
          <a:prstGeom prst="rect">
            <a:avLst/>
          </a:prstGeom>
          <a:ln w="12700">
            <a:miter lim="400000"/>
          </a:ln>
        </p:spPr>
      </p:pic>
      <p:grpSp>
        <p:nvGrpSpPr>
          <p:cNvPr id="21" name="Group 20"/>
          <p:cNvGrpSpPr/>
          <p:nvPr userDrawn="1"/>
        </p:nvGrpSpPr>
        <p:grpSpPr>
          <a:xfrm>
            <a:off x="213691" y="99934"/>
            <a:ext cx="1113676" cy="6105588"/>
            <a:chOff x="90616" y="113613"/>
            <a:chExt cx="1300907" cy="8777933"/>
          </a:xfrm>
        </p:grpSpPr>
        <p:sp>
          <p:nvSpPr>
            <p:cNvPr id="22" name="Rectangle"/>
            <p:cNvSpPr/>
            <p:nvPr userDrawn="1"/>
          </p:nvSpPr>
          <p:spPr>
            <a:xfrm>
              <a:off x="90616" y="8357104"/>
              <a:ext cx="1300907" cy="534442"/>
            </a:xfrm>
            <a:prstGeom prst="rect">
              <a:avLst/>
            </a:prstGeom>
            <a:solidFill>
              <a:srgbClr val="00C0B6"/>
            </a:solidFill>
            <a:ln w="12700">
              <a:miter lim="400000"/>
            </a:ln>
          </p:spPr>
          <p:txBody>
            <a:bodyPr lIns="50800" tIns="50800" rIns="50800" bIns="50800" anchor="ctr"/>
            <a:lstStyle/>
            <a:p>
              <a:endParaRPr lang="en-US" sz="1350" dirty="0"/>
            </a:p>
          </p:txBody>
        </p:sp>
        <p:sp>
          <p:nvSpPr>
            <p:cNvPr id="23" name="Rectangle"/>
            <p:cNvSpPr/>
            <p:nvPr userDrawn="1"/>
          </p:nvSpPr>
          <p:spPr>
            <a:xfrm>
              <a:off x="90616" y="8142097"/>
              <a:ext cx="1300907" cy="215008"/>
            </a:xfrm>
            <a:prstGeom prst="rect">
              <a:avLst/>
            </a:prstGeom>
            <a:solidFill>
              <a:srgbClr val="007272"/>
            </a:solidFill>
            <a:ln w="12700">
              <a:miter lim="400000"/>
            </a:ln>
          </p:spPr>
          <p:txBody>
            <a:bodyPr lIns="50800" tIns="50800" rIns="50800" bIns="50800" anchor="ctr"/>
            <a:lstStyle/>
            <a:p>
              <a:endParaRPr lang="en-US" sz="1350" dirty="0"/>
            </a:p>
          </p:txBody>
        </p:sp>
        <p:sp>
          <p:nvSpPr>
            <p:cNvPr id="24" name="Rectangle"/>
            <p:cNvSpPr/>
            <p:nvPr userDrawn="1"/>
          </p:nvSpPr>
          <p:spPr>
            <a:xfrm>
              <a:off x="90616" y="6154596"/>
              <a:ext cx="1300907" cy="1987502"/>
            </a:xfrm>
            <a:prstGeom prst="rect">
              <a:avLst/>
            </a:prstGeom>
            <a:solidFill>
              <a:srgbClr val="00A6AB"/>
            </a:solidFill>
            <a:ln w="12700">
              <a:miter lim="400000"/>
            </a:ln>
          </p:spPr>
          <p:txBody>
            <a:bodyPr lIns="50800" tIns="50800" rIns="50800" bIns="50800" anchor="ctr"/>
            <a:lstStyle/>
            <a:p>
              <a:endParaRPr lang="en-US" sz="1350" dirty="0"/>
            </a:p>
          </p:txBody>
        </p:sp>
        <p:sp>
          <p:nvSpPr>
            <p:cNvPr id="25" name="Rectangle"/>
            <p:cNvSpPr/>
            <p:nvPr userDrawn="1"/>
          </p:nvSpPr>
          <p:spPr>
            <a:xfrm>
              <a:off x="90616" y="5683158"/>
              <a:ext cx="1300907" cy="471439"/>
            </a:xfrm>
            <a:prstGeom prst="rect">
              <a:avLst/>
            </a:prstGeom>
            <a:solidFill>
              <a:srgbClr val="00C0B6"/>
            </a:solidFill>
            <a:ln w="12700">
              <a:miter lim="400000"/>
            </a:ln>
          </p:spPr>
          <p:txBody>
            <a:bodyPr lIns="50800" tIns="50800" rIns="50800" bIns="50800" anchor="ctr"/>
            <a:lstStyle/>
            <a:p>
              <a:endParaRPr lang="en-US" sz="1350" dirty="0"/>
            </a:p>
          </p:txBody>
        </p:sp>
        <p:sp>
          <p:nvSpPr>
            <p:cNvPr id="26" name="Rectangle"/>
            <p:cNvSpPr/>
            <p:nvPr userDrawn="1"/>
          </p:nvSpPr>
          <p:spPr>
            <a:xfrm>
              <a:off x="90616" y="329910"/>
              <a:ext cx="1300907" cy="813396"/>
            </a:xfrm>
            <a:prstGeom prst="rect">
              <a:avLst/>
            </a:prstGeom>
            <a:solidFill>
              <a:srgbClr val="00C0B6"/>
            </a:solidFill>
            <a:ln w="12700">
              <a:miter lim="400000"/>
            </a:ln>
          </p:spPr>
          <p:txBody>
            <a:bodyPr lIns="50800" tIns="50800" rIns="50800" bIns="50800" anchor="ctr"/>
            <a:lstStyle/>
            <a:p>
              <a:endParaRPr lang="en-US" sz="1350" dirty="0"/>
            </a:p>
          </p:txBody>
        </p:sp>
        <p:sp>
          <p:nvSpPr>
            <p:cNvPr id="27" name="Rectangle"/>
            <p:cNvSpPr/>
            <p:nvPr userDrawn="1"/>
          </p:nvSpPr>
          <p:spPr>
            <a:xfrm>
              <a:off x="90616" y="1143305"/>
              <a:ext cx="1300907" cy="4539854"/>
            </a:xfrm>
            <a:prstGeom prst="rect">
              <a:avLst/>
            </a:prstGeom>
            <a:solidFill>
              <a:srgbClr val="007272"/>
            </a:solidFill>
            <a:ln w="12700">
              <a:miter lim="400000"/>
            </a:ln>
          </p:spPr>
          <p:txBody>
            <a:bodyPr lIns="50800" tIns="50800" rIns="50800" bIns="50800" anchor="ctr"/>
            <a:lstStyle/>
            <a:p>
              <a:endParaRPr lang="en-US" sz="1350" dirty="0"/>
            </a:p>
          </p:txBody>
        </p:sp>
        <p:sp>
          <p:nvSpPr>
            <p:cNvPr id="28" name="Rectangle"/>
            <p:cNvSpPr/>
            <p:nvPr userDrawn="1"/>
          </p:nvSpPr>
          <p:spPr>
            <a:xfrm>
              <a:off x="90616" y="113613"/>
              <a:ext cx="1300907" cy="216298"/>
            </a:xfrm>
            <a:prstGeom prst="rect">
              <a:avLst/>
            </a:prstGeom>
            <a:solidFill>
              <a:srgbClr val="00A6AB"/>
            </a:solidFill>
            <a:ln w="12700">
              <a:miter lim="400000"/>
            </a:ln>
          </p:spPr>
          <p:txBody>
            <a:bodyPr lIns="50800" tIns="50800" rIns="50800" bIns="50800" anchor="ctr"/>
            <a:lstStyle/>
            <a:p>
              <a:endParaRPr lang="en-US" sz="1350" dirty="0"/>
            </a:p>
          </p:txBody>
        </p:sp>
      </p:grpSp>
    </p:spTree>
    <p:extLst>
      <p:ext uri="{BB962C8B-B14F-4D97-AF65-F5344CB8AC3E}">
        <p14:creationId xmlns:p14="http://schemas.microsoft.com/office/powerpoint/2010/main" val="242250922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85"/>
          <p:cNvSpPr>
            <a:spLocks noGrp="1" noChangeArrowheads="1"/>
          </p:cNvSpPr>
          <p:nvPr>
            <p:ph type="sldNum" sz="quarter" idx="10"/>
          </p:nvPr>
        </p:nvSpPr>
        <p:spPr>
          <a:ln/>
        </p:spPr>
        <p:txBody>
          <a:bodyPr/>
          <a:lstStyle>
            <a:lvl1pPr>
              <a:defRPr/>
            </a:lvl1pPr>
          </a:lstStyle>
          <a:p>
            <a:pPr>
              <a:defRPr/>
            </a:pPr>
            <a:fld id="{92C380FF-0397-644C-B316-9BC79B505A0E}" type="slidenum">
              <a:rPr lang="en-US">
                <a:solidFill>
                  <a:srgbClr val="53565A"/>
                </a:solidFill>
              </a:rPr>
              <a:pPr>
                <a:defRPr/>
              </a:pPr>
              <a:t>‹#›</a:t>
            </a:fld>
            <a:endParaRPr lang="en-US">
              <a:solidFill>
                <a:srgbClr val="53565A"/>
              </a:solidFill>
            </a:endParaRPr>
          </a:p>
        </p:txBody>
      </p:sp>
      <p:sp>
        <p:nvSpPr>
          <p:cNvPr id="6" name="Rectangle 92"/>
          <p:cNvSpPr>
            <a:spLocks noGrp="1" noChangeArrowheads="1"/>
          </p:cNvSpPr>
          <p:nvPr>
            <p:ph type="ftr" sz="quarter" idx="12"/>
          </p:nvPr>
        </p:nvSpPr>
        <p:spPr>
          <a:ln/>
        </p:spPr>
        <p:txBody>
          <a:bodyPr/>
          <a:lstStyle>
            <a:lvl1pPr>
              <a:defRPr/>
            </a:lvl1pPr>
          </a:lstStyle>
          <a:p>
            <a:pPr>
              <a:defRPr/>
            </a:pPr>
            <a:r>
              <a:rPr lang="en-US">
                <a:solidFill>
                  <a:srgbClr val="53565A"/>
                </a:solidFill>
              </a:rPr>
              <a:t>Presentation Title</a:t>
            </a:r>
          </a:p>
        </p:txBody>
      </p:sp>
    </p:spTree>
    <p:extLst>
      <p:ext uri="{BB962C8B-B14F-4D97-AF65-F5344CB8AC3E}">
        <p14:creationId xmlns:p14="http://schemas.microsoft.com/office/powerpoint/2010/main" val="346961782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Quote_BW">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pPr>
              <a:defRPr/>
            </a:pPr>
            <a:fld id="{410BB04A-6CB2-A14D-B6AF-586C8C166ED7}" type="slidenum">
              <a:rPr lang="en-US">
                <a:solidFill>
                  <a:srgbClr val="53565A"/>
                </a:solidFill>
              </a:rPr>
              <a:pPr>
                <a:defRPr/>
              </a:pPr>
              <a:t>‹#›</a:t>
            </a:fld>
            <a:endParaRPr lang="en-US">
              <a:solidFill>
                <a:srgbClr val="53565A"/>
              </a:solidFill>
            </a:endParaRPr>
          </a:p>
        </p:txBody>
      </p:sp>
      <p:sp>
        <p:nvSpPr>
          <p:cNvPr id="4" name="Date Placeholder 3"/>
          <p:cNvSpPr>
            <a:spLocks noGrp="1"/>
          </p:cNvSpPr>
          <p:nvPr>
            <p:ph type="dt" sz="half" idx="11"/>
          </p:nvPr>
        </p:nvSpPr>
        <p:spPr/>
        <p:txBody>
          <a:bodyPr/>
          <a:lstStyle/>
          <a:p>
            <a:pPr>
              <a:defRPr/>
            </a:pPr>
            <a:r>
              <a:rPr lang="en-US">
                <a:solidFill>
                  <a:srgbClr val="53565A"/>
                </a:solidFill>
              </a:rPr>
              <a:t>MM.DD.YY</a:t>
            </a:r>
          </a:p>
        </p:txBody>
      </p:sp>
      <p:sp>
        <p:nvSpPr>
          <p:cNvPr id="5" name="Footer Placeholder 4"/>
          <p:cNvSpPr>
            <a:spLocks noGrp="1"/>
          </p:cNvSpPr>
          <p:nvPr>
            <p:ph type="ftr" sz="quarter" idx="12"/>
          </p:nvPr>
        </p:nvSpPr>
        <p:spPr/>
        <p:txBody>
          <a:bodyPr/>
          <a:lstStyle/>
          <a:p>
            <a:pPr>
              <a:defRPr/>
            </a:pPr>
            <a:r>
              <a:rPr lang="en-US">
                <a:solidFill>
                  <a:srgbClr val="53565A"/>
                </a:solidFill>
              </a:rPr>
              <a:t>Presentation Title</a:t>
            </a:r>
          </a:p>
        </p:txBody>
      </p:sp>
      <p:sp>
        <p:nvSpPr>
          <p:cNvPr id="13" name="Rectangle 6"/>
          <p:cNvSpPr txBox="1">
            <a:spLocks noChangeArrowheads="1"/>
          </p:cNvSpPr>
          <p:nvPr userDrawn="1"/>
        </p:nvSpPr>
        <p:spPr bwMode="black">
          <a:xfrm>
            <a:off x="2399973" y="1597949"/>
            <a:ext cx="7342716" cy="440756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accent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lIns="0"/>
          <a:lstStyle>
            <a:lvl1pPr algn="ctr" eaLnBrk="0" hangingPunct="0">
              <a:defRPr sz="2400">
                <a:solidFill>
                  <a:schemeClr val="tx1"/>
                </a:solidFill>
                <a:latin typeface="Arial" charset="0"/>
                <a:ea typeface="ヒラギノ角ゴ Pro W3" charset="0"/>
              </a:defRPr>
            </a:lvl1pPr>
            <a:lvl2pPr marL="742950" indent="-285750" algn="ctr" eaLnBrk="0" hangingPunct="0">
              <a:defRPr sz="2400">
                <a:solidFill>
                  <a:schemeClr val="tx1"/>
                </a:solidFill>
                <a:latin typeface="Arial" charset="0"/>
                <a:ea typeface="ヒラギノ角ゴ Pro W3" charset="0"/>
              </a:defRPr>
            </a:lvl2pPr>
            <a:lvl3pPr marL="1143000" indent="-228600" algn="ctr" eaLnBrk="0" hangingPunct="0">
              <a:defRPr sz="2400">
                <a:solidFill>
                  <a:schemeClr val="tx1"/>
                </a:solidFill>
                <a:latin typeface="Arial" charset="0"/>
                <a:ea typeface="ヒラギノ角ゴ Pro W3" charset="0"/>
              </a:defRPr>
            </a:lvl3pPr>
            <a:lvl4pPr marL="1600200" indent="-228600" algn="ctr" eaLnBrk="0" hangingPunct="0">
              <a:defRPr sz="2400">
                <a:solidFill>
                  <a:schemeClr val="tx1"/>
                </a:solidFill>
                <a:latin typeface="Arial" charset="0"/>
                <a:ea typeface="ヒラギノ角ゴ Pro W3" charset="0"/>
              </a:defRPr>
            </a:lvl4pPr>
            <a:lvl5pPr marL="2057400" indent="-228600" algn="ctr" eaLnBrk="0" hangingPunct="0">
              <a:defRPr sz="2400">
                <a:solidFill>
                  <a:schemeClr val="tx1"/>
                </a:solidFill>
                <a:latin typeface="Arial" charset="0"/>
                <a:ea typeface="ヒラギノ角ゴ Pro W3" charset="0"/>
              </a:defRPr>
            </a:lvl5pPr>
            <a:lvl6pPr marL="2514600" indent="-228600" algn="ctr" eaLnBrk="0" fontAlgn="base" hangingPunct="0">
              <a:spcBef>
                <a:spcPct val="0"/>
              </a:spcBef>
              <a:spcAft>
                <a:spcPct val="0"/>
              </a:spcAft>
              <a:defRPr sz="2400">
                <a:solidFill>
                  <a:schemeClr val="tx1"/>
                </a:solidFill>
                <a:latin typeface="Arial" charset="0"/>
                <a:ea typeface="ヒラギノ角ゴ Pro W3" charset="0"/>
              </a:defRPr>
            </a:lvl6pPr>
            <a:lvl7pPr marL="2971800" indent="-228600" algn="ctr" eaLnBrk="0" fontAlgn="base" hangingPunct="0">
              <a:spcBef>
                <a:spcPct val="0"/>
              </a:spcBef>
              <a:spcAft>
                <a:spcPct val="0"/>
              </a:spcAft>
              <a:defRPr sz="2400">
                <a:solidFill>
                  <a:schemeClr val="tx1"/>
                </a:solidFill>
                <a:latin typeface="Arial" charset="0"/>
                <a:ea typeface="ヒラギノ角ゴ Pro W3" charset="0"/>
              </a:defRPr>
            </a:lvl7pPr>
            <a:lvl8pPr marL="3429000" indent="-228600" algn="ctr" eaLnBrk="0" fontAlgn="base" hangingPunct="0">
              <a:spcBef>
                <a:spcPct val="0"/>
              </a:spcBef>
              <a:spcAft>
                <a:spcPct val="0"/>
              </a:spcAft>
              <a:defRPr sz="2400">
                <a:solidFill>
                  <a:schemeClr val="tx1"/>
                </a:solidFill>
                <a:latin typeface="Arial" charset="0"/>
                <a:ea typeface="ヒラギノ角ゴ Pro W3" charset="0"/>
              </a:defRPr>
            </a:lvl8pPr>
            <a:lvl9pPr marL="3886200" indent="-228600" algn="ctr" eaLnBrk="0" fontAlgn="base" hangingPunct="0">
              <a:spcBef>
                <a:spcPct val="0"/>
              </a:spcBef>
              <a:spcAft>
                <a:spcPct val="0"/>
              </a:spcAft>
              <a:defRPr sz="2400">
                <a:solidFill>
                  <a:schemeClr val="tx1"/>
                </a:solidFill>
                <a:latin typeface="Arial" charset="0"/>
                <a:ea typeface="ヒラギノ角ゴ Pro W3" charset="0"/>
              </a:defRPr>
            </a:lvl9pPr>
          </a:lstStyle>
          <a:p>
            <a:pPr algn="l" defTabSz="914400" eaLnBrk="1" fontAlgn="base" hangingPunct="1">
              <a:lnSpc>
                <a:spcPct val="95000"/>
              </a:lnSpc>
              <a:spcBef>
                <a:spcPct val="75000"/>
              </a:spcBef>
              <a:spcAft>
                <a:spcPct val="20000"/>
              </a:spcAft>
              <a:defRPr/>
            </a:pPr>
            <a:r>
              <a:rPr lang="es-ES_tradnl" sz="3600" dirty="0">
                <a:solidFill>
                  <a:srgbClr val="FFFFFF"/>
                </a:solidFill>
                <a:ea typeface="Arial" charset="0"/>
                <a:cs typeface="Geneva" charset="0"/>
              </a:rPr>
              <a:t>Una cita puede ser colocada aquí. Una gran hoja sirve de transición </a:t>
            </a:r>
            <a:br>
              <a:rPr lang="es-ES_tradnl" sz="3600" dirty="0">
                <a:solidFill>
                  <a:srgbClr val="FFFFFF"/>
                </a:solidFill>
                <a:ea typeface="Arial" charset="0"/>
                <a:cs typeface="Geneva" charset="0"/>
              </a:rPr>
            </a:br>
            <a:r>
              <a:rPr lang="es-ES_tradnl" sz="3600" dirty="0">
                <a:solidFill>
                  <a:srgbClr val="FFFFFF"/>
                </a:solidFill>
                <a:ea typeface="Arial" charset="0"/>
                <a:cs typeface="Geneva" charset="0"/>
              </a:rPr>
              <a:t>y crea una pausa para tus clientes para digerir mejor la información. </a:t>
            </a:r>
          </a:p>
          <a:p>
            <a:pPr algn="l" defTabSz="914400" eaLnBrk="1" fontAlgn="base" hangingPunct="1">
              <a:lnSpc>
                <a:spcPct val="95000"/>
              </a:lnSpc>
              <a:spcBef>
                <a:spcPct val="75000"/>
              </a:spcBef>
              <a:spcAft>
                <a:spcPct val="20000"/>
              </a:spcAft>
              <a:defRPr/>
            </a:pPr>
            <a:r>
              <a:rPr lang="es-ES_tradnl" sz="2000" dirty="0">
                <a:solidFill>
                  <a:srgbClr val="00BDF2"/>
                </a:solidFill>
                <a:ea typeface="Arial" charset="0"/>
                <a:cs typeface="Geneva" charset="0"/>
              </a:rPr>
              <a:t>Aquí van los </a:t>
            </a:r>
            <a:r>
              <a:rPr lang="es-ES_tradnl" sz="2000" dirty="0" err="1">
                <a:solidFill>
                  <a:srgbClr val="00BDF2"/>
                </a:solidFill>
                <a:ea typeface="Arial" charset="0"/>
                <a:cs typeface="Geneva" charset="0"/>
              </a:rPr>
              <a:t>creditos</a:t>
            </a:r>
            <a:r>
              <a:rPr lang="es-ES_tradnl" sz="2000" dirty="0">
                <a:solidFill>
                  <a:srgbClr val="00BDF2"/>
                </a:solidFill>
                <a:ea typeface="Arial" charset="0"/>
                <a:cs typeface="Geneva" charset="0"/>
              </a:rPr>
              <a:t> de la cita; </a:t>
            </a:r>
            <a:r>
              <a:rPr lang="es-ES_tradnl" sz="2000" dirty="0" err="1">
                <a:solidFill>
                  <a:srgbClr val="00BDF2"/>
                </a:solidFill>
                <a:ea typeface="Arial" charset="0"/>
                <a:cs typeface="Geneva" charset="0"/>
              </a:rPr>
              <a:t>lorem</a:t>
            </a:r>
            <a:r>
              <a:rPr lang="es-ES_tradnl" sz="2000" dirty="0">
                <a:solidFill>
                  <a:srgbClr val="00BDF2"/>
                </a:solidFill>
                <a:ea typeface="Arial" charset="0"/>
                <a:cs typeface="Geneva" charset="0"/>
              </a:rPr>
              <a:t> </a:t>
            </a:r>
            <a:r>
              <a:rPr lang="es-ES_tradnl" sz="2000" dirty="0" err="1">
                <a:solidFill>
                  <a:srgbClr val="00BDF2"/>
                </a:solidFill>
                <a:ea typeface="Arial" charset="0"/>
                <a:cs typeface="Geneva" charset="0"/>
              </a:rPr>
              <a:t>ipsum</a:t>
            </a:r>
            <a:r>
              <a:rPr lang="es-ES_tradnl" sz="2000" dirty="0">
                <a:solidFill>
                  <a:srgbClr val="00BDF2"/>
                </a:solidFill>
                <a:ea typeface="Arial" charset="0"/>
                <a:cs typeface="Geneva" charset="0"/>
              </a:rPr>
              <a:t> dolor </a:t>
            </a:r>
            <a:r>
              <a:rPr lang="es-ES_tradnl" sz="2000" dirty="0" err="1">
                <a:solidFill>
                  <a:srgbClr val="00BDF2"/>
                </a:solidFill>
                <a:ea typeface="Arial" charset="0"/>
                <a:cs typeface="Geneva" charset="0"/>
              </a:rPr>
              <a:t>sit</a:t>
            </a:r>
            <a:r>
              <a:rPr lang="es-ES_tradnl" sz="2000" dirty="0">
                <a:solidFill>
                  <a:srgbClr val="00BDF2"/>
                </a:solidFill>
                <a:ea typeface="Arial" charset="0"/>
                <a:cs typeface="Geneva" charset="0"/>
              </a:rPr>
              <a:t> </a:t>
            </a:r>
            <a:r>
              <a:rPr lang="es-ES_tradnl" sz="2000" dirty="0" err="1">
                <a:solidFill>
                  <a:srgbClr val="00BDF2"/>
                </a:solidFill>
                <a:ea typeface="Arial" charset="0"/>
                <a:cs typeface="Geneva" charset="0"/>
              </a:rPr>
              <a:t>amet</a:t>
            </a:r>
            <a:r>
              <a:rPr lang="es-ES_tradnl" sz="2000" dirty="0">
                <a:solidFill>
                  <a:srgbClr val="00BDF2"/>
                </a:solidFill>
                <a:ea typeface="Arial" charset="0"/>
                <a:cs typeface="Geneva" charset="0"/>
              </a:rPr>
              <a:t> </a:t>
            </a:r>
            <a:r>
              <a:rPr lang="es-ES_tradnl" sz="2000" dirty="0" err="1">
                <a:solidFill>
                  <a:srgbClr val="00BDF2"/>
                </a:solidFill>
                <a:ea typeface="Arial" charset="0"/>
                <a:cs typeface="Geneva" charset="0"/>
              </a:rPr>
              <a:t>consectetur</a:t>
            </a:r>
            <a:r>
              <a:rPr lang="es-ES_tradnl" sz="2000" dirty="0">
                <a:solidFill>
                  <a:srgbClr val="00BDF2"/>
                </a:solidFill>
                <a:ea typeface="Arial" charset="0"/>
                <a:cs typeface="Geneva" charset="0"/>
              </a:rPr>
              <a:t> </a:t>
            </a:r>
            <a:r>
              <a:rPr lang="es-ES_tradnl" sz="2000" dirty="0" err="1">
                <a:solidFill>
                  <a:srgbClr val="00BDF2"/>
                </a:solidFill>
                <a:ea typeface="Arial" charset="0"/>
                <a:cs typeface="Geneva" charset="0"/>
              </a:rPr>
              <a:t>adipiscing</a:t>
            </a:r>
            <a:r>
              <a:rPr lang="es-ES_tradnl" sz="2000" dirty="0">
                <a:solidFill>
                  <a:srgbClr val="00BDF2"/>
                </a:solidFill>
                <a:ea typeface="Arial" charset="0"/>
                <a:cs typeface="Geneva" charset="0"/>
              </a:rPr>
              <a:t>.</a:t>
            </a:r>
          </a:p>
        </p:txBody>
      </p:sp>
      <p:pic>
        <p:nvPicPr>
          <p:cNvPr id="14" name="Picture 13"/>
          <p:cNvPicPr>
            <a:picLocks noChangeAspect="1"/>
          </p:cNvPicPr>
          <p:nvPr userDrawn="1"/>
        </p:nvPicPr>
        <p:blipFill>
          <a:blip r:embed="rId2"/>
          <a:stretch>
            <a:fillRect/>
          </a:stretch>
        </p:blipFill>
        <p:spPr>
          <a:xfrm>
            <a:off x="-36657" y="-37908"/>
            <a:ext cx="12304487" cy="6924341"/>
          </a:xfrm>
          <a:prstGeom prst="rect">
            <a:avLst/>
          </a:prstGeom>
        </p:spPr>
      </p:pic>
      <p:grpSp>
        <p:nvGrpSpPr>
          <p:cNvPr id="15" name="Group 24"/>
          <p:cNvGrpSpPr>
            <a:grpSpLocks/>
          </p:cNvGrpSpPr>
          <p:nvPr userDrawn="1"/>
        </p:nvGrpSpPr>
        <p:grpSpPr bwMode="auto">
          <a:xfrm>
            <a:off x="490519" y="391003"/>
            <a:ext cx="1233216" cy="615424"/>
            <a:chOff x="-3315972" y="-924674"/>
            <a:chExt cx="6411831" cy="4278160"/>
          </a:xfrm>
          <a:solidFill>
            <a:schemeClr val="bg1"/>
          </a:solidFill>
        </p:grpSpPr>
        <p:sp>
          <p:nvSpPr>
            <p:cNvPr id="16" name="Trapezoid 21"/>
            <p:cNvSpPr>
              <a:spLocks/>
            </p:cNvSpPr>
            <p:nvPr/>
          </p:nvSpPr>
          <p:spPr bwMode="auto">
            <a:xfrm>
              <a:off x="-3315972"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defTabSz="914400" fontAlgn="base">
                <a:spcBef>
                  <a:spcPct val="0"/>
                </a:spcBef>
                <a:spcAft>
                  <a:spcPct val="0"/>
                </a:spcAft>
                <a:defRPr/>
              </a:pPr>
              <a:endParaRPr lang="en-US" sz="2400">
                <a:solidFill>
                  <a:srgbClr val="53565A"/>
                </a:solidFill>
                <a:ea typeface="ヒラギノ角ゴ Pro W3" charset="0"/>
                <a:cs typeface="ヒラギノ角ゴ Pro W3" charset="0"/>
              </a:endParaRPr>
            </a:p>
          </p:txBody>
        </p:sp>
        <p:sp>
          <p:nvSpPr>
            <p:cNvPr id="17" name="Trapezoid 21"/>
            <p:cNvSpPr>
              <a:spLocks/>
            </p:cNvSpPr>
            <p:nvPr/>
          </p:nvSpPr>
          <p:spPr bwMode="auto">
            <a:xfrm>
              <a:off x="839130"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defTabSz="914400" fontAlgn="base">
                <a:spcBef>
                  <a:spcPct val="0"/>
                </a:spcBef>
                <a:spcAft>
                  <a:spcPct val="0"/>
                </a:spcAft>
                <a:defRPr/>
              </a:pPr>
              <a:endParaRPr lang="en-US" sz="2400">
                <a:solidFill>
                  <a:srgbClr val="53565A"/>
                </a:solidFill>
                <a:ea typeface="ヒラギノ角ゴ Pro W3" charset="0"/>
                <a:cs typeface="ヒラギノ角ゴ Pro W3" charset="0"/>
              </a:endParaRPr>
            </a:p>
          </p:txBody>
        </p:sp>
      </p:grpSp>
      <p:grpSp>
        <p:nvGrpSpPr>
          <p:cNvPr id="18" name="Group 25"/>
          <p:cNvGrpSpPr>
            <a:grpSpLocks/>
          </p:cNvGrpSpPr>
          <p:nvPr userDrawn="1"/>
        </p:nvGrpSpPr>
        <p:grpSpPr bwMode="auto">
          <a:xfrm flipH="1" flipV="1">
            <a:off x="10549240" y="6005514"/>
            <a:ext cx="1233216" cy="615421"/>
            <a:chOff x="-3315972" y="-924674"/>
            <a:chExt cx="6411831" cy="4278160"/>
          </a:xfrm>
          <a:solidFill>
            <a:schemeClr val="bg1"/>
          </a:solidFill>
        </p:grpSpPr>
        <p:sp>
          <p:nvSpPr>
            <p:cNvPr id="19" name="Trapezoid 21"/>
            <p:cNvSpPr>
              <a:spLocks/>
            </p:cNvSpPr>
            <p:nvPr/>
          </p:nvSpPr>
          <p:spPr bwMode="auto">
            <a:xfrm>
              <a:off x="-3315972"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defTabSz="914400" fontAlgn="base">
                <a:spcBef>
                  <a:spcPct val="0"/>
                </a:spcBef>
                <a:spcAft>
                  <a:spcPct val="0"/>
                </a:spcAft>
                <a:defRPr/>
              </a:pPr>
              <a:endParaRPr lang="en-US" sz="2400">
                <a:solidFill>
                  <a:srgbClr val="53565A"/>
                </a:solidFill>
                <a:ea typeface="ヒラギノ角ゴ Pro W3" charset="0"/>
                <a:cs typeface="ヒラギノ角ゴ Pro W3" charset="0"/>
              </a:endParaRPr>
            </a:p>
          </p:txBody>
        </p:sp>
        <p:sp>
          <p:nvSpPr>
            <p:cNvPr id="20" name="Trapezoid 21"/>
            <p:cNvSpPr>
              <a:spLocks/>
            </p:cNvSpPr>
            <p:nvPr/>
          </p:nvSpPr>
          <p:spPr bwMode="auto">
            <a:xfrm>
              <a:off x="839130"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defTabSz="914400" fontAlgn="base">
                <a:spcBef>
                  <a:spcPct val="0"/>
                </a:spcBef>
                <a:spcAft>
                  <a:spcPct val="0"/>
                </a:spcAft>
                <a:defRPr/>
              </a:pPr>
              <a:endParaRPr lang="en-US" sz="2400">
                <a:solidFill>
                  <a:srgbClr val="53565A"/>
                </a:solidFill>
                <a:ea typeface="ヒラギノ角ゴ Pro W3" charset="0"/>
                <a:cs typeface="ヒラギノ角ゴ Pro W3" charset="0"/>
              </a:endParaRPr>
            </a:p>
          </p:txBody>
        </p:sp>
      </p:grpSp>
      <p:sp>
        <p:nvSpPr>
          <p:cNvPr id="21" name="Text Placeholder 23"/>
          <p:cNvSpPr>
            <a:spLocks noGrp="1"/>
          </p:cNvSpPr>
          <p:nvPr>
            <p:ph type="body" sz="quarter" idx="13"/>
          </p:nvPr>
        </p:nvSpPr>
        <p:spPr>
          <a:xfrm>
            <a:off x="2357968" y="1006427"/>
            <a:ext cx="8191273" cy="3686224"/>
          </a:xfrm>
        </p:spPr>
        <p:txBody>
          <a:bodyPr/>
          <a:lstStyle>
            <a:lvl1pPr marL="0" indent="0" algn="l">
              <a:buNone/>
              <a:defRPr sz="3600">
                <a:solidFill>
                  <a:schemeClr val="bg1"/>
                </a:solidFill>
              </a:defRPr>
            </a:lvl1pPr>
            <a:lvl2pPr marL="403225" indent="0" algn="l">
              <a:buNone/>
              <a:defRPr sz="3600">
                <a:solidFill>
                  <a:schemeClr val="bg1"/>
                </a:solidFill>
              </a:defRPr>
            </a:lvl2pPr>
            <a:lvl3pPr marL="747712" indent="0" algn="l">
              <a:buNone/>
              <a:defRPr sz="3600">
                <a:solidFill>
                  <a:schemeClr val="bg1"/>
                </a:solidFill>
              </a:defRPr>
            </a:lvl3pPr>
            <a:lvl4pPr marL="1089025" indent="0" algn="l">
              <a:buNone/>
              <a:defRPr sz="3600">
                <a:solidFill>
                  <a:schemeClr val="bg1"/>
                </a:solidFill>
              </a:defRPr>
            </a:lvl4pPr>
            <a:lvl5pPr marL="1427162" indent="0" algn="l">
              <a:buNone/>
              <a:defRPr sz="360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ext Placeholder 23"/>
          <p:cNvSpPr>
            <a:spLocks noGrp="1"/>
          </p:cNvSpPr>
          <p:nvPr>
            <p:ph type="body" sz="quarter" idx="14"/>
          </p:nvPr>
        </p:nvSpPr>
        <p:spPr>
          <a:xfrm>
            <a:off x="2357968" y="4944980"/>
            <a:ext cx="8191273" cy="1335504"/>
          </a:xfrm>
        </p:spPr>
        <p:txBody>
          <a:bodyPr/>
          <a:lstStyle>
            <a:lvl1pPr marL="0" indent="0" algn="l">
              <a:buNone/>
              <a:defRPr sz="2400">
                <a:solidFill>
                  <a:srgbClr val="00B3F0"/>
                </a:solidFill>
              </a:defRPr>
            </a:lvl1pPr>
            <a:lvl2pPr marL="403225" indent="0" algn="l">
              <a:buNone/>
              <a:defRPr sz="2400">
                <a:solidFill>
                  <a:srgbClr val="00B3F0"/>
                </a:solidFill>
              </a:defRPr>
            </a:lvl2pPr>
            <a:lvl3pPr marL="747712" indent="0" algn="l">
              <a:buNone/>
              <a:defRPr sz="2400">
                <a:solidFill>
                  <a:srgbClr val="00B3F0"/>
                </a:solidFill>
              </a:defRPr>
            </a:lvl3pPr>
            <a:lvl4pPr marL="1089025" indent="0" algn="l">
              <a:buNone/>
              <a:defRPr sz="2400">
                <a:solidFill>
                  <a:srgbClr val="00B3F0"/>
                </a:solidFill>
              </a:defRPr>
            </a:lvl4pPr>
            <a:lvl5pPr marL="1427162" indent="0" algn="l">
              <a:buNone/>
              <a:defRPr sz="2400">
                <a:solidFill>
                  <a:srgbClr val="00B3F0"/>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09380541"/>
      </p:ext>
    </p:extLst>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showMasterSp="0" preserve="1" userDrawn="1">
  <p:cSld name="Divider 4">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6" y="1591"/>
          <a:ext cx="1953" cy="1587"/>
        </p:xfrm>
        <a:graphic>
          <a:graphicData uri="http://schemas.openxmlformats.org/presentationml/2006/ole">
            <mc:AlternateContent xmlns:mc="http://schemas.openxmlformats.org/markup-compatibility/2006">
              <mc:Choice xmlns:v="urn:schemas-microsoft-com:vml" Requires="v">
                <p:oleObj spid="_x0000_s2055938"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6" y="1591"/>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6" y="1188720"/>
            <a:ext cx="9115865" cy="649224"/>
          </a:xfrm>
        </p:spPr>
        <p:txBody>
          <a:bodyPr lIns="36576" tIns="45720" rIns="36576" bIns="45720">
            <a:noAutofit/>
          </a:bodyPr>
          <a:lstStyle>
            <a:lvl1pPr>
              <a:defRPr sz="3000" b="0" baseline="0">
                <a:solidFill>
                  <a:srgbClr val="73A600"/>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39" y="3968496"/>
            <a:ext cx="5818399" cy="320040"/>
          </a:xfrm>
        </p:spPr>
        <p:txBody>
          <a:bodyPr lIns="36576" tIns="45720" rIns="36576" bIns="45720">
            <a:noAutofit/>
          </a:bodyPr>
          <a:lstStyle>
            <a:lvl1pPr>
              <a:defRPr sz="1125" b="0">
                <a:solidFill>
                  <a:srgbClr val="AABA35"/>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39" y="4462272"/>
            <a:ext cx="5818399" cy="521208"/>
          </a:xfrm>
        </p:spPr>
        <p:txBody>
          <a:bodyPr lIns="36576" tIns="45720" rIns="36576" bIns="45720">
            <a:noAutofit/>
          </a:bodyPr>
          <a:lstStyle>
            <a:lvl1pPr>
              <a:defRPr sz="1050" b="0">
                <a:solidFill>
                  <a:srgbClr val="94B301"/>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4" y="6221394"/>
            <a:ext cx="12120517" cy="574391"/>
          </a:xfrm>
          <a:prstGeom prst="rect">
            <a:avLst/>
          </a:prstGeom>
          <a:ln w="12700">
            <a:miter lim="400000"/>
          </a:ln>
        </p:spPr>
      </p:pic>
      <p:grpSp>
        <p:nvGrpSpPr>
          <p:cNvPr id="21" name="Group 20"/>
          <p:cNvGrpSpPr/>
          <p:nvPr userDrawn="1"/>
        </p:nvGrpSpPr>
        <p:grpSpPr>
          <a:xfrm>
            <a:off x="215940" y="99934"/>
            <a:ext cx="1113675" cy="6105588"/>
            <a:chOff x="160238" y="154880"/>
            <a:chExt cx="1300907" cy="8777933"/>
          </a:xfrm>
        </p:grpSpPr>
        <p:sp>
          <p:nvSpPr>
            <p:cNvPr id="22" name="Rectangle"/>
            <p:cNvSpPr/>
            <p:nvPr userDrawn="1"/>
          </p:nvSpPr>
          <p:spPr>
            <a:xfrm>
              <a:off x="160238" y="8398371"/>
              <a:ext cx="1300907" cy="534442"/>
            </a:xfrm>
            <a:prstGeom prst="rect">
              <a:avLst/>
            </a:prstGeom>
            <a:solidFill>
              <a:srgbClr val="AABA36"/>
            </a:solidFill>
            <a:ln w="12700">
              <a:miter lim="400000"/>
            </a:ln>
          </p:spPr>
          <p:txBody>
            <a:bodyPr lIns="50800" tIns="50800" rIns="50800" bIns="50800" anchor="ctr"/>
            <a:lstStyle/>
            <a:p>
              <a:endParaRPr lang="en-US" sz="1350" dirty="0"/>
            </a:p>
          </p:txBody>
        </p:sp>
        <p:sp>
          <p:nvSpPr>
            <p:cNvPr id="23" name="Rectangle"/>
            <p:cNvSpPr/>
            <p:nvPr userDrawn="1"/>
          </p:nvSpPr>
          <p:spPr>
            <a:xfrm>
              <a:off x="160238" y="8183364"/>
              <a:ext cx="1300907" cy="215008"/>
            </a:xfrm>
            <a:prstGeom prst="rect">
              <a:avLst/>
            </a:prstGeom>
            <a:solidFill>
              <a:srgbClr val="CEDD01"/>
            </a:solidFill>
            <a:ln w="12700">
              <a:miter lim="400000"/>
            </a:ln>
          </p:spPr>
          <p:txBody>
            <a:bodyPr lIns="50800" tIns="50800" rIns="50800" bIns="50800" anchor="ctr"/>
            <a:lstStyle/>
            <a:p>
              <a:endParaRPr lang="en-US" sz="1350" dirty="0"/>
            </a:p>
          </p:txBody>
        </p:sp>
        <p:sp>
          <p:nvSpPr>
            <p:cNvPr id="24" name="Rectangle"/>
            <p:cNvSpPr/>
            <p:nvPr userDrawn="1"/>
          </p:nvSpPr>
          <p:spPr>
            <a:xfrm>
              <a:off x="160238" y="6195863"/>
              <a:ext cx="1300907" cy="1987502"/>
            </a:xfrm>
            <a:prstGeom prst="rect">
              <a:avLst/>
            </a:prstGeom>
            <a:solidFill>
              <a:srgbClr val="94B301"/>
            </a:solidFill>
            <a:ln w="12700">
              <a:miter lim="400000"/>
            </a:ln>
          </p:spPr>
          <p:txBody>
            <a:bodyPr lIns="50800" tIns="50800" rIns="50800" bIns="50800" anchor="ctr"/>
            <a:lstStyle/>
            <a:p>
              <a:endParaRPr lang="en-US" sz="1350" dirty="0"/>
            </a:p>
          </p:txBody>
        </p:sp>
        <p:sp>
          <p:nvSpPr>
            <p:cNvPr id="25" name="Rectangle"/>
            <p:cNvSpPr/>
            <p:nvPr userDrawn="1"/>
          </p:nvSpPr>
          <p:spPr>
            <a:xfrm>
              <a:off x="160238" y="5724425"/>
              <a:ext cx="1300907" cy="471439"/>
            </a:xfrm>
            <a:prstGeom prst="rect">
              <a:avLst/>
            </a:prstGeom>
            <a:solidFill>
              <a:srgbClr val="AABA36"/>
            </a:solidFill>
            <a:ln w="12700">
              <a:miter lim="400000"/>
            </a:ln>
          </p:spPr>
          <p:txBody>
            <a:bodyPr lIns="50800" tIns="50800" rIns="50800" bIns="50800" anchor="ctr"/>
            <a:lstStyle/>
            <a:p>
              <a:endParaRPr lang="en-US" sz="1350" dirty="0"/>
            </a:p>
          </p:txBody>
        </p:sp>
        <p:sp>
          <p:nvSpPr>
            <p:cNvPr id="26" name="Rectangle"/>
            <p:cNvSpPr/>
            <p:nvPr userDrawn="1"/>
          </p:nvSpPr>
          <p:spPr>
            <a:xfrm>
              <a:off x="160238" y="371177"/>
              <a:ext cx="1300907" cy="813396"/>
            </a:xfrm>
            <a:prstGeom prst="rect">
              <a:avLst/>
            </a:prstGeom>
            <a:solidFill>
              <a:srgbClr val="CEDD01"/>
            </a:solidFill>
            <a:ln w="12700">
              <a:miter lim="400000"/>
            </a:ln>
          </p:spPr>
          <p:txBody>
            <a:bodyPr lIns="50800" tIns="50800" rIns="50800" bIns="50800" anchor="ctr"/>
            <a:lstStyle/>
            <a:p>
              <a:endParaRPr lang="en-US" sz="1350" dirty="0"/>
            </a:p>
          </p:txBody>
        </p:sp>
        <p:sp>
          <p:nvSpPr>
            <p:cNvPr id="27" name="Rectangle"/>
            <p:cNvSpPr/>
            <p:nvPr userDrawn="1"/>
          </p:nvSpPr>
          <p:spPr>
            <a:xfrm>
              <a:off x="160238" y="1184572"/>
              <a:ext cx="1300907" cy="4539854"/>
            </a:xfrm>
            <a:prstGeom prst="rect">
              <a:avLst/>
            </a:prstGeom>
            <a:solidFill>
              <a:srgbClr val="73A600"/>
            </a:solidFill>
            <a:ln w="12700">
              <a:miter lim="400000"/>
            </a:ln>
          </p:spPr>
          <p:txBody>
            <a:bodyPr lIns="50800" tIns="50800" rIns="50800" bIns="50800" anchor="ctr"/>
            <a:lstStyle/>
            <a:p>
              <a:endParaRPr lang="en-US" sz="1350" dirty="0"/>
            </a:p>
          </p:txBody>
        </p:sp>
        <p:sp>
          <p:nvSpPr>
            <p:cNvPr id="28" name="Rectangle"/>
            <p:cNvSpPr/>
            <p:nvPr userDrawn="1"/>
          </p:nvSpPr>
          <p:spPr>
            <a:xfrm>
              <a:off x="160238" y="154880"/>
              <a:ext cx="1300907" cy="216298"/>
            </a:xfrm>
            <a:prstGeom prst="rect">
              <a:avLst/>
            </a:prstGeom>
            <a:solidFill>
              <a:srgbClr val="94B301"/>
            </a:solidFill>
            <a:ln w="12700">
              <a:miter lim="400000"/>
            </a:ln>
          </p:spPr>
          <p:txBody>
            <a:bodyPr lIns="50800" tIns="50800" rIns="50800" bIns="50800" anchor="ctr"/>
            <a:lstStyle/>
            <a:p>
              <a:endParaRPr lang="en-US" sz="1350" dirty="0"/>
            </a:p>
          </p:txBody>
        </p:sp>
      </p:grpSp>
    </p:spTree>
    <p:extLst>
      <p:ext uri="{BB962C8B-B14F-4D97-AF65-F5344CB8AC3E}">
        <p14:creationId xmlns:p14="http://schemas.microsoft.com/office/powerpoint/2010/main" val="4094990660"/>
      </p:ext>
    </p:extLst>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showMasterSp="0" preserve="1" userDrawn="1">
  <p:cSld name="Divider 5">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6" y="1591"/>
          <a:ext cx="1953" cy="1587"/>
        </p:xfrm>
        <a:graphic>
          <a:graphicData uri="http://schemas.openxmlformats.org/presentationml/2006/ole">
            <mc:AlternateContent xmlns:mc="http://schemas.openxmlformats.org/markup-compatibility/2006">
              <mc:Choice xmlns:v="urn:schemas-microsoft-com:vml" Requires="v">
                <p:oleObj spid="_x0000_s2056962"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6" y="1591"/>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6" y="1188720"/>
            <a:ext cx="9115865" cy="649224"/>
          </a:xfrm>
        </p:spPr>
        <p:txBody>
          <a:bodyPr lIns="36576" tIns="45720" rIns="36576" bIns="45720">
            <a:noAutofit/>
          </a:bodyPr>
          <a:lstStyle>
            <a:lvl1pPr>
              <a:defRPr sz="3000" b="0" baseline="0">
                <a:solidFill>
                  <a:srgbClr val="70147B"/>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39" y="3968496"/>
            <a:ext cx="5818399" cy="320040"/>
          </a:xfrm>
        </p:spPr>
        <p:txBody>
          <a:bodyPr lIns="36576" tIns="45720" rIns="36576" bIns="45720">
            <a:noAutofit/>
          </a:bodyPr>
          <a:lstStyle>
            <a:lvl1pPr>
              <a:defRPr sz="1125" b="0">
                <a:solidFill>
                  <a:srgbClr val="8B4093"/>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39" y="4462272"/>
            <a:ext cx="5818399" cy="521208"/>
          </a:xfrm>
        </p:spPr>
        <p:txBody>
          <a:bodyPr lIns="36576" tIns="45720" rIns="36576" bIns="45720">
            <a:noAutofit/>
          </a:bodyPr>
          <a:lstStyle>
            <a:lvl1pPr>
              <a:defRPr sz="1050" b="0">
                <a:solidFill>
                  <a:srgbClr val="63006C"/>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4" y="6221394"/>
            <a:ext cx="12120517" cy="574391"/>
          </a:xfrm>
          <a:prstGeom prst="rect">
            <a:avLst/>
          </a:prstGeom>
          <a:ln w="12700">
            <a:miter lim="400000"/>
          </a:ln>
        </p:spPr>
      </p:pic>
      <p:grpSp>
        <p:nvGrpSpPr>
          <p:cNvPr id="21" name="Group 20"/>
          <p:cNvGrpSpPr/>
          <p:nvPr userDrawn="1"/>
        </p:nvGrpSpPr>
        <p:grpSpPr>
          <a:xfrm>
            <a:off x="215939" y="99934"/>
            <a:ext cx="1113675" cy="6105588"/>
            <a:chOff x="1081465" y="114688"/>
            <a:chExt cx="1300907" cy="8777933"/>
          </a:xfrm>
        </p:grpSpPr>
        <p:sp>
          <p:nvSpPr>
            <p:cNvPr id="22" name="Rectangle"/>
            <p:cNvSpPr/>
            <p:nvPr userDrawn="1"/>
          </p:nvSpPr>
          <p:spPr>
            <a:xfrm>
              <a:off x="1081465" y="8358179"/>
              <a:ext cx="1300907" cy="534442"/>
            </a:xfrm>
            <a:prstGeom prst="rect">
              <a:avLst/>
            </a:prstGeom>
            <a:solidFill>
              <a:srgbClr val="8C4395"/>
            </a:solidFill>
            <a:ln w="12700">
              <a:miter lim="400000"/>
            </a:ln>
          </p:spPr>
          <p:txBody>
            <a:bodyPr lIns="50800" tIns="50800" rIns="50800" bIns="50800" anchor="ctr"/>
            <a:lstStyle/>
            <a:p>
              <a:endParaRPr lang="en-US" sz="1350" dirty="0"/>
            </a:p>
          </p:txBody>
        </p:sp>
        <p:sp>
          <p:nvSpPr>
            <p:cNvPr id="23" name="Rectangle"/>
            <p:cNvSpPr/>
            <p:nvPr userDrawn="1"/>
          </p:nvSpPr>
          <p:spPr>
            <a:xfrm>
              <a:off x="1081465" y="8143172"/>
              <a:ext cx="1300907" cy="215008"/>
            </a:xfrm>
            <a:prstGeom prst="rect">
              <a:avLst/>
            </a:prstGeom>
            <a:solidFill>
              <a:srgbClr val="A469AB"/>
            </a:solidFill>
            <a:ln w="12700">
              <a:miter lim="400000"/>
            </a:ln>
          </p:spPr>
          <p:txBody>
            <a:bodyPr lIns="50800" tIns="50800" rIns="50800" bIns="50800" anchor="ctr"/>
            <a:lstStyle/>
            <a:p>
              <a:endParaRPr lang="en-US" sz="1350" dirty="0"/>
            </a:p>
          </p:txBody>
        </p:sp>
        <p:sp>
          <p:nvSpPr>
            <p:cNvPr id="24" name="Rectangle"/>
            <p:cNvSpPr/>
            <p:nvPr userDrawn="1"/>
          </p:nvSpPr>
          <p:spPr>
            <a:xfrm>
              <a:off x="1081465" y="6155671"/>
              <a:ext cx="1300907" cy="1987502"/>
            </a:xfrm>
            <a:prstGeom prst="rect">
              <a:avLst/>
            </a:prstGeom>
            <a:solidFill>
              <a:srgbClr val="63006C"/>
            </a:solidFill>
            <a:ln w="12700">
              <a:miter lim="400000"/>
            </a:ln>
          </p:spPr>
          <p:txBody>
            <a:bodyPr lIns="50800" tIns="50800" rIns="50800" bIns="50800" anchor="ctr"/>
            <a:lstStyle/>
            <a:p>
              <a:endParaRPr lang="en-US" sz="1350" dirty="0"/>
            </a:p>
          </p:txBody>
        </p:sp>
        <p:sp>
          <p:nvSpPr>
            <p:cNvPr id="25" name="Rectangle"/>
            <p:cNvSpPr/>
            <p:nvPr userDrawn="1"/>
          </p:nvSpPr>
          <p:spPr>
            <a:xfrm>
              <a:off x="1081465" y="5684233"/>
              <a:ext cx="1300907" cy="471439"/>
            </a:xfrm>
            <a:prstGeom prst="rect">
              <a:avLst/>
            </a:prstGeom>
            <a:solidFill>
              <a:srgbClr val="8B4193"/>
            </a:solidFill>
            <a:ln w="12700">
              <a:miter lim="400000"/>
            </a:ln>
          </p:spPr>
          <p:txBody>
            <a:bodyPr lIns="50800" tIns="50800" rIns="50800" bIns="50800" anchor="ctr"/>
            <a:lstStyle/>
            <a:p>
              <a:endParaRPr lang="en-US" sz="1350" dirty="0"/>
            </a:p>
          </p:txBody>
        </p:sp>
        <p:sp>
          <p:nvSpPr>
            <p:cNvPr id="26" name="Rectangle"/>
            <p:cNvSpPr/>
            <p:nvPr userDrawn="1"/>
          </p:nvSpPr>
          <p:spPr>
            <a:xfrm>
              <a:off x="1081465" y="330985"/>
              <a:ext cx="1300907" cy="813396"/>
            </a:xfrm>
            <a:prstGeom prst="rect">
              <a:avLst/>
            </a:prstGeom>
            <a:solidFill>
              <a:srgbClr val="8C4395"/>
            </a:solidFill>
            <a:ln w="12700">
              <a:miter lim="400000"/>
            </a:ln>
          </p:spPr>
          <p:txBody>
            <a:bodyPr lIns="50800" tIns="50800" rIns="50800" bIns="50800" anchor="ctr"/>
            <a:lstStyle/>
            <a:p>
              <a:endParaRPr lang="en-US" sz="1350" dirty="0"/>
            </a:p>
          </p:txBody>
        </p:sp>
        <p:sp>
          <p:nvSpPr>
            <p:cNvPr id="27" name="Rectangle"/>
            <p:cNvSpPr/>
            <p:nvPr userDrawn="1"/>
          </p:nvSpPr>
          <p:spPr>
            <a:xfrm>
              <a:off x="1081465" y="1144380"/>
              <a:ext cx="1300907" cy="4539854"/>
            </a:xfrm>
            <a:prstGeom prst="rect">
              <a:avLst/>
            </a:prstGeom>
            <a:solidFill>
              <a:srgbClr val="70147B"/>
            </a:solidFill>
            <a:ln w="12700">
              <a:miter lim="400000"/>
            </a:ln>
          </p:spPr>
          <p:txBody>
            <a:bodyPr lIns="50800" tIns="50800" rIns="50800" bIns="50800" anchor="ctr"/>
            <a:lstStyle/>
            <a:p>
              <a:endParaRPr lang="en-US" sz="1350" dirty="0"/>
            </a:p>
          </p:txBody>
        </p:sp>
        <p:sp>
          <p:nvSpPr>
            <p:cNvPr id="28" name="Rectangle"/>
            <p:cNvSpPr/>
            <p:nvPr userDrawn="1"/>
          </p:nvSpPr>
          <p:spPr>
            <a:xfrm>
              <a:off x="1081465" y="114688"/>
              <a:ext cx="1300907" cy="216298"/>
            </a:xfrm>
            <a:prstGeom prst="rect">
              <a:avLst/>
            </a:prstGeom>
            <a:solidFill>
              <a:srgbClr val="70147B"/>
            </a:solidFill>
            <a:ln w="12700">
              <a:miter lim="400000"/>
            </a:ln>
          </p:spPr>
          <p:txBody>
            <a:bodyPr lIns="50800" tIns="50800" rIns="50800" bIns="50800" anchor="ctr"/>
            <a:lstStyle/>
            <a:p>
              <a:endParaRPr lang="en-US" sz="1350" dirty="0"/>
            </a:p>
          </p:txBody>
        </p:sp>
      </p:grpSp>
    </p:spTree>
    <p:extLst>
      <p:ext uri="{BB962C8B-B14F-4D97-AF65-F5344CB8AC3E}">
        <p14:creationId xmlns:p14="http://schemas.microsoft.com/office/powerpoint/2010/main" val="2342940070"/>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showMasterSp="0" preserve="1" userDrawn="1">
  <p:cSld name="Divider 6">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6" y="1591"/>
          <a:ext cx="1953" cy="1587"/>
        </p:xfrm>
        <a:graphic>
          <a:graphicData uri="http://schemas.openxmlformats.org/presentationml/2006/ole">
            <mc:AlternateContent xmlns:mc="http://schemas.openxmlformats.org/markup-compatibility/2006">
              <mc:Choice xmlns:v="urn:schemas-microsoft-com:vml" Requires="v">
                <p:oleObj spid="_x0000_s2057986"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6" y="1591"/>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6" y="1188720"/>
            <a:ext cx="9115865" cy="649224"/>
          </a:xfrm>
        </p:spPr>
        <p:txBody>
          <a:bodyPr lIns="36576" tIns="45720" rIns="36576" bIns="45720">
            <a:noAutofit/>
          </a:bodyPr>
          <a:lstStyle>
            <a:lvl1pPr>
              <a:defRPr sz="3000" b="0" baseline="0">
                <a:solidFill>
                  <a:srgbClr val="016AA1"/>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39" y="3968496"/>
            <a:ext cx="5818399" cy="320040"/>
          </a:xfrm>
        </p:spPr>
        <p:txBody>
          <a:bodyPr lIns="36576" tIns="45720" rIns="36576" bIns="45720">
            <a:noAutofit/>
          </a:bodyPr>
          <a:lstStyle>
            <a:lvl1pPr>
              <a:defRPr sz="1125" b="0">
                <a:solidFill>
                  <a:srgbClr val="104D6A"/>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39" y="4462272"/>
            <a:ext cx="5818399" cy="521208"/>
          </a:xfrm>
        </p:spPr>
        <p:txBody>
          <a:bodyPr lIns="36576" tIns="45720" rIns="36576" bIns="45720">
            <a:noAutofit/>
          </a:bodyPr>
          <a:lstStyle>
            <a:lvl1pPr>
              <a:defRPr sz="1050" b="0">
                <a:solidFill>
                  <a:srgbClr val="2591C0"/>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4" y="6221394"/>
            <a:ext cx="12120517" cy="574391"/>
          </a:xfrm>
          <a:prstGeom prst="rect">
            <a:avLst/>
          </a:prstGeom>
          <a:ln w="12700">
            <a:miter lim="400000"/>
          </a:ln>
        </p:spPr>
      </p:pic>
      <p:grpSp>
        <p:nvGrpSpPr>
          <p:cNvPr id="21" name="Group 20"/>
          <p:cNvGrpSpPr/>
          <p:nvPr userDrawn="1"/>
        </p:nvGrpSpPr>
        <p:grpSpPr>
          <a:xfrm>
            <a:off x="209181" y="98854"/>
            <a:ext cx="1111927" cy="6096000"/>
            <a:chOff x="160238" y="154880"/>
            <a:chExt cx="1300907" cy="8777933"/>
          </a:xfrm>
        </p:grpSpPr>
        <p:sp>
          <p:nvSpPr>
            <p:cNvPr id="22" name="Rectangle"/>
            <p:cNvSpPr/>
            <p:nvPr userDrawn="1"/>
          </p:nvSpPr>
          <p:spPr>
            <a:xfrm>
              <a:off x="160238" y="8398371"/>
              <a:ext cx="1300907" cy="534442"/>
            </a:xfrm>
            <a:prstGeom prst="rect">
              <a:avLst/>
            </a:prstGeom>
            <a:solidFill>
              <a:srgbClr val="85CDD9"/>
            </a:solidFill>
            <a:ln w="12700">
              <a:miter lim="400000"/>
            </a:ln>
          </p:spPr>
          <p:txBody>
            <a:bodyPr lIns="50800" tIns="50800" rIns="50800" bIns="50800" anchor="ctr"/>
            <a:lstStyle/>
            <a:p>
              <a:endParaRPr lang="en-US" sz="1350" dirty="0"/>
            </a:p>
          </p:txBody>
        </p:sp>
        <p:sp>
          <p:nvSpPr>
            <p:cNvPr id="23" name="Rectangle"/>
            <p:cNvSpPr/>
            <p:nvPr userDrawn="1"/>
          </p:nvSpPr>
          <p:spPr>
            <a:xfrm>
              <a:off x="160238" y="8183364"/>
              <a:ext cx="1300907" cy="215008"/>
            </a:xfrm>
            <a:prstGeom prst="rect">
              <a:avLst/>
            </a:prstGeom>
            <a:solidFill>
              <a:srgbClr val="4D89AD"/>
            </a:solidFill>
            <a:ln w="12700">
              <a:miter lim="400000"/>
            </a:ln>
          </p:spPr>
          <p:txBody>
            <a:bodyPr lIns="50800" tIns="50800" rIns="50800" bIns="50800" anchor="ctr"/>
            <a:lstStyle/>
            <a:p>
              <a:endParaRPr lang="en-US" sz="1350" dirty="0"/>
            </a:p>
          </p:txBody>
        </p:sp>
        <p:sp>
          <p:nvSpPr>
            <p:cNvPr id="24" name="Rectangle"/>
            <p:cNvSpPr/>
            <p:nvPr userDrawn="1"/>
          </p:nvSpPr>
          <p:spPr>
            <a:xfrm>
              <a:off x="160238" y="6195863"/>
              <a:ext cx="1300907" cy="1987502"/>
            </a:xfrm>
            <a:prstGeom prst="rect">
              <a:avLst/>
            </a:prstGeom>
            <a:solidFill>
              <a:srgbClr val="2591C0"/>
            </a:solidFill>
            <a:ln w="12700">
              <a:miter lim="400000"/>
            </a:ln>
          </p:spPr>
          <p:txBody>
            <a:bodyPr lIns="50800" tIns="50800" rIns="50800" bIns="50800" anchor="ctr"/>
            <a:lstStyle/>
            <a:p>
              <a:endParaRPr lang="en-US" sz="1350" dirty="0"/>
            </a:p>
          </p:txBody>
        </p:sp>
        <p:sp>
          <p:nvSpPr>
            <p:cNvPr id="25" name="Rectangle"/>
            <p:cNvSpPr/>
            <p:nvPr userDrawn="1"/>
          </p:nvSpPr>
          <p:spPr>
            <a:xfrm>
              <a:off x="160238" y="5724425"/>
              <a:ext cx="1300907" cy="471439"/>
            </a:xfrm>
            <a:prstGeom prst="rect">
              <a:avLst/>
            </a:prstGeom>
            <a:solidFill>
              <a:srgbClr val="104D6A"/>
            </a:solidFill>
            <a:ln w="12700">
              <a:miter lim="400000"/>
            </a:ln>
          </p:spPr>
          <p:txBody>
            <a:bodyPr lIns="50800" tIns="50800" rIns="50800" bIns="50800" anchor="ctr"/>
            <a:lstStyle/>
            <a:p>
              <a:endParaRPr lang="en-US" sz="1350" dirty="0"/>
            </a:p>
          </p:txBody>
        </p:sp>
        <p:sp>
          <p:nvSpPr>
            <p:cNvPr id="26" name="Rectangle"/>
            <p:cNvSpPr/>
            <p:nvPr userDrawn="1"/>
          </p:nvSpPr>
          <p:spPr>
            <a:xfrm>
              <a:off x="160238" y="371177"/>
              <a:ext cx="1300907" cy="813396"/>
            </a:xfrm>
            <a:prstGeom prst="rect">
              <a:avLst/>
            </a:prstGeom>
            <a:solidFill>
              <a:srgbClr val="095B88"/>
            </a:solidFill>
            <a:ln w="12700">
              <a:miter lim="400000"/>
            </a:ln>
          </p:spPr>
          <p:txBody>
            <a:bodyPr lIns="50800" tIns="50800" rIns="50800" bIns="50800" anchor="ctr"/>
            <a:lstStyle/>
            <a:p>
              <a:endParaRPr lang="en-US" sz="1350" dirty="0"/>
            </a:p>
          </p:txBody>
        </p:sp>
        <p:sp>
          <p:nvSpPr>
            <p:cNvPr id="27" name="Rectangle"/>
            <p:cNvSpPr/>
            <p:nvPr userDrawn="1"/>
          </p:nvSpPr>
          <p:spPr>
            <a:xfrm>
              <a:off x="160238" y="1184572"/>
              <a:ext cx="1300907" cy="4539854"/>
            </a:xfrm>
            <a:prstGeom prst="rect">
              <a:avLst/>
            </a:prstGeom>
            <a:solidFill>
              <a:srgbClr val="016AA1"/>
            </a:solidFill>
            <a:ln w="12700">
              <a:miter lim="400000"/>
            </a:ln>
          </p:spPr>
          <p:txBody>
            <a:bodyPr lIns="50800" tIns="50800" rIns="50800" bIns="50800" anchor="ctr"/>
            <a:lstStyle/>
            <a:p>
              <a:endParaRPr lang="en-US" sz="1350" dirty="0"/>
            </a:p>
          </p:txBody>
        </p:sp>
        <p:sp>
          <p:nvSpPr>
            <p:cNvPr id="28" name="Rectangle"/>
            <p:cNvSpPr/>
            <p:nvPr userDrawn="1"/>
          </p:nvSpPr>
          <p:spPr>
            <a:xfrm>
              <a:off x="160238" y="154880"/>
              <a:ext cx="1300907" cy="216298"/>
            </a:xfrm>
            <a:prstGeom prst="rect">
              <a:avLst/>
            </a:prstGeom>
            <a:solidFill>
              <a:srgbClr val="85CDD9"/>
            </a:solidFill>
            <a:ln w="12700">
              <a:miter lim="400000"/>
            </a:ln>
          </p:spPr>
          <p:txBody>
            <a:bodyPr lIns="50800" tIns="50800" rIns="50800" bIns="50800" anchor="ctr"/>
            <a:lstStyle/>
            <a:p>
              <a:endParaRPr lang="en-US" sz="1350" dirty="0"/>
            </a:p>
          </p:txBody>
        </p:sp>
      </p:grpSp>
    </p:spTree>
    <p:extLst>
      <p:ext uri="{BB962C8B-B14F-4D97-AF65-F5344CB8AC3E}">
        <p14:creationId xmlns:p14="http://schemas.microsoft.com/office/powerpoint/2010/main" val="2370017888"/>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956" y="1591"/>
          <a:ext cx="1953" cy="1587"/>
        </p:xfrm>
        <a:graphic>
          <a:graphicData uri="http://schemas.openxmlformats.org/presentationml/2006/ole">
            <mc:AlternateContent xmlns:mc="http://schemas.openxmlformats.org/markup-compatibility/2006">
              <mc:Choice xmlns:v="urn:schemas-microsoft-com:vml" Requires="v">
                <p:oleObj spid="_x0000_s2059010"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6" y="1591"/>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562709" y="162000"/>
            <a:ext cx="11068060" cy="704087"/>
          </a:xfrm>
        </p:spPr>
        <p:txBody>
          <a:bodyPr anchor="t"/>
          <a:lstStyle>
            <a:lvl1pPr>
              <a:defRPr>
                <a:latin typeface="Arial"/>
                <a:sym typeface="Arial"/>
              </a:defRPr>
            </a:lvl1pPr>
          </a:lstStyle>
          <a:p>
            <a:endParaRPr lang="en-US" dirty="0"/>
          </a:p>
        </p:txBody>
      </p:sp>
      <p:sp>
        <p:nvSpPr>
          <p:cNvPr id="4" name="Text Placeholder 3"/>
          <p:cNvSpPr>
            <a:spLocks noGrp="1"/>
          </p:cNvSpPr>
          <p:nvPr>
            <p:ph type="body" sz="quarter" idx="10"/>
          </p:nvPr>
        </p:nvSpPr>
        <p:spPr>
          <a:xfrm>
            <a:off x="562709" y="1508760"/>
            <a:ext cx="11068060" cy="3997304"/>
          </a:xfrm>
        </p:spPr>
        <p:txBody>
          <a:bodyPr lIns="0" tIns="0" rIns="0" bIns="0"/>
          <a:lstStyle>
            <a:lvl1pPr>
              <a:spcBef>
                <a:spcPts val="288"/>
              </a:spcBef>
              <a:defRPr>
                <a:latin typeface="Arial"/>
                <a:sym typeface="Arial"/>
              </a:defRPr>
            </a:lvl1pPr>
            <a:lvl2pPr marL="342900" indent="-172800">
              <a:spcBef>
                <a:spcPts val="288"/>
              </a:spcBef>
              <a:defRPr>
                <a:latin typeface="Arial"/>
                <a:sym typeface="Arial"/>
              </a:defRPr>
            </a:lvl2pPr>
            <a:lvl3pPr marL="685800" indent="-172800">
              <a:spcBef>
                <a:spcPts val="288"/>
              </a:spcBef>
              <a:defRPr>
                <a:latin typeface="Arial"/>
                <a:sym typeface="Arial"/>
              </a:defRPr>
            </a:lvl3pPr>
            <a:lvl4pPr marL="1031400" indent="-175500">
              <a:spcBef>
                <a:spcPts val="288"/>
              </a:spcBef>
              <a:defRPr>
                <a:latin typeface="Arial"/>
                <a:sym typeface="Arial"/>
              </a:defRPr>
            </a:lvl4pPr>
            <a:lvl5pPr marL="1544400" indent="-172800">
              <a:spcBef>
                <a:spcPts val="288"/>
              </a:spcBef>
              <a:defRPr>
                <a:latin typeface="Arial"/>
                <a:sym typeface="Aria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6"/>
          <p:cNvSpPr>
            <a:spLocks noGrp="1"/>
          </p:cNvSpPr>
          <p:nvPr>
            <p:ph type="body" sz="quarter" idx="11"/>
          </p:nvPr>
        </p:nvSpPr>
        <p:spPr>
          <a:xfrm>
            <a:off x="562709" y="863601"/>
            <a:ext cx="11068060" cy="320359"/>
          </a:xfrm>
        </p:spPr>
        <p:txBody>
          <a:bodyPr anchor="t">
            <a:normAutofit/>
          </a:bodyPr>
          <a:lstStyle>
            <a:lvl1pPr>
              <a:defRPr sz="1125" b="0">
                <a:solidFill>
                  <a:srgbClr val="73C4EF"/>
                </a:solidFill>
              </a:defRPr>
            </a:lvl1pPr>
          </a:lstStyle>
          <a:p>
            <a:pPr lvl="0"/>
            <a:endParaRPr lang="en-US" dirty="0"/>
          </a:p>
        </p:txBody>
      </p:sp>
    </p:spTree>
    <p:extLst>
      <p:ext uri="{BB962C8B-B14F-4D97-AF65-F5344CB8AC3E}">
        <p14:creationId xmlns:p14="http://schemas.microsoft.com/office/powerpoint/2010/main" val="2756539203"/>
      </p:ext>
    </p:extLst>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Text with bullets">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1956" y="1591"/>
          <a:ext cx="1953" cy="1587"/>
        </p:xfrm>
        <a:graphic>
          <a:graphicData uri="http://schemas.openxmlformats.org/presentationml/2006/ole">
            <mc:AlternateContent xmlns:mc="http://schemas.openxmlformats.org/markup-compatibility/2006">
              <mc:Choice xmlns:v="urn:schemas-microsoft-com:vml" Requires="v">
                <p:oleObj spid="_x0000_s2060034" name="think-cell Slide" r:id="rId4" imgW="270" imgH="270" progId="TCLayout.ActiveDocument.1">
                  <p:embed/>
                </p:oleObj>
              </mc:Choice>
              <mc:Fallback>
                <p:oleObj name="think-cell Slide" r:id="rId4" imgW="270" imgH="270" progId="TCLayout.ActiveDocument.1">
                  <p:embed/>
                  <p:pic>
                    <p:nvPicPr>
                      <p:cNvPr id="6" name="Object 5"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6" y="1591"/>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ext Placeholder 7"/>
          <p:cNvSpPr>
            <a:spLocks noGrp="1"/>
          </p:cNvSpPr>
          <p:nvPr userDrawn="1">
            <p:ph type="body" sz="quarter" idx="13"/>
          </p:nvPr>
        </p:nvSpPr>
        <p:spPr>
          <a:xfrm>
            <a:off x="562709" y="1508400"/>
            <a:ext cx="11068060" cy="3997304"/>
          </a:xfrm>
          <a:prstGeom prst="rect">
            <a:avLst/>
          </a:prstGeom>
        </p:spPr>
        <p:txBody>
          <a:bodyPr lIns="0" tIns="0" rIns="0" bIns="0"/>
          <a:lstStyle>
            <a:lvl1pPr marL="129600" indent="-129600">
              <a:spcBef>
                <a:spcPts val="288"/>
              </a:spcBef>
              <a:buClr>
                <a:srgbClr val="002D72"/>
              </a:buClr>
              <a:buFont typeface="Arial" pitchFamily="34" charset="0"/>
              <a:buChar char="•"/>
              <a:tabLst/>
              <a:defRPr b="0">
                <a:latin typeface="Arial"/>
                <a:sym typeface="Arial"/>
              </a:defRPr>
            </a:lvl1pPr>
            <a:lvl2pPr marL="472500" indent="-172800">
              <a:spcBef>
                <a:spcPts val="288"/>
              </a:spcBef>
              <a:buFont typeface="Arial" pitchFamily="34" charset="0"/>
              <a:buChar char="–"/>
              <a:defRPr>
                <a:latin typeface="Arial"/>
                <a:sym typeface="Arial"/>
              </a:defRPr>
            </a:lvl2pPr>
            <a:lvl3pPr marL="807300" indent="-172800">
              <a:spcBef>
                <a:spcPts val="288"/>
              </a:spcBef>
              <a:defRPr>
                <a:latin typeface="Arial"/>
                <a:sym typeface="Arial"/>
              </a:defRPr>
            </a:lvl3pPr>
            <a:lvl4pPr marL="1158300" indent="-172800">
              <a:spcBef>
                <a:spcPts val="288"/>
              </a:spcBef>
              <a:defRPr>
                <a:latin typeface="Arial"/>
                <a:sym typeface="Arial"/>
              </a:defRPr>
            </a:lvl4pPr>
            <a:lvl5pPr marL="1544400" indent="-172800">
              <a:spcBef>
                <a:spcPts val="288"/>
              </a:spcBef>
              <a:defRPr>
                <a:latin typeface="Arial"/>
                <a:sym typeface="Aria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itle 1"/>
          <p:cNvSpPr>
            <a:spLocks noGrp="1"/>
          </p:cNvSpPr>
          <p:nvPr>
            <p:ph type="title"/>
          </p:nvPr>
        </p:nvSpPr>
        <p:spPr>
          <a:xfrm>
            <a:off x="562709" y="162000"/>
            <a:ext cx="11068060" cy="704087"/>
          </a:xfrm>
        </p:spPr>
        <p:txBody>
          <a:bodyPr anchor="t"/>
          <a:lstStyle>
            <a:lvl1pPr>
              <a:defRPr>
                <a:latin typeface="Arial"/>
                <a:sym typeface="Arial"/>
              </a:defRPr>
            </a:lvl1pPr>
          </a:lstStyle>
          <a:p>
            <a:endParaRPr lang="en-US" dirty="0"/>
          </a:p>
        </p:txBody>
      </p:sp>
      <p:sp>
        <p:nvSpPr>
          <p:cNvPr id="8" name="Text Placeholder 6"/>
          <p:cNvSpPr>
            <a:spLocks noGrp="1"/>
          </p:cNvSpPr>
          <p:nvPr>
            <p:ph type="body" sz="quarter" idx="11"/>
          </p:nvPr>
        </p:nvSpPr>
        <p:spPr>
          <a:xfrm>
            <a:off x="562709" y="863601"/>
            <a:ext cx="11068060" cy="320359"/>
          </a:xfrm>
        </p:spPr>
        <p:txBody>
          <a:bodyPr anchor="t">
            <a:normAutofit/>
          </a:bodyPr>
          <a:lstStyle>
            <a:lvl1pPr>
              <a:defRPr sz="1125" b="0">
                <a:solidFill>
                  <a:srgbClr val="73C4EF"/>
                </a:solidFill>
              </a:defRPr>
            </a:lvl1pPr>
          </a:lstStyle>
          <a:p>
            <a:pPr lvl="0"/>
            <a:endParaRPr lang="en-US" dirty="0"/>
          </a:p>
        </p:txBody>
      </p:sp>
    </p:spTree>
    <p:extLst>
      <p:ext uri="{BB962C8B-B14F-4D97-AF65-F5344CB8AC3E}">
        <p14:creationId xmlns:p14="http://schemas.microsoft.com/office/powerpoint/2010/main" val="6086838"/>
      </p:ext>
    </p:extLst>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956" y="1591"/>
          <a:ext cx="1953" cy="1587"/>
        </p:xfrm>
        <a:graphic>
          <a:graphicData uri="http://schemas.openxmlformats.org/presentationml/2006/ole">
            <mc:AlternateContent xmlns:mc="http://schemas.openxmlformats.org/markup-compatibility/2006">
              <mc:Choice xmlns:v="urn:schemas-microsoft-com:vml" Requires="v">
                <p:oleObj spid="_x0000_s2061058" name="think-cell Slide" r:id="rId4" imgW="270" imgH="270" progId="TCLayout.ActiveDocument.1">
                  <p:embed/>
                </p:oleObj>
              </mc:Choice>
              <mc:Fallback>
                <p:oleObj name="think-cell Slide" r:id="rId4" imgW="270" imgH="270" progId="TCLayout.ActiveDocument.1">
                  <p:embed/>
                  <p:pic>
                    <p:nvPicPr>
                      <p:cNvPr id="7" name="Object 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6" y="1591"/>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le 1"/>
          <p:cNvSpPr>
            <a:spLocks noGrp="1"/>
          </p:cNvSpPr>
          <p:nvPr>
            <p:ph type="title"/>
          </p:nvPr>
        </p:nvSpPr>
        <p:spPr>
          <a:xfrm>
            <a:off x="562709" y="162000"/>
            <a:ext cx="11068060" cy="704087"/>
          </a:xfrm>
        </p:spPr>
        <p:txBody>
          <a:bodyPr anchor="t"/>
          <a:lstStyle>
            <a:lvl1pPr>
              <a:defRPr>
                <a:latin typeface="Arial"/>
                <a:sym typeface="Arial"/>
              </a:defRPr>
            </a:lvl1pPr>
          </a:lstStyle>
          <a:p>
            <a:endParaRPr lang="en-US" dirty="0"/>
          </a:p>
        </p:txBody>
      </p:sp>
      <p:sp>
        <p:nvSpPr>
          <p:cNvPr id="6" name="Text Placeholder 6"/>
          <p:cNvSpPr>
            <a:spLocks noGrp="1"/>
          </p:cNvSpPr>
          <p:nvPr>
            <p:ph type="body" sz="quarter" idx="11"/>
          </p:nvPr>
        </p:nvSpPr>
        <p:spPr>
          <a:xfrm>
            <a:off x="562709" y="863601"/>
            <a:ext cx="11068060" cy="320359"/>
          </a:xfrm>
        </p:spPr>
        <p:txBody>
          <a:bodyPr anchor="t">
            <a:normAutofit/>
          </a:bodyPr>
          <a:lstStyle>
            <a:lvl1pPr>
              <a:defRPr sz="1125" b="0">
                <a:solidFill>
                  <a:srgbClr val="73C4EF"/>
                </a:solidFill>
              </a:defRPr>
            </a:lvl1pPr>
          </a:lstStyle>
          <a:p>
            <a:pPr lvl="0"/>
            <a:endParaRPr lang="en-US" dirty="0"/>
          </a:p>
        </p:txBody>
      </p:sp>
    </p:spTree>
    <p:extLst>
      <p:ext uri="{BB962C8B-B14F-4D97-AF65-F5344CB8AC3E}">
        <p14:creationId xmlns:p14="http://schemas.microsoft.com/office/powerpoint/2010/main" val="16875984"/>
      </p:ext>
    </p:extLst>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1956" y="1591"/>
          <a:ext cx="1953" cy="1587"/>
        </p:xfrm>
        <a:graphic>
          <a:graphicData uri="http://schemas.openxmlformats.org/presentationml/2006/ole">
            <mc:AlternateContent xmlns:mc="http://schemas.openxmlformats.org/markup-compatibility/2006">
              <mc:Choice xmlns:v="urn:schemas-microsoft-com:vml" Requires="v">
                <p:oleObj spid="_x0000_s2062082" name="think-cell Slide" r:id="rId4" imgW="270" imgH="270" progId="TCLayout.ActiveDocument.1">
                  <p:embed/>
                </p:oleObj>
              </mc:Choice>
              <mc:Fallback>
                <p:oleObj name="think-cell Slide" r:id="rId4" imgW="270" imgH="270" progId="TCLayout.ActiveDocument.1">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6" y="1591"/>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4068493516"/>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userDrawn="1">
  <p:cSld name="2_Title Only">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2"/>
          <a:ext cx="1587" cy="1587"/>
        </p:xfrm>
        <a:graphic>
          <a:graphicData uri="http://schemas.openxmlformats.org/presentationml/2006/ole">
            <mc:AlternateContent xmlns:mc="http://schemas.openxmlformats.org/markup-compatibility/2006">
              <mc:Choice xmlns:v="urn:schemas-microsoft-com:vml" Requires="v">
                <p:oleObj spid="_x0000_s2063106"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2"/>
                        <a:ext cx="1587" cy="1587"/>
                      </a:xfrm>
                      <a:prstGeom prst="rect">
                        <a:avLst/>
                      </a:prstGeom>
                    </p:spPr>
                  </p:pic>
                </p:oleObj>
              </mc:Fallback>
            </mc:AlternateContent>
          </a:graphicData>
        </a:graphic>
      </p:graphicFrame>
      <p:sp>
        <p:nvSpPr>
          <p:cNvPr id="3" name="Date Placeholder 2"/>
          <p:cNvSpPr>
            <a:spLocks noGrp="1"/>
          </p:cNvSpPr>
          <p:nvPr>
            <p:ph type="dt" sz="half" idx="10"/>
          </p:nvPr>
        </p:nvSpPr>
        <p:spPr>
          <a:xfrm>
            <a:off x="9677401"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7" name="Copyright" hidden="1"/>
          <p:cNvSpPr txBox="1"/>
          <p:nvPr userDrawn="1"/>
        </p:nvSpPr>
        <p:spPr>
          <a:xfrm rot="16200000">
            <a:off x="9486903" y="3941382"/>
            <a:ext cx="5133975" cy="59183"/>
          </a:xfrm>
          <a:prstGeom prst="rect">
            <a:avLst/>
          </a:prstGeom>
          <a:noFill/>
        </p:spPr>
        <p:txBody>
          <a:bodyPr wrap="square" lIns="0" tIns="0" rIns="0" bIns="0" rtlCol="0" anchor="t">
            <a:spAutoFit/>
          </a:bodyPr>
          <a:lstStyle/>
          <a:p>
            <a:pPr>
              <a:lnSpc>
                <a:spcPct val="90000"/>
              </a:lnSpc>
              <a:spcAft>
                <a:spcPts val="366"/>
              </a:spcAft>
            </a:pPr>
            <a:r>
              <a:rPr lang="en-US" sz="427"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6" name="FooterSimple" hidden="1"/>
          <p:cNvSpPr txBox="1"/>
          <p:nvPr userDrawn="1">
            <p:custDataLst>
              <p:tags r:id="rId3"/>
            </p:custDataLst>
          </p:nvPr>
        </p:nvSpPr>
        <p:spPr>
          <a:xfrm rot="16200000">
            <a:off x="10561321" y="5136770"/>
            <a:ext cx="2743200" cy="59183"/>
          </a:xfrm>
          <a:prstGeom prst="rect">
            <a:avLst/>
          </a:prstGeom>
          <a:noFill/>
        </p:spPr>
        <p:txBody>
          <a:bodyPr wrap="square" lIns="0" tIns="0" rIns="0" bIns="0" rtlCol="0" anchor="b">
            <a:spAutoFit/>
          </a:bodyPr>
          <a:lstStyle/>
          <a:p>
            <a:pPr>
              <a:lnSpc>
                <a:spcPct val="90000"/>
              </a:lnSpc>
              <a:spcAft>
                <a:spcPts val="366"/>
              </a:spcAft>
            </a:pPr>
            <a:r>
              <a:rPr lang="fr-FR" sz="427">
                <a:solidFill>
                  <a:schemeClr val="bg1">
                    <a:lumMod val="50000"/>
                  </a:schemeClr>
                </a:solidFill>
                <a:latin typeface="+mn-lt"/>
                <a:sym typeface="Trebuchet MS" panose="020B0603020202020204" pitchFamily="34" charset="0"/>
              </a:rPr>
              <a:t>20171204 - MX2020 KPI Structure v4.pptx</a:t>
            </a:r>
            <a:endParaRPr lang="en-US" sz="427" dirty="0">
              <a:solidFill>
                <a:schemeClr val="bg1">
                  <a:lumMod val="50000"/>
                </a:schemeClr>
              </a:solidFill>
              <a:latin typeface="+mn-lt"/>
              <a:sym typeface="Trebuchet MS" panose="020B0603020202020204" pitchFamily="34" charset="0"/>
            </a:endParaRPr>
          </a:p>
        </p:txBody>
      </p:sp>
      <p:sp>
        <p:nvSpPr>
          <p:cNvPr id="5" name="Title 4"/>
          <p:cNvSpPr>
            <a:spLocks noGrp="1"/>
          </p:cNvSpPr>
          <p:nvPr>
            <p:ph type="title" hasCustomPrompt="1"/>
          </p:nvPr>
        </p:nvSpPr>
        <p:spPr>
          <a:xfrm>
            <a:off x="630001" y="622802"/>
            <a:ext cx="10933200" cy="287002"/>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2072" b="0" i="0" u="none" kern="1200" spc="0">
                <a:solidFill>
                  <a:srgbClr val="4472C4"/>
                </a:solidFill>
                <a:latin typeface="+mj-lt"/>
                <a:sym typeface="Trebuchet MS" panose="020B0603020202020204" pitchFamily="34" charset="0"/>
              </a:defRPr>
            </a:lvl1pPr>
          </a:lstStyle>
          <a:p>
            <a:pPr lvl="0"/>
            <a:r>
              <a:rPr lang="en-US" dirty="0"/>
              <a:t>Click to add title</a:t>
            </a:r>
          </a:p>
        </p:txBody>
      </p:sp>
      <p:pic>
        <p:nvPicPr>
          <p:cNvPr id="54" name="Picture 53"/>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0688845" y="6661003"/>
            <a:ext cx="874355" cy="141242"/>
          </a:xfrm>
          <a:prstGeom prst="rect">
            <a:avLst/>
          </a:prstGeom>
        </p:spPr>
      </p:pic>
      <p:pic>
        <p:nvPicPr>
          <p:cNvPr id="101" name="pasted-image.pdf" descr="pasted-image.pdf"/>
          <p:cNvPicPr>
            <a:picLocks noChangeAspect="1"/>
          </p:cNvPicPr>
          <p:nvPr userDrawn="1"/>
        </p:nvPicPr>
        <p:blipFill>
          <a:blip r:embed="rId8" cstate="print"/>
          <a:stretch>
            <a:fillRect/>
          </a:stretch>
        </p:blipFill>
        <p:spPr>
          <a:xfrm>
            <a:off x="129457" y="6545571"/>
            <a:ext cx="420927" cy="256674"/>
          </a:xfrm>
          <a:prstGeom prst="rect">
            <a:avLst/>
          </a:prstGeom>
          <a:ln w="12700">
            <a:miter lim="400000"/>
          </a:ln>
        </p:spPr>
      </p:pic>
    </p:spTree>
    <p:extLst>
      <p:ext uri="{BB962C8B-B14F-4D97-AF65-F5344CB8AC3E}">
        <p14:creationId xmlns:p14="http://schemas.microsoft.com/office/powerpoint/2010/main" val="33195531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14" name="Rectangle 13"/>
          <p:cNvSpPr/>
          <p:nvPr userDrawn="1"/>
        </p:nvSpPr>
        <p:spPr>
          <a:xfrm>
            <a:off x="226611" y="6608"/>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grpSp>
        <p:nvGrpSpPr>
          <p:cNvPr id="15" name="Group 14"/>
          <p:cNvGrpSpPr/>
          <p:nvPr userDrawn="1"/>
        </p:nvGrpSpPr>
        <p:grpSpPr>
          <a:xfrm flipH="1">
            <a:off x="226609" y="98856"/>
            <a:ext cx="1203763" cy="6096001"/>
            <a:chOff x="160238" y="148877"/>
            <a:chExt cx="1300907" cy="8783936"/>
          </a:xfrm>
        </p:grpSpPr>
        <p:sp>
          <p:nvSpPr>
            <p:cNvPr id="16" name="Rectangle"/>
            <p:cNvSpPr/>
            <p:nvPr userDrawn="1"/>
          </p:nvSpPr>
          <p:spPr>
            <a:xfrm>
              <a:off x="160238" y="7811988"/>
              <a:ext cx="1300907" cy="1120825"/>
            </a:xfrm>
            <a:prstGeom prst="rect">
              <a:avLst/>
            </a:prstGeom>
            <a:solidFill>
              <a:srgbClr val="C4297F"/>
            </a:solidFill>
            <a:ln w="12700">
              <a:miter lim="400000"/>
            </a:ln>
          </p:spPr>
          <p:txBody>
            <a:bodyPr lIns="50800" tIns="50800" rIns="50800" bIns="50800" anchor="ctr"/>
            <a:lstStyle/>
            <a:p>
              <a:endParaRPr sz="1800">
                <a:solidFill>
                  <a:prstClr val="black"/>
                </a:solidFill>
              </a:endParaRPr>
            </a:p>
          </p:txBody>
        </p:sp>
        <p:sp>
          <p:nvSpPr>
            <p:cNvPr id="17" name="Rectangle"/>
            <p:cNvSpPr/>
            <p:nvPr userDrawn="1"/>
          </p:nvSpPr>
          <p:spPr>
            <a:xfrm>
              <a:off x="160238" y="7090072"/>
              <a:ext cx="1300907" cy="721917"/>
            </a:xfrm>
            <a:prstGeom prst="rect">
              <a:avLst/>
            </a:prstGeom>
            <a:solidFill>
              <a:srgbClr val="7C1A4F"/>
            </a:solidFill>
            <a:ln w="12700">
              <a:miter lim="400000"/>
            </a:ln>
          </p:spPr>
          <p:txBody>
            <a:bodyPr lIns="50800" tIns="50800" rIns="50800" bIns="50800" anchor="ctr"/>
            <a:lstStyle/>
            <a:p>
              <a:endParaRPr sz="1800">
                <a:solidFill>
                  <a:prstClr val="black"/>
                </a:solidFill>
              </a:endParaRPr>
            </a:p>
          </p:txBody>
        </p:sp>
        <p:sp>
          <p:nvSpPr>
            <p:cNvPr id="18" name="Rectangle"/>
            <p:cNvSpPr/>
            <p:nvPr userDrawn="1"/>
          </p:nvSpPr>
          <p:spPr>
            <a:xfrm>
              <a:off x="160238" y="6877694"/>
              <a:ext cx="1300907" cy="212379"/>
            </a:xfrm>
            <a:prstGeom prst="rect">
              <a:avLst/>
            </a:prstGeom>
            <a:solidFill>
              <a:srgbClr val="F79824"/>
            </a:solidFill>
            <a:ln w="12700">
              <a:miter lim="400000"/>
            </a:ln>
          </p:spPr>
          <p:txBody>
            <a:bodyPr lIns="50800" tIns="50800" rIns="50800" bIns="50800" anchor="ctr"/>
            <a:lstStyle/>
            <a:p>
              <a:endParaRPr sz="1800">
                <a:solidFill>
                  <a:prstClr val="black"/>
                </a:solidFill>
              </a:endParaRPr>
            </a:p>
          </p:txBody>
        </p:sp>
        <p:sp>
          <p:nvSpPr>
            <p:cNvPr id="19" name="Rectangle"/>
            <p:cNvSpPr/>
            <p:nvPr userDrawn="1"/>
          </p:nvSpPr>
          <p:spPr>
            <a:xfrm>
              <a:off x="160238" y="5875535"/>
              <a:ext cx="1300907" cy="1002160"/>
            </a:xfrm>
            <a:prstGeom prst="rect">
              <a:avLst/>
            </a:prstGeom>
            <a:solidFill>
              <a:srgbClr val="EE4329"/>
            </a:solidFill>
            <a:ln w="12700">
              <a:miter lim="400000"/>
            </a:ln>
          </p:spPr>
          <p:txBody>
            <a:bodyPr lIns="50800" tIns="50800" rIns="50800" bIns="50800" anchor="ctr"/>
            <a:lstStyle/>
            <a:p>
              <a:endParaRPr sz="1800">
                <a:solidFill>
                  <a:prstClr val="black"/>
                </a:solidFill>
              </a:endParaRPr>
            </a:p>
          </p:txBody>
        </p:sp>
        <p:sp>
          <p:nvSpPr>
            <p:cNvPr id="20" name="Rectangle"/>
            <p:cNvSpPr/>
            <p:nvPr userDrawn="1"/>
          </p:nvSpPr>
          <p:spPr>
            <a:xfrm>
              <a:off x="160238" y="3874095"/>
              <a:ext cx="1300907" cy="2001441"/>
            </a:xfrm>
            <a:prstGeom prst="rect">
              <a:avLst/>
            </a:prstGeom>
            <a:solidFill>
              <a:srgbClr val="F36F26"/>
            </a:solidFill>
            <a:ln w="12700">
              <a:miter lim="400000"/>
            </a:ln>
          </p:spPr>
          <p:txBody>
            <a:bodyPr lIns="50800" tIns="50800" rIns="50800" bIns="50800" anchor="ctr"/>
            <a:lstStyle/>
            <a:p>
              <a:endParaRPr sz="1800">
                <a:solidFill>
                  <a:prstClr val="black"/>
                </a:solidFill>
              </a:endParaRPr>
            </a:p>
          </p:txBody>
        </p:sp>
        <p:sp>
          <p:nvSpPr>
            <p:cNvPr id="21" name="Rectangle"/>
            <p:cNvSpPr/>
            <p:nvPr userDrawn="1"/>
          </p:nvSpPr>
          <p:spPr>
            <a:xfrm>
              <a:off x="160238" y="3154213"/>
              <a:ext cx="1300907" cy="721867"/>
            </a:xfrm>
            <a:prstGeom prst="rect">
              <a:avLst/>
            </a:prstGeom>
            <a:solidFill>
              <a:srgbClr val="016AA1"/>
            </a:solidFill>
            <a:ln w="12700">
              <a:miter lim="400000"/>
            </a:ln>
          </p:spPr>
          <p:txBody>
            <a:bodyPr lIns="50800" tIns="50800" rIns="50800" bIns="50800" anchor="ctr"/>
            <a:lstStyle/>
            <a:p>
              <a:endParaRPr sz="1800">
                <a:solidFill>
                  <a:prstClr val="black"/>
                </a:solidFill>
              </a:endParaRPr>
            </a:p>
          </p:txBody>
        </p:sp>
        <p:sp>
          <p:nvSpPr>
            <p:cNvPr id="22" name="Rectangle"/>
            <p:cNvSpPr/>
            <p:nvPr userDrawn="1"/>
          </p:nvSpPr>
          <p:spPr>
            <a:xfrm>
              <a:off x="160238" y="148877"/>
              <a:ext cx="1300907" cy="3005337"/>
            </a:xfrm>
            <a:prstGeom prst="rect">
              <a:avLst/>
            </a:prstGeom>
            <a:solidFill>
              <a:srgbClr val="86CBD8"/>
            </a:solidFill>
            <a:ln w="12700">
              <a:miter lim="400000"/>
            </a:ln>
          </p:spPr>
          <p:txBody>
            <a:bodyPr lIns="50800" tIns="50800" rIns="50800" bIns="50800" anchor="ctr"/>
            <a:lstStyle/>
            <a:p>
              <a:endParaRPr sz="1800">
                <a:solidFill>
                  <a:prstClr val="black"/>
                </a:solidFill>
              </a:endParaRPr>
            </a:p>
          </p:txBody>
        </p:sp>
      </p:grpSp>
    </p:spTree>
    <p:extLst>
      <p:ext uri="{BB962C8B-B14F-4D97-AF65-F5344CB8AC3E}">
        <p14:creationId xmlns:p14="http://schemas.microsoft.com/office/powerpoint/2010/main" val="2202468557"/>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separdor 2">
    <p:spTree>
      <p:nvGrpSpPr>
        <p:cNvPr id="1" name=""/>
        <p:cNvGrpSpPr/>
        <p:nvPr/>
      </p:nvGrpSpPr>
      <p:grpSpPr>
        <a:xfrm>
          <a:off x="0" y="0"/>
          <a:ext cx="0" cy="0"/>
          <a:chOff x="0" y="0"/>
          <a:chExt cx="0" cy="0"/>
        </a:xfrm>
      </p:grpSpPr>
      <p:sp>
        <p:nvSpPr>
          <p:cNvPr id="6" name="Rectangle 5"/>
          <p:cNvSpPr/>
          <p:nvPr userDrawn="1"/>
        </p:nvSpPr>
        <p:spPr>
          <a:xfrm>
            <a:off x="144731" y="21107"/>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grpSp>
        <p:nvGrpSpPr>
          <p:cNvPr id="7" name="Group 6"/>
          <p:cNvGrpSpPr/>
          <p:nvPr userDrawn="1"/>
        </p:nvGrpSpPr>
        <p:grpSpPr>
          <a:xfrm>
            <a:off x="231503" y="98856"/>
            <a:ext cx="1206483" cy="6105595"/>
            <a:chOff x="160238" y="154880"/>
            <a:chExt cx="1300907" cy="8777933"/>
          </a:xfrm>
        </p:grpSpPr>
        <p:sp>
          <p:nvSpPr>
            <p:cNvPr id="8" name="Rectangle"/>
            <p:cNvSpPr/>
            <p:nvPr userDrawn="1"/>
          </p:nvSpPr>
          <p:spPr>
            <a:xfrm>
              <a:off x="160238" y="8398371"/>
              <a:ext cx="1300907" cy="534442"/>
            </a:xfrm>
            <a:prstGeom prst="rect">
              <a:avLst/>
            </a:prstGeom>
            <a:solidFill>
              <a:srgbClr val="ED207D"/>
            </a:solidFill>
            <a:ln w="12700">
              <a:miter lim="400000"/>
            </a:ln>
          </p:spPr>
          <p:txBody>
            <a:bodyPr lIns="50800" tIns="50800" rIns="50800" bIns="50800" anchor="ctr"/>
            <a:lstStyle/>
            <a:p>
              <a:endParaRPr sz="1800">
                <a:solidFill>
                  <a:prstClr val="black"/>
                </a:solidFill>
              </a:endParaRPr>
            </a:p>
          </p:txBody>
        </p:sp>
        <p:sp>
          <p:nvSpPr>
            <p:cNvPr id="9" name="Rectangle"/>
            <p:cNvSpPr/>
            <p:nvPr userDrawn="1"/>
          </p:nvSpPr>
          <p:spPr>
            <a:xfrm>
              <a:off x="160238" y="8183364"/>
              <a:ext cx="1300907" cy="215008"/>
            </a:xfrm>
            <a:prstGeom prst="rect">
              <a:avLst/>
            </a:prstGeom>
            <a:solidFill>
              <a:srgbClr val="BF1D7F"/>
            </a:solidFill>
            <a:ln w="12700">
              <a:miter lim="400000"/>
            </a:ln>
          </p:spPr>
          <p:txBody>
            <a:bodyPr lIns="50800" tIns="50800" rIns="50800" bIns="50800" anchor="ctr"/>
            <a:lstStyle/>
            <a:p>
              <a:endParaRPr sz="1800">
                <a:solidFill>
                  <a:prstClr val="black"/>
                </a:solidFill>
              </a:endParaRPr>
            </a:p>
          </p:txBody>
        </p:sp>
        <p:sp>
          <p:nvSpPr>
            <p:cNvPr id="10" name="Rectangle"/>
            <p:cNvSpPr/>
            <p:nvPr userDrawn="1"/>
          </p:nvSpPr>
          <p:spPr>
            <a:xfrm>
              <a:off x="160238" y="6195863"/>
              <a:ext cx="1300907" cy="1987502"/>
            </a:xfrm>
            <a:prstGeom prst="rect">
              <a:avLst/>
            </a:prstGeom>
            <a:solidFill>
              <a:srgbClr val="7C1A4F"/>
            </a:solidFill>
            <a:ln w="12700">
              <a:miter lim="400000"/>
            </a:ln>
          </p:spPr>
          <p:txBody>
            <a:bodyPr lIns="50800" tIns="50800" rIns="50800" bIns="50800" anchor="ctr"/>
            <a:lstStyle/>
            <a:p>
              <a:endParaRPr sz="1800">
                <a:solidFill>
                  <a:prstClr val="black"/>
                </a:solidFill>
              </a:endParaRPr>
            </a:p>
          </p:txBody>
        </p:sp>
        <p:sp>
          <p:nvSpPr>
            <p:cNvPr id="11" name="Rectangle"/>
            <p:cNvSpPr/>
            <p:nvPr userDrawn="1"/>
          </p:nvSpPr>
          <p:spPr>
            <a:xfrm>
              <a:off x="160238" y="5724425"/>
              <a:ext cx="1300907" cy="471439"/>
            </a:xfrm>
            <a:prstGeom prst="rect">
              <a:avLst/>
            </a:prstGeom>
            <a:solidFill>
              <a:srgbClr val="DA2C57"/>
            </a:solidFill>
            <a:ln w="12700">
              <a:miter lim="400000"/>
            </a:ln>
          </p:spPr>
          <p:txBody>
            <a:bodyPr lIns="50800" tIns="50800" rIns="50800" bIns="50800" anchor="ctr"/>
            <a:lstStyle/>
            <a:p>
              <a:endParaRPr sz="1800">
                <a:solidFill>
                  <a:prstClr val="black"/>
                </a:solidFill>
              </a:endParaRPr>
            </a:p>
          </p:txBody>
        </p:sp>
        <p:sp>
          <p:nvSpPr>
            <p:cNvPr id="12" name="Rectangle"/>
            <p:cNvSpPr/>
            <p:nvPr userDrawn="1"/>
          </p:nvSpPr>
          <p:spPr>
            <a:xfrm>
              <a:off x="160238" y="371177"/>
              <a:ext cx="1300907" cy="813396"/>
            </a:xfrm>
            <a:prstGeom prst="rect">
              <a:avLst/>
            </a:prstGeom>
            <a:solidFill>
              <a:srgbClr val="C4297F"/>
            </a:solidFill>
            <a:ln w="12700">
              <a:miter lim="400000"/>
            </a:ln>
          </p:spPr>
          <p:txBody>
            <a:bodyPr lIns="50800" tIns="50800" rIns="50800" bIns="50800" anchor="ctr"/>
            <a:lstStyle/>
            <a:p>
              <a:endParaRPr sz="1800">
                <a:solidFill>
                  <a:prstClr val="black"/>
                </a:solidFill>
              </a:endParaRPr>
            </a:p>
          </p:txBody>
        </p:sp>
        <p:sp>
          <p:nvSpPr>
            <p:cNvPr id="13" name="Rectangle"/>
            <p:cNvSpPr/>
            <p:nvPr userDrawn="1"/>
          </p:nvSpPr>
          <p:spPr>
            <a:xfrm>
              <a:off x="160238" y="1184572"/>
              <a:ext cx="1300907" cy="4539854"/>
            </a:xfrm>
            <a:prstGeom prst="rect">
              <a:avLst/>
            </a:prstGeom>
            <a:solidFill>
              <a:srgbClr val="822455"/>
            </a:solidFill>
            <a:ln w="12700">
              <a:miter lim="400000"/>
            </a:ln>
          </p:spPr>
          <p:txBody>
            <a:bodyPr lIns="50800" tIns="50800" rIns="50800" bIns="50800" anchor="ctr"/>
            <a:lstStyle/>
            <a:p>
              <a:endParaRPr sz="1800">
                <a:solidFill>
                  <a:prstClr val="black"/>
                </a:solidFill>
              </a:endParaRPr>
            </a:p>
          </p:txBody>
        </p:sp>
        <p:sp>
          <p:nvSpPr>
            <p:cNvPr id="14" name="Rectangle"/>
            <p:cNvSpPr/>
            <p:nvPr userDrawn="1"/>
          </p:nvSpPr>
          <p:spPr>
            <a:xfrm>
              <a:off x="160238" y="154880"/>
              <a:ext cx="1300907" cy="216298"/>
            </a:xfrm>
            <a:prstGeom prst="rect">
              <a:avLst/>
            </a:prstGeom>
            <a:solidFill>
              <a:srgbClr val="DA2C57"/>
            </a:solidFill>
            <a:ln w="12700">
              <a:miter lim="400000"/>
            </a:ln>
          </p:spPr>
          <p:txBody>
            <a:bodyPr lIns="50800" tIns="50800" rIns="50800" bIns="50800" anchor="ctr"/>
            <a:lstStyle/>
            <a:p>
              <a:endParaRPr sz="1800">
                <a:solidFill>
                  <a:prstClr val="black"/>
                </a:solidFill>
              </a:endParaRPr>
            </a:p>
          </p:txBody>
        </p:sp>
      </p:grpSp>
    </p:spTree>
    <p:extLst>
      <p:ext uri="{BB962C8B-B14F-4D97-AF65-F5344CB8AC3E}">
        <p14:creationId xmlns:p14="http://schemas.microsoft.com/office/powerpoint/2010/main" val="330168145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IMAGEN FULL">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pPr>
              <a:defRPr/>
            </a:pPr>
            <a:fld id="{410BB04A-6CB2-A14D-B6AF-586C8C166ED7}" type="slidenum">
              <a:rPr lang="en-US">
                <a:solidFill>
                  <a:srgbClr val="53565A"/>
                </a:solidFill>
              </a:rPr>
              <a:pPr>
                <a:defRPr/>
              </a:pPr>
              <a:t>‹#›</a:t>
            </a:fld>
            <a:endParaRPr lang="en-US">
              <a:solidFill>
                <a:srgbClr val="53565A"/>
              </a:solidFill>
            </a:endParaRPr>
          </a:p>
        </p:txBody>
      </p:sp>
      <p:sp>
        <p:nvSpPr>
          <p:cNvPr id="4" name="Date Placeholder 3"/>
          <p:cNvSpPr>
            <a:spLocks noGrp="1"/>
          </p:cNvSpPr>
          <p:nvPr>
            <p:ph type="dt" sz="half" idx="11"/>
          </p:nvPr>
        </p:nvSpPr>
        <p:spPr/>
        <p:txBody>
          <a:bodyPr/>
          <a:lstStyle/>
          <a:p>
            <a:pPr>
              <a:defRPr/>
            </a:pPr>
            <a:r>
              <a:rPr lang="en-US">
                <a:solidFill>
                  <a:srgbClr val="53565A"/>
                </a:solidFill>
              </a:rPr>
              <a:t>MM.DD.YY</a:t>
            </a:r>
          </a:p>
        </p:txBody>
      </p:sp>
      <p:sp>
        <p:nvSpPr>
          <p:cNvPr id="5" name="Footer Placeholder 4"/>
          <p:cNvSpPr>
            <a:spLocks noGrp="1"/>
          </p:cNvSpPr>
          <p:nvPr>
            <p:ph type="ftr" sz="quarter" idx="12"/>
          </p:nvPr>
        </p:nvSpPr>
        <p:spPr/>
        <p:txBody>
          <a:bodyPr/>
          <a:lstStyle/>
          <a:p>
            <a:pPr>
              <a:defRPr/>
            </a:pPr>
            <a:r>
              <a:rPr lang="en-US">
                <a:solidFill>
                  <a:srgbClr val="53565A"/>
                </a:solidFill>
              </a:rPr>
              <a:t>Presentation Title</a:t>
            </a:r>
          </a:p>
        </p:txBody>
      </p:sp>
      <p:sp>
        <p:nvSpPr>
          <p:cNvPr id="10" name="Picture Placeholder 9"/>
          <p:cNvSpPr>
            <a:spLocks noGrp="1"/>
          </p:cNvSpPr>
          <p:nvPr>
            <p:ph type="pic" sz="quarter" idx="13"/>
          </p:nvPr>
        </p:nvSpPr>
        <p:spPr>
          <a:xfrm>
            <a:off x="0" y="0"/>
            <a:ext cx="12192000" cy="6858000"/>
          </a:xfrm>
        </p:spPr>
        <p:txBody>
          <a:bodyPr/>
          <a:lstStyle/>
          <a:p>
            <a:endParaRPr lang="en-US" dirty="0"/>
          </a:p>
        </p:txBody>
      </p:sp>
      <p:sp>
        <p:nvSpPr>
          <p:cNvPr id="24" name="Rounded Rectangle 23"/>
          <p:cNvSpPr/>
          <p:nvPr userDrawn="1"/>
        </p:nvSpPr>
        <p:spPr bwMode="auto">
          <a:xfrm>
            <a:off x="-288755" y="234065"/>
            <a:ext cx="12199241" cy="1342366"/>
          </a:xfrm>
          <a:prstGeom prst="roundRect">
            <a:avLst/>
          </a:prstGeom>
          <a:solidFill>
            <a:schemeClr val="bg1">
              <a:alpha val="30000"/>
            </a:schemeClr>
          </a:solidFill>
          <a:ln w="12700" cap="flat" cmpd="sng" algn="ctr">
            <a:no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txBody>
          <a:bodyPr vert="horz" wrap="none" lIns="91440" tIns="45720" rIns="91440" bIns="45720" numCol="1" rtlCol="0" anchor="ctr" anchorCtr="0" compatLnSpc="1">
            <a:prstTxWarp prst="textNoShape">
              <a:avLst/>
            </a:prstTxWarp>
          </a:bodyPr>
          <a:lstStyle/>
          <a:p>
            <a:pPr algn="ctr" defTabSz="914400" fontAlgn="base">
              <a:spcBef>
                <a:spcPct val="0"/>
              </a:spcBef>
              <a:spcAft>
                <a:spcPct val="0"/>
              </a:spcAft>
            </a:pPr>
            <a:endParaRPr lang="en-US" sz="2400">
              <a:solidFill>
                <a:srgbClr val="000000"/>
              </a:solidFill>
            </a:endParaRPr>
          </a:p>
        </p:txBody>
      </p:sp>
      <p:sp>
        <p:nvSpPr>
          <p:cNvPr id="26" name="Text Placeholder 14"/>
          <p:cNvSpPr>
            <a:spLocks noGrp="1"/>
          </p:cNvSpPr>
          <p:nvPr>
            <p:ph type="body" sz="quarter" idx="14"/>
          </p:nvPr>
        </p:nvSpPr>
        <p:spPr>
          <a:xfrm>
            <a:off x="795873" y="411960"/>
            <a:ext cx="11114617" cy="418223"/>
          </a:xfrm>
        </p:spPr>
        <p:txBody>
          <a:bodyPr/>
          <a:lstStyle>
            <a:lvl1pPr marL="0" indent="0">
              <a:buNone/>
              <a:defRPr sz="2400">
                <a:solidFill>
                  <a:srgbClr val="004785"/>
                </a:solidFill>
              </a:defRPr>
            </a:lvl1pPr>
            <a:lvl2pPr marL="403225" indent="0">
              <a:buNone/>
              <a:defRPr sz="2400">
                <a:solidFill>
                  <a:srgbClr val="004785"/>
                </a:solidFill>
              </a:defRPr>
            </a:lvl2pPr>
            <a:lvl3pPr marL="747712" indent="0">
              <a:buNone/>
              <a:defRPr sz="2400">
                <a:solidFill>
                  <a:srgbClr val="004785"/>
                </a:solidFill>
              </a:defRPr>
            </a:lvl3pPr>
            <a:lvl4pPr marL="1089025" indent="0">
              <a:buNone/>
              <a:defRPr sz="2400">
                <a:solidFill>
                  <a:srgbClr val="004785"/>
                </a:solidFill>
              </a:defRPr>
            </a:lvl4pPr>
            <a:lvl5pPr marL="1427162" indent="0">
              <a:buNone/>
              <a:defRPr sz="2400">
                <a:solidFill>
                  <a:srgbClr val="004785"/>
                </a:solidFill>
              </a:defRPr>
            </a:lvl5pPr>
          </a:lstStyle>
          <a:p>
            <a:pPr lvl="0"/>
            <a:r>
              <a:rPr lang="en-US" dirty="0"/>
              <a:t>Click to edit Master text styles</a:t>
            </a:r>
          </a:p>
        </p:txBody>
      </p:sp>
      <p:sp>
        <p:nvSpPr>
          <p:cNvPr id="27" name="Text Placeholder 14"/>
          <p:cNvSpPr>
            <a:spLocks noGrp="1"/>
          </p:cNvSpPr>
          <p:nvPr>
            <p:ph type="body" sz="quarter" idx="15"/>
          </p:nvPr>
        </p:nvSpPr>
        <p:spPr>
          <a:xfrm>
            <a:off x="795873" y="905249"/>
            <a:ext cx="11114617" cy="418223"/>
          </a:xfrm>
        </p:spPr>
        <p:txBody>
          <a:bodyPr/>
          <a:lstStyle>
            <a:lvl1pPr marL="0" indent="0">
              <a:buNone/>
              <a:defRPr sz="2400">
                <a:solidFill>
                  <a:srgbClr val="00B3F0"/>
                </a:solidFill>
              </a:defRPr>
            </a:lvl1pPr>
            <a:lvl2pPr marL="403225" indent="0">
              <a:buNone/>
              <a:defRPr sz="2400">
                <a:solidFill>
                  <a:srgbClr val="004785"/>
                </a:solidFill>
              </a:defRPr>
            </a:lvl2pPr>
            <a:lvl3pPr marL="747712" indent="0">
              <a:buNone/>
              <a:defRPr sz="2400">
                <a:solidFill>
                  <a:srgbClr val="004785"/>
                </a:solidFill>
              </a:defRPr>
            </a:lvl3pPr>
            <a:lvl4pPr marL="1089025" indent="0">
              <a:buNone/>
              <a:defRPr sz="2400">
                <a:solidFill>
                  <a:srgbClr val="004785"/>
                </a:solidFill>
              </a:defRPr>
            </a:lvl4pPr>
            <a:lvl5pPr marL="1427162" indent="0">
              <a:buNone/>
              <a:defRPr sz="2400">
                <a:solidFill>
                  <a:srgbClr val="004785"/>
                </a:solidFill>
              </a:defRPr>
            </a:lvl5pPr>
          </a:lstStyle>
          <a:p>
            <a:pPr lvl="0"/>
            <a:r>
              <a:rPr lang="en-US" dirty="0"/>
              <a:t>Click to edit Master text styles</a:t>
            </a:r>
          </a:p>
        </p:txBody>
      </p:sp>
    </p:spTree>
    <p:extLst>
      <p:ext uri="{BB962C8B-B14F-4D97-AF65-F5344CB8AC3E}">
        <p14:creationId xmlns:p14="http://schemas.microsoft.com/office/powerpoint/2010/main" val="1974713644"/>
      </p:ext>
    </p:extLst>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6" name="Rectangle 5"/>
          <p:cNvSpPr/>
          <p:nvPr userDrawn="1"/>
        </p:nvSpPr>
        <p:spPr>
          <a:xfrm>
            <a:off x="120826" y="14846"/>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grpSp>
        <p:nvGrpSpPr>
          <p:cNvPr id="14" name="Group 13"/>
          <p:cNvGrpSpPr/>
          <p:nvPr userDrawn="1"/>
        </p:nvGrpSpPr>
        <p:grpSpPr>
          <a:xfrm>
            <a:off x="231503" y="98855"/>
            <a:ext cx="1206483" cy="6105595"/>
            <a:chOff x="160238" y="162796"/>
            <a:chExt cx="1300907" cy="8777933"/>
          </a:xfrm>
        </p:grpSpPr>
        <p:sp>
          <p:nvSpPr>
            <p:cNvPr id="15" name="Rectangle"/>
            <p:cNvSpPr/>
            <p:nvPr userDrawn="1"/>
          </p:nvSpPr>
          <p:spPr>
            <a:xfrm>
              <a:off x="160238" y="8406287"/>
              <a:ext cx="1300907" cy="534442"/>
            </a:xfrm>
            <a:prstGeom prst="rect">
              <a:avLst/>
            </a:prstGeom>
            <a:solidFill>
              <a:srgbClr val="D91F27"/>
            </a:solidFill>
            <a:ln w="12700">
              <a:miter lim="400000"/>
            </a:ln>
          </p:spPr>
          <p:txBody>
            <a:bodyPr lIns="50800" tIns="50800" rIns="50800" bIns="50800" anchor="ctr"/>
            <a:lstStyle/>
            <a:p>
              <a:endParaRPr sz="1800">
                <a:solidFill>
                  <a:prstClr val="black"/>
                </a:solidFill>
              </a:endParaRPr>
            </a:p>
          </p:txBody>
        </p:sp>
        <p:sp>
          <p:nvSpPr>
            <p:cNvPr id="16" name="Rectangle"/>
            <p:cNvSpPr/>
            <p:nvPr userDrawn="1"/>
          </p:nvSpPr>
          <p:spPr>
            <a:xfrm>
              <a:off x="160238" y="8191280"/>
              <a:ext cx="1300907" cy="215008"/>
            </a:xfrm>
            <a:prstGeom prst="rect">
              <a:avLst/>
            </a:prstGeom>
            <a:solidFill>
              <a:srgbClr val="F36F26"/>
            </a:solidFill>
            <a:ln w="12700">
              <a:miter lim="400000"/>
            </a:ln>
          </p:spPr>
          <p:txBody>
            <a:bodyPr lIns="50800" tIns="50800" rIns="50800" bIns="50800" anchor="ctr"/>
            <a:lstStyle/>
            <a:p>
              <a:endParaRPr sz="1800">
                <a:solidFill>
                  <a:prstClr val="black"/>
                </a:solidFill>
              </a:endParaRPr>
            </a:p>
          </p:txBody>
        </p:sp>
        <p:sp>
          <p:nvSpPr>
            <p:cNvPr id="17" name="Rectangle"/>
            <p:cNvSpPr/>
            <p:nvPr userDrawn="1"/>
          </p:nvSpPr>
          <p:spPr>
            <a:xfrm>
              <a:off x="160238" y="6203779"/>
              <a:ext cx="1300907" cy="1987502"/>
            </a:xfrm>
            <a:prstGeom prst="rect">
              <a:avLst/>
            </a:prstGeom>
            <a:solidFill>
              <a:srgbClr val="FBB91A"/>
            </a:solidFill>
            <a:ln w="12700">
              <a:miter lim="400000"/>
            </a:ln>
          </p:spPr>
          <p:txBody>
            <a:bodyPr lIns="50800" tIns="50800" rIns="50800" bIns="50800" anchor="ctr"/>
            <a:lstStyle/>
            <a:p>
              <a:endParaRPr sz="1800">
                <a:solidFill>
                  <a:prstClr val="black"/>
                </a:solidFill>
              </a:endParaRPr>
            </a:p>
          </p:txBody>
        </p:sp>
        <p:sp>
          <p:nvSpPr>
            <p:cNvPr id="18" name="Rectangle"/>
            <p:cNvSpPr/>
            <p:nvPr userDrawn="1"/>
          </p:nvSpPr>
          <p:spPr>
            <a:xfrm>
              <a:off x="160238" y="5732341"/>
              <a:ext cx="1300907" cy="471439"/>
            </a:xfrm>
            <a:prstGeom prst="rect">
              <a:avLst/>
            </a:prstGeom>
            <a:solidFill>
              <a:srgbClr val="F69427"/>
            </a:solidFill>
            <a:ln w="12700">
              <a:miter lim="400000"/>
            </a:ln>
          </p:spPr>
          <p:txBody>
            <a:bodyPr lIns="50800" tIns="50800" rIns="50800" bIns="50800" anchor="ctr"/>
            <a:lstStyle/>
            <a:p>
              <a:endParaRPr sz="1800">
                <a:solidFill>
                  <a:prstClr val="black"/>
                </a:solidFill>
              </a:endParaRPr>
            </a:p>
          </p:txBody>
        </p:sp>
        <p:sp>
          <p:nvSpPr>
            <p:cNvPr id="19" name="Rectangle"/>
            <p:cNvSpPr/>
            <p:nvPr userDrawn="1"/>
          </p:nvSpPr>
          <p:spPr>
            <a:xfrm>
              <a:off x="160238" y="379093"/>
              <a:ext cx="1300907" cy="813396"/>
            </a:xfrm>
            <a:prstGeom prst="rect">
              <a:avLst/>
            </a:prstGeom>
            <a:solidFill>
              <a:srgbClr val="F79824"/>
            </a:solidFill>
            <a:ln w="12700">
              <a:miter lim="400000"/>
            </a:ln>
          </p:spPr>
          <p:txBody>
            <a:bodyPr lIns="50800" tIns="50800" rIns="50800" bIns="50800" anchor="ctr"/>
            <a:lstStyle/>
            <a:p>
              <a:endParaRPr sz="1800">
                <a:solidFill>
                  <a:prstClr val="black"/>
                </a:solidFill>
              </a:endParaRPr>
            </a:p>
          </p:txBody>
        </p:sp>
        <p:sp>
          <p:nvSpPr>
            <p:cNvPr id="20" name="Rectangle"/>
            <p:cNvSpPr/>
            <p:nvPr userDrawn="1"/>
          </p:nvSpPr>
          <p:spPr>
            <a:xfrm>
              <a:off x="160238" y="1192488"/>
              <a:ext cx="1300907" cy="4539854"/>
            </a:xfrm>
            <a:prstGeom prst="rect">
              <a:avLst/>
            </a:prstGeom>
            <a:solidFill>
              <a:srgbClr val="EE4329"/>
            </a:solidFill>
            <a:ln w="12700">
              <a:miter lim="400000"/>
            </a:ln>
          </p:spPr>
          <p:txBody>
            <a:bodyPr lIns="50800" tIns="50800" rIns="50800" bIns="50800" anchor="ctr"/>
            <a:lstStyle/>
            <a:p>
              <a:endParaRPr sz="1800">
                <a:solidFill>
                  <a:prstClr val="black"/>
                </a:solidFill>
              </a:endParaRPr>
            </a:p>
          </p:txBody>
        </p:sp>
        <p:sp>
          <p:nvSpPr>
            <p:cNvPr id="21" name="Rectangle"/>
            <p:cNvSpPr/>
            <p:nvPr userDrawn="1"/>
          </p:nvSpPr>
          <p:spPr>
            <a:xfrm>
              <a:off x="160238" y="162796"/>
              <a:ext cx="1300907" cy="216298"/>
            </a:xfrm>
            <a:prstGeom prst="rect">
              <a:avLst/>
            </a:prstGeom>
            <a:solidFill>
              <a:srgbClr val="BF2126"/>
            </a:solidFill>
            <a:ln w="12700">
              <a:miter lim="400000"/>
            </a:ln>
          </p:spPr>
          <p:txBody>
            <a:bodyPr lIns="50800" tIns="50800" rIns="50800" bIns="50800" anchor="ctr"/>
            <a:lstStyle/>
            <a:p>
              <a:endParaRPr sz="1800">
                <a:solidFill>
                  <a:prstClr val="black"/>
                </a:solidFill>
              </a:endParaRPr>
            </a:p>
          </p:txBody>
        </p:sp>
      </p:grpSp>
    </p:spTree>
    <p:extLst>
      <p:ext uri="{BB962C8B-B14F-4D97-AF65-F5344CB8AC3E}">
        <p14:creationId xmlns:p14="http://schemas.microsoft.com/office/powerpoint/2010/main" val="1385077642"/>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6" name="Rectangle 5"/>
          <p:cNvSpPr/>
          <p:nvPr userDrawn="1"/>
        </p:nvSpPr>
        <p:spPr>
          <a:xfrm>
            <a:off x="120826" y="14846"/>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grpSp>
        <p:nvGrpSpPr>
          <p:cNvPr id="7" name="Group 6"/>
          <p:cNvGrpSpPr/>
          <p:nvPr userDrawn="1"/>
        </p:nvGrpSpPr>
        <p:grpSpPr>
          <a:xfrm>
            <a:off x="231503" y="99934"/>
            <a:ext cx="1206483" cy="6105588"/>
            <a:chOff x="90616" y="113613"/>
            <a:chExt cx="1300907" cy="8777933"/>
          </a:xfrm>
        </p:grpSpPr>
        <p:sp>
          <p:nvSpPr>
            <p:cNvPr id="8" name="Rectangle"/>
            <p:cNvSpPr/>
            <p:nvPr userDrawn="1"/>
          </p:nvSpPr>
          <p:spPr>
            <a:xfrm>
              <a:off x="90616" y="8357104"/>
              <a:ext cx="1300907" cy="534442"/>
            </a:xfrm>
            <a:prstGeom prst="rect">
              <a:avLst/>
            </a:prstGeom>
            <a:solidFill>
              <a:srgbClr val="00C0B6"/>
            </a:solidFill>
            <a:ln w="12700">
              <a:miter lim="400000"/>
            </a:ln>
          </p:spPr>
          <p:txBody>
            <a:bodyPr lIns="50800" tIns="50800" rIns="50800" bIns="50800" anchor="ctr"/>
            <a:lstStyle/>
            <a:p>
              <a:endParaRPr sz="1800">
                <a:solidFill>
                  <a:prstClr val="black"/>
                </a:solidFill>
              </a:endParaRPr>
            </a:p>
          </p:txBody>
        </p:sp>
        <p:sp>
          <p:nvSpPr>
            <p:cNvPr id="9" name="Rectangle"/>
            <p:cNvSpPr/>
            <p:nvPr userDrawn="1"/>
          </p:nvSpPr>
          <p:spPr>
            <a:xfrm>
              <a:off x="90616" y="8142097"/>
              <a:ext cx="1300907" cy="215008"/>
            </a:xfrm>
            <a:prstGeom prst="rect">
              <a:avLst/>
            </a:prstGeom>
            <a:solidFill>
              <a:srgbClr val="007272"/>
            </a:solidFill>
            <a:ln w="12700">
              <a:miter lim="400000"/>
            </a:ln>
          </p:spPr>
          <p:txBody>
            <a:bodyPr lIns="50800" tIns="50800" rIns="50800" bIns="50800" anchor="ctr"/>
            <a:lstStyle/>
            <a:p>
              <a:endParaRPr sz="1800">
                <a:solidFill>
                  <a:prstClr val="black"/>
                </a:solidFill>
              </a:endParaRPr>
            </a:p>
          </p:txBody>
        </p:sp>
        <p:sp>
          <p:nvSpPr>
            <p:cNvPr id="10" name="Rectangle"/>
            <p:cNvSpPr/>
            <p:nvPr userDrawn="1"/>
          </p:nvSpPr>
          <p:spPr>
            <a:xfrm>
              <a:off x="90616" y="6154596"/>
              <a:ext cx="1300907" cy="1987502"/>
            </a:xfrm>
            <a:prstGeom prst="rect">
              <a:avLst/>
            </a:prstGeom>
            <a:solidFill>
              <a:srgbClr val="00A6AB"/>
            </a:solidFill>
            <a:ln w="12700">
              <a:miter lim="400000"/>
            </a:ln>
          </p:spPr>
          <p:txBody>
            <a:bodyPr lIns="50800" tIns="50800" rIns="50800" bIns="50800" anchor="ctr"/>
            <a:lstStyle/>
            <a:p>
              <a:endParaRPr sz="1800">
                <a:solidFill>
                  <a:prstClr val="black"/>
                </a:solidFill>
              </a:endParaRPr>
            </a:p>
          </p:txBody>
        </p:sp>
        <p:sp>
          <p:nvSpPr>
            <p:cNvPr id="11" name="Rectangle"/>
            <p:cNvSpPr/>
            <p:nvPr userDrawn="1"/>
          </p:nvSpPr>
          <p:spPr>
            <a:xfrm>
              <a:off x="90616" y="5683158"/>
              <a:ext cx="1300907" cy="471439"/>
            </a:xfrm>
            <a:prstGeom prst="rect">
              <a:avLst/>
            </a:prstGeom>
            <a:solidFill>
              <a:srgbClr val="00C0B6"/>
            </a:solidFill>
            <a:ln w="12700">
              <a:miter lim="400000"/>
            </a:ln>
          </p:spPr>
          <p:txBody>
            <a:bodyPr lIns="50800" tIns="50800" rIns="50800" bIns="50800" anchor="ctr"/>
            <a:lstStyle/>
            <a:p>
              <a:endParaRPr sz="1800">
                <a:solidFill>
                  <a:prstClr val="black"/>
                </a:solidFill>
              </a:endParaRPr>
            </a:p>
          </p:txBody>
        </p:sp>
        <p:sp>
          <p:nvSpPr>
            <p:cNvPr id="12" name="Rectangle"/>
            <p:cNvSpPr/>
            <p:nvPr userDrawn="1"/>
          </p:nvSpPr>
          <p:spPr>
            <a:xfrm>
              <a:off x="90616" y="329910"/>
              <a:ext cx="1300907" cy="813396"/>
            </a:xfrm>
            <a:prstGeom prst="rect">
              <a:avLst/>
            </a:prstGeom>
            <a:solidFill>
              <a:srgbClr val="00C0B6"/>
            </a:solidFill>
            <a:ln w="12700">
              <a:miter lim="400000"/>
            </a:ln>
          </p:spPr>
          <p:txBody>
            <a:bodyPr lIns="50800" tIns="50800" rIns="50800" bIns="50800" anchor="ctr"/>
            <a:lstStyle/>
            <a:p>
              <a:endParaRPr sz="1800">
                <a:solidFill>
                  <a:prstClr val="black"/>
                </a:solidFill>
              </a:endParaRPr>
            </a:p>
          </p:txBody>
        </p:sp>
        <p:sp>
          <p:nvSpPr>
            <p:cNvPr id="13" name="Rectangle"/>
            <p:cNvSpPr/>
            <p:nvPr userDrawn="1"/>
          </p:nvSpPr>
          <p:spPr>
            <a:xfrm>
              <a:off x="90616" y="1143305"/>
              <a:ext cx="1300907" cy="4539854"/>
            </a:xfrm>
            <a:prstGeom prst="rect">
              <a:avLst/>
            </a:prstGeom>
            <a:solidFill>
              <a:srgbClr val="007272"/>
            </a:solidFill>
            <a:ln w="12700">
              <a:miter lim="400000"/>
            </a:ln>
          </p:spPr>
          <p:txBody>
            <a:bodyPr lIns="50800" tIns="50800" rIns="50800" bIns="50800" anchor="ctr"/>
            <a:lstStyle/>
            <a:p>
              <a:endParaRPr sz="1800">
                <a:solidFill>
                  <a:prstClr val="black"/>
                </a:solidFill>
              </a:endParaRPr>
            </a:p>
          </p:txBody>
        </p:sp>
        <p:sp>
          <p:nvSpPr>
            <p:cNvPr id="14" name="Rectangle"/>
            <p:cNvSpPr/>
            <p:nvPr userDrawn="1"/>
          </p:nvSpPr>
          <p:spPr>
            <a:xfrm>
              <a:off x="90616" y="113613"/>
              <a:ext cx="1300907" cy="216298"/>
            </a:xfrm>
            <a:prstGeom prst="rect">
              <a:avLst/>
            </a:prstGeom>
            <a:solidFill>
              <a:srgbClr val="00A6AB"/>
            </a:solidFill>
            <a:ln w="12700">
              <a:miter lim="400000"/>
            </a:ln>
          </p:spPr>
          <p:txBody>
            <a:bodyPr lIns="50800" tIns="50800" rIns="50800" bIns="50800" anchor="ctr"/>
            <a:lstStyle/>
            <a:p>
              <a:endParaRPr sz="1800">
                <a:solidFill>
                  <a:prstClr val="black"/>
                </a:solidFill>
              </a:endParaRPr>
            </a:p>
          </p:txBody>
        </p:sp>
      </p:grpSp>
    </p:spTree>
    <p:extLst>
      <p:ext uri="{BB962C8B-B14F-4D97-AF65-F5344CB8AC3E}">
        <p14:creationId xmlns:p14="http://schemas.microsoft.com/office/powerpoint/2010/main" val="3909486824"/>
      </p:ext>
    </p:extLst>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6" name="Rectangle 5"/>
          <p:cNvSpPr/>
          <p:nvPr userDrawn="1"/>
        </p:nvSpPr>
        <p:spPr>
          <a:xfrm>
            <a:off x="120826" y="14846"/>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grpSp>
        <p:nvGrpSpPr>
          <p:cNvPr id="7" name="Group 6"/>
          <p:cNvGrpSpPr/>
          <p:nvPr userDrawn="1"/>
        </p:nvGrpSpPr>
        <p:grpSpPr>
          <a:xfrm>
            <a:off x="233934" y="99934"/>
            <a:ext cx="1206481" cy="6105588"/>
            <a:chOff x="1081465" y="114688"/>
            <a:chExt cx="1300907" cy="8777933"/>
          </a:xfrm>
        </p:grpSpPr>
        <p:sp>
          <p:nvSpPr>
            <p:cNvPr id="8" name="Rectangle"/>
            <p:cNvSpPr/>
            <p:nvPr userDrawn="1"/>
          </p:nvSpPr>
          <p:spPr>
            <a:xfrm>
              <a:off x="1081465" y="8358179"/>
              <a:ext cx="1300907" cy="534442"/>
            </a:xfrm>
            <a:prstGeom prst="rect">
              <a:avLst/>
            </a:prstGeom>
            <a:solidFill>
              <a:srgbClr val="8C4395"/>
            </a:solidFill>
            <a:ln w="12700">
              <a:miter lim="400000"/>
            </a:ln>
          </p:spPr>
          <p:txBody>
            <a:bodyPr lIns="50800" tIns="50800" rIns="50800" bIns="50800" anchor="ctr"/>
            <a:lstStyle/>
            <a:p>
              <a:endParaRPr sz="1800">
                <a:solidFill>
                  <a:prstClr val="black"/>
                </a:solidFill>
              </a:endParaRPr>
            </a:p>
          </p:txBody>
        </p:sp>
        <p:sp>
          <p:nvSpPr>
            <p:cNvPr id="9" name="Rectangle"/>
            <p:cNvSpPr/>
            <p:nvPr userDrawn="1"/>
          </p:nvSpPr>
          <p:spPr>
            <a:xfrm>
              <a:off x="1081465" y="8143172"/>
              <a:ext cx="1300907" cy="215008"/>
            </a:xfrm>
            <a:prstGeom prst="rect">
              <a:avLst/>
            </a:prstGeom>
            <a:solidFill>
              <a:srgbClr val="A469AB"/>
            </a:solidFill>
            <a:ln w="12700">
              <a:miter lim="400000"/>
            </a:ln>
          </p:spPr>
          <p:txBody>
            <a:bodyPr lIns="50800" tIns="50800" rIns="50800" bIns="50800" anchor="ctr"/>
            <a:lstStyle/>
            <a:p>
              <a:endParaRPr sz="1800">
                <a:solidFill>
                  <a:prstClr val="black"/>
                </a:solidFill>
              </a:endParaRPr>
            </a:p>
          </p:txBody>
        </p:sp>
        <p:sp>
          <p:nvSpPr>
            <p:cNvPr id="10" name="Rectangle"/>
            <p:cNvSpPr/>
            <p:nvPr userDrawn="1"/>
          </p:nvSpPr>
          <p:spPr>
            <a:xfrm>
              <a:off x="1081465" y="6155671"/>
              <a:ext cx="1300907" cy="1987502"/>
            </a:xfrm>
            <a:prstGeom prst="rect">
              <a:avLst/>
            </a:prstGeom>
            <a:solidFill>
              <a:srgbClr val="63006C"/>
            </a:solidFill>
            <a:ln w="12700">
              <a:miter lim="400000"/>
            </a:ln>
          </p:spPr>
          <p:txBody>
            <a:bodyPr lIns="50800" tIns="50800" rIns="50800" bIns="50800" anchor="ctr"/>
            <a:lstStyle/>
            <a:p>
              <a:endParaRPr sz="1800">
                <a:solidFill>
                  <a:prstClr val="black"/>
                </a:solidFill>
              </a:endParaRPr>
            </a:p>
          </p:txBody>
        </p:sp>
        <p:sp>
          <p:nvSpPr>
            <p:cNvPr id="11" name="Rectangle"/>
            <p:cNvSpPr/>
            <p:nvPr userDrawn="1"/>
          </p:nvSpPr>
          <p:spPr>
            <a:xfrm>
              <a:off x="1081465" y="5684233"/>
              <a:ext cx="1300907" cy="471439"/>
            </a:xfrm>
            <a:prstGeom prst="rect">
              <a:avLst/>
            </a:prstGeom>
            <a:solidFill>
              <a:srgbClr val="8B4193"/>
            </a:solidFill>
            <a:ln w="12700">
              <a:miter lim="400000"/>
            </a:ln>
          </p:spPr>
          <p:txBody>
            <a:bodyPr lIns="50800" tIns="50800" rIns="50800" bIns="50800" anchor="ctr"/>
            <a:lstStyle/>
            <a:p>
              <a:endParaRPr sz="1800">
                <a:solidFill>
                  <a:prstClr val="black"/>
                </a:solidFill>
              </a:endParaRPr>
            </a:p>
          </p:txBody>
        </p:sp>
        <p:sp>
          <p:nvSpPr>
            <p:cNvPr id="12" name="Rectangle"/>
            <p:cNvSpPr/>
            <p:nvPr userDrawn="1"/>
          </p:nvSpPr>
          <p:spPr>
            <a:xfrm>
              <a:off x="1081465" y="330985"/>
              <a:ext cx="1300907" cy="813396"/>
            </a:xfrm>
            <a:prstGeom prst="rect">
              <a:avLst/>
            </a:prstGeom>
            <a:solidFill>
              <a:srgbClr val="8C4395"/>
            </a:solidFill>
            <a:ln w="12700">
              <a:miter lim="400000"/>
            </a:ln>
          </p:spPr>
          <p:txBody>
            <a:bodyPr lIns="50800" tIns="50800" rIns="50800" bIns="50800" anchor="ctr"/>
            <a:lstStyle/>
            <a:p>
              <a:endParaRPr sz="1800">
                <a:solidFill>
                  <a:prstClr val="black"/>
                </a:solidFill>
              </a:endParaRPr>
            </a:p>
          </p:txBody>
        </p:sp>
        <p:sp>
          <p:nvSpPr>
            <p:cNvPr id="13" name="Rectangle"/>
            <p:cNvSpPr/>
            <p:nvPr userDrawn="1"/>
          </p:nvSpPr>
          <p:spPr>
            <a:xfrm>
              <a:off x="1081465" y="1144380"/>
              <a:ext cx="1300907" cy="4539854"/>
            </a:xfrm>
            <a:prstGeom prst="rect">
              <a:avLst/>
            </a:prstGeom>
            <a:solidFill>
              <a:srgbClr val="70147B"/>
            </a:solidFill>
            <a:ln w="12700">
              <a:miter lim="400000"/>
            </a:ln>
          </p:spPr>
          <p:txBody>
            <a:bodyPr lIns="50800" tIns="50800" rIns="50800" bIns="50800" anchor="ctr"/>
            <a:lstStyle/>
            <a:p>
              <a:endParaRPr sz="1800">
                <a:solidFill>
                  <a:prstClr val="black"/>
                </a:solidFill>
              </a:endParaRPr>
            </a:p>
          </p:txBody>
        </p:sp>
        <p:sp>
          <p:nvSpPr>
            <p:cNvPr id="14" name="Rectangle"/>
            <p:cNvSpPr/>
            <p:nvPr userDrawn="1"/>
          </p:nvSpPr>
          <p:spPr>
            <a:xfrm>
              <a:off x="1081465" y="114688"/>
              <a:ext cx="1300907" cy="216298"/>
            </a:xfrm>
            <a:prstGeom prst="rect">
              <a:avLst/>
            </a:prstGeom>
            <a:solidFill>
              <a:srgbClr val="70147B"/>
            </a:solidFill>
            <a:ln w="12700">
              <a:miter lim="400000"/>
            </a:ln>
          </p:spPr>
          <p:txBody>
            <a:bodyPr lIns="50800" tIns="50800" rIns="50800" bIns="50800" anchor="ctr"/>
            <a:lstStyle/>
            <a:p>
              <a:endParaRPr sz="1800">
                <a:solidFill>
                  <a:prstClr val="black"/>
                </a:solidFill>
              </a:endParaRPr>
            </a:p>
          </p:txBody>
        </p:sp>
      </p:grpSp>
    </p:spTree>
    <p:extLst>
      <p:ext uri="{BB962C8B-B14F-4D97-AF65-F5344CB8AC3E}">
        <p14:creationId xmlns:p14="http://schemas.microsoft.com/office/powerpoint/2010/main" val="4129577757"/>
      </p:ext>
    </p:extLst>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6" name="Rectangle 5"/>
          <p:cNvSpPr/>
          <p:nvPr userDrawn="1"/>
        </p:nvSpPr>
        <p:spPr>
          <a:xfrm>
            <a:off x="4" y="0"/>
            <a:ext cx="12093145"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sp>
        <p:nvSpPr>
          <p:cNvPr id="7" name="Slide Number Placeholder 5"/>
          <p:cNvSpPr txBox="1">
            <a:spLocks/>
          </p:cNvSpPr>
          <p:nvPr userDrawn="1"/>
        </p:nvSpPr>
        <p:spPr>
          <a:xfrm>
            <a:off x="3057376" y="6356356"/>
            <a:ext cx="3319272" cy="365125"/>
          </a:xfrm>
          <a:prstGeom prst="rect">
            <a:avLst/>
          </a:prstGeom>
        </p:spPr>
        <p:txBody>
          <a:bodyPr vert="horz" lIns="91426" tIns="45712" rIns="91426" bIns="45712"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FC7F43E-2420-6848-A2B2-B5C9DEF3CEAA}" type="slidenum">
              <a:rPr lang="en-US" sz="1200" smtClean="0">
                <a:solidFill>
                  <a:prstClr val="black">
                    <a:tint val="75000"/>
                  </a:prstClr>
                </a:solidFill>
              </a:rPr>
              <a:pPr/>
              <a:t>‹#›</a:t>
            </a:fld>
            <a:endParaRPr lang="en-US" sz="1200" dirty="0">
              <a:solidFill>
                <a:prstClr val="black">
                  <a:tint val="75000"/>
                </a:prstClr>
              </a:solidFill>
            </a:endParaRPr>
          </a:p>
        </p:txBody>
      </p:sp>
      <p:pic>
        <p:nvPicPr>
          <p:cNvPr id="9" name="pasted-image.pdf" descr="pasted-image.pdf"/>
          <p:cNvPicPr>
            <a:picLocks noChangeAspect="1"/>
          </p:cNvPicPr>
          <p:nvPr userDrawn="1"/>
        </p:nvPicPr>
        <p:blipFill>
          <a:blip r:embed="rId2"/>
          <a:stretch>
            <a:fillRect/>
          </a:stretch>
        </p:blipFill>
        <p:spPr>
          <a:xfrm>
            <a:off x="393794" y="6356356"/>
            <a:ext cx="736953" cy="365125"/>
          </a:xfrm>
          <a:prstGeom prst="rect">
            <a:avLst/>
          </a:prstGeom>
          <a:ln w="12700">
            <a:miter lim="400000"/>
          </a:ln>
        </p:spPr>
      </p:pic>
      <p:pic>
        <p:nvPicPr>
          <p:cNvPr id="2" name="Picture 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411014" y="6480627"/>
            <a:ext cx="1561852" cy="204993"/>
          </a:xfrm>
          <a:prstGeom prst="rect">
            <a:avLst/>
          </a:prstGeom>
        </p:spPr>
      </p:pic>
    </p:spTree>
    <p:extLst>
      <p:ext uri="{BB962C8B-B14F-4D97-AF65-F5344CB8AC3E}">
        <p14:creationId xmlns:p14="http://schemas.microsoft.com/office/powerpoint/2010/main" val="3877314139"/>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showMasterSp="0" preserve="1" userDrawn="1">
  <p:cSld name="Cover page">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2020" y="1642"/>
          <a:ext cx="1953" cy="1587"/>
        </p:xfrm>
        <a:graphic>
          <a:graphicData uri="http://schemas.openxmlformats.org/presentationml/2006/ole">
            <mc:AlternateContent xmlns:mc="http://schemas.openxmlformats.org/markup-compatibility/2006">
              <mc:Choice xmlns:v="urn:schemas-microsoft-com:vml" Requires="v">
                <p:oleObj spid="_x0000_s2207476"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020" y="1642"/>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3" descr="Picture 3"/>
          <p:cNvPicPr>
            <a:picLocks noChangeAspect="1"/>
          </p:cNvPicPr>
          <p:nvPr userDrawn="1"/>
        </p:nvPicPr>
        <p:blipFill>
          <a:blip r:embed="rId6" cstate="print"/>
          <a:srcRect r="91525"/>
          <a:stretch>
            <a:fillRect/>
          </a:stretch>
        </p:blipFill>
        <p:spPr>
          <a:xfrm>
            <a:off x="0" y="0"/>
            <a:ext cx="1376613" cy="6858000"/>
          </a:xfrm>
          <a:prstGeom prst="rect">
            <a:avLst/>
          </a:prstGeom>
          <a:ln w="12700">
            <a:miter lim="400000"/>
          </a:ln>
        </p:spPr>
      </p:pic>
      <p:sp>
        <p:nvSpPr>
          <p:cNvPr id="18" name="Text Placeholder 17"/>
          <p:cNvSpPr>
            <a:spLocks noGrp="1"/>
          </p:cNvSpPr>
          <p:nvPr>
            <p:ph type="body" sz="quarter" idx="10" hasCustomPrompt="1"/>
          </p:nvPr>
        </p:nvSpPr>
        <p:spPr>
          <a:xfrm>
            <a:off x="1744395" y="722376"/>
            <a:ext cx="8924544" cy="649224"/>
          </a:xfrm>
        </p:spPr>
        <p:txBody>
          <a:bodyPr lIns="49455" tIns="61853" rIns="49455" bIns="61853" anchor="ctr">
            <a:noAutofit/>
          </a:bodyPr>
          <a:lstStyle>
            <a:lvl1pPr>
              <a:defRPr sz="3797" b="0" baseline="0">
                <a:solidFill>
                  <a:srgbClr val="86CBD8"/>
                </a:solidFill>
              </a:defRPr>
            </a:lvl1pPr>
          </a:lstStyle>
          <a:p>
            <a:pPr lvl="0"/>
            <a:r>
              <a:rPr lang="en-US" sz="3797" dirty="0" err="1">
                <a:solidFill>
                  <a:srgbClr val="86CBD8"/>
                </a:solidFill>
              </a:rPr>
              <a:t>Título</a:t>
            </a:r>
            <a:r>
              <a:rPr lang="en-US" sz="3797" dirty="0">
                <a:solidFill>
                  <a:srgbClr val="86CBD8"/>
                </a:solidFill>
              </a:rPr>
              <a:t> </a:t>
            </a:r>
            <a:r>
              <a:rPr lang="en-US" sz="3797" dirty="0" err="1">
                <a:solidFill>
                  <a:srgbClr val="86CBD8"/>
                </a:solidFill>
              </a:rPr>
              <a:t>Presentación</a:t>
            </a:r>
            <a:endParaRPr lang="en-US" dirty="0"/>
          </a:p>
        </p:txBody>
      </p:sp>
      <p:sp>
        <p:nvSpPr>
          <p:cNvPr id="20" name="Text Placeholder 19"/>
          <p:cNvSpPr>
            <a:spLocks noGrp="1"/>
          </p:cNvSpPr>
          <p:nvPr>
            <p:ph type="body" sz="quarter" idx="11" hasCustomPrompt="1"/>
          </p:nvPr>
        </p:nvSpPr>
        <p:spPr>
          <a:xfrm>
            <a:off x="1789413" y="2221992"/>
            <a:ext cx="10016196" cy="365760"/>
          </a:xfrm>
        </p:spPr>
        <p:txBody>
          <a:bodyPr lIns="49455" tIns="61853" rIns="49455" bIns="61853">
            <a:noAutofit/>
          </a:bodyPr>
          <a:lstStyle>
            <a:lvl1pPr>
              <a:defRPr sz="1687" b="1" baseline="0">
                <a:solidFill>
                  <a:srgbClr val="016AA1"/>
                </a:solidFill>
              </a:defRPr>
            </a:lvl1pPr>
          </a:lstStyle>
          <a:p>
            <a:pPr lvl="0"/>
            <a:r>
              <a:rPr lang="en-US" dirty="0" err="1"/>
              <a:t>Subtitulo</a:t>
            </a:r>
            <a:endParaRPr lang="en-US" dirty="0"/>
          </a:p>
        </p:txBody>
      </p:sp>
      <p:sp>
        <p:nvSpPr>
          <p:cNvPr id="22" name="Text Placeholder 21"/>
          <p:cNvSpPr>
            <a:spLocks noGrp="1"/>
          </p:cNvSpPr>
          <p:nvPr>
            <p:ph type="body" sz="quarter" idx="12" hasCustomPrompt="1"/>
          </p:nvPr>
        </p:nvSpPr>
        <p:spPr>
          <a:xfrm>
            <a:off x="1789411" y="4983480"/>
            <a:ext cx="9340948" cy="365760"/>
          </a:xfrm>
        </p:spPr>
        <p:txBody>
          <a:bodyPr lIns="49455" tIns="61853" rIns="49455" bIns="61853">
            <a:noAutofit/>
          </a:bodyPr>
          <a:lstStyle>
            <a:lvl1pPr>
              <a:defRPr sz="1687" b="0" baseline="0">
                <a:solidFill>
                  <a:srgbClr val="7C1A4F"/>
                </a:solidFill>
              </a:defRPr>
            </a:lvl1pPr>
          </a:lstStyle>
          <a:p>
            <a:pPr lvl="0"/>
            <a:r>
              <a:rPr lang="en-US" dirty="0" err="1"/>
              <a:t>Fecha</a:t>
            </a:r>
            <a:endParaRPr lang="en-US" dirty="0"/>
          </a:p>
        </p:txBody>
      </p:sp>
      <p:pic>
        <p:nvPicPr>
          <p:cNvPr id="9" name="footer-13.jpg" descr="footer-13.jpg"/>
          <p:cNvPicPr>
            <a:picLocks noChangeAspect="1"/>
          </p:cNvPicPr>
          <p:nvPr userDrawn="1"/>
        </p:nvPicPr>
        <p:blipFill>
          <a:blip r:embed="rId7" cstate="print"/>
          <a:stretch>
            <a:fillRect/>
          </a:stretch>
        </p:blipFill>
        <p:spPr>
          <a:xfrm>
            <a:off x="0" y="6221392"/>
            <a:ext cx="12192000" cy="574391"/>
          </a:xfrm>
          <a:prstGeom prst="rect">
            <a:avLst/>
          </a:prstGeom>
          <a:ln w="12700">
            <a:miter lim="400000"/>
          </a:ln>
        </p:spPr>
      </p:pic>
    </p:spTree>
    <p:extLst>
      <p:ext uri="{BB962C8B-B14F-4D97-AF65-F5344CB8AC3E}">
        <p14:creationId xmlns:p14="http://schemas.microsoft.com/office/powerpoint/2010/main" val="3456648280"/>
      </p:ext>
    </p:extLst>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showMasterSp="0" preserve="1" userDrawn="1">
  <p:cSld name="Divider 1">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2020" y="1642"/>
          <a:ext cx="1953" cy="1587"/>
        </p:xfrm>
        <a:graphic>
          <a:graphicData uri="http://schemas.openxmlformats.org/presentationml/2006/ole">
            <mc:AlternateContent xmlns:mc="http://schemas.openxmlformats.org/markup-compatibility/2006">
              <mc:Choice xmlns:v="urn:schemas-microsoft-com:vml" Requires="v">
                <p:oleObj spid="_x0000_s2208500"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020" y="1642"/>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6" y="1188720"/>
            <a:ext cx="9115865" cy="649224"/>
          </a:xfrm>
        </p:spPr>
        <p:txBody>
          <a:bodyPr lIns="49455" tIns="61853" rIns="49455" bIns="61853">
            <a:noAutofit/>
          </a:bodyPr>
          <a:lstStyle>
            <a:lvl1pPr>
              <a:defRPr sz="3797" b="0" baseline="0">
                <a:solidFill>
                  <a:srgbClr val="822455"/>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49455" tIns="61853" rIns="49455" bIns="61853">
            <a:noAutofit/>
          </a:bodyPr>
          <a:lstStyle>
            <a:lvl1pPr>
              <a:defRPr sz="1406" b="0">
                <a:solidFill>
                  <a:srgbClr val="DA2B57"/>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49455" tIns="61853" rIns="49455" bIns="61853">
            <a:noAutofit/>
          </a:bodyPr>
          <a:lstStyle>
            <a:lvl1pPr>
              <a:defRPr sz="1336" b="0">
                <a:solidFill>
                  <a:srgbClr val="7C194F"/>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grpSp>
        <p:nvGrpSpPr>
          <p:cNvPr id="8" name="Group 7"/>
          <p:cNvGrpSpPr/>
          <p:nvPr userDrawn="1"/>
        </p:nvGrpSpPr>
        <p:grpSpPr>
          <a:xfrm>
            <a:off x="213693" y="98907"/>
            <a:ext cx="1113676" cy="6105595"/>
            <a:chOff x="160238" y="154880"/>
            <a:chExt cx="1300907" cy="8777933"/>
          </a:xfrm>
        </p:grpSpPr>
        <p:sp>
          <p:nvSpPr>
            <p:cNvPr id="9" name="Rectangle"/>
            <p:cNvSpPr/>
            <p:nvPr userDrawn="1"/>
          </p:nvSpPr>
          <p:spPr>
            <a:xfrm>
              <a:off x="160238" y="8398371"/>
              <a:ext cx="1300907" cy="534442"/>
            </a:xfrm>
            <a:prstGeom prst="rect">
              <a:avLst/>
            </a:prstGeom>
            <a:solidFill>
              <a:srgbClr val="ED207D"/>
            </a:solidFill>
            <a:ln w="12700">
              <a:miter lim="400000"/>
            </a:ln>
          </p:spPr>
          <p:txBody>
            <a:bodyPr lIns="50800" tIns="50800" rIns="50800" bIns="50800" anchor="ctr"/>
            <a:lstStyle/>
            <a:p>
              <a:pPr defTabSz="869793"/>
              <a:endParaRPr lang="en-US" sz="1266" dirty="0">
                <a:solidFill>
                  <a:srgbClr val="002D72"/>
                </a:solidFill>
              </a:endParaRPr>
            </a:p>
          </p:txBody>
        </p:sp>
        <p:sp>
          <p:nvSpPr>
            <p:cNvPr id="10" name="Rectangle"/>
            <p:cNvSpPr/>
            <p:nvPr userDrawn="1"/>
          </p:nvSpPr>
          <p:spPr>
            <a:xfrm>
              <a:off x="160238" y="8183364"/>
              <a:ext cx="1300907" cy="215008"/>
            </a:xfrm>
            <a:prstGeom prst="rect">
              <a:avLst/>
            </a:prstGeom>
            <a:solidFill>
              <a:srgbClr val="BF1D7F"/>
            </a:solidFill>
            <a:ln w="12700">
              <a:miter lim="400000"/>
            </a:ln>
          </p:spPr>
          <p:txBody>
            <a:bodyPr lIns="50800" tIns="50800" rIns="50800" bIns="50800" anchor="ctr"/>
            <a:lstStyle/>
            <a:p>
              <a:pPr defTabSz="869793"/>
              <a:endParaRPr lang="en-US" sz="1266" dirty="0">
                <a:solidFill>
                  <a:srgbClr val="002D72"/>
                </a:solidFill>
              </a:endParaRPr>
            </a:p>
          </p:txBody>
        </p:sp>
        <p:sp>
          <p:nvSpPr>
            <p:cNvPr id="11" name="Rectangle"/>
            <p:cNvSpPr/>
            <p:nvPr userDrawn="1"/>
          </p:nvSpPr>
          <p:spPr>
            <a:xfrm>
              <a:off x="160238" y="6195863"/>
              <a:ext cx="1300907" cy="1987502"/>
            </a:xfrm>
            <a:prstGeom prst="rect">
              <a:avLst/>
            </a:prstGeom>
            <a:solidFill>
              <a:srgbClr val="7C1A4F"/>
            </a:solidFill>
            <a:ln w="12700">
              <a:miter lim="400000"/>
            </a:ln>
          </p:spPr>
          <p:txBody>
            <a:bodyPr lIns="50800" tIns="50800" rIns="50800" bIns="50800" anchor="ctr"/>
            <a:lstStyle/>
            <a:p>
              <a:pPr defTabSz="869793"/>
              <a:endParaRPr lang="en-US" sz="1266" dirty="0">
                <a:solidFill>
                  <a:srgbClr val="002D72"/>
                </a:solidFill>
              </a:endParaRPr>
            </a:p>
          </p:txBody>
        </p:sp>
        <p:sp>
          <p:nvSpPr>
            <p:cNvPr id="12" name="Rectangle"/>
            <p:cNvSpPr/>
            <p:nvPr userDrawn="1"/>
          </p:nvSpPr>
          <p:spPr>
            <a:xfrm>
              <a:off x="160238" y="5724425"/>
              <a:ext cx="1300907" cy="471439"/>
            </a:xfrm>
            <a:prstGeom prst="rect">
              <a:avLst/>
            </a:prstGeom>
            <a:solidFill>
              <a:srgbClr val="DA2C57"/>
            </a:solidFill>
            <a:ln w="12700">
              <a:miter lim="400000"/>
            </a:ln>
          </p:spPr>
          <p:txBody>
            <a:bodyPr lIns="50800" tIns="50800" rIns="50800" bIns="50800" anchor="ctr"/>
            <a:lstStyle/>
            <a:p>
              <a:pPr defTabSz="869793"/>
              <a:endParaRPr lang="en-US" sz="1266" dirty="0">
                <a:solidFill>
                  <a:srgbClr val="002D72"/>
                </a:solidFill>
              </a:endParaRPr>
            </a:p>
          </p:txBody>
        </p:sp>
        <p:sp>
          <p:nvSpPr>
            <p:cNvPr id="14" name="Rectangle"/>
            <p:cNvSpPr/>
            <p:nvPr userDrawn="1"/>
          </p:nvSpPr>
          <p:spPr>
            <a:xfrm>
              <a:off x="160238" y="371177"/>
              <a:ext cx="1300907" cy="813396"/>
            </a:xfrm>
            <a:prstGeom prst="rect">
              <a:avLst/>
            </a:prstGeom>
            <a:solidFill>
              <a:srgbClr val="C4297F"/>
            </a:solidFill>
            <a:ln w="12700">
              <a:miter lim="400000"/>
            </a:ln>
          </p:spPr>
          <p:txBody>
            <a:bodyPr lIns="50800" tIns="50800" rIns="50800" bIns="50800" anchor="ctr"/>
            <a:lstStyle/>
            <a:p>
              <a:pPr defTabSz="869793"/>
              <a:endParaRPr lang="en-US" sz="1266" dirty="0">
                <a:solidFill>
                  <a:srgbClr val="002D72"/>
                </a:solidFill>
              </a:endParaRPr>
            </a:p>
          </p:txBody>
        </p:sp>
        <p:sp>
          <p:nvSpPr>
            <p:cNvPr id="17" name="Rectangle"/>
            <p:cNvSpPr/>
            <p:nvPr userDrawn="1"/>
          </p:nvSpPr>
          <p:spPr>
            <a:xfrm>
              <a:off x="160238" y="1184572"/>
              <a:ext cx="1300907" cy="4539854"/>
            </a:xfrm>
            <a:prstGeom prst="rect">
              <a:avLst/>
            </a:prstGeom>
            <a:solidFill>
              <a:srgbClr val="822455"/>
            </a:solidFill>
            <a:ln w="12700">
              <a:miter lim="400000"/>
            </a:ln>
          </p:spPr>
          <p:txBody>
            <a:bodyPr lIns="50800" tIns="50800" rIns="50800" bIns="50800" anchor="ctr"/>
            <a:lstStyle/>
            <a:p>
              <a:pPr defTabSz="869793"/>
              <a:endParaRPr lang="en-US" sz="1266" dirty="0">
                <a:solidFill>
                  <a:srgbClr val="002D72"/>
                </a:solidFill>
              </a:endParaRPr>
            </a:p>
          </p:txBody>
        </p:sp>
        <p:sp>
          <p:nvSpPr>
            <p:cNvPr id="19" name="Rectangle"/>
            <p:cNvSpPr/>
            <p:nvPr userDrawn="1"/>
          </p:nvSpPr>
          <p:spPr>
            <a:xfrm>
              <a:off x="160238" y="154880"/>
              <a:ext cx="1300907" cy="216298"/>
            </a:xfrm>
            <a:prstGeom prst="rect">
              <a:avLst/>
            </a:prstGeom>
            <a:solidFill>
              <a:srgbClr val="DA2C57"/>
            </a:solidFill>
            <a:ln w="12700">
              <a:miter lim="400000"/>
            </a:ln>
          </p:spPr>
          <p:txBody>
            <a:bodyPr lIns="50800" tIns="50800" rIns="50800" bIns="50800" anchor="ctr"/>
            <a:lstStyle/>
            <a:p>
              <a:pPr defTabSz="869793"/>
              <a:endParaRPr lang="en-US" sz="1266" dirty="0">
                <a:solidFill>
                  <a:srgbClr val="002D72"/>
                </a:solidFill>
              </a:endParaRPr>
            </a:p>
          </p:txBody>
        </p:sp>
      </p:grpSp>
      <p:pic>
        <p:nvPicPr>
          <p:cNvPr id="20" name="footer-13.jpg" descr="footer-13.jpg"/>
          <p:cNvPicPr>
            <a:picLocks noChangeAspect="1"/>
          </p:cNvPicPr>
          <p:nvPr userDrawn="1"/>
        </p:nvPicPr>
        <p:blipFill>
          <a:blip r:embed="rId6" cstate="print"/>
          <a:stretch>
            <a:fillRect/>
          </a:stretch>
        </p:blipFill>
        <p:spPr>
          <a:xfrm>
            <a:off x="71486" y="6221392"/>
            <a:ext cx="12120516" cy="574391"/>
          </a:xfrm>
          <a:prstGeom prst="rect">
            <a:avLst/>
          </a:prstGeom>
          <a:ln w="12700">
            <a:miter lim="400000"/>
          </a:ln>
        </p:spPr>
      </p:pic>
    </p:spTree>
    <p:extLst>
      <p:ext uri="{BB962C8B-B14F-4D97-AF65-F5344CB8AC3E}">
        <p14:creationId xmlns:p14="http://schemas.microsoft.com/office/powerpoint/2010/main" val="3763047866"/>
      </p:ext>
    </p:extLst>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showMasterSp="0" preserve="1" userDrawn="1">
  <p:cSld name="Divider 2">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2020" y="1642"/>
          <a:ext cx="1953" cy="1587"/>
        </p:xfrm>
        <a:graphic>
          <a:graphicData uri="http://schemas.openxmlformats.org/presentationml/2006/ole">
            <mc:AlternateContent xmlns:mc="http://schemas.openxmlformats.org/markup-compatibility/2006">
              <mc:Choice xmlns:v="urn:schemas-microsoft-com:vml" Requires="v">
                <p:oleObj spid="_x0000_s2209524"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020" y="1642"/>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6" y="1188720"/>
            <a:ext cx="9115865" cy="649224"/>
          </a:xfrm>
        </p:spPr>
        <p:txBody>
          <a:bodyPr lIns="49455" tIns="61853" rIns="49455" bIns="61853">
            <a:noAutofit/>
          </a:bodyPr>
          <a:lstStyle>
            <a:lvl1pPr>
              <a:defRPr sz="3797" b="0" baseline="0">
                <a:solidFill>
                  <a:srgbClr val="EE4228"/>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49455" tIns="61853" rIns="49455" bIns="61853">
            <a:noAutofit/>
          </a:bodyPr>
          <a:lstStyle>
            <a:lvl1pPr>
              <a:defRPr sz="1406" b="0">
                <a:solidFill>
                  <a:srgbClr val="F69427"/>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49455" tIns="61853" rIns="49455" bIns="61853">
            <a:noAutofit/>
          </a:bodyPr>
          <a:lstStyle>
            <a:lvl1pPr>
              <a:defRPr sz="1336" b="0">
                <a:solidFill>
                  <a:srgbClr val="FCBA1A"/>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6" y="6221392"/>
            <a:ext cx="12120516" cy="574391"/>
          </a:xfrm>
          <a:prstGeom prst="rect">
            <a:avLst/>
          </a:prstGeom>
          <a:ln w="12700">
            <a:miter lim="400000"/>
          </a:ln>
        </p:spPr>
      </p:pic>
      <p:grpSp>
        <p:nvGrpSpPr>
          <p:cNvPr id="21" name="Group 20"/>
          <p:cNvGrpSpPr/>
          <p:nvPr userDrawn="1"/>
        </p:nvGrpSpPr>
        <p:grpSpPr>
          <a:xfrm>
            <a:off x="213693" y="98906"/>
            <a:ext cx="1113676" cy="6105595"/>
            <a:chOff x="160238" y="162796"/>
            <a:chExt cx="1300907" cy="8777933"/>
          </a:xfrm>
        </p:grpSpPr>
        <p:sp>
          <p:nvSpPr>
            <p:cNvPr id="22" name="Rectangle"/>
            <p:cNvSpPr/>
            <p:nvPr userDrawn="1"/>
          </p:nvSpPr>
          <p:spPr>
            <a:xfrm>
              <a:off x="160238" y="8406287"/>
              <a:ext cx="1300907" cy="534442"/>
            </a:xfrm>
            <a:prstGeom prst="rect">
              <a:avLst/>
            </a:prstGeom>
            <a:solidFill>
              <a:srgbClr val="D91F27"/>
            </a:solidFill>
            <a:ln w="12700">
              <a:miter lim="400000"/>
            </a:ln>
          </p:spPr>
          <p:txBody>
            <a:bodyPr lIns="50800" tIns="50800" rIns="50800" bIns="50800" anchor="ctr"/>
            <a:lstStyle/>
            <a:p>
              <a:pPr defTabSz="869793"/>
              <a:endParaRPr lang="en-US" sz="1266" dirty="0">
                <a:solidFill>
                  <a:srgbClr val="002D72"/>
                </a:solidFill>
              </a:endParaRPr>
            </a:p>
          </p:txBody>
        </p:sp>
        <p:sp>
          <p:nvSpPr>
            <p:cNvPr id="23" name="Rectangle"/>
            <p:cNvSpPr/>
            <p:nvPr userDrawn="1"/>
          </p:nvSpPr>
          <p:spPr>
            <a:xfrm>
              <a:off x="160238" y="8191280"/>
              <a:ext cx="1300907" cy="215008"/>
            </a:xfrm>
            <a:prstGeom prst="rect">
              <a:avLst/>
            </a:prstGeom>
            <a:solidFill>
              <a:srgbClr val="F36F26"/>
            </a:solidFill>
            <a:ln w="12700">
              <a:miter lim="400000"/>
            </a:ln>
          </p:spPr>
          <p:txBody>
            <a:bodyPr lIns="50800" tIns="50800" rIns="50800" bIns="50800" anchor="ctr"/>
            <a:lstStyle/>
            <a:p>
              <a:pPr defTabSz="869793"/>
              <a:endParaRPr lang="en-US" sz="1266" dirty="0">
                <a:solidFill>
                  <a:srgbClr val="002D72"/>
                </a:solidFill>
              </a:endParaRPr>
            </a:p>
          </p:txBody>
        </p:sp>
        <p:sp>
          <p:nvSpPr>
            <p:cNvPr id="24" name="Rectangle"/>
            <p:cNvSpPr/>
            <p:nvPr userDrawn="1"/>
          </p:nvSpPr>
          <p:spPr>
            <a:xfrm>
              <a:off x="160238" y="6203779"/>
              <a:ext cx="1300907" cy="1987502"/>
            </a:xfrm>
            <a:prstGeom prst="rect">
              <a:avLst/>
            </a:prstGeom>
            <a:solidFill>
              <a:srgbClr val="FBB91A"/>
            </a:solidFill>
            <a:ln w="12700">
              <a:miter lim="400000"/>
            </a:ln>
          </p:spPr>
          <p:txBody>
            <a:bodyPr lIns="50800" tIns="50800" rIns="50800" bIns="50800" anchor="ctr"/>
            <a:lstStyle/>
            <a:p>
              <a:pPr defTabSz="869793"/>
              <a:endParaRPr lang="en-US" sz="1266" dirty="0">
                <a:solidFill>
                  <a:srgbClr val="002D72"/>
                </a:solidFill>
              </a:endParaRPr>
            </a:p>
          </p:txBody>
        </p:sp>
        <p:sp>
          <p:nvSpPr>
            <p:cNvPr id="25" name="Rectangle"/>
            <p:cNvSpPr/>
            <p:nvPr userDrawn="1"/>
          </p:nvSpPr>
          <p:spPr>
            <a:xfrm>
              <a:off x="160238" y="5732341"/>
              <a:ext cx="1300907" cy="471439"/>
            </a:xfrm>
            <a:prstGeom prst="rect">
              <a:avLst/>
            </a:prstGeom>
            <a:solidFill>
              <a:srgbClr val="F69427"/>
            </a:solidFill>
            <a:ln w="12700">
              <a:miter lim="400000"/>
            </a:ln>
          </p:spPr>
          <p:txBody>
            <a:bodyPr lIns="50800" tIns="50800" rIns="50800" bIns="50800" anchor="ctr"/>
            <a:lstStyle/>
            <a:p>
              <a:pPr defTabSz="869793"/>
              <a:endParaRPr lang="en-US" sz="1266" dirty="0">
                <a:solidFill>
                  <a:srgbClr val="002D72"/>
                </a:solidFill>
              </a:endParaRPr>
            </a:p>
          </p:txBody>
        </p:sp>
        <p:sp>
          <p:nvSpPr>
            <p:cNvPr id="26" name="Rectangle"/>
            <p:cNvSpPr/>
            <p:nvPr userDrawn="1"/>
          </p:nvSpPr>
          <p:spPr>
            <a:xfrm>
              <a:off x="160238" y="379093"/>
              <a:ext cx="1300907" cy="813396"/>
            </a:xfrm>
            <a:prstGeom prst="rect">
              <a:avLst/>
            </a:prstGeom>
            <a:solidFill>
              <a:srgbClr val="F79824"/>
            </a:solidFill>
            <a:ln w="12700">
              <a:miter lim="400000"/>
            </a:ln>
          </p:spPr>
          <p:txBody>
            <a:bodyPr lIns="50800" tIns="50800" rIns="50800" bIns="50800" anchor="ctr"/>
            <a:lstStyle/>
            <a:p>
              <a:pPr defTabSz="869793"/>
              <a:endParaRPr lang="en-US" sz="1266" dirty="0">
                <a:solidFill>
                  <a:srgbClr val="002D72"/>
                </a:solidFill>
              </a:endParaRPr>
            </a:p>
          </p:txBody>
        </p:sp>
        <p:sp>
          <p:nvSpPr>
            <p:cNvPr id="27" name="Rectangle"/>
            <p:cNvSpPr/>
            <p:nvPr userDrawn="1"/>
          </p:nvSpPr>
          <p:spPr>
            <a:xfrm>
              <a:off x="160238" y="1192488"/>
              <a:ext cx="1300907" cy="4539854"/>
            </a:xfrm>
            <a:prstGeom prst="rect">
              <a:avLst/>
            </a:prstGeom>
            <a:solidFill>
              <a:srgbClr val="EE4329"/>
            </a:solidFill>
            <a:ln w="12700">
              <a:miter lim="400000"/>
            </a:ln>
          </p:spPr>
          <p:txBody>
            <a:bodyPr lIns="50800" tIns="50800" rIns="50800" bIns="50800" anchor="ctr"/>
            <a:lstStyle/>
            <a:p>
              <a:pPr defTabSz="869793"/>
              <a:endParaRPr lang="en-US" sz="1266" dirty="0">
                <a:solidFill>
                  <a:srgbClr val="002D72"/>
                </a:solidFill>
              </a:endParaRPr>
            </a:p>
          </p:txBody>
        </p:sp>
        <p:sp>
          <p:nvSpPr>
            <p:cNvPr id="28" name="Rectangle"/>
            <p:cNvSpPr/>
            <p:nvPr userDrawn="1"/>
          </p:nvSpPr>
          <p:spPr>
            <a:xfrm>
              <a:off x="160238" y="162796"/>
              <a:ext cx="1300907" cy="216298"/>
            </a:xfrm>
            <a:prstGeom prst="rect">
              <a:avLst/>
            </a:prstGeom>
            <a:solidFill>
              <a:srgbClr val="BF2126"/>
            </a:solidFill>
            <a:ln w="12700">
              <a:miter lim="400000"/>
            </a:ln>
          </p:spPr>
          <p:txBody>
            <a:bodyPr lIns="50800" tIns="50800" rIns="50800" bIns="50800" anchor="ctr"/>
            <a:lstStyle/>
            <a:p>
              <a:pPr defTabSz="869793"/>
              <a:endParaRPr lang="en-US" sz="1266" dirty="0">
                <a:solidFill>
                  <a:srgbClr val="002D72"/>
                </a:solidFill>
              </a:endParaRPr>
            </a:p>
          </p:txBody>
        </p:sp>
      </p:grpSp>
    </p:spTree>
    <p:extLst>
      <p:ext uri="{BB962C8B-B14F-4D97-AF65-F5344CB8AC3E}">
        <p14:creationId xmlns:p14="http://schemas.microsoft.com/office/powerpoint/2010/main" val="53129476"/>
      </p:ext>
    </p:extLst>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showMasterSp="0" preserve="1" userDrawn="1">
  <p:cSld name="Divider 3">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2020" y="1642"/>
          <a:ext cx="1953" cy="1587"/>
        </p:xfrm>
        <a:graphic>
          <a:graphicData uri="http://schemas.openxmlformats.org/presentationml/2006/ole">
            <mc:AlternateContent xmlns:mc="http://schemas.openxmlformats.org/markup-compatibility/2006">
              <mc:Choice xmlns:v="urn:schemas-microsoft-com:vml" Requires="v">
                <p:oleObj spid="_x0000_s2210548"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020" y="1642"/>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6" y="1188720"/>
            <a:ext cx="9115865" cy="649224"/>
          </a:xfrm>
        </p:spPr>
        <p:txBody>
          <a:bodyPr lIns="49455" tIns="61853" rIns="49455" bIns="61853">
            <a:noAutofit/>
          </a:bodyPr>
          <a:lstStyle>
            <a:lvl1pPr>
              <a:defRPr sz="3797" b="0" baseline="0">
                <a:solidFill>
                  <a:srgbClr val="007272"/>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49455" tIns="61853" rIns="49455" bIns="61853">
            <a:noAutofit/>
          </a:bodyPr>
          <a:lstStyle>
            <a:lvl1pPr>
              <a:defRPr sz="1406" b="0">
                <a:solidFill>
                  <a:srgbClr val="00C0B6"/>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49455" tIns="61853" rIns="49455" bIns="61853">
            <a:noAutofit/>
          </a:bodyPr>
          <a:lstStyle>
            <a:lvl1pPr>
              <a:defRPr sz="1336" b="0">
                <a:solidFill>
                  <a:srgbClr val="00A6AB"/>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6" y="6221392"/>
            <a:ext cx="12120516" cy="574391"/>
          </a:xfrm>
          <a:prstGeom prst="rect">
            <a:avLst/>
          </a:prstGeom>
          <a:ln w="12700">
            <a:miter lim="400000"/>
          </a:ln>
        </p:spPr>
      </p:pic>
      <p:grpSp>
        <p:nvGrpSpPr>
          <p:cNvPr id="21" name="Group 20"/>
          <p:cNvGrpSpPr/>
          <p:nvPr userDrawn="1"/>
        </p:nvGrpSpPr>
        <p:grpSpPr>
          <a:xfrm>
            <a:off x="213693" y="99934"/>
            <a:ext cx="1113676" cy="6105588"/>
            <a:chOff x="90616" y="113613"/>
            <a:chExt cx="1300907" cy="8777933"/>
          </a:xfrm>
        </p:grpSpPr>
        <p:sp>
          <p:nvSpPr>
            <p:cNvPr id="22" name="Rectangle"/>
            <p:cNvSpPr/>
            <p:nvPr userDrawn="1"/>
          </p:nvSpPr>
          <p:spPr>
            <a:xfrm>
              <a:off x="90616" y="8357104"/>
              <a:ext cx="1300907" cy="534442"/>
            </a:xfrm>
            <a:prstGeom prst="rect">
              <a:avLst/>
            </a:prstGeom>
            <a:solidFill>
              <a:srgbClr val="00C0B6"/>
            </a:solidFill>
            <a:ln w="12700">
              <a:miter lim="400000"/>
            </a:ln>
          </p:spPr>
          <p:txBody>
            <a:bodyPr lIns="50800" tIns="50800" rIns="50800" bIns="50800" anchor="ctr"/>
            <a:lstStyle/>
            <a:p>
              <a:pPr defTabSz="869793"/>
              <a:endParaRPr lang="en-US" sz="1266" dirty="0">
                <a:solidFill>
                  <a:srgbClr val="002D72"/>
                </a:solidFill>
              </a:endParaRPr>
            </a:p>
          </p:txBody>
        </p:sp>
        <p:sp>
          <p:nvSpPr>
            <p:cNvPr id="23" name="Rectangle"/>
            <p:cNvSpPr/>
            <p:nvPr userDrawn="1"/>
          </p:nvSpPr>
          <p:spPr>
            <a:xfrm>
              <a:off x="90616" y="8142097"/>
              <a:ext cx="1300907" cy="215008"/>
            </a:xfrm>
            <a:prstGeom prst="rect">
              <a:avLst/>
            </a:prstGeom>
            <a:solidFill>
              <a:srgbClr val="007272"/>
            </a:solidFill>
            <a:ln w="12700">
              <a:miter lim="400000"/>
            </a:ln>
          </p:spPr>
          <p:txBody>
            <a:bodyPr lIns="50800" tIns="50800" rIns="50800" bIns="50800" anchor="ctr"/>
            <a:lstStyle/>
            <a:p>
              <a:pPr defTabSz="869793"/>
              <a:endParaRPr lang="en-US" sz="1266" dirty="0">
                <a:solidFill>
                  <a:srgbClr val="002D72"/>
                </a:solidFill>
              </a:endParaRPr>
            </a:p>
          </p:txBody>
        </p:sp>
        <p:sp>
          <p:nvSpPr>
            <p:cNvPr id="24" name="Rectangle"/>
            <p:cNvSpPr/>
            <p:nvPr userDrawn="1"/>
          </p:nvSpPr>
          <p:spPr>
            <a:xfrm>
              <a:off x="90616" y="6154596"/>
              <a:ext cx="1300907" cy="1987502"/>
            </a:xfrm>
            <a:prstGeom prst="rect">
              <a:avLst/>
            </a:prstGeom>
            <a:solidFill>
              <a:srgbClr val="00A6AB"/>
            </a:solidFill>
            <a:ln w="12700">
              <a:miter lim="400000"/>
            </a:ln>
          </p:spPr>
          <p:txBody>
            <a:bodyPr lIns="50800" tIns="50800" rIns="50800" bIns="50800" anchor="ctr"/>
            <a:lstStyle/>
            <a:p>
              <a:pPr defTabSz="869793"/>
              <a:endParaRPr lang="en-US" sz="1266" dirty="0">
                <a:solidFill>
                  <a:srgbClr val="002D72"/>
                </a:solidFill>
              </a:endParaRPr>
            </a:p>
          </p:txBody>
        </p:sp>
        <p:sp>
          <p:nvSpPr>
            <p:cNvPr id="25" name="Rectangle"/>
            <p:cNvSpPr/>
            <p:nvPr userDrawn="1"/>
          </p:nvSpPr>
          <p:spPr>
            <a:xfrm>
              <a:off x="90616" y="5683158"/>
              <a:ext cx="1300907" cy="471439"/>
            </a:xfrm>
            <a:prstGeom prst="rect">
              <a:avLst/>
            </a:prstGeom>
            <a:solidFill>
              <a:srgbClr val="00C0B6"/>
            </a:solidFill>
            <a:ln w="12700">
              <a:miter lim="400000"/>
            </a:ln>
          </p:spPr>
          <p:txBody>
            <a:bodyPr lIns="50800" tIns="50800" rIns="50800" bIns="50800" anchor="ctr"/>
            <a:lstStyle/>
            <a:p>
              <a:pPr defTabSz="869793"/>
              <a:endParaRPr lang="en-US" sz="1266" dirty="0">
                <a:solidFill>
                  <a:srgbClr val="002D72"/>
                </a:solidFill>
              </a:endParaRPr>
            </a:p>
          </p:txBody>
        </p:sp>
        <p:sp>
          <p:nvSpPr>
            <p:cNvPr id="26" name="Rectangle"/>
            <p:cNvSpPr/>
            <p:nvPr userDrawn="1"/>
          </p:nvSpPr>
          <p:spPr>
            <a:xfrm>
              <a:off x="90616" y="329910"/>
              <a:ext cx="1300907" cy="813396"/>
            </a:xfrm>
            <a:prstGeom prst="rect">
              <a:avLst/>
            </a:prstGeom>
            <a:solidFill>
              <a:srgbClr val="00C0B6"/>
            </a:solidFill>
            <a:ln w="12700">
              <a:miter lim="400000"/>
            </a:ln>
          </p:spPr>
          <p:txBody>
            <a:bodyPr lIns="50800" tIns="50800" rIns="50800" bIns="50800" anchor="ctr"/>
            <a:lstStyle/>
            <a:p>
              <a:pPr defTabSz="869793"/>
              <a:endParaRPr lang="en-US" sz="1266" dirty="0">
                <a:solidFill>
                  <a:srgbClr val="002D72"/>
                </a:solidFill>
              </a:endParaRPr>
            </a:p>
          </p:txBody>
        </p:sp>
        <p:sp>
          <p:nvSpPr>
            <p:cNvPr id="27" name="Rectangle"/>
            <p:cNvSpPr/>
            <p:nvPr userDrawn="1"/>
          </p:nvSpPr>
          <p:spPr>
            <a:xfrm>
              <a:off x="90616" y="1143305"/>
              <a:ext cx="1300907" cy="4539854"/>
            </a:xfrm>
            <a:prstGeom prst="rect">
              <a:avLst/>
            </a:prstGeom>
            <a:solidFill>
              <a:srgbClr val="007272"/>
            </a:solidFill>
            <a:ln w="12700">
              <a:miter lim="400000"/>
            </a:ln>
          </p:spPr>
          <p:txBody>
            <a:bodyPr lIns="50800" tIns="50800" rIns="50800" bIns="50800" anchor="ctr"/>
            <a:lstStyle/>
            <a:p>
              <a:pPr defTabSz="869793"/>
              <a:endParaRPr lang="en-US" sz="1266" dirty="0">
                <a:solidFill>
                  <a:srgbClr val="002D72"/>
                </a:solidFill>
              </a:endParaRPr>
            </a:p>
          </p:txBody>
        </p:sp>
        <p:sp>
          <p:nvSpPr>
            <p:cNvPr id="28" name="Rectangle"/>
            <p:cNvSpPr/>
            <p:nvPr userDrawn="1"/>
          </p:nvSpPr>
          <p:spPr>
            <a:xfrm>
              <a:off x="90616" y="113613"/>
              <a:ext cx="1300907" cy="216298"/>
            </a:xfrm>
            <a:prstGeom prst="rect">
              <a:avLst/>
            </a:prstGeom>
            <a:solidFill>
              <a:srgbClr val="00A6AB"/>
            </a:solidFill>
            <a:ln w="12700">
              <a:miter lim="400000"/>
            </a:ln>
          </p:spPr>
          <p:txBody>
            <a:bodyPr lIns="50800" tIns="50800" rIns="50800" bIns="50800" anchor="ctr"/>
            <a:lstStyle/>
            <a:p>
              <a:pPr defTabSz="869793"/>
              <a:endParaRPr lang="en-US" sz="1266" dirty="0">
                <a:solidFill>
                  <a:srgbClr val="002D72"/>
                </a:solidFill>
              </a:endParaRPr>
            </a:p>
          </p:txBody>
        </p:sp>
      </p:grpSp>
    </p:spTree>
    <p:extLst>
      <p:ext uri="{BB962C8B-B14F-4D97-AF65-F5344CB8AC3E}">
        <p14:creationId xmlns:p14="http://schemas.microsoft.com/office/powerpoint/2010/main" val="2913248599"/>
      </p:ext>
    </p:extLst>
  </p:cSld>
  <p:clrMapOvr>
    <a:masterClrMapping/>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showMasterSp="0" preserve="1" userDrawn="1">
  <p:cSld name="Divider 4">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2020" y="1642"/>
          <a:ext cx="1953" cy="1587"/>
        </p:xfrm>
        <a:graphic>
          <a:graphicData uri="http://schemas.openxmlformats.org/presentationml/2006/ole">
            <mc:AlternateContent xmlns:mc="http://schemas.openxmlformats.org/markup-compatibility/2006">
              <mc:Choice xmlns:v="urn:schemas-microsoft-com:vml" Requires="v">
                <p:oleObj spid="_x0000_s2211572"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020" y="1642"/>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6" y="1188720"/>
            <a:ext cx="9115865" cy="649224"/>
          </a:xfrm>
        </p:spPr>
        <p:txBody>
          <a:bodyPr lIns="49455" tIns="61853" rIns="49455" bIns="61853">
            <a:noAutofit/>
          </a:bodyPr>
          <a:lstStyle>
            <a:lvl1pPr>
              <a:defRPr sz="3797" b="0" baseline="0">
                <a:solidFill>
                  <a:srgbClr val="73A600"/>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49455" tIns="61853" rIns="49455" bIns="61853">
            <a:noAutofit/>
          </a:bodyPr>
          <a:lstStyle>
            <a:lvl1pPr>
              <a:defRPr sz="1406" b="0">
                <a:solidFill>
                  <a:srgbClr val="AABA35"/>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49455" tIns="61853" rIns="49455" bIns="61853">
            <a:noAutofit/>
          </a:bodyPr>
          <a:lstStyle>
            <a:lvl1pPr>
              <a:defRPr sz="1336" b="0">
                <a:solidFill>
                  <a:srgbClr val="94B301"/>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6" y="6221392"/>
            <a:ext cx="12120516" cy="574391"/>
          </a:xfrm>
          <a:prstGeom prst="rect">
            <a:avLst/>
          </a:prstGeom>
          <a:ln w="12700">
            <a:miter lim="400000"/>
          </a:ln>
        </p:spPr>
      </p:pic>
      <p:grpSp>
        <p:nvGrpSpPr>
          <p:cNvPr id="21" name="Group 20"/>
          <p:cNvGrpSpPr/>
          <p:nvPr userDrawn="1"/>
        </p:nvGrpSpPr>
        <p:grpSpPr>
          <a:xfrm>
            <a:off x="215939" y="99934"/>
            <a:ext cx="1113675" cy="6105588"/>
            <a:chOff x="160238" y="154880"/>
            <a:chExt cx="1300907" cy="8777933"/>
          </a:xfrm>
        </p:grpSpPr>
        <p:sp>
          <p:nvSpPr>
            <p:cNvPr id="22" name="Rectangle"/>
            <p:cNvSpPr/>
            <p:nvPr userDrawn="1"/>
          </p:nvSpPr>
          <p:spPr>
            <a:xfrm>
              <a:off x="160238" y="8398371"/>
              <a:ext cx="1300907" cy="534442"/>
            </a:xfrm>
            <a:prstGeom prst="rect">
              <a:avLst/>
            </a:prstGeom>
            <a:solidFill>
              <a:srgbClr val="AABA36"/>
            </a:solidFill>
            <a:ln w="12700">
              <a:miter lim="400000"/>
            </a:ln>
          </p:spPr>
          <p:txBody>
            <a:bodyPr lIns="50800" tIns="50800" rIns="50800" bIns="50800" anchor="ctr"/>
            <a:lstStyle/>
            <a:p>
              <a:pPr defTabSz="869793"/>
              <a:endParaRPr lang="en-US" sz="1266" dirty="0">
                <a:solidFill>
                  <a:srgbClr val="002D72"/>
                </a:solidFill>
              </a:endParaRPr>
            </a:p>
          </p:txBody>
        </p:sp>
        <p:sp>
          <p:nvSpPr>
            <p:cNvPr id="23" name="Rectangle"/>
            <p:cNvSpPr/>
            <p:nvPr userDrawn="1"/>
          </p:nvSpPr>
          <p:spPr>
            <a:xfrm>
              <a:off x="160238" y="8183364"/>
              <a:ext cx="1300907" cy="215008"/>
            </a:xfrm>
            <a:prstGeom prst="rect">
              <a:avLst/>
            </a:prstGeom>
            <a:solidFill>
              <a:srgbClr val="CEDD01"/>
            </a:solidFill>
            <a:ln w="12700">
              <a:miter lim="400000"/>
            </a:ln>
          </p:spPr>
          <p:txBody>
            <a:bodyPr lIns="50800" tIns="50800" rIns="50800" bIns="50800" anchor="ctr"/>
            <a:lstStyle/>
            <a:p>
              <a:pPr defTabSz="869793"/>
              <a:endParaRPr lang="en-US" sz="1266" dirty="0">
                <a:solidFill>
                  <a:srgbClr val="002D72"/>
                </a:solidFill>
              </a:endParaRPr>
            </a:p>
          </p:txBody>
        </p:sp>
        <p:sp>
          <p:nvSpPr>
            <p:cNvPr id="24" name="Rectangle"/>
            <p:cNvSpPr/>
            <p:nvPr userDrawn="1"/>
          </p:nvSpPr>
          <p:spPr>
            <a:xfrm>
              <a:off x="160238" y="6195863"/>
              <a:ext cx="1300907" cy="1987502"/>
            </a:xfrm>
            <a:prstGeom prst="rect">
              <a:avLst/>
            </a:prstGeom>
            <a:solidFill>
              <a:srgbClr val="94B301"/>
            </a:solidFill>
            <a:ln w="12700">
              <a:miter lim="400000"/>
            </a:ln>
          </p:spPr>
          <p:txBody>
            <a:bodyPr lIns="50800" tIns="50800" rIns="50800" bIns="50800" anchor="ctr"/>
            <a:lstStyle/>
            <a:p>
              <a:pPr defTabSz="869793"/>
              <a:endParaRPr lang="en-US" sz="1266" dirty="0">
                <a:solidFill>
                  <a:srgbClr val="002D72"/>
                </a:solidFill>
              </a:endParaRPr>
            </a:p>
          </p:txBody>
        </p:sp>
        <p:sp>
          <p:nvSpPr>
            <p:cNvPr id="25" name="Rectangle"/>
            <p:cNvSpPr/>
            <p:nvPr userDrawn="1"/>
          </p:nvSpPr>
          <p:spPr>
            <a:xfrm>
              <a:off x="160238" y="5724425"/>
              <a:ext cx="1300907" cy="471439"/>
            </a:xfrm>
            <a:prstGeom prst="rect">
              <a:avLst/>
            </a:prstGeom>
            <a:solidFill>
              <a:srgbClr val="AABA36"/>
            </a:solidFill>
            <a:ln w="12700">
              <a:miter lim="400000"/>
            </a:ln>
          </p:spPr>
          <p:txBody>
            <a:bodyPr lIns="50800" tIns="50800" rIns="50800" bIns="50800" anchor="ctr"/>
            <a:lstStyle/>
            <a:p>
              <a:pPr defTabSz="869793"/>
              <a:endParaRPr lang="en-US" sz="1266" dirty="0">
                <a:solidFill>
                  <a:srgbClr val="002D72"/>
                </a:solidFill>
              </a:endParaRPr>
            </a:p>
          </p:txBody>
        </p:sp>
        <p:sp>
          <p:nvSpPr>
            <p:cNvPr id="26" name="Rectangle"/>
            <p:cNvSpPr/>
            <p:nvPr userDrawn="1"/>
          </p:nvSpPr>
          <p:spPr>
            <a:xfrm>
              <a:off x="160238" y="371177"/>
              <a:ext cx="1300907" cy="813396"/>
            </a:xfrm>
            <a:prstGeom prst="rect">
              <a:avLst/>
            </a:prstGeom>
            <a:solidFill>
              <a:srgbClr val="CEDD01"/>
            </a:solidFill>
            <a:ln w="12700">
              <a:miter lim="400000"/>
            </a:ln>
          </p:spPr>
          <p:txBody>
            <a:bodyPr lIns="50800" tIns="50800" rIns="50800" bIns="50800" anchor="ctr"/>
            <a:lstStyle/>
            <a:p>
              <a:pPr defTabSz="869793"/>
              <a:endParaRPr lang="en-US" sz="1266" dirty="0">
                <a:solidFill>
                  <a:srgbClr val="002D72"/>
                </a:solidFill>
              </a:endParaRPr>
            </a:p>
          </p:txBody>
        </p:sp>
        <p:sp>
          <p:nvSpPr>
            <p:cNvPr id="27" name="Rectangle"/>
            <p:cNvSpPr/>
            <p:nvPr userDrawn="1"/>
          </p:nvSpPr>
          <p:spPr>
            <a:xfrm>
              <a:off x="160238" y="1184572"/>
              <a:ext cx="1300907" cy="4539854"/>
            </a:xfrm>
            <a:prstGeom prst="rect">
              <a:avLst/>
            </a:prstGeom>
            <a:solidFill>
              <a:srgbClr val="73A600"/>
            </a:solidFill>
            <a:ln w="12700">
              <a:miter lim="400000"/>
            </a:ln>
          </p:spPr>
          <p:txBody>
            <a:bodyPr lIns="50800" tIns="50800" rIns="50800" bIns="50800" anchor="ctr"/>
            <a:lstStyle/>
            <a:p>
              <a:pPr defTabSz="869793"/>
              <a:endParaRPr lang="en-US" sz="1266" dirty="0">
                <a:solidFill>
                  <a:srgbClr val="002D72"/>
                </a:solidFill>
              </a:endParaRPr>
            </a:p>
          </p:txBody>
        </p:sp>
        <p:sp>
          <p:nvSpPr>
            <p:cNvPr id="28" name="Rectangle"/>
            <p:cNvSpPr/>
            <p:nvPr userDrawn="1"/>
          </p:nvSpPr>
          <p:spPr>
            <a:xfrm>
              <a:off x="160238" y="154880"/>
              <a:ext cx="1300907" cy="216298"/>
            </a:xfrm>
            <a:prstGeom prst="rect">
              <a:avLst/>
            </a:prstGeom>
            <a:solidFill>
              <a:srgbClr val="94B301"/>
            </a:solidFill>
            <a:ln w="12700">
              <a:miter lim="400000"/>
            </a:ln>
          </p:spPr>
          <p:txBody>
            <a:bodyPr lIns="50800" tIns="50800" rIns="50800" bIns="50800" anchor="ctr"/>
            <a:lstStyle/>
            <a:p>
              <a:pPr defTabSz="869793"/>
              <a:endParaRPr lang="en-US" sz="1266" dirty="0">
                <a:solidFill>
                  <a:srgbClr val="002D72"/>
                </a:solidFill>
              </a:endParaRPr>
            </a:p>
          </p:txBody>
        </p:sp>
      </p:grpSp>
    </p:spTree>
    <p:extLst>
      <p:ext uri="{BB962C8B-B14F-4D97-AF65-F5344CB8AC3E}">
        <p14:creationId xmlns:p14="http://schemas.microsoft.com/office/powerpoint/2010/main" val="3096462013"/>
      </p:ext>
    </p:extLst>
  </p:cSld>
  <p:clrMapOvr>
    <a:masterClrMapping/>
  </p:clrMapOvr>
</p:sldLayout>
</file>

<file path=ppt/slideLayouts/slideLayout219.xml><?xml version="1.0" encoding="utf-8"?>
<p:sldLayout xmlns:a="http://schemas.openxmlformats.org/drawingml/2006/main" xmlns:r="http://schemas.openxmlformats.org/officeDocument/2006/relationships" xmlns:p="http://schemas.openxmlformats.org/presentationml/2006/main" showMasterSp="0" preserve="1" userDrawn="1">
  <p:cSld name="Divider 5">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2020" y="1642"/>
          <a:ext cx="1953" cy="1587"/>
        </p:xfrm>
        <a:graphic>
          <a:graphicData uri="http://schemas.openxmlformats.org/presentationml/2006/ole">
            <mc:AlternateContent xmlns:mc="http://schemas.openxmlformats.org/markup-compatibility/2006">
              <mc:Choice xmlns:v="urn:schemas-microsoft-com:vml" Requires="v">
                <p:oleObj spid="_x0000_s2212596"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020" y="1642"/>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6" y="1188720"/>
            <a:ext cx="9115865" cy="649224"/>
          </a:xfrm>
        </p:spPr>
        <p:txBody>
          <a:bodyPr lIns="49455" tIns="61853" rIns="49455" bIns="61853">
            <a:noAutofit/>
          </a:bodyPr>
          <a:lstStyle>
            <a:lvl1pPr>
              <a:defRPr sz="3797" b="0" baseline="0">
                <a:solidFill>
                  <a:srgbClr val="70147B"/>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49455" tIns="61853" rIns="49455" bIns="61853">
            <a:noAutofit/>
          </a:bodyPr>
          <a:lstStyle>
            <a:lvl1pPr>
              <a:defRPr sz="1406" b="0">
                <a:solidFill>
                  <a:srgbClr val="8B4093"/>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49455" tIns="61853" rIns="49455" bIns="61853">
            <a:noAutofit/>
          </a:bodyPr>
          <a:lstStyle>
            <a:lvl1pPr>
              <a:defRPr sz="1336" b="0">
                <a:solidFill>
                  <a:srgbClr val="63006C"/>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6" y="6221392"/>
            <a:ext cx="12120516" cy="574391"/>
          </a:xfrm>
          <a:prstGeom prst="rect">
            <a:avLst/>
          </a:prstGeom>
          <a:ln w="12700">
            <a:miter lim="400000"/>
          </a:ln>
        </p:spPr>
      </p:pic>
      <p:grpSp>
        <p:nvGrpSpPr>
          <p:cNvPr id="21" name="Group 20"/>
          <p:cNvGrpSpPr/>
          <p:nvPr userDrawn="1"/>
        </p:nvGrpSpPr>
        <p:grpSpPr>
          <a:xfrm>
            <a:off x="215939" y="99934"/>
            <a:ext cx="1113675" cy="6105588"/>
            <a:chOff x="1081465" y="114688"/>
            <a:chExt cx="1300907" cy="8777933"/>
          </a:xfrm>
        </p:grpSpPr>
        <p:sp>
          <p:nvSpPr>
            <p:cNvPr id="22" name="Rectangle"/>
            <p:cNvSpPr/>
            <p:nvPr userDrawn="1"/>
          </p:nvSpPr>
          <p:spPr>
            <a:xfrm>
              <a:off x="1081465" y="8358179"/>
              <a:ext cx="1300907" cy="534442"/>
            </a:xfrm>
            <a:prstGeom prst="rect">
              <a:avLst/>
            </a:prstGeom>
            <a:solidFill>
              <a:srgbClr val="8C4395"/>
            </a:solidFill>
            <a:ln w="12700">
              <a:miter lim="400000"/>
            </a:ln>
          </p:spPr>
          <p:txBody>
            <a:bodyPr lIns="50800" tIns="50800" rIns="50800" bIns="50800" anchor="ctr"/>
            <a:lstStyle/>
            <a:p>
              <a:pPr defTabSz="869793"/>
              <a:endParaRPr lang="en-US" sz="1266" dirty="0">
                <a:solidFill>
                  <a:srgbClr val="002D72"/>
                </a:solidFill>
              </a:endParaRPr>
            </a:p>
          </p:txBody>
        </p:sp>
        <p:sp>
          <p:nvSpPr>
            <p:cNvPr id="23" name="Rectangle"/>
            <p:cNvSpPr/>
            <p:nvPr userDrawn="1"/>
          </p:nvSpPr>
          <p:spPr>
            <a:xfrm>
              <a:off x="1081465" y="8143172"/>
              <a:ext cx="1300907" cy="215008"/>
            </a:xfrm>
            <a:prstGeom prst="rect">
              <a:avLst/>
            </a:prstGeom>
            <a:solidFill>
              <a:srgbClr val="A469AB"/>
            </a:solidFill>
            <a:ln w="12700">
              <a:miter lim="400000"/>
            </a:ln>
          </p:spPr>
          <p:txBody>
            <a:bodyPr lIns="50800" tIns="50800" rIns="50800" bIns="50800" anchor="ctr"/>
            <a:lstStyle/>
            <a:p>
              <a:pPr defTabSz="869793"/>
              <a:endParaRPr lang="en-US" sz="1266" dirty="0">
                <a:solidFill>
                  <a:srgbClr val="002D72"/>
                </a:solidFill>
              </a:endParaRPr>
            </a:p>
          </p:txBody>
        </p:sp>
        <p:sp>
          <p:nvSpPr>
            <p:cNvPr id="24" name="Rectangle"/>
            <p:cNvSpPr/>
            <p:nvPr userDrawn="1"/>
          </p:nvSpPr>
          <p:spPr>
            <a:xfrm>
              <a:off x="1081465" y="6155671"/>
              <a:ext cx="1300907" cy="1987502"/>
            </a:xfrm>
            <a:prstGeom prst="rect">
              <a:avLst/>
            </a:prstGeom>
            <a:solidFill>
              <a:srgbClr val="63006C"/>
            </a:solidFill>
            <a:ln w="12700">
              <a:miter lim="400000"/>
            </a:ln>
          </p:spPr>
          <p:txBody>
            <a:bodyPr lIns="50800" tIns="50800" rIns="50800" bIns="50800" anchor="ctr"/>
            <a:lstStyle/>
            <a:p>
              <a:pPr defTabSz="869793"/>
              <a:endParaRPr lang="en-US" sz="1266" dirty="0">
                <a:solidFill>
                  <a:srgbClr val="002D72"/>
                </a:solidFill>
              </a:endParaRPr>
            </a:p>
          </p:txBody>
        </p:sp>
        <p:sp>
          <p:nvSpPr>
            <p:cNvPr id="25" name="Rectangle"/>
            <p:cNvSpPr/>
            <p:nvPr userDrawn="1"/>
          </p:nvSpPr>
          <p:spPr>
            <a:xfrm>
              <a:off x="1081465" y="5684233"/>
              <a:ext cx="1300907" cy="471439"/>
            </a:xfrm>
            <a:prstGeom prst="rect">
              <a:avLst/>
            </a:prstGeom>
            <a:solidFill>
              <a:srgbClr val="8B4193"/>
            </a:solidFill>
            <a:ln w="12700">
              <a:miter lim="400000"/>
            </a:ln>
          </p:spPr>
          <p:txBody>
            <a:bodyPr lIns="50800" tIns="50800" rIns="50800" bIns="50800" anchor="ctr"/>
            <a:lstStyle/>
            <a:p>
              <a:pPr defTabSz="869793"/>
              <a:endParaRPr lang="en-US" sz="1266" dirty="0">
                <a:solidFill>
                  <a:srgbClr val="002D72"/>
                </a:solidFill>
              </a:endParaRPr>
            </a:p>
          </p:txBody>
        </p:sp>
        <p:sp>
          <p:nvSpPr>
            <p:cNvPr id="26" name="Rectangle"/>
            <p:cNvSpPr/>
            <p:nvPr userDrawn="1"/>
          </p:nvSpPr>
          <p:spPr>
            <a:xfrm>
              <a:off x="1081465" y="330985"/>
              <a:ext cx="1300907" cy="813396"/>
            </a:xfrm>
            <a:prstGeom prst="rect">
              <a:avLst/>
            </a:prstGeom>
            <a:solidFill>
              <a:srgbClr val="8C4395"/>
            </a:solidFill>
            <a:ln w="12700">
              <a:miter lim="400000"/>
            </a:ln>
          </p:spPr>
          <p:txBody>
            <a:bodyPr lIns="50800" tIns="50800" rIns="50800" bIns="50800" anchor="ctr"/>
            <a:lstStyle/>
            <a:p>
              <a:pPr defTabSz="869793"/>
              <a:endParaRPr lang="en-US" sz="1266" dirty="0">
                <a:solidFill>
                  <a:srgbClr val="002D72"/>
                </a:solidFill>
              </a:endParaRPr>
            </a:p>
          </p:txBody>
        </p:sp>
        <p:sp>
          <p:nvSpPr>
            <p:cNvPr id="27" name="Rectangle"/>
            <p:cNvSpPr/>
            <p:nvPr userDrawn="1"/>
          </p:nvSpPr>
          <p:spPr>
            <a:xfrm>
              <a:off x="1081465" y="1144380"/>
              <a:ext cx="1300907" cy="4539854"/>
            </a:xfrm>
            <a:prstGeom prst="rect">
              <a:avLst/>
            </a:prstGeom>
            <a:solidFill>
              <a:srgbClr val="70147B"/>
            </a:solidFill>
            <a:ln w="12700">
              <a:miter lim="400000"/>
            </a:ln>
          </p:spPr>
          <p:txBody>
            <a:bodyPr lIns="50800" tIns="50800" rIns="50800" bIns="50800" anchor="ctr"/>
            <a:lstStyle/>
            <a:p>
              <a:pPr defTabSz="869793"/>
              <a:endParaRPr lang="en-US" sz="1266" dirty="0">
                <a:solidFill>
                  <a:srgbClr val="002D72"/>
                </a:solidFill>
              </a:endParaRPr>
            </a:p>
          </p:txBody>
        </p:sp>
        <p:sp>
          <p:nvSpPr>
            <p:cNvPr id="28" name="Rectangle"/>
            <p:cNvSpPr/>
            <p:nvPr userDrawn="1"/>
          </p:nvSpPr>
          <p:spPr>
            <a:xfrm>
              <a:off x="1081465" y="114688"/>
              <a:ext cx="1300907" cy="216298"/>
            </a:xfrm>
            <a:prstGeom prst="rect">
              <a:avLst/>
            </a:prstGeom>
            <a:solidFill>
              <a:srgbClr val="70147B"/>
            </a:solidFill>
            <a:ln w="12700">
              <a:miter lim="400000"/>
            </a:ln>
          </p:spPr>
          <p:txBody>
            <a:bodyPr lIns="50800" tIns="50800" rIns="50800" bIns="50800" anchor="ctr"/>
            <a:lstStyle/>
            <a:p>
              <a:pPr defTabSz="869793"/>
              <a:endParaRPr lang="en-US" sz="1266" dirty="0">
                <a:solidFill>
                  <a:srgbClr val="002D72"/>
                </a:solidFill>
              </a:endParaRPr>
            </a:p>
          </p:txBody>
        </p:sp>
      </p:grpSp>
    </p:spTree>
    <p:extLst>
      <p:ext uri="{BB962C8B-B14F-4D97-AF65-F5344CB8AC3E}">
        <p14:creationId xmlns:p14="http://schemas.microsoft.com/office/powerpoint/2010/main" val="145500017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ierre">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stretch>
            <a:fillRect/>
          </a:stretch>
        </p:blipFill>
        <p:spPr>
          <a:xfrm>
            <a:off x="-36657" y="-37908"/>
            <a:ext cx="12304487" cy="6924341"/>
          </a:xfrm>
          <a:prstGeom prst="rect">
            <a:avLst/>
          </a:prstGeom>
        </p:spPr>
      </p:pic>
      <p:pic>
        <p:nvPicPr>
          <p:cNvPr id="7" name="Picture 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480170" y="1308578"/>
            <a:ext cx="9203871" cy="4466585"/>
          </a:xfrm>
          <a:prstGeom prst="rect">
            <a:avLst/>
          </a:prstGeom>
        </p:spPr>
      </p:pic>
    </p:spTree>
    <p:extLst>
      <p:ext uri="{BB962C8B-B14F-4D97-AF65-F5344CB8AC3E}">
        <p14:creationId xmlns:p14="http://schemas.microsoft.com/office/powerpoint/2010/main" val="2154634198"/>
      </p:ext>
    </p:extLst>
  </p:cSld>
  <p:clrMapOvr>
    <a:masterClrMapping/>
  </p:clrMapOvr>
</p:sldLayout>
</file>

<file path=ppt/slideLayouts/slideLayout220.xml><?xml version="1.0" encoding="utf-8"?>
<p:sldLayout xmlns:a="http://schemas.openxmlformats.org/drawingml/2006/main" xmlns:r="http://schemas.openxmlformats.org/officeDocument/2006/relationships" xmlns:p="http://schemas.openxmlformats.org/presentationml/2006/main" showMasterSp="0" preserve="1" userDrawn="1">
  <p:cSld name="Divider 6">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2020" y="1642"/>
          <a:ext cx="1953" cy="1587"/>
        </p:xfrm>
        <a:graphic>
          <a:graphicData uri="http://schemas.openxmlformats.org/presentationml/2006/ole">
            <mc:AlternateContent xmlns:mc="http://schemas.openxmlformats.org/markup-compatibility/2006">
              <mc:Choice xmlns:v="urn:schemas-microsoft-com:vml" Requires="v">
                <p:oleObj spid="_x0000_s2213620"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020" y="1642"/>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6" y="1188720"/>
            <a:ext cx="9115865" cy="649224"/>
          </a:xfrm>
        </p:spPr>
        <p:txBody>
          <a:bodyPr lIns="49455" tIns="61853" rIns="49455" bIns="61853">
            <a:noAutofit/>
          </a:bodyPr>
          <a:lstStyle>
            <a:lvl1pPr>
              <a:defRPr sz="3797" b="0" baseline="0">
                <a:solidFill>
                  <a:srgbClr val="016AA1"/>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49455" tIns="61853" rIns="49455" bIns="61853">
            <a:noAutofit/>
          </a:bodyPr>
          <a:lstStyle>
            <a:lvl1pPr>
              <a:defRPr sz="1406" b="0">
                <a:solidFill>
                  <a:srgbClr val="104D6A"/>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49455" tIns="61853" rIns="49455" bIns="61853">
            <a:noAutofit/>
          </a:bodyPr>
          <a:lstStyle>
            <a:lvl1pPr>
              <a:defRPr sz="1336" b="0">
                <a:solidFill>
                  <a:srgbClr val="2591C0"/>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6" y="6221392"/>
            <a:ext cx="12120516" cy="574391"/>
          </a:xfrm>
          <a:prstGeom prst="rect">
            <a:avLst/>
          </a:prstGeom>
          <a:ln w="12700">
            <a:miter lim="400000"/>
          </a:ln>
        </p:spPr>
      </p:pic>
      <p:grpSp>
        <p:nvGrpSpPr>
          <p:cNvPr id="21" name="Group 20"/>
          <p:cNvGrpSpPr/>
          <p:nvPr userDrawn="1"/>
        </p:nvGrpSpPr>
        <p:grpSpPr>
          <a:xfrm>
            <a:off x="209180" y="98854"/>
            <a:ext cx="1111928" cy="6096000"/>
            <a:chOff x="160238" y="154880"/>
            <a:chExt cx="1300907" cy="8777933"/>
          </a:xfrm>
        </p:grpSpPr>
        <p:sp>
          <p:nvSpPr>
            <p:cNvPr id="22" name="Rectangle"/>
            <p:cNvSpPr/>
            <p:nvPr userDrawn="1"/>
          </p:nvSpPr>
          <p:spPr>
            <a:xfrm>
              <a:off x="160238" y="8398371"/>
              <a:ext cx="1300907" cy="534442"/>
            </a:xfrm>
            <a:prstGeom prst="rect">
              <a:avLst/>
            </a:prstGeom>
            <a:solidFill>
              <a:srgbClr val="85CDD9"/>
            </a:solidFill>
            <a:ln w="12700">
              <a:miter lim="400000"/>
            </a:ln>
          </p:spPr>
          <p:txBody>
            <a:bodyPr lIns="50800" tIns="50800" rIns="50800" bIns="50800" anchor="ctr"/>
            <a:lstStyle/>
            <a:p>
              <a:pPr defTabSz="869793"/>
              <a:endParaRPr lang="en-US" sz="1266" dirty="0">
                <a:solidFill>
                  <a:srgbClr val="002D72"/>
                </a:solidFill>
              </a:endParaRPr>
            </a:p>
          </p:txBody>
        </p:sp>
        <p:sp>
          <p:nvSpPr>
            <p:cNvPr id="23" name="Rectangle"/>
            <p:cNvSpPr/>
            <p:nvPr userDrawn="1"/>
          </p:nvSpPr>
          <p:spPr>
            <a:xfrm>
              <a:off x="160238" y="8183364"/>
              <a:ext cx="1300907" cy="215008"/>
            </a:xfrm>
            <a:prstGeom prst="rect">
              <a:avLst/>
            </a:prstGeom>
            <a:solidFill>
              <a:srgbClr val="4D89AD"/>
            </a:solidFill>
            <a:ln w="12700">
              <a:miter lim="400000"/>
            </a:ln>
          </p:spPr>
          <p:txBody>
            <a:bodyPr lIns="50800" tIns="50800" rIns="50800" bIns="50800" anchor="ctr"/>
            <a:lstStyle/>
            <a:p>
              <a:pPr defTabSz="869793"/>
              <a:endParaRPr lang="en-US" sz="1266" dirty="0">
                <a:solidFill>
                  <a:srgbClr val="002D72"/>
                </a:solidFill>
              </a:endParaRPr>
            </a:p>
          </p:txBody>
        </p:sp>
        <p:sp>
          <p:nvSpPr>
            <p:cNvPr id="24" name="Rectangle"/>
            <p:cNvSpPr/>
            <p:nvPr userDrawn="1"/>
          </p:nvSpPr>
          <p:spPr>
            <a:xfrm>
              <a:off x="160238" y="6195863"/>
              <a:ext cx="1300907" cy="1987502"/>
            </a:xfrm>
            <a:prstGeom prst="rect">
              <a:avLst/>
            </a:prstGeom>
            <a:solidFill>
              <a:srgbClr val="2591C0"/>
            </a:solidFill>
            <a:ln w="12700">
              <a:miter lim="400000"/>
            </a:ln>
          </p:spPr>
          <p:txBody>
            <a:bodyPr lIns="50800" tIns="50800" rIns="50800" bIns="50800" anchor="ctr"/>
            <a:lstStyle/>
            <a:p>
              <a:pPr defTabSz="869793"/>
              <a:endParaRPr lang="en-US" sz="1266" dirty="0">
                <a:solidFill>
                  <a:srgbClr val="002D72"/>
                </a:solidFill>
              </a:endParaRPr>
            </a:p>
          </p:txBody>
        </p:sp>
        <p:sp>
          <p:nvSpPr>
            <p:cNvPr id="25" name="Rectangle"/>
            <p:cNvSpPr/>
            <p:nvPr userDrawn="1"/>
          </p:nvSpPr>
          <p:spPr>
            <a:xfrm>
              <a:off x="160238" y="5724425"/>
              <a:ext cx="1300907" cy="471439"/>
            </a:xfrm>
            <a:prstGeom prst="rect">
              <a:avLst/>
            </a:prstGeom>
            <a:solidFill>
              <a:srgbClr val="104D6A"/>
            </a:solidFill>
            <a:ln w="12700">
              <a:miter lim="400000"/>
            </a:ln>
          </p:spPr>
          <p:txBody>
            <a:bodyPr lIns="50800" tIns="50800" rIns="50800" bIns="50800" anchor="ctr"/>
            <a:lstStyle/>
            <a:p>
              <a:pPr defTabSz="869793"/>
              <a:endParaRPr lang="en-US" sz="1266" dirty="0">
                <a:solidFill>
                  <a:srgbClr val="002D72"/>
                </a:solidFill>
              </a:endParaRPr>
            </a:p>
          </p:txBody>
        </p:sp>
        <p:sp>
          <p:nvSpPr>
            <p:cNvPr id="26" name="Rectangle"/>
            <p:cNvSpPr/>
            <p:nvPr userDrawn="1"/>
          </p:nvSpPr>
          <p:spPr>
            <a:xfrm>
              <a:off x="160238" y="371177"/>
              <a:ext cx="1300907" cy="813396"/>
            </a:xfrm>
            <a:prstGeom prst="rect">
              <a:avLst/>
            </a:prstGeom>
            <a:solidFill>
              <a:srgbClr val="095B88"/>
            </a:solidFill>
            <a:ln w="12700">
              <a:miter lim="400000"/>
            </a:ln>
          </p:spPr>
          <p:txBody>
            <a:bodyPr lIns="50800" tIns="50800" rIns="50800" bIns="50800" anchor="ctr"/>
            <a:lstStyle/>
            <a:p>
              <a:pPr defTabSz="869793"/>
              <a:endParaRPr lang="en-US" sz="1266" dirty="0">
                <a:solidFill>
                  <a:srgbClr val="002D72"/>
                </a:solidFill>
              </a:endParaRPr>
            </a:p>
          </p:txBody>
        </p:sp>
        <p:sp>
          <p:nvSpPr>
            <p:cNvPr id="27" name="Rectangle"/>
            <p:cNvSpPr/>
            <p:nvPr userDrawn="1"/>
          </p:nvSpPr>
          <p:spPr>
            <a:xfrm>
              <a:off x="160238" y="1184572"/>
              <a:ext cx="1300907" cy="4539854"/>
            </a:xfrm>
            <a:prstGeom prst="rect">
              <a:avLst/>
            </a:prstGeom>
            <a:solidFill>
              <a:srgbClr val="016AA1"/>
            </a:solidFill>
            <a:ln w="12700">
              <a:miter lim="400000"/>
            </a:ln>
          </p:spPr>
          <p:txBody>
            <a:bodyPr lIns="50800" tIns="50800" rIns="50800" bIns="50800" anchor="ctr"/>
            <a:lstStyle/>
            <a:p>
              <a:pPr defTabSz="869793"/>
              <a:endParaRPr lang="en-US" sz="1266" dirty="0">
                <a:solidFill>
                  <a:srgbClr val="002D72"/>
                </a:solidFill>
              </a:endParaRPr>
            </a:p>
          </p:txBody>
        </p:sp>
        <p:sp>
          <p:nvSpPr>
            <p:cNvPr id="28" name="Rectangle"/>
            <p:cNvSpPr/>
            <p:nvPr userDrawn="1"/>
          </p:nvSpPr>
          <p:spPr>
            <a:xfrm>
              <a:off x="160238" y="154880"/>
              <a:ext cx="1300907" cy="216298"/>
            </a:xfrm>
            <a:prstGeom prst="rect">
              <a:avLst/>
            </a:prstGeom>
            <a:solidFill>
              <a:srgbClr val="85CDD9"/>
            </a:solidFill>
            <a:ln w="12700">
              <a:miter lim="400000"/>
            </a:ln>
          </p:spPr>
          <p:txBody>
            <a:bodyPr lIns="50800" tIns="50800" rIns="50800" bIns="50800" anchor="ctr"/>
            <a:lstStyle/>
            <a:p>
              <a:pPr defTabSz="869793"/>
              <a:endParaRPr lang="en-US" sz="1266" dirty="0">
                <a:solidFill>
                  <a:srgbClr val="002D72"/>
                </a:solidFill>
              </a:endParaRPr>
            </a:p>
          </p:txBody>
        </p:sp>
      </p:grpSp>
    </p:spTree>
    <p:extLst>
      <p:ext uri="{BB962C8B-B14F-4D97-AF65-F5344CB8AC3E}">
        <p14:creationId xmlns:p14="http://schemas.microsoft.com/office/powerpoint/2010/main" val="1959606473"/>
      </p:ext>
    </p:extLst>
  </p:cSld>
  <p:clrMapOvr>
    <a:masterClrMapping/>
  </p:clrMapOvr>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2020" y="1642"/>
          <a:ext cx="1953" cy="1587"/>
        </p:xfrm>
        <a:graphic>
          <a:graphicData uri="http://schemas.openxmlformats.org/presentationml/2006/ole">
            <mc:AlternateContent xmlns:mc="http://schemas.openxmlformats.org/markup-compatibility/2006">
              <mc:Choice xmlns:v="urn:schemas-microsoft-com:vml" Requires="v">
                <p:oleObj spid="_x0000_s2214644"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020" y="1642"/>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562773" y="162002"/>
            <a:ext cx="11068060" cy="704087"/>
          </a:xfrm>
        </p:spPr>
        <p:txBody>
          <a:bodyPr anchor="t"/>
          <a:lstStyle>
            <a:lvl1pPr>
              <a:defRPr>
                <a:latin typeface="Arial"/>
                <a:sym typeface="Arial"/>
              </a:defRPr>
            </a:lvl1pPr>
          </a:lstStyle>
          <a:p>
            <a:r>
              <a:rPr lang="en-US"/>
              <a:t>Click to edit Master title style</a:t>
            </a:r>
            <a:endParaRPr lang="en-US" dirty="0"/>
          </a:p>
        </p:txBody>
      </p:sp>
      <p:sp>
        <p:nvSpPr>
          <p:cNvPr id="4" name="Text Placeholder 3"/>
          <p:cNvSpPr>
            <a:spLocks noGrp="1"/>
          </p:cNvSpPr>
          <p:nvPr>
            <p:ph type="body" sz="quarter" idx="10"/>
          </p:nvPr>
        </p:nvSpPr>
        <p:spPr>
          <a:xfrm>
            <a:off x="562773" y="1508761"/>
            <a:ext cx="11068060" cy="3997304"/>
          </a:xfrm>
        </p:spPr>
        <p:txBody>
          <a:bodyPr lIns="0" tIns="0" rIns="0" bIns="0"/>
          <a:lstStyle>
            <a:lvl1pPr>
              <a:spcBef>
                <a:spcPts val="366"/>
              </a:spcBef>
              <a:defRPr>
                <a:latin typeface="Arial"/>
                <a:sym typeface="Arial"/>
              </a:defRPr>
            </a:lvl1pPr>
            <a:lvl2pPr marL="434889" indent="-219163">
              <a:spcBef>
                <a:spcPts val="366"/>
              </a:spcBef>
              <a:defRPr>
                <a:latin typeface="Arial"/>
                <a:sym typeface="Arial"/>
              </a:defRPr>
            </a:lvl2pPr>
            <a:lvl3pPr marL="869793" indent="-219163">
              <a:spcBef>
                <a:spcPts val="366"/>
              </a:spcBef>
              <a:defRPr>
                <a:latin typeface="Arial"/>
                <a:sym typeface="Arial"/>
              </a:defRPr>
            </a:lvl3pPr>
            <a:lvl4pPr marL="1308106" indent="-222585">
              <a:spcBef>
                <a:spcPts val="366"/>
              </a:spcBef>
              <a:defRPr>
                <a:latin typeface="Arial"/>
                <a:sym typeface="Arial"/>
              </a:defRPr>
            </a:lvl4pPr>
            <a:lvl5pPr marL="1958743" indent="-219163">
              <a:spcBef>
                <a:spcPts val="366"/>
              </a:spcBef>
              <a:defRPr>
                <a:latin typeface="Arial"/>
                <a:sym typeface="Aria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6"/>
          <p:cNvSpPr>
            <a:spLocks noGrp="1"/>
          </p:cNvSpPr>
          <p:nvPr>
            <p:ph type="body" sz="quarter" idx="11"/>
          </p:nvPr>
        </p:nvSpPr>
        <p:spPr>
          <a:xfrm>
            <a:off x="562773" y="863601"/>
            <a:ext cx="11068060" cy="320359"/>
          </a:xfrm>
        </p:spPr>
        <p:txBody>
          <a:bodyPr anchor="t">
            <a:normAutofit/>
          </a:bodyPr>
          <a:lstStyle>
            <a:lvl1pPr>
              <a:defRPr sz="1406" b="0">
                <a:solidFill>
                  <a:srgbClr val="73C4EF"/>
                </a:solidFill>
              </a:defRPr>
            </a:lvl1pPr>
          </a:lstStyle>
          <a:p>
            <a:pPr lvl="0"/>
            <a:r>
              <a:rPr lang="en-US"/>
              <a:t>Click to edit Master text styles</a:t>
            </a:r>
          </a:p>
        </p:txBody>
      </p:sp>
      <p:sp>
        <p:nvSpPr>
          <p:cNvPr id="6" name="Rectangle 5"/>
          <p:cNvSpPr/>
          <p:nvPr userDrawn="1"/>
        </p:nvSpPr>
        <p:spPr>
          <a:xfrm>
            <a:off x="357863" y="6719991"/>
            <a:ext cx="2058751" cy="126563"/>
          </a:xfrm>
          <a:prstGeom prst="rect">
            <a:avLst/>
          </a:prstGeom>
          <a:solidFill>
            <a:schemeClr val="bg1"/>
          </a:solidFill>
          <a:ln w="952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tIns="63281" bIns="63281" rtlCol="0" anchor="ctr" anchorCtr="0"/>
          <a:lstStyle/>
          <a:p>
            <a:pPr algn="ctr"/>
            <a:endParaRPr lang="en-US" sz="984" dirty="0">
              <a:solidFill>
                <a:srgbClr val="002D72"/>
              </a:solidFill>
              <a:latin typeface="Arial" pitchFamily="34" charset="0"/>
              <a:cs typeface="Arial" pitchFamily="34" charset="0"/>
            </a:endParaRPr>
          </a:p>
        </p:txBody>
      </p:sp>
    </p:spTree>
    <p:extLst>
      <p:ext uri="{BB962C8B-B14F-4D97-AF65-F5344CB8AC3E}">
        <p14:creationId xmlns:p14="http://schemas.microsoft.com/office/powerpoint/2010/main" val="3940313484"/>
      </p:ext>
    </p:extLst>
  </p:cSld>
  <p:clrMapOvr>
    <a:masterClrMapping/>
  </p:clrMapOvr>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Text with bullets">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2020" y="1642"/>
          <a:ext cx="1953" cy="1587"/>
        </p:xfrm>
        <a:graphic>
          <a:graphicData uri="http://schemas.openxmlformats.org/presentationml/2006/ole">
            <mc:AlternateContent xmlns:mc="http://schemas.openxmlformats.org/markup-compatibility/2006">
              <mc:Choice xmlns:v="urn:schemas-microsoft-com:vml" Requires="v">
                <p:oleObj spid="_x0000_s2215668" name="think-cell Slide" r:id="rId4" imgW="270" imgH="270" progId="TCLayout.ActiveDocument.1">
                  <p:embed/>
                </p:oleObj>
              </mc:Choice>
              <mc:Fallback>
                <p:oleObj name="think-cell Slide" r:id="rId4" imgW="270" imgH="270" progId="TCLayout.ActiveDocument.1">
                  <p:embed/>
                  <p:pic>
                    <p:nvPicPr>
                      <p:cNvPr id="6" name="Object 5"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020" y="1642"/>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ext Placeholder 7"/>
          <p:cNvSpPr>
            <a:spLocks noGrp="1"/>
          </p:cNvSpPr>
          <p:nvPr userDrawn="1">
            <p:ph type="body" sz="quarter" idx="13"/>
          </p:nvPr>
        </p:nvSpPr>
        <p:spPr>
          <a:xfrm>
            <a:off x="562773" y="1508401"/>
            <a:ext cx="11068060" cy="3997304"/>
          </a:xfrm>
          <a:prstGeom prst="rect">
            <a:avLst/>
          </a:prstGeom>
        </p:spPr>
        <p:txBody>
          <a:bodyPr lIns="0" tIns="0" rIns="0" bIns="0"/>
          <a:lstStyle>
            <a:lvl1pPr marL="164376" indent="-164376">
              <a:spcBef>
                <a:spcPts val="366"/>
              </a:spcBef>
              <a:buClr>
                <a:srgbClr val="002D72"/>
              </a:buClr>
              <a:buFont typeface="Arial" pitchFamily="34" charset="0"/>
              <a:buChar char="•"/>
              <a:tabLst/>
              <a:defRPr b="0">
                <a:latin typeface="Arial"/>
                <a:sym typeface="Arial"/>
              </a:defRPr>
            </a:lvl1pPr>
            <a:lvl2pPr marL="599263" indent="-219163">
              <a:spcBef>
                <a:spcPts val="366"/>
              </a:spcBef>
              <a:buFont typeface="Arial" pitchFamily="34" charset="0"/>
              <a:buChar char="–"/>
              <a:defRPr>
                <a:latin typeface="Arial"/>
                <a:sym typeface="Arial"/>
              </a:defRPr>
            </a:lvl2pPr>
            <a:lvl3pPr marL="1023900" indent="-219163">
              <a:spcBef>
                <a:spcPts val="366"/>
              </a:spcBef>
              <a:defRPr>
                <a:latin typeface="Arial"/>
                <a:sym typeface="Arial"/>
              </a:defRPr>
            </a:lvl3pPr>
            <a:lvl4pPr marL="1469054" indent="-219163">
              <a:spcBef>
                <a:spcPts val="366"/>
              </a:spcBef>
              <a:defRPr>
                <a:latin typeface="Arial"/>
                <a:sym typeface="Arial"/>
              </a:defRPr>
            </a:lvl4pPr>
            <a:lvl5pPr marL="1958743" indent="-219163">
              <a:spcBef>
                <a:spcPts val="366"/>
              </a:spcBef>
              <a:defRPr>
                <a:latin typeface="Arial"/>
                <a:sym typeface="Aria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itle 1"/>
          <p:cNvSpPr>
            <a:spLocks noGrp="1"/>
          </p:cNvSpPr>
          <p:nvPr>
            <p:ph type="title"/>
          </p:nvPr>
        </p:nvSpPr>
        <p:spPr>
          <a:xfrm>
            <a:off x="562773" y="162002"/>
            <a:ext cx="11068060" cy="704087"/>
          </a:xfrm>
        </p:spPr>
        <p:txBody>
          <a:bodyPr anchor="t"/>
          <a:lstStyle>
            <a:lvl1pPr>
              <a:defRPr>
                <a:latin typeface="Arial"/>
                <a:sym typeface="Arial"/>
              </a:defRPr>
            </a:lvl1pPr>
          </a:lstStyle>
          <a:p>
            <a:r>
              <a:rPr lang="en-US"/>
              <a:t>Click to edit Master title style</a:t>
            </a:r>
            <a:endParaRPr lang="en-US" dirty="0"/>
          </a:p>
        </p:txBody>
      </p:sp>
      <p:sp>
        <p:nvSpPr>
          <p:cNvPr id="8" name="Text Placeholder 6"/>
          <p:cNvSpPr>
            <a:spLocks noGrp="1"/>
          </p:cNvSpPr>
          <p:nvPr>
            <p:ph type="body" sz="quarter" idx="11"/>
          </p:nvPr>
        </p:nvSpPr>
        <p:spPr>
          <a:xfrm>
            <a:off x="562773" y="863601"/>
            <a:ext cx="11068060" cy="320359"/>
          </a:xfrm>
        </p:spPr>
        <p:txBody>
          <a:bodyPr anchor="t">
            <a:normAutofit/>
          </a:bodyPr>
          <a:lstStyle>
            <a:lvl1pPr>
              <a:defRPr sz="1406" b="0">
                <a:solidFill>
                  <a:srgbClr val="73C4EF"/>
                </a:solidFill>
              </a:defRPr>
            </a:lvl1pPr>
          </a:lstStyle>
          <a:p>
            <a:pPr lvl="0"/>
            <a:r>
              <a:rPr lang="en-US"/>
              <a:t>Click to edit Master text styles</a:t>
            </a:r>
          </a:p>
        </p:txBody>
      </p:sp>
      <p:sp>
        <p:nvSpPr>
          <p:cNvPr id="9" name="Rectangle 8"/>
          <p:cNvSpPr/>
          <p:nvPr userDrawn="1"/>
        </p:nvSpPr>
        <p:spPr>
          <a:xfrm>
            <a:off x="357863" y="6719991"/>
            <a:ext cx="2058751" cy="126563"/>
          </a:xfrm>
          <a:prstGeom prst="rect">
            <a:avLst/>
          </a:prstGeom>
          <a:solidFill>
            <a:schemeClr val="bg1"/>
          </a:solidFill>
          <a:ln w="952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tIns="63281" bIns="63281" rtlCol="0" anchor="ctr" anchorCtr="0"/>
          <a:lstStyle/>
          <a:p>
            <a:pPr algn="ctr"/>
            <a:endParaRPr lang="en-US" sz="984" dirty="0">
              <a:solidFill>
                <a:srgbClr val="002D72"/>
              </a:solidFill>
              <a:latin typeface="Arial" pitchFamily="34" charset="0"/>
              <a:cs typeface="Arial" pitchFamily="34" charset="0"/>
            </a:endParaRPr>
          </a:p>
        </p:txBody>
      </p:sp>
    </p:spTree>
    <p:extLst>
      <p:ext uri="{BB962C8B-B14F-4D97-AF65-F5344CB8AC3E}">
        <p14:creationId xmlns:p14="http://schemas.microsoft.com/office/powerpoint/2010/main" val="1163451674"/>
      </p:ext>
    </p:extLst>
  </p:cSld>
  <p:clrMapOvr>
    <a:masterClrMapping/>
  </p:clrMapOvr>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2020" y="1642"/>
          <a:ext cx="1953" cy="1587"/>
        </p:xfrm>
        <a:graphic>
          <a:graphicData uri="http://schemas.openxmlformats.org/presentationml/2006/ole">
            <mc:AlternateContent xmlns:mc="http://schemas.openxmlformats.org/markup-compatibility/2006">
              <mc:Choice xmlns:v="urn:schemas-microsoft-com:vml" Requires="v">
                <p:oleObj spid="_x0000_s2216692" name="think-cell Slide" r:id="rId4" imgW="270" imgH="270" progId="TCLayout.ActiveDocument.1">
                  <p:embed/>
                </p:oleObj>
              </mc:Choice>
              <mc:Fallback>
                <p:oleObj name="think-cell Slide" r:id="rId4" imgW="270" imgH="270" progId="TCLayout.ActiveDocument.1">
                  <p:embed/>
                  <p:pic>
                    <p:nvPicPr>
                      <p:cNvPr id="7" name="Object 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020" y="1642"/>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le 1"/>
          <p:cNvSpPr>
            <a:spLocks noGrp="1"/>
          </p:cNvSpPr>
          <p:nvPr>
            <p:ph type="title"/>
          </p:nvPr>
        </p:nvSpPr>
        <p:spPr>
          <a:xfrm>
            <a:off x="562773" y="162002"/>
            <a:ext cx="11068060" cy="704087"/>
          </a:xfrm>
        </p:spPr>
        <p:txBody>
          <a:bodyPr anchor="t"/>
          <a:lstStyle>
            <a:lvl1pPr>
              <a:defRPr>
                <a:latin typeface="Arial"/>
                <a:sym typeface="Arial"/>
              </a:defRPr>
            </a:lvl1pPr>
          </a:lstStyle>
          <a:p>
            <a:r>
              <a:rPr lang="en-US"/>
              <a:t>Click to edit Master title style</a:t>
            </a:r>
            <a:endParaRPr lang="en-US" dirty="0"/>
          </a:p>
        </p:txBody>
      </p:sp>
      <p:sp>
        <p:nvSpPr>
          <p:cNvPr id="6" name="Text Placeholder 6"/>
          <p:cNvSpPr>
            <a:spLocks noGrp="1"/>
          </p:cNvSpPr>
          <p:nvPr>
            <p:ph type="body" sz="quarter" idx="11"/>
          </p:nvPr>
        </p:nvSpPr>
        <p:spPr>
          <a:xfrm>
            <a:off x="562773" y="863601"/>
            <a:ext cx="11068060" cy="320359"/>
          </a:xfrm>
        </p:spPr>
        <p:txBody>
          <a:bodyPr anchor="t">
            <a:normAutofit/>
          </a:bodyPr>
          <a:lstStyle>
            <a:lvl1pPr>
              <a:defRPr sz="1406" b="0">
                <a:solidFill>
                  <a:srgbClr val="73C4EF"/>
                </a:solidFill>
              </a:defRPr>
            </a:lvl1pPr>
          </a:lstStyle>
          <a:p>
            <a:pPr lvl="0"/>
            <a:r>
              <a:rPr lang="en-US"/>
              <a:t>Click to edit Master text styles</a:t>
            </a:r>
          </a:p>
        </p:txBody>
      </p:sp>
      <p:sp>
        <p:nvSpPr>
          <p:cNvPr id="8" name="Rectangle 7"/>
          <p:cNvSpPr/>
          <p:nvPr userDrawn="1"/>
        </p:nvSpPr>
        <p:spPr>
          <a:xfrm>
            <a:off x="357863" y="6719991"/>
            <a:ext cx="2058751" cy="126563"/>
          </a:xfrm>
          <a:prstGeom prst="rect">
            <a:avLst/>
          </a:prstGeom>
          <a:solidFill>
            <a:schemeClr val="bg1"/>
          </a:solidFill>
          <a:ln w="952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tIns="63281" bIns="63281" rtlCol="0" anchor="ctr" anchorCtr="0"/>
          <a:lstStyle/>
          <a:p>
            <a:pPr algn="ctr"/>
            <a:endParaRPr lang="en-US" sz="984" dirty="0">
              <a:solidFill>
                <a:srgbClr val="002D72"/>
              </a:solidFill>
              <a:latin typeface="Arial" pitchFamily="34" charset="0"/>
              <a:cs typeface="Arial" pitchFamily="34" charset="0"/>
            </a:endParaRPr>
          </a:p>
        </p:txBody>
      </p:sp>
    </p:spTree>
    <p:extLst>
      <p:ext uri="{BB962C8B-B14F-4D97-AF65-F5344CB8AC3E}">
        <p14:creationId xmlns:p14="http://schemas.microsoft.com/office/powerpoint/2010/main" val="1258383224"/>
      </p:ext>
    </p:extLst>
  </p:cSld>
  <p:clrMapOvr>
    <a:masterClrMapping/>
  </p:clrMapOvr>
</p:sldLayout>
</file>

<file path=ppt/slideLayouts/slideLayout22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2020" y="1642"/>
          <a:ext cx="1953" cy="1587"/>
        </p:xfrm>
        <a:graphic>
          <a:graphicData uri="http://schemas.openxmlformats.org/presentationml/2006/ole">
            <mc:AlternateContent xmlns:mc="http://schemas.openxmlformats.org/markup-compatibility/2006">
              <mc:Choice xmlns:v="urn:schemas-microsoft-com:vml" Requires="v">
                <p:oleObj spid="_x0000_s2217716" name="think-cell Slide" r:id="rId4" imgW="270" imgH="270" progId="TCLayout.ActiveDocument.1">
                  <p:embed/>
                </p:oleObj>
              </mc:Choice>
              <mc:Fallback>
                <p:oleObj name="think-cell Slide" r:id="rId4" imgW="270" imgH="270" progId="TCLayout.ActiveDocument.1">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020" y="1642"/>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3"/>
          <p:cNvSpPr/>
          <p:nvPr userDrawn="1"/>
        </p:nvSpPr>
        <p:spPr>
          <a:xfrm>
            <a:off x="357863" y="6719991"/>
            <a:ext cx="2058751" cy="126563"/>
          </a:xfrm>
          <a:prstGeom prst="rect">
            <a:avLst/>
          </a:prstGeom>
          <a:solidFill>
            <a:schemeClr val="bg1"/>
          </a:solidFill>
          <a:ln w="952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tIns="63281" bIns="63281" rtlCol="0" anchor="ctr" anchorCtr="0"/>
          <a:lstStyle/>
          <a:p>
            <a:pPr algn="ctr"/>
            <a:endParaRPr lang="en-US" sz="984" dirty="0">
              <a:solidFill>
                <a:srgbClr val="002D72"/>
              </a:solidFill>
              <a:latin typeface="Arial" pitchFamily="34" charset="0"/>
              <a:cs typeface="Arial" pitchFamily="34" charset="0"/>
            </a:endParaRPr>
          </a:p>
        </p:txBody>
      </p:sp>
    </p:spTree>
    <p:extLst>
      <p:ext uri="{BB962C8B-B14F-4D97-AF65-F5344CB8AC3E}">
        <p14:creationId xmlns:p14="http://schemas.microsoft.com/office/powerpoint/2010/main" val="895736091"/>
      </p:ext>
    </p:extLst>
  </p:cSld>
  <p:clrMapOvr>
    <a:masterClrMapping/>
  </p:clrMapOvr>
</p:sldLayout>
</file>

<file path=ppt/slideLayouts/slideLayout225.xml><?xml version="1.0" encoding="utf-8"?>
<p:sldLayout xmlns:a="http://schemas.openxmlformats.org/drawingml/2006/main" xmlns:r="http://schemas.openxmlformats.org/officeDocument/2006/relationships" xmlns:p="http://schemas.openxmlformats.org/presentationml/2006/main" userDrawn="1">
  <p:cSld name="18_Title and Tex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2183" y="1643"/>
          <a:ext cx="2116" cy="1587"/>
        </p:xfrm>
        <a:graphic>
          <a:graphicData uri="http://schemas.openxmlformats.org/presentationml/2006/ole">
            <mc:AlternateContent xmlns:mc="http://schemas.openxmlformats.org/markup-compatibility/2006">
              <mc:Choice xmlns:v="urn:schemas-microsoft-com:vml" Requires="v">
                <p:oleObj spid="_x0000_s2218740" name="think-cell Slide" r:id="rId4" imgW="360" imgH="360" progId="TCLayout.ActiveDocument.1">
                  <p:embed/>
                </p:oleObj>
              </mc:Choice>
              <mc:Fallback>
                <p:oleObj name="think-cell Slide" r:id="rId4" imgW="360" imgH="360" progId="TCLayout.ActiveDocument.1">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83" y="1643"/>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ext Placeholder 4"/>
          <p:cNvSpPr>
            <a:spLocks noGrp="1"/>
          </p:cNvSpPr>
          <p:nvPr>
            <p:ph type="body" sz="quarter" idx="10"/>
          </p:nvPr>
        </p:nvSpPr>
        <p:spPr>
          <a:xfrm>
            <a:off x="580033" y="1509715"/>
            <a:ext cx="11032068" cy="4613275"/>
          </a:xfrm>
          <a:prstGeom prst="rect">
            <a:avLst/>
          </a:prstGeom>
        </p:spPr>
        <p:txBody>
          <a:bodyPr/>
          <a:lstStyle>
            <a:lvl2pPr marL="436405" indent="-211430">
              <a:defRPr/>
            </a:lvl2pPr>
            <a:lvl3pPr marL="860734" indent="-200829">
              <a:defRPr/>
            </a:lvl3pPr>
            <a:lvl4pPr marL="1301662" indent="-206889">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Line 3"/>
          <p:cNvSpPr>
            <a:spLocks noChangeShapeType="1"/>
          </p:cNvSpPr>
          <p:nvPr userDrawn="1"/>
        </p:nvSpPr>
        <p:spPr bwMode="gray">
          <a:xfrm>
            <a:off x="585285" y="996696"/>
            <a:ext cx="11033759" cy="0"/>
          </a:xfrm>
          <a:prstGeom prst="line">
            <a:avLst/>
          </a:prstGeom>
          <a:noFill/>
          <a:ln w="12700">
            <a:solidFill>
              <a:srgbClr val="002D72"/>
            </a:solidFill>
            <a:round/>
            <a:headEnd/>
            <a:tailEnd/>
          </a:ln>
        </p:spPr>
        <p:txBody>
          <a:bodyPr wrap="none" lIns="86981" tIns="43490" rIns="86981" bIns="43490" anchor="ctr"/>
          <a:lstStyle/>
          <a:p>
            <a:pPr algn="ctr" defTabSz="869793">
              <a:defRPr/>
            </a:pPr>
            <a:endParaRPr lang="en-US" sz="1336" b="1" dirty="0">
              <a:solidFill>
                <a:srgbClr val="000000"/>
              </a:solidFill>
              <a:cs typeface="Arial" pitchFamily="34" charset="0"/>
            </a:endParaRPr>
          </a:p>
        </p:txBody>
      </p:sp>
      <p:sp>
        <p:nvSpPr>
          <p:cNvPr id="7" name="Title Placeholder 9"/>
          <p:cNvSpPr>
            <a:spLocks noGrp="1"/>
          </p:cNvSpPr>
          <p:nvPr>
            <p:ph type="title"/>
          </p:nvPr>
        </p:nvSpPr>
        <p:spPr>
          <a:xfrm>
            <a:off x="585216" y="152455"/>
            <a:ext cx="11033760" cy="809625"/>
          </a:xfrm>
          <a:prstGeom prst="rect">
            <a:avLst/>
          </a:prstGeom>
        </p:spPr>
        <p:txBody>
          <a:bodyPr vert="horz" lIns="0" tIns="0" rIns="0" bIns="0" rtlCol="0" anchor="b" anchorCtr="0">
            <a:normAutofit/>
          </a:bodyPr>
          <a:lstStyle/>
          <a:p>
            <a:r>
              <a:rPr lang="en-US" dirty="0"/>
              <a:t>Click to edit Master title style</a:t>
            </a:r>
          </a:p>
        </p:txBody>
      </p:sp>
      <p:sp>
        <p:nvSpPr>
          <p:cNvPr id="6" name="Rectangle 5"/>
          <p:cNvSpPr/>
          <p:nvPr userDrawn="1"/>
        </p:nvSpPr>
        <p:spPr>
          <a:xfrm>
            <a:off x="357863" y="6719991"/>
            <a:ext cx="2058751" cy="126563"/>
          </a:xfrm>
          <a:prstGeom prst="rect">
            <a:avLst/>
          </a:prstGeom>
          <a:solidFill>
            <a:schemeClr val="bg1"/>
          </a:solidFill>
          <a:ln w="952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tIns="63281" bIns="63281" rtlCol="0" anchor="ctr" anchorCtr="0"/>
          <a:lstStyle/>
          <a:p>
            <a:pPr algn="ctr"/>
            <a:endParaRPr lang="en-US" sz="984" dirty="0">
              <a:solidFill>
                <a:srgbClr val="002D72"/>
              </a:solidFill>
              <a:latin typeface="Arial" pitchFamily="34" charset="0"/>
              <a:cs typeface="Arial" pitchFamily="34" charset="0"/>
            </a:endParaRPr>
          </a:p>
        </p:txBody>
      </p:sp>
    </p:spTree>
    <p:extLst>
      <p:ext uri="{BB962C8B-B14F-4D97-AF65-F5344CB8AC3E}">
        <p14:creationId xmlns:p14="http://schemas.microsoft.com/office/powerpoint/2010/main" val="3651319353"/>
      </p:ext>
    </p:extLst>
  </p:cSld>
  <p:clrMapOvr>
    <a:masterClrMapping/>
  </p:clrMapOvr>
</p:sldLayout>
</file>

<file path=ppt/slideLayouts/slideLayout226.xml><?xml version="1.0" encoding="utf-8"?>
<p:sldLayout xmlns:a="http://schemas.openxmlformats.org/drawingml/2006/main" xmlns:r="http://schemas.openxmlformats.org/officeDocument/2006/relationships" xmlns:p="http://schemas.openxmlformats.org/presentationml/2006/main" type="titleOnly" preserve="1">
  <p:cSld name="1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2020" y="1642"/>
          <a:ext cx="1953" cy="1587"/>
        </p:xfrm>
        <a:graphic>
          <a:graphicData uri="http://schemas.openxmlformats.org/presentationml/2006/ole">
            <mc:AlternateContent xmlns:mc="http://schemas.openxmlformats.org/markup-compatibility/2006">
              <mc:Choice xmlns:v="urn:schemas-microsoft-com:vml" Requires="v">
                <p:oleObj spid="_x0000_s2219764" name="think-cell Slide" r:id="rId4" imgW="270" imgH="270" progId="TCLayout.ActiveDocument.1">
                  <p:embed/>
                </p:oleObj>
              </mc:Choice>
              <mc:Fallback>
                <p:oleObj name="think-cell Slide" r:id="rId4" imgW="270" imgH="270" progId="TCLayout.ActiveDocument.1">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020" y="1642"/>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s-MX"/>
          </a:p>
        </p:txBody>
      </p:sp>
      <p:sp>
        <p:nvSpPr>
          <p:cNvPr id="4" name="Rectangle 3"/>
          <p:cNvSpPr/>
          <p:nvPr userDrawn="1"/>
        </p:nvSpPr>
        <p:spPr>
          <a:xfrm>
            <a:off x="357863" y="6719991"/>
            <a:ext cx="2058751" cy="126563"/>
          </a:xfrm>
          <a:prstGeom prst="rect">
            <a:avLst/>
          </a:prstGeom>
          <a:solidFill>
            <a:schemeClr val="bg1"/>
          </a:solidFill>
          <a:ln w="952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tIns="63281" bIns="63281" rtlCol="0" anchor="ctr" anchorCtr="0"/>
          <a:lstStyle/>
          <a:p>
            <a:pPr algn="ctr"/>
            <a:endParaRPr lang="en-US" sz="984" dirty="0">
              <a:solidFill>
                <a:srgbClr val="002D72"/>
              </a:solidFill>
              <a:latin typeface="Arial" pitchFamily="34" charset="0"/>
              <a:cs typeface="Arial" pitchFamily="34" charset="0"/>
            </a:endParaRPr>
          </a:p>
        </p:txBody>
      </p:sp>
    </p:spTree>
    <p:extLst>
      <p:ext uri="{BB962C8B-B14F-4D97-AF65-F5344CB8AC3E}">
        <p14:creationId xmlns:p14="http://schemas.microsoft.com/office/powerpoint/2010/main" val="2684218808"/>
      </p:ext>
    </p:extLst>
  </p:cSld>
  <p:clrMapOvr>
    <a:masterClrMapping/>
  </p:clrMapOvr>
</p:sldLayout>
</file>

<file path=ppt/slideLayouts/slideLayout227.xml><?xml version="1.0" encoding="utf-8"?>
<p:sldLayout xmlns:a="http://schemas.openxmlformats.org/drawingml/2006/main" xmlns:r="http://schemas.openxmlformats.org/officeDocument/2006/relationships" xmlns:p="http://schemas.openxmlformats.org/presentationml/2006/main" showMasterSp="0" type="tx">
  <p:cSld name="Title and Content copy 3">
    <p:spTree>
      <p:nvGrpSpPr>
        <p:cNvPr id="1" name=""/>
        <p:cNvGrpSpPr/>
        <p:nvPr/>
      </p:nvGrpSpPr>
      <p:grpSpPr>
        <a:xfrm>
          <a:off x="0" y="0"/>
          <a:ext cx="0" cy="0"/>
          <a:chOff x="0" y="0"/>
          <a:chExt cx="0" cy="0"/>
        </a:xfrm>
      </p:grpSpPr>
      <p:pic>
        <p:nvPicPr>
          <p:cNvPr id="74" name="Picture 3" descr="Picture 3"/>
          <p:cNvPicPr>
            <a:picLocks noChangeAspect="1"/>
          </p:cNvPicPr>
          <p:nvPr/>
        </p:nvPicPr>
        <p:blipFill>
          <a:blip r:embed="rId2"/>
          <a:srcRect l="12" r="55235"/>
          <a:stretch>
            <a:fillRect/>
          </a:stretch>
        </p:blipFill>
        <p:spPr>
          <a:xfrm>
            <a:off x="2093" y="0"/>
            <a:ext cx="7269137" cy="6858000"/>
          </a:xfrm>
          <a:prstGeom prst="rect">
            <a:avLst/>
          </a:prstGeom>
          <a:ln w="12700">
            <a:miter lim="400000"/>
          </a:ln>
        </p:spPr>
      </p:pic>
      <p:pic>
        <p:nvPicPr>
          <p:cNvPr id="75" name="Picture 3" descr="Picture 3"/>
          <p:cNvPicPr>
            <a:picLocks noChangeAspect="1"/>
          </p:cNvPicPr>
          <p:nvPr/>
        </p:nvPicPr>
        <p:blipFill>
          <a:blip r:embed="rId2"/>
          <a:srcRect l="59142"/>
          <a:stretch>
            <a:fillRect/>
          </a:stretch>
        </p:blipFill>
        <p:spPr>
          <a:xfrm>
            <a:off x="5558685" y="0"/>
            <a:ext cx="6636572" cy="6858000"/>
          </a:xfrm>
          <a:prstGeom prst="rect">
            <a:avLst/>
          </a:prstGeom>
          <a:ln w="12700">
            <a:miter lim="400000"/>
          </a:ln>
        </p:spPr>
      </p:pic>
      <p:sp>
        <p:nvSpPr>
          <p:cNvPr id="76" name="Slide Number"/>
          <p:cNvSpPr txBox="1">
            <a:spLocks noGrp="1"/>
          </p:cNvSpPr>
          <p:nvPr>
            <p:ph type="sldNum" sz="quarter" idx="2"/>
          </p:nvPr>
        </p:nvSpPr>
        <p:spPr>
          <a:xfrm>
            <a:off x="7904019" y="4328137"/>
            <a:ext cx="287488" cy="282359"/>
          </a:xfrm>
          <a:prstGeom prst="rect">
            <a:avLst/>
          </a:prstGeom>
        </p:spPr>
        <p:txBody>
          <a:bodyPr lIns="124130" tIns="62065" rIns="124130" bIns="62065"/>
          <a:lstStyle/>
          <a:p>
            <a:fld id="{86CB4B4D-7CA3-9044-876B-883B54F8677D}" type="slidenum">
              <a:rPr/>
              <a:pPr/>
              <a:t>‹#›</a:t>
            </a:fld>
            <a:endParaRPr/>
          </a:p>
        </p:txBody>
      </p:sp>
    </p:spTree>
    <p:extLst>
      <p:ext uri="{BB962C8B-B14F-4D97-AF65-F5344CB8AC3E}">
        <p14:creationId xmlns:p14="http://schemas.microsoft.com/office/powerpoint/2010/main" val="707460615"/>
      </p:ext>
    </p:extLst>
  </p:cSld>
  <p:clrMapOvr>
    <a:masterClrMapping/>
  </p:clrMapOvr>
  <p:transition spd="med"/>
</p:sldLayout>
</file>

<file path=ppt/slideLayouts/slideLayout228.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62072"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73" name="Picture 3" descr="Picture 3"/>
          <p:cNvPicPr>
            <a:picLocks noChangeAspect="1"/>
          </p:cNvPicPr>
          <p:nvPr userDrawn="1"/>
        </p:nvPicPr>
        <p:blipFill>
          <a:blip r:embed="rId6" cstate="print"/>
          <a:srcRect r="91525"/>
          <a:stretch>
            <a:fillRect/>
          </a:stretch>
        </p:blipFill>
        <p:spPr>
          <a:xfrm>
            <a:off x="0" y="0"/>
            <a:ext cx="1118498" cy="6858000"/>
          </a:xfrm>
          <a:prstGeom prst="rect">
            <a:avLst/>
          </a:prstGeom>
          <a:ln w="12700">
            <a:miter lim="400000"/>
          </a:ln>
        </p:spPr>
      </p:pic>
      <p:grpSp>
        <p:nvGrpSpPr>
          <p:cNvPr id="3" name="Group 2"/>
          <p:cNvGrpSpPr/>
          <p:nvPr userDrawn="1"/>
        </p:nvGrpSpPr>
        <p:grpSpPr>
          <a:xfrm>
            <a:off x="0" y="6221393"/>
            <a:ext cx="12191999" cy="574391"/>
            <a:chOff x="0" y="6221393"/>
            <a:chExt cx="12191999" cy="574391"/>
          </a:xfrm>
        </p:grpSpPr>
        <p:pic>
          <p:nvPicPr>
            <p:cNvPr id="71" name="footer-13.jpg" descr="footer-13.jpg"/>
            <p:cNvPicPr>
              <a:picLocks noChangeAspect="1"/>
            </p:cNvPicPr>
            <p:nvPr userDrawn="1"/>
          </p:nvPicPr>
          <p:blipFill>
            <a:blip r:embed="rId7" cstate="print"/>
            <a:stretch>
              <a:fillRect/>
            </a:stretch>
          </p:blipFill>
          <p:spPr>
            <a:xfrm>
              <a:off x="0" y="6221393"/>
              <a:ext cx="9906000" cy="574391"/>
            </a:xfrm>
            <a:prstGeom prst="rect">
              <a:avLst/>
            </a:prstGeom>
            <a:ln w="12700">
              <a:miter lim="400000"/>
            </a:ln>
          </p:spPr>
        </p:pic>
        <p:pic>
          <p:nvPicPr>
            <p:cNvPr id="72" name="footer-13.jpg" descr="footer-13.jpg"/>
            <p:cNvPicPr>
              <a:picLocks noChangeAspect="1"/>
            </p:cNvPicPr>
            <p:nvPr userDrawn="1"/>
          </p:nvPicPr>
          <p:blipFill rotWithShape="1">
            <a:blip r:embed="rId7" cstate="print"/>
            <a:srcRect l="26342"/>
            <a:stretch/>
          </p:blipFill>
          <p:spPr>
            <a:xfrm>
              <a:off x="4895384" y="6221393"/>
              <a:ext cx="7296615" cy="574391"/>
            </a:xfrm>
            <a:prstGeom prst="rect">
              <a:avLst/>
            </a:prstGeom>
            <a:ln w="12700">
              <a:miter lim="400000"/>
            </a:ln>
          </p:spPr>
        </p:pic>
      </p:grpSp>
      <p:sp>
        <p:nvSpPr>
          <p:cNvPr id="27" name="Title 1"/>
          <p:cNvSpPr>
            <a:spLocks noGrp="1"/>
          </p:cNvSpPr>
          <p:nvPr>
            <p:ph type="ctrTitle" hasCustomPrompt="1"/>
          </p:nvPr>
        </p:nvSpPr>
        <p:spPr bwMode="ltGray">
          <a:xfrm>
            <a:off x="1453896" y="722376"/>
            <a:ext cx="7251192" cy="649224"/>
          </a:xfrm>
          <a:prstGeom prst="rect">
            <a:avLst/>
          </a:prstGeom>
        </p:spPr>
        <p:txBody>
          <a:bodyPr lIns="36000" tIns="46800" rIns="36000" bIns="46800" anchor="ctr" anchorCtr="0">
            <a:normAutofit/>
          </a:bodyPr>
          <a:lstStyle>
            <a:lvl1pPr algn="l">
              <a:lnSpc>
                <a:spcPct val="93000"/>
              </a:lnSpc>
              <a:defRPr sz="4000" baseline="0">
                <a:solidFill>
                  <a:srgbClr val="86CBD8"/>
                </a:solidFill>
                <a:latin typeface="+mj-lt"/>
                <a:sym typeface="Trebuchet MS" panose="020B0603020202020204" pitchFamily="34" charset="0"/>
              </a:defRPr>
            </a:lvl1pPr>
          </a:lstStyle>
          <a:p>
            <a:r>
              <a:rPr lang="en-US" dirty="0" err="1"/>
              <a:t>Título</a:t>
            </a:r>
            <a:r>
              <a:rPr lang="en-US" dirty="0"/>
              <a:t> </a:t>
            </a:r>
            <a:r>
              <a:rPr lang="en-US" dirty="0" err="1"/>
              <a:t>Presentación</a:t>
            </a:r>
            <a:endParaRPr lang="en-US" dirty="0"/>
          </a:p>
        </p:txBody>
      </p:sp>
      <p:sp>
        <p:nvSpPr>
          <p:cNvPr id="26" name="Subtitle 2"/>
          <p:cNvSpPr>
            <a:spLocks noGrp="1"/>
          </p:cNvSpPr>
          <p:nvPr>
            <p:ph type="subTitle" idx="1" hasCustomPrompt="1"/>
          </p:nvPr>
        </p:nvSpPr>
        <p:spPr bwMode="white">
          <a:xfrm>
            <a:off x="1453896" y="2221992"/>
            <a:ext cx="8138160" cy="365760"/>
          </a:xfrm>
          <a:prstGeom prst="rect">
            <a:avLst/>
          </a:prstGeom>
        </p:spPr>
        <p:txBody>
          <a:bodyPr lIns="36000" tIns="46800" rIns="36000" bIns="46800" anchor="ctr"/>
          <a:lstStyle>
            <a:lvl1pPr marL="0" indent="0" algn="l">
              <a:lnSpc>
                <a:spcPct val="110000"/>
              </a:lnSpc>
              <a:buNone/>
              <a:defRPr sz="1800" b="1" baseline="0">
                <a:solidFill>
                  <a:srgbClr val="016AA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err="1"/>
              <a:t>Subtitulo</a:t>
            </a:r>
            <a:endParaRPr lang="en-US" dirty="0"/>
          </a:p>
        </p:txBody>
      </p:sp>
      <p:sp>
        <p:nvSpPr>
          <p:cNvPr id="22" name="Text Placeholder 6"/>
          <p:cNvSpPr>
            <a:spLocks noGrp="1"/>
          </p:cNvSpPr>
          <p:nvPr>
            <p:ph type="body" sz="quarter" idx="12" hasCustomPrompt="1"/>
          </p:nvPr>
        </p:nvSpPr>
        <p:spPr bwMode="black">
          <a:xfrm>
            <a:off x="1453896" y="4983480"/>
            <a:ext cx="7589520" cy="365760"/>
          </a:xfrm>
          <a:prstGeom prst="rect">
            <a:avLst/>
          </a:prstGeom>
          <a:noFill/>
        </p:spPr>
        <p:txBody>
          <a:bodyPr lIns="36000" tIns="46800" rIns="36000" bIns="46800" anchor="ctr"/>
          <a:lstStyle>
            <a:lvl1pPr algn="l">
              <a:lnSpc>
                <a:spcPct val="110000"/>
              </a:lnSpc>
              <a:buNone/>
              <a:defRPr sz="1800" b="0" cap="none" baseline="0">
                <a:solidFill>
                  <a:srgbClr val="7C1A4F"/>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err="1"/>
              <a:t>Fecha</a:t>
            </a:r>
            <a:endParaRPr lang="en-US" dirty="0"/>
          </a:p>
        </p:txBody>
      </p:sp>
    </p:spTree>
    <p:extLst>
      <p:ext uri="{BB962C8B-B14F-4D97-AF65-F5344CB8AC3E}">
        <p14:creationId xmlns:p14="http://schemas.microsoft.com/office/powerpoint/2010/main" val="39824892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63096"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6"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lumMod val="50000"/>
                  </a:schemeClr>
                </a:solidFill>
                <a:latin typeface="+mn-lt"/>
                <a:sym typeface="Trebuchet MS" panose="020B0603020202020204" pitchFamily="34" charset="0"/>
              </a:rPr>
              <a:t>Mx2020 - SteerCo - 7mar18_vf.pptx</a:t>
            </a:r>
            <a:endParaRPr lang="en-US" sz="700" dirty="0">
              <a:solidFill>
                <a:schemeClr val="bg1">
                  <a:lumMod val="50000"/>
                </a:schemeClr>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622800"/>
            <a:ext cx="109332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4472C4"/>
                </a:solidFill>
                <a:latin typeface="+mj-lt"/>
                <a:sym typeface="Trebuchet MS" panose="020B0603020202020204" pitchFamily="34" charset="0"/>
              </a:defRPr>
            </a:lvl1pPr>
          </a:lstStyle>
          <a:p>
            <a:pPr lvl="0"/>
            <a:r>
              <a:rPr lang="en-US" dirty="0"/>
              <a:t>Click to add title</a:t>
            </a:r>
          </a:p>
        </p:txBody>
      </p:sp>
      <p:pic>
        <p:nvPicPr>
          <p:cNvPr id="54" name="Picture 53"/>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0688845" y="6661003"/>
            <a:ext cx="874355" cy="141242"/>
          </a:xfrm>
          <a:prstGeom prst="rect">
            <a:avLst/>
          </a:prstGeom>
        </p:spPr>
      </p:pic>
      <p:pic>
        <p:nvPicPr>
          <p:cNvPr id="101" name="pasted-image.pdf" descr="pasted-image.pdf"/>
          <p:cNvPicPr>
            <a:picLocks noChangeAspect="1"/>
          </p:cNvPicPr>
          <p:nvPr userDrawn="1"/>
        </p:nvPicPr>
        <p:blipFill>
          <a:blip r:embed="rId8" cstate="print"/>
          <a:stretch>
            <a:fillRect/>
          </a:stretch>
        </p:blipFill>
        <p:spPr>
          <a:xfrm>
            <a:off x="129456" y="6545571"/>
            <a:ext cx="420925" cy="256674"/>
          </a:xfrm>
          <a:prstGeom prst="rect">
            <a:avLst/>
          </a:prstGeom>
          <a:ln w="12700">
            <a:miter lim="400000"/>
          </a:ln>
        </p:spPr>
      </p:pic>
    </p:spTree>
    <p:extLst>
      <p:ext uri="{BB962C8B-B14F-4D97-AF65-F5344CB8AC3E}">
        <p14:creationId xmlns:p14="http://schemas.microsoft.com/office/powerpoint/2010/main" val="11217849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type="title" preserve="1">
  <p:cSld name="PORTADA">
    <p:spTree>
      <p:nvGrpSpPr>
        <p:cNvPr id="1" name=""/>
        <p:cNvGrpSpPr/>
        <p:nvPr/>
      </p:nvGrpSpPr>
      <p:grpSpPr>
        <a:xfrm>
          <a:off x="0" y="0"/>
          <a:ext cx="0" cy="0"/>
          <a:chOff x="0" y="0"/>
          <a:chExt cx="0" cy="0"/>
        </a:xfrm>
      </p:grpSpPr>
      <p:sp>
        <p:nvSpPr>
          <p:cNvPr id="3150" name="Rectangle 78"/>
          <p:cNvSpPr>
            <a:spLocks noGrp="1" noChangeArrowheads="1"/>
          </p:cNvSpPr>
          <p:nvPr>
            <p:ph type="ctrTitle"/>
          </p:nvPr>
        </p:nvSpPr>
        <p:spPr>
          <a:xfrm>
            <a:off x="804335" y="906468"/>
            <a:ext cx="10947400" cy="517525"/>
          </a:xfrm>
        </p:spPr>
        <p:txBody>
          <a:bodyPr/>
          <a:lstStyle>
            <a:lvl1pPr>
              <a:defRPr sz="3200"/>
            </a:lvl1pPr>
          </a:lstStyle>
          <a:p>
            <a:pPr lvl="0"/>
            <a:r>
              <a:rPr lang="en-US" noProof="0" dirty="0"/>
              <a:t>Click to edit Master title style</a:t>
            </a:r>
          </a:p>
        </p:txBody>
      </p:sp>
      <p:sp>
        <p:nvSpPr>
          <p:cNvPr id="3151" name="Rectangle 79"/>
          <p:cNvSpPr>
            <a:spLocks noGrp="1" noChangeArrowheads="1"/>
          </p:cNvSpPr>
          <p:nvPr>
            <p:ph type="subTitle" sz="quarter" idx="1"/>
          </p:nvPr>
        </p:nvSpPr>
        <p:spPr>
          <a:xfrm>
            <a:off x="804336" y="1423988"/>
            <a:ext cx="10962217" cy="1093788"/>
          </a:xfrm>
          <a:extLst>
            <a:ext uri="{91240B29-F687-4F45-9708-019B960494DF}">
              <a14:hiddenLine xmlns:a14="http://schemas.microsoft.com/office/drawing/2010/main" w="9525">
                <a:solidFill>
                  <a:schemeClr val="tx1"/>
                </a:solidFill>
                <a:miter lim="800000"/>
                <a:headEnd/>
                <a:tailEnd/>
              </a14:hiddenLine>
            </a:ext>
          </a:extLst>
        </p:spPr>
        <p:txBody>
          <a:bodyPr/>
          <a:lstStyle>
            <a:lvl1pPr marL="0" indent="0">
              <a:lnSpc>
                <a:spcPct val="100000"/>
              </a:lnSpc>
              <a:spcBef>
                <a:spcPct val="0"/>
              </a:spcBef>
              <a:spcAft>
                <a:spcPct val="0"/>
              </a:spcAft>
              <a:buFontTx/>
              <a:buNone/>
              <a:defRPr sz="3200">
                <a:solidFill>
                  <a:srgbClr val="00BDF2"/>
                </a:solidFill>
              </a:defRPr>
            </a:lvl1pPr>
          </a:lstStyle>
          <a:p>
            <a:pPr lvl="0"/>
            <a:r>
              <a:rPr lang="en-US" noProof="0"/>
              <a:t>Click to edit Master subtitle style</a:t>
            </a:r>
          </a:p>
        </p:txBody>
      </p:sp>
      <p:pic>
        <p:nvPicPr>
          <p:cNvPr id="4" name="Picture 3"/>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296213" y="4844121"/>
            <a:ext cx="4743391" cy="2301940"/>
          </a:xfrm>
          <a:prstGeom prst="rect">
            <a:avLst/>
          </a:prstGeom>
        </p:spPr>
      </p:pic>
    </p:spTree>
    <p:extLst>
      <p:ext uri="{BB962C8B-B14F-4D97-AF65-F5344CB8AC3E}">
        <p14:creationId xmlns:p14="http://schemas.microsoft.com/office/powerpoint/2010/main" val="3590035595"/>
      </p:ext>
    </p:extLst>
  </p:cSld>
  <p:clrMapOvr>
    <a:overrideClrMapping bg1="lt1" tx1="dk1" bg2="lt2" tx2="dk2" accent1="accent1" accent2="accent2" accent3="accent3" accent4="accent4" accent5="accent5" accent6="accent6" hlink="hlink" folHlink="folHlink"/>
  </p:clrMapOvr>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a:solidFill>
                <a:schemeClr val="bg1"/>
              </a:solidFill>
              <a:latin typeface="+mn-lt"/>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9" name="Title 1"/>
          <p:cNvSpPr>
            <a:spLocks noGrp="1"/>
          </p:cNvSpPr>
          <p:nvPr>
            <p:ph type="title" hasCustomPrompt="1"/>
          </p:nvPr>
        </p:nvSpPr>
        <p:spPr bwMode="ltGray">
          <a:xfrm>
            <a:off x="630000" y="1544274"/>
            <a:ext cx="3452400" cy="1495794"/>
          </a:xfrm>
          <a:noFill/>
        </p:spPr>
        <p:txBody>
          <a:bodyPr wrap="square" lIns="0" tIns="0" rIns="320040" bIns="0" anchor="b">
            <a:noAutofit/>
          </a:bodyPr>
          <a:lstStyle>
            <a:lvl1pPr>
              <a:defRPr sz="3200">
                <a:solidFill>
                  <a:srgbClr val="4472C4"/>
                </a:solidFill>
                <a:latin typeface="+mj-lt"/>
              </a:defRPr>
            </a:lvl1pPr>
          </a:lstStyle>
          <a:p>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lumMod val="50000"/>
                  </a:schemeClr>
                </a:solidFill>
                <a:latin typeface="+mn-lt"/>
                <a:sym typeface="Trebuchet MS" panose="020B0603020202020204" pitchFamily="34" charset="0"/>
              </a:rPr>
              <a:t>Mx2020 - SteerCo - 7mar18_vf.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82410949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1.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64120" name="think-cell Slide" r:id="rId5" imgW="270" imgH="270" progId="TCLayout.ActiveDocument.1">
                  <p:embed/>
                </p:oleObj>
              </mc:Choice>
              <mc:Fallback>
                <p:oleObj name="think-cell Slide" r:id="rId5" imgW="270" imgH="270" progId="TCLayout.ActiveDocument.1">
                  <p:embed/>
                  <p:pic>
                    <p:nvPicPr>
                      <p:cNvPr id="5" name="Object 4"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4" name="TextBox 3"/>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9"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solidFill>
                <a:latin typeface="+mn-lt"/>
                <a:sym typeface="Trebuchet MS" panose="020B0603020202020204" pitchFamily="34" charset="0"/>
              </a:rPr>
              <a:t>Mx2020 - SteerCo - 7mar18_vf.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0563605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2.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65144"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Box 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4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bg1"/>
                </a:solidFill>
                <a:latin typeface="+mj-lt"/>
                <a:sym typeface="Trebuchet MS" panose="020B0603020202020204" pitchFamily="34" charset="0"/>
              </a:defRPr>
            </a:lvl1pPr>
          </a:lstStyle>
          <a:p>
            <a:r>
              <a:rPr lang="en-US" dirty="0"/>
              <a:t>Click to add big statement text</a:t>
            </a:r>
          </a:p>
        </p:txBody>
      </p:sp>
      <p:cxnSp>
        <p:nvCxnSpPr>
          <p:cNvPr id="148" name="Straight Connector 147"/>
          <p:cNvCxnSpPr/>
          <p:nvPr userDrawn="1"/>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940484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3.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66168"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6" name="Picture 15"/>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7"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6" name="Rectangle 25"/>
          <p:cNvSpPr/>
          <p:nvPr userDrawn="1"/>
        </p:nvSpPr>
        <p:spPr bwMode="white">
          <a:xfrm>
            <a:off x="0"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7"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rgbClr val="4472C4"/>
                </a:solidFill>
                <a:latin typeface="+mj-lt"/>
                <a:sym typeface="Trebuchet MS" panose="020B0603020202020204" pitchFamily="34" charset="0"/>
              </a:defRPr>
            </a:lvl1pPr>
          </a:lstStyle>
          <a:p>
            <a:r>
              <a:rPr lang="en-US" dirty="0"/>
              <a:t>Click to add title</a:t>
            </a:r>
          </a:p>
        </p:txBody>
      </p:sp>
      <p:sp>
        <p:nvSpPr>
          <p:cNvPr id="11"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solidFill>
                <a:latin typeface="+mn-lt"/>
                <a:sym typeface="Trebuchet MS" panose="020B0603020202020204" pitchFamily="34" charset="0"/>
              </a:rPr>
              <a:t>Mx2020 - SteerCo - 7mar18_vf.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3346721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4.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67192"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17" name="TextBox 16"/>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3"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4472C4"/>
                </a:solidFill>
                <a:latin typeface="+mj-lt"/>
                <a:sym typeface="Trebuchet MS" panose="020B0603020202020204" pitchFamily="34" charset="0"/>
              </a:defRPr>
            </a:lvl1pPr>
          </a:lstStyle>
          <a:p>
            <a:pPr lvl="0"/>
            <a:r>
              <a:rPr lang="en-US" dirty="0"/>
              <a:t>Click to add title</a:t>
            </a:r>
          </a:p>
        </p:txBody>
      </p:sp>
      <p:sp>
        <p:nvSpPr>
          <p:cNvPr id="11"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solidFill>
                <a:latin typeface="+mn-lt"/>
                <a:sym typeface="Trebuchet MS" panose="020B0603020202020204" pitchFamily="34" charset="0"/>
              </a:rPr>
              <a:t>Mx2020 - SteerCo - 7mar18_vf.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41876250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5.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68216"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bg1"/>
                </a:solidFill>
                <a:latin typeface="+mj-lt"/>
                <a:sym typeface="Trebuchet MS" panose="020B0603020202020204" pitchFamily="34" charset="0"/>
              </a:defRPr>
            </a:lvl1pPr>
          </a:lstStyle>
          <a:p>
            <a:r>
              <a:rPr lang="en-US" dirty="0"/>
              <a:t>Click to add title</a:t>
            </a:r>
          </a:p>
        </p:txBody>
      </p:sp>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12"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4"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lumMod val="50000"/>
                  </a:schemeClr>
                </a:solidFill>
                <a:latin typeface="+mn-lt"/>
                <a:sym typeface="Trebuchet MS" panose="020B0603020202020204" pitchFamily="34" charset="0"/>
              </a:rPr>
              <a:t>Mx2020 - SteerCo - 7mar18_vf.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41198549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6.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69240"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1" name="Picture 10"/>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17"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lumMod val="50000"/>
                  </a:schemeClr>
                </a:solidFill>
                <a:latin typeface="+mn-lt"/>
                <a:sym typeface="Trebuchet MS" panose="020B0603020202020204" pitchFamily="34" charset="0"/>
              </a:rPr>
              <a:t>Mx2020 - SteerCo - 7mar18_vf.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82990823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7.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70264"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9" name="Picture 8"/>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2"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Copyright" hidden="1"/>
          <p:cNvSpPr txBox="1"/>
          <p:nvPr userDrawn="1"/>
        </p:nvSpPr>
        <p:spPr>
          <a:xfrm rot="16200000">
            <a:off x="9486900" y="3916394"/>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14" name="Title 1"/>
          <p:cNvSpPr>
            <a:spLocks noGrp="1"/>
          </p:cNvSpPr>
          <p:nvPr>
            <p:ph type="title" hasCustomPrompt="1"/>
          </p:nvPr>
        </p:nvSpPr>
        <p:spPr bwMode="blackWhite">
          <a:xfrm>
            <a:off x="630000" y="180465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edit title</a:t>
            </a:r>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lumMod val="50000"/>
                  </a:schemeClr>
                </a:solidFill>
                <a:latin typeface="+mn-lt"/>
                <a:sym typeface="Trebuchet MS" panose="020B0603020202020204" pitchFamily="34" charset="0"/>
              </a:rPr>
              <a:t>Mx2020 - SteerCo - 7mar18_vf.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9184601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8.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71288"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5" name="Picture 2"/>
          <p:cNvPicPr>
            <a:picLocks noChangeAspect="1" noChangeArrowheads="1"/>
          </p:cNvPicPr>
          <p:nvPr userDrawn="1"/>
        </p:nvPicPr>
        <p:blipFill>
          <a:blip r:embed="rId7">
            <a:biLevel thresh="50000"/>
            <a:extLst>
              <a:ext uri="{28A0092B-C50C-407E-A947-70E740481C1C}">
                <a14:useLocalDpi xmlns:a14="http://schemas.microsoft.com/office/drawing/2010/main" val="0"/>
              </a:ext>
            </a:extLst>
          </a:blip>
          <a:srcRect/>
          <a:stretch>
            <a:fillRect/>
          </a:stretch>
        </p:blipFill>
        <p:spPr bwMode="auto">
          <a:xfrm>
            <a:off x="3108638" y="3594368"/>
            <a:ext cx="1365250" cy="3382962"/>
          </a:xfrm>
          <a:prstGeom prst="rect">
            <a:avLst/>
          </a:prstGeom>
          <a:noFill/>
          <a:extLst>
            <a:ext uri="{909E8E84-426E-40DD-AFC4-6F175D3DCCD1}">
              <a14:hiddenFill xmlns:a14="http://schemas.microsoft.com/office/drawing/2010/main">
                <a:solidFill>
                  <a:srgbClr val="FFFFFF"/>
                </a:solidFill>
              </a14:hiddenFill>
            </a:ext>
          </a:extLst>
        </p:spPr>
      </p:pic>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7" name="Title 6"/>
          <p:cNvSpPr>
            <a:spLocks noGrp="1"/>
          </p:cNvSpPr>
          <p:nvPr>
            <p:ph type="title" hasCustomPrompt="1"/>
          </p:nvPr>
        </p:nvSpPr>
        <p:spPr>
          <a:xfrm>
            <a:off x="630000" y="2764203"/>
            <a:ext cx="2478638" cy="1314311"/>
          </a:xfrm>
        </p:spPr>
        <p:txBody>
          <a:bodyPr anchor="ctr" anchorCtr="0">
            <a:noAutofit/>
          </a:bodyPr>
          <a:lstStyle>
            <a:lvl1pPr>
              <a:defRPr sz="3200"/>
            </a:lvl1pPr>
          </a:lstStyle>
          <a:p>
            <a:r>
              <a:rPr lang="en-US" dirty="0"/>
              <a:t>Click to add title</a:t>
            </a:r>
            <a:endParaRPr lang="en-GB" dirty="0"/>
          </a:p>
        </p:txBody>
      </p:sp>
      <p:sp>
        <p:nvSpPr>
          <p:cNvPr id="10"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solidFill>
                <a:latin typeface="+mn-lt"/>
                <a:sym typeface="Trebuchet MS" panose="020B0603020202020204" pitchFamily="34" charset="0"/>
              </a:rPr>
              <a:t>Mx2020 - SteerCo - 7mar18_vf.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4061414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9.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72312"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2764203"/>
            <a:ext cx="2478638" cy="1314311"/>
          </a:xfrm>
        </p:spPr>
        <p:txBody>
          <a:bodyPr anchor="ctr" anchorCtr="0">
            <a:noAutofit/>
          </a:bodyPr>
          <a:lstStyle>
            <a:lvl1pPr>
              <a:defRPr sz="3200" baseline="0">
                <a:solidFill>
                  <a:srgbClr val="FFFFFF"/>
                </a:solidFill>
                <a:latin typeface="+mj-lt"/>
              </a:defRPr>
            </a:lvl1pPr>
          </a:lstStyle>
          <a:p>
            <a:r>
              <a:rPr lang="en-US" dirty="0"/>
              <a:t>Click to add title</a:t>
            </a:r>
          </a:p>
        </p:txBody>
      </p:sp>
      <p:pic>
        <p:nvPicPr>
          <p:cNvPr id="4" name="Picture 3"/>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t="6216" b="7716"/>
          <a:stretch/>
        </p:blipFill>
        <p:spPr>
          <a:xfrm rot="120000">
            <a:off x="2141308" y="3402828"/>
            <a:ext cx="2694666" cy="3461745"/>
          </a:xfrm>
          <a:prstGeom prst="rect">
            <a:avLst/>
          </a:prstGeom>
        </p:spPr>
      </p:pic>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17"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lumMod val="50000"/>
                  </a:schemeClr>
                </a:solidFill>
                <a:latin typeface="+mn-lt"/>
                <a:sym typeface="Trebuchet MS" panose="020B0603020202020204" pitchFamily="34" charset="0"/>
              </a:rPr>
              <a:t>Mx2020 - SteerCo - 7mar18_vf.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87995037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85"/>
          <p:cNvSpPr>
            <a:spLocks noGrp="1" noChangeArrowheads="1"/>
          </p:cNvSpPr>
          <p:nvPr>
            <p:ph type="sldNum" sz="quarter" idx="10"/>
          </p:nvPr>
        </p:nvSpPr>
        <p:spPr>
          <a:ln/>
        </p:spPr>
        <p:txBody>
          <a:bodyPr/>
          <a:lstStyle>
            <a:lvl1pPr>
              <a:defRPr/>
            </a:lvl1pPr>
          </a:lstStyle>
          <a:p>
            <a:pPr>
              <a:defRPr/>
            </a:pPr>
            <a:fld id="{92C380FF-0397-644C-B316-9BC79B505A0E}" type="slidenum">
              <a:rPr lang="en-US">
                <a:solidFill>
                  <a:srgbClr val="53565A"/>
                </a:solidFill>
              </a:rPr>
              <a:pPr>
                <a:defRPr/>
              </a:pPr>
              <a:t>‹#›</a:t>
            </a:fld>
            <a:endParaRPr lang="en-US">
              <a:solidFill>
                <a:srgbClr val="53565A"/>
              </a:solidFill>
            </a:endParaRPr>
          </a:p>
        </p:txBody>
      </p:sp>
      <p:sp>
        <p:nvSpPr>
          <p:cNvPr id="6" name="Rectangle 92"/>
          <p:cNvSpPr>
            <a:spLocks noGrp="1" noChangeArrowheads="1"/>
          </p:cNvSpPr>
          <p:nvPr>
            <p:ph type="ftr" sz="quarter" idx="12"/>
          </p:nvPr>
        </p:nvSpPr>
        <p:spPr>
          <a:ln/>
        </p:spPr>
        <p:txBody>
          <a:bodyPr/>
          <a:lstStyle>
            <a:lvl1pPr>
              <a:defRPr/>
            </a:lvl1pPr>
          </a:lstStyle>
          <a:p>
            <a:pPr>
              <a:defRPr/>
            </a:pPr>
            <a:r>
              <a:rPr lang="en-US">
                <a:solidFill>
                  <a:srgbClr val="53565A"/>
                </a:solidFill>
              </a:rPr>
              <a:t>Presentation Title</a:t>
            </a:r>
          </a:p>
        </p:txBody>
      </p:sp>
    </p:spTree>
    <p:extLst>
      <p:ext uri="{BB962C8B-B14F-4D97-AF65-F5344CB8AC3E}">
        <p14:creationId xmlns:p14="http://schemas.microsoft.com/office/powerpoint/2010/main" val="3657813324"/>
      </p:ext>
    </p:extLst>
  </p:cSld>
  <p:clrMapOvr>
    <a:masterClrMapping/>
  </p:clrMapOvr>
</p:sldLayout>
</file>

<file path=ppt/slideLayouts/slideLayout240.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73336"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TextBox 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8"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pic>
        <p:nvPicPr>
          <p:cNvPr id="11" name="Picture 2"/>
          <p:cNvPicPr>
            <a:picLocks noChangeAspect="1" noChangeArrowheads="1"/>
          </p:cNvPicPr>
          <p:nvPr userDrawn="1"/>
        </p:nvPicPr>
        <p:blipFill>
          <a:blip r:embed="rId7">
            <a:biLevel thresh="50000"/>
            <a:extLst>
              <a:ext uri="{28A0092B-C50C-407E-A947-70E740481C1C}">
                <a14:useLocalDpi xmlns:a14="http://schemas.microsoft.com/office/drawing/2010/main" val="0"/>
              </a:ext>
            </a:extLst>
          </a:blip>
          <a:srcRect/>
          <a:stretch>
            <a:fillRect/>
          </a:stretch>
        </p:blipFill>
        <p:spPr bwMode="auto">
          <a:xfrm>
            <a:off x="4533900" y="3395662"/>
            <a:ext cx="1298575" cy="3571875"/>
          </a:xfrm>
          <a:prstGeom prst="rect">
            <a:avLst/>
          </a:prstGeom>
          <a:noFill/>
          <a:extLst>
            <a:ext uri="{909E8E84-426E-40DD-AFC4-6F175D3DCCD1}">
              <a14:hiddenFill xmlns:a14="http://schemas.microsoft.com/office/drawing/2010/main">
                <a:solidFill>
                  <a:srgbClr val="FFFFFF"/>
                </a:solidFill>
              </a14:hiddenFill>
            </a:ext>
          </a:extLst>
        </p:spPr>
      </p:pic>
      <p:sp>
        <p:nvSpPr>
          <p:cNvPr id="13" name="Pentagon 3"/>
          <p:cNvSpPr/>
          <p:nvPr userDrawn="1"/>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4472C4"/>
                </a:solidFill>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solidFill>
                <a:latin typeface="+mn-lt"/>
                <a:sym typeface="Trebuchet MS" panose="020B0603020202020204" pitchFamily="34" charset="0"/>
              </a:rPr>
              <a:t>Mx2020 - SteerCo - 7mar18_vf.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4857676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1.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74360"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3"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pic>
        <p:nvPicPr>
          <p:cNvPr id="20" name="Picture 19"/>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t="7562" b="6867"/>
          <a:stretch/>
        </p:blipFill>
        <p:spPr>
          <a:xfrm>
            <a:off x="3549481" y="3416300"/>
            <a:ext cx="2694666" cy="3441700"/>
          </a:xfrm>
          <a:prstGeom prst="rect">
            <a:avLst/>
          </a:prstGeom>
        </p:spPr>
      </p:pic>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18"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lumMod val="50000"/>
                  </a:schemeClr>
                </a:solidFill>
                <a:latin typeface="+mn-lt"/>
                <a:sym typeface="Trebuchet MS" panose="020B0603020202020204" pitchFamily="34" charset="0"/>
              </a:rPr>
              <a:t>Mx2020 - SteerCo - 7mar18_vf.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2820543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2.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75384"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 name="Date Placeholder 7"/>
          <p:cNvSpPr>
            <a:spLocks noGrp="1"/>
          </p:cNvSpPr>
          <p:nvPr>
            <p:ph type="dt" sz="half" idx="16"/>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13" name="Picture 2"/>
          <p:cNvPicPr>
            <a:picLocks noChangeAspect="1" noChangeArrowheads="1"/>
          </p:cNvPicPr>
          <p:nvPr userDrawn="1"/>
        </p:nvPicPr>
        <p:blipFill>
          <a:blip r:embed="rId7">
            <a:biLevel thresh="50000"/>
            <a:extLst>
              <a:ext uri="{28A0092B-C50C-407E-A947-70E740481C1C}">
                <a14:useLocalDpi xmlns:a14="http://schemas.microsoft.com/office/drawing/2010/main" val="0"/>
              </a:ext>
            </a:extLst>
          </a:blip>
          <a:srcRect/>
          <a:stretch>
            <a:fillRect/>
          </a:stretch>
        </p:blipFill>
        <p:spPr bwMode="auto">
          <a:xfrm>
            <a:off x="5378758" y="3589606"/>
            <a:ext cx="1365250" cy="3382962"/>
          </a:xfrm>
          <a:prstGeom prst="rect">
            <a:avLst/>
          </a:prstGeom>
          <a:noFill/>
          <a:extLst>
            <a:ext uri="{909E8E84-426E-40DD-AFC4-6F175D3DCCD1}">
              <a14:hiddenFill xmlns:a14="http://schemas.microsoft.com/office/drawing/2010/main">
                <a:solidFill>
                  <a:srgbClr val="FFFFFF"/>
                </a:solidFill>
              </a14:hiddenFill>
            </a:ext>
          </a:extLst>
        </p:spPr>
      </p:pic>
      <p:sp>
        <p:nvSpPr>
          <p:cNvPr id="14" name="Pentagon 8"/>
          <p:cNvSpPr/>
          <p:nvPr userDrawn="1"/>
        </p:nvSpPr>
        <p:spPr bwMode="white">
          <a:xfrm>
            <a:off x="0" y="0"/>
            <a:ext cx="6363546"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4472C4"/>
                </a:solidFill>
                <a:latin typeface="+mj-lt"/>
                <a:sym typeface="Trebuchet MS" panose="020B0603020202020204" pitchFamily="34" charset="0"/>
              </a:defRPr>
            </a:lvl1pPr>
          </a:lstStyle>
          <a:p>
            <a:pPr lvl="0"/>
            <a:r>
              <a:rPr lang="en-US" dirty="0"/>
              <a:t>Click to add title</a:t>
            </a:r>
          </a:p>
        </p:txBody>
      </p:sp>
      <p:sp>
        <p:nvSpPr>
          <p:cNvPr id="10"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solidFill>
                <a:latin typeface="+mn-lt"/>
                <a:sym typeface="Trebuchet MS" panose="020B0603020202020204" pitchFamily="34" charset="0"/>
              </a:rPr>
              <a:t>Mx2020 - SteerCo - 7mar18_vf.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20464900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243.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76408"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4" name="Pentagon 8"/>
          <p:cNvSpPr/>
          <p:nvPr userDrawn="1"/>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pic>
        <p:nvPicPr>
          <p:cNvPr id="17" name="Picture 16"/>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t="9052" b="6867"/>
          <a:stretch/>
        </p:blipFill>
        <p:spPr>
          <a:xfrm rot="120000">
            <a:off x="4428422" y="3407803"/>
            <a:ext cx="2694666" cy="3456551"/>
          </a:xfrm>
          <a:prstGeom prst="rect">
            <a:avLst/>
          </a:prstGeom>
        </p:spPr>
      </p:pic>
      <p:sp>
        <p:nvSpPr>
          <p:cNvPr id="12"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20"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lumMod val="50000"/>
                  </a:schemeClr>
                </a:solidFill>
                <a:latin typeface="+mn-lt"/>
                <a:sym typeface="Trebuchet MS" panose="020B0603020202020204" pitchFamily="34" charset="0"/>
              </a:rPr>
              <a:t>Mx2020 - SteerCo - 7mar18_vf.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6656957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244.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77432"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0" name="Picture 2"/>
          <p:cNvPicPr>
            <a:picLocks noChangeAspect="1" noChangeArrowheads="1"/>
          </p:cNvPicPr>
          <p:nvPr userDrawn="1"/>
        </p:nvPicPr>
        <p:blipFill>
          <a:blip r:embed="rId7">
            <a:biLevel thresh="50000"/>
            <a:extLst>
              <a:ext uri="{28A0092B-C50C-407E-A947-70E740481C1C}">
                <a14:useLocalDpi xmlns:a14="http://schemas.microsoft.com/office/drawing/2010/main" val="0"/>
              </a:ext>
            </a:extLst>
          </a:blip>
          <a:srcRect/>
          <a:stretch>
            <a:fillRect/>
          </a:stretch>
        </p:blipFill>
        <p:spPr bwMode="auto">
          <a:xfrm>
            <a:off x="7490341" y="3589606"/>
            <a:ext cx="1365250" cy="3382962"/>
          </a:xfrm>
          <a:prstGeom prst="rect">
            <a:avLst/>
          </a:prstGeom>
          <a:noFill/>
          <a:extLst>
            <a:ext uri="{909E8E84-426E-40DD-AFC4-6F175D3DCCD1}">
              <a14:hiddenFill xmlns:a14="http://schemas.microsoft.com/office/drawing/2010/main">
                <a:solidFill>
                  <a:srgbClr val="FFFFFF"/>
                </a:solidFill>
              </a14:hiddenFill>
            </a:ext>
          </a:extLst>
        </p:spPr>
      </p:pic>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4472C4"/>
                </a:solidFill>
                <a:latin typeface="+mj-lt"/>
                <a:sym typeface="Trebuchet MS" panose="020B0603020202020204" pitchFamily="34" charset="0"/>
              </a:defRPr>
            </a:lvl1pPr>
          </a:lstStyle>
          <a:p>
            <a:pPr lvl="0"/>
            <a:r>
              <a:rPr lang="en-US" dirty="0"/>
              <a:t>Click to add title</a:t>
            </a:r>
          </a:p>
        </p:txBody>
      </p:sp>
      <p:sp>
        <p:nvSpPr>
          <p:cNvPr id="14"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solidFill>
                <a:latin typeface="+mn-lt"/>
                <a:sym typeface="Trebuchet MS" panose="020B0603020202020204" pitchFamily="34" charset="0"/>
              </a:rPr>
              <a:t>Mx2020 - SteerCo - 7mar18_vf.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6212420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5.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78456"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20"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lumMod val="50000"/>
                  </a:schemeClr>
                </a:solidFill>
                <a:latin typeface="+mn-lt"/>
                <a:sym typeface="Trebuchet MS" panose="020B0603020202020204" pitchFamily="34" charset="0"/>
              </a:rPr>
              <a:t>Mx2020 - SteerCo - 7mar18_vf.pptx</a:t>
            </a:r>
            <a:endParaRPr lang="en-US" sz="700" dirty="0">
              <a:solidFill>
                <a:schemeClr val="bg1">
                  <a:lumMod val="50000"/>
                </a:schemeClr>
              </a:solidFill>
              <a:latin typeface="+mn-lt"/>
              <a:sym typeface="Trebuchet MS" panose="020B0603020202020204" pitchFamily="34" charset="0"/>
            </a:endParaRPr>
          </a:p>
        </p:txBody>
      </p:sp>
      <p:pic>
        <p:nvPicPr>
          <p:cNvPr id="13" name="Picture 12"/>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t="9052" b="6867"/>
          <a:stretch/>
        </p:blipFill>
        <p:spPr>
          <a:xfrm rot="120000">
            <a:off x="6524770" y="3407803"/>
            <a:ext cx="2694666" cy="3456551"/>
          </a:xfrm>
          <a:prstGeom prst="rect">
            <a:avLst/>
          </a:prstGeom>
        </p:spPr>
      </p:pic>
    </p:spTree>
    <p:extLst>
      <p:ext uri="{BB962C8B-B14F-4D97-AF65-F5344CB8AC3E}">
        <p14:creationId xmlns:p14="http://schemas.microsoft.com/office/powerpoint/2010/main" val="242592521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6.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79480"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 name="TextBox 2"/>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8"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10"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solidFill>
                <a:latin typeface="+mn-lt"/>
                <a:sym typeface="Trebuchet MS" panose="020B0603020202020204" pitchFamily="34" charset="0"/>
              </a:rPr>
              <a:t>Mx2020 - SteerCo - 7mar18_vf.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40173167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chemeClr val="bg1">
            <a:lumMod val="95000"/>
          </a:schemeClr>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80504"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6" name="Rectangle 5"/>
          <p:cNvSpPr/>
          <p:nvPr userDrawn="1"/>
        </p:nvSpPr>
        <p:spPr bwMode="white">
          <a:xfrm>
            <a:off x="630000" y="625475"/>
            <a:ext cx="932688" cy="932688"/>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10"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lumMod val="50000"/>
                  </a:schemeClr>
                </a:solidFill>
                <a:latin typeface="+mn-lt"/>
                <a:sym typeface="Trebuchet MS" panose="020B0603020202020204" pitchFamily="34" charset="0"/>
              </a:rPr>
              <a:t>Mx2020 - SteerCo - 7mar18_vf.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405967793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8.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81528"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1" name="Picture 10"/>
          <p:cNvPicPr>
            <a:picLocks noChangeAspect="1"/>
          </p:cNvPicPr>
          <p:nvPr/>
        </p:nvPicPr>
        <p:blipFill rotWithShape="1">
          <a:blip r:embed="rId6">
            <a:extLst>
              <a:ext uri="{28A0092B-C50C-407E-A947-70E740481C1C}">
                <a14:useLocalDpi xmlns:a14="http://schemas.microsoft.com/office/drawing/2010/main" val="0"/>
              </a:ext>
            </a:extLst>
          </a:blip>
          <a:srcRect r="3634" b="1258"/>
          <a:stretch/>
        </p:blipFill>
        <p:spPr>
          <a:xfrm rot="16200000" flipH="1">
            <a:off x="6797461" y="110968"/>
            <a:ext cx="769257" cy="10019821"/>
          </a:xfrm>
          <a:prstGeom prst="rect">
            <a:avLst/>
          </a:pr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96436143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9.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rgbClr val="4D4D4D"/>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82552"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TextBox 4"/>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4"/>
          </p:nvPr>
        </p:nvSpPr>
        <p:spPr bwMode="white">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4" name="Title 3"/>
          <p:cNvSpPr>
            <a:spLocks noGrp="1"/>
          </p:cNvSpPr>
          <p:nvPr>
            <p:ph type="title" hasCustomPrompt="1"/>
          </p:nvPr>
        </p:nvSpPr>
        <p:spPr>
          <a:xfrm>
            <a:off x="630000" y="622800"/>
            <a:ext cx="10933200" cy="470898"/>
          </a:xfrm>
        </p:spPr>
        <p:txBody>
          <a:bodyPr/>
          <a:lstStyle>
            <a:lvl1pPr>
              <a:defRPr sz="3400">
                <a:solidFill>
                  <a:schemeClr val="bg1"/>
                </a:solidFill>
                <a:latin typeface="+mj-lt"/>
                <a:sym typeface="Trebuchet MS" panose="020B0603020202020204" pitchFamily="34" charset="0"/>
              </a:defRPr>
            </a:lvl1pPr>
          </a:lstStyle>
          <a:p>
            <a:r>
              <a:rPr lang="en-US" dirty="0"/>
              <a:t>Click to add title</a:t>
            </a:r>
          </a:p>
        </p:txBody>
      </p:sp>
      <p:sp>
        <p:nvSpPr>
          <p:cNvPr id="8"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solidFill>
                <a:latin typeface="+mn-lt"/>
                <a:sym typeface="Trebuchet MS" panose="020B0603020202020204" pitchFamily="34" charset="0"/>
              </a:rPr>
              <a:t>Mx2020 - SteerCo - 7mar18_vf.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50383721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Rectangle 85"/>
          <p:cNvSpPr>
            <a:spLocks noGrp="1" noChangeArrowheads="1"/>
          </p:cNvSpPr>
          <p:nvPr>
            <p:ph type="sldNum" sz="quarter" idx="10"/>
          </p:nvPr>
        </p:nvSpPr>
        <p:spPr>
          <a:ln/>
        </p:spPr>
        <p:txBody>
          <a:bodyPr/>
          <a:lstStyle>
            <a:lvl1pPr>
              <a:defRPr/>
            </a:lvl1pPr>
          </a:lstStyle>
          <a:p>
            <a:pPr>
              <a:defRPr/>
            </a:pPr>
            <a:fld id="{B53A4395-16C9-6F44-AB3C-C7A6087BA63D}" type="slidenum">
              <a:rPr lang="en-US">
                <a:solidFill>
                  <a:srgbClr val="53565A"/>
                </a:solidFill>
              </a:rPr>
              <a:pPr>
                <a:defRPr/>
              </a:pPr>
              <a:t>‹#›</a:t>
            </a:fld>
            <a:endParaRPr lang="en-US">
              <a:solidFill>
                <a:srgbClr val="53565A"/>
              </a:solidFill>
            </a:endParaRPr>
          </a:p>
        </p:txBody>
      </p:sp>
      <p:sp>
        <p:nvSpPr>
          <p:cNvPr id="4" name="Rectangle 87"/>
          <p:cNvSpPr>
            <a:spLocks noGrp="1" noChangeArrowheads="1"/>
          </p:cNvSpPr>
          <p:nvPr>
            <p:ph type="dt" sz="half" idx="11"/>
          </p:nvPr>
        </p:nvSpPr>
        <p:spPr>
          <a:ln/>
        </p:spPr>
        <p:txBody>
          <a:bodyPr/>
          <a:lstStyle>
            <a:lvl1pPr>
              <a:defRPr/>
            </a:lvl1pPr>
          </a:lstStyle>
          <a:p>
            <a:pPr>
              <a:defRPr/>
            </a:pPr>
            <a:r>
              <a:rPr lang="en-US">
                <a:solidFill>
                  <a:srgbClr val="53565A"/>
                </a:solidFill>
              </a:rPr>
              <a:t>MM.DD.YY</a:t>
            </a:r>
          </a:p>
        </p:txBody>
      </p:sp>
      <p:sp>
        <p:nvSpPr>
          <p:cNvPr id="5" name="Rectangle 92"/>
          <p:cNvSpPr>
            <a:spLocks noGrp="1" noChangeArrowheads="1"/>
          </p:cNvSpPr>
          <p:nvPr>
            <p:ph type="ftr" sz="quarter" idx="12"/>
          </p:nvPr>
        </p:nvSpPr>
        <p:spPr>
          <a:ln/>
        </p:spPr>
        <p:txBody>
          <a:bodyPr/>
          <a:lstStyle>
            <a:lvl1pPr>
              <a:defRPr/>
            </a:lvl1pPr>
          </a:lstStyle>
          <a:p>
            <a:pPr>
              <a:defRPr/>
            </a:pPr>
            <a:r>
              <a:rPr lang="en-US">
                <a:solidFill>
                  <a:srgbClr val="53565A"/>
                </a:solidFill>
              </a:rPr>
              <a:t>Presentation Title</a:t>
            </a:r>
          </a:p>
        </p:txBody>
      </p:sp>
    </p:spTree>
    <p:extLst>
      <p:ext uri="{BB962C8B-B14F-4D97-AF65-F5344CB8AC3E}">
        <p14:creationId xmlns:p14="http://schemas.microsoft.com/office/powerpoint/2010/main" val="230746050"/>
      </p:ext>
    </p:extLst>
  </p:cSld>
  <p:clrMapOvr>
    <a:masterClrMapping/>
  </p:clrMapOvr>
</p:sldLayout>
</file>

<file path=ppt/slideLayouts/slideLayout250.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83576"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Date Placeholder 4"/>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6"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lumMod val="50000"/>
                  </a:schemeClr>
                </a:solidFill>
                <a:latin typeface="+mn-lt"/>
                <a:sym typeface="Trebuchet MS" panose="020B0603020202020204" pitchFamily="34" charset="0"/>
              </a:rPr>
              <a:t>Mx2020 - SteerCo - 7mar18_vf.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29304037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1.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84600"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2"/>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8"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solidFill>
                <a:latin typeface="+mn-lt"/>
                <a:sym typeface="Trebuchet MS" panose="020B0603020202020204" pitchFamily="34" charset="0"/>
              </a:rPr>
              <a:t>Mx2020 - SteerCo - 7mar18_vf.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67877851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85624"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grpSp>
        <p:nvGrpSpPr>
          <p:cNvPr id="49" name="Group 48"/>
          <p:cNvGrpSpPr/>
          <p:nvPr userDrawn="1"/>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mn-lt"/>
                <a:ea typeface="+mn-ea"/>
                <a:cs typeface="+mn-cs"/>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60"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1"/>
                  </a:solidFill>
                  <a:effectLst/>
                  <a:uLnTx/>
                  <a:uFillTx/>
                  <a:latin typeface="+mn-lt"/>
                  <a:ea typeface="+mn-ea"/>
                  <a:cs typeface="+mn-cs"/>
                  <a:sym typeface="Trebuchet MS" panose="020B0603020202020204" pitchFamily="34" charset="0"/>
                </a:rPr>
                <a:t>1. </a:t>
              </a:r>
              <a:r>
                <a:rPr kumimoji="0" lang="en-US" sz="1000" b="0" i="0" u="none" strike="noStrike" kern="1200" cap="none" spc="0" normalizeH="0" baseline="0" noProof="0" dirty="0" err="1">
                  <a:ln>
                    <a:noFill/>
                  </a:ln>
                  <a:solidFill>
                    <a:schemeClr val="tx1"/>
                  </a:solidFill>
                  <a:effectLst/>
                  <a:uLnTx/>
                  <a:uFillTx/>
                  <a:latin typeface="+mn-lt"/>
                  <a:ea typeface="+mn-ea"/>
                  <a:cs typeface="+mn-cs"/>
                  <a:sym typeface="Trebuchet MS" panose="020B0603020202020204" pitchFamily="34" charset="0"/>
                </a:rPr>
                <a:t>xxxx</a:t>
              </a:r>
              <a:r>
                <a:rPr kumimoji="0" lang="en-US" sz="1000" b="0" i="0" u="none" strike="noStrike" kern="1200" cap="none" spc="0" normalizeH="0" baseline="0" noProof="0" dirty="0">
                  <a:ln>
                    <a:noFill/>
                  </a:ln>
                  <a:solidFill>
                    <a:schemeClr val="tx1"/>
                  </a:solidFill>
                  <a:effectLst/>
                  <a:uLnTx/>
                  <a:uFillTx/>
                  <a:latin typeface="+mn-lt"/>
                  <a:ea typeface="+mn-ea"/>
                  <a:cs typeface="+mn-cs"/>
                  <a:sym typeface="Trebuchet MS" panose="020B0603020202020204" pitchFamily="34" charset="0"/>
                </a:rPr>
                <a:t>  2. </a:t>
              </a:r>
              <a:r>
                <a:rPr kumimoji="0" lang="en-US" sz="1000" b="0" i="0" u="none" strike="noStrike" kern="1200" cap="none" spc="0" normalizeH="0" baseline="0" noProof="0" dirty="0" err="1">
                  <a:ln>
                    <a:noFill/>
                  </a:ln>
                  <a:solidFill>
                    <a:schemeClr val="tx1"/>
                  </a:solidFill>
                  <a:effectLst/>
                  <a:uLnTx/>
                  <a:uFillTx/>
                  <a:latin typeface="+mn-lt"/>
                  <a:ea typeface="+mn-ea"/>
                  <a:cs typeface="+mn-cs"/>
                  <a:sym typeface="Trebuchet MS" panose="020B0603020202020204" pitchFamily="34" charset="0"/>
                </a:rPr>
                <a:t>xxxx</a:t>
              </a:r>
              <a:r>
                <a:rPr kumimoji="0" lang="en-US" sz="1000" b="0" i="0" u="none" strike="noStrike" kern="1200" cap="none" spc="0" normalizeH="0" baseline="0" noProof="0" dirty="0">
                  <a:ln>
                    <a:noFill/>
                  </a:ln>
                  <a:solidFill>
                    <a:schemeClr val="tx1"/>
                  </a:solidFill>
                  <a:effectLst/>
                  <a:uLnTx/>
                  <a:uFillTx/>
                  <a:latin typeface="+mn-lt"/>
                  <a:ea typeface="+mn-ea"/>
                  <a:cs typeface="+mn-cs"/>
                  <a:sym typeface="Trebuchet MS" panose="020B0603020202020204" pitchFamily="34" charset="0"/>
                </a:rPr>
                <a:t>  3. </a:t>
              </a:r>
              <a:r>
                <a:rPr kumimoji="0" lang="en-US" sz="1000" b="0" i="0" u="none" strike="noStrike" kern="1200" cap="none" spc="0" normalizeH="0" baseline="0" noProof="0" dirty="0" err="1">
                  <a:ln>
                    <a:noFill/>
                  </a:ln>
                  <a:solidFill>
                    <a:schemeClr val="tx1"/>
                  </a:solidFill>
                  <a:effectLst/>
                  <a:uLnTx/>
                  <a:uFillTx/>
                  <a:latin typeface="+mn-lt"/>
                  <a:ea typeface="+mn-ea"/>
                  <a:cs typeface="+mn-cs"/>
                  <a:sym typeface="Trebuchet MS" panose="020B0603020202020204" pitchFamily="34" charset="0"/>
                </a:rPr>
                <a:t>xxxx</a:t>
              </a:r>
              <a:endParaRPr kumimoji="0" lang="en-US" sz="1000" b="0" i="0" u="none" strike="noStrike" kern="1200" cap="none" spc="0" normalizeH="0" baseline="0" noProof="0" dirty="0">
                <a:ln>
                  <a:noFill/>
                </a:ln>
                <a:solidFill>
                  <a:schemeClr val="tx1"/>
                </a:solidFill>
                <a:effectLst/>
                <a:uLnTx/>
                <a:uFillTx/>
                <a:latin typeface="+mn-lt"/>
                <a:ea typeface="+mn-ea"/>
                <a:cs typeface="+mn-cs"/>
                <a:sym typeface="Trebuchet MS" panose="020B0603020202020204" pitchFamily="34" charset="0"/>
              </a:endParaRP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1"/>
                  </a:solidFill>
                  <a:effectLst/>
                  <a:uLnTx/>
                  <a:uFillTx/>
                  <a:latin typeface="+mn-lt"/>
                  <a:ea typeface="+mn-ea"/>
                  <a:cs typeface="+mn-cs"/>
                  <a:sym typeface="Trebuchet MS" panose="020B0603020202020204" pitchFamily="34" charset="0"/>
                </a:rPr>
                <a:t>Note: List footnotes in numerical order. Footnote numbers are not bracketed. Use 10pt font.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1"/>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55"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lumMod val="50000"/>
                  </a:schemeClr>
                </a:solidFill>
                <a:latin typeface="+mn-lt"/>
                <a:sym typeface="Trebuchet MS" panose="020B0603020202020204" pitchFamily="34" charset="0"/>
              </a:rPr>
              <a:t>Mx2020 - SteerCo - 7mar18_vf.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1548123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3.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86648"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71" name="Picture 3" descr="Picture 3"/>
          <p:cNvPicPr>
            <a:picLocks noChangeAspect="1"/>
          </p:cNvPicPr>
          <p:nvPr userDrawn="1"/>
        </p:nvPicPr>
        <p:blipFill>
          <a:blip r:embed="rId6" cstate="print"/>
          <a:srcRect r="91525"/>
          <a:stretch>
            <a:fillRect/>
          </a:stretch>
        </p:blipFill>
        <p:spPr>
          <a:xfrm>
            <a:off x="0" y="0"/>
            <a:ext cx="1118498" cy="6858000"/>
          </a:xfrm>
          <a:prstGeom prst="rect">
            <a:avLst/>
          </a:prstGeom>
          <a:ln w="12700">
            <a:miter lim="400000"/>
          </a:ln>
        </p:spPr>
      </p:pic>
      <p:grpSp>
        <p:nvGrpSpPr>
          <p:cNvPr id="72" name="Group 71"/>
          <p:cNvGrpSpPr/>
          <p:nvPr userDrawn="1"/>
        </p:nvGrpSpPr>
        <p:grpSpPr>
          <a:xfrm>
            <a:off x="0" y="6221393"/>
            <a:ext cx="12191999" cy="574391"/>
            <a:chOff x="0" y="6221393"/>
            <a:chExt cx="12191999" cy="574391"/>
          </a:xfrm>
        </p:grpSpPr>
        <p:pic>
          <p:nvPicPr>
            <p:cNvPr id="73" name="footer-13.jpg" descr="footer-13.jpg"/>
            <p:cNvPicPr>
              <a:picLocks noChangeAspect="1"/>
            </p:cNvPicPr>
            <p:nvPr userDrawn="1"/>
          </p:nvPicPr>
          <p:blipFill>
            <a:blip r:embed="rId7" cstate="print"/>
            <a:stretch>
              <a:fillRect/>
            </a:stretch>
          </p:blipFill>
          <p:spPr>
            <a:xfrm>
              <a:off x="0" y="6221393"/>
              <a:ext cx="9906000" cy="574391"/>
            </a:xfrm>
            <a:prstGeom prst="rect">
              <a:avLst/>
            </a:prstGeom>
            <a:ln w="12700">
              <a:miter lim="400000"/>
            </a:ln>
          </p:spPr>
        </p:pic>
        <p:pic>
          <p:nvPicPr>
            <p:cNvPr id="74" name="footer-13.jpg" descr="footer-13.jpg"/>
            <p:cNvPicPr>
              <a:picLocks noChangeAspect="1"/>
            </p:cNvPicPr>
            <p:nvPr userDrawn="1"/>
          </p:nvPicPr>
          <p:blipFill rotWithShape="1">
            <a:blip r:embed="rId7" cstate="print"/>
            <a:srcRect l="26342"/>
            <a:stretch/>
          </p:blipFill>
          <p:spPr>
            <a:xfrm>
              <a:off x="4895384" y="6221393"/>
              <a:ext cx="7296615" cy="574391"/>
            </a:xfrm>
            <a:prstGeom prst="rect">
              <a:avLst/>
            </a:prstGeom>
            <a:ln w="12700">
              <a:miter lim="400000"/>
            </a:ln>
          </p:spPr>
        </p:pic>
      </p:grpSp>
      <p:sp>
        <p:nvSpPr>
          <p:cNvPr id="75" name="Title 1"/>
          <p:cNvSpPr>
            <a:spLocks noGrp="1"/>
          </p:cNvSpPr>
          <p:nvPr>
            <p:ph type="ctrTitle" hasCustomPrompt="1"/>
          </p:nvPr>
        </p:nvSpPr>
        <p:spPr bwMode="ltGray">
          <a:xfrm>
            <a:off x="1453896" y="722376"/>
            <a:ext cx="7251192" cy="649224"/>
          </a:xfrm>
          <a:prstGeom prst="rect">
            <a:avLst/>
          </a:prstGeom>
        </p:spPr>
        <p:txBody>
          <a:bodyPr lIns="36000" tIns="46800" rIns="36000" bIns="46800" anchor="ctr" anchorCtr="0">
            <a:normAutofit/>
          </a:bodyPr>
          <a:lstStyle>
            <a:lvl1pPr algn="l">
              <a:lnSpc>
                <a:spcPct val="93000"/>
              </a:lnSpc>
              <a:defRPr sz="4000" baseline="0">
                <a:solidFill>
                  <a:srgbClr val="86CBD8"/>
                </a:solidFill>
                <a:latin typeface="+mj-lt"/>
                <a:sym typeface="Trebuchet MS" panose="020B0603020202020204" pitchFamily="34" charset="0"/>
              </a:defRPr>
            </a:lvl1pPr>
          </a:lstStyle>
          <a:p>
            <a:r>
              <a:rPr lang="en-US" dirty="0" err="1"/>
              <a:t>Título</a:t>
            </a:r>
            <a:r>
              <a:rPr lang="en-US" dirty="0"/>
              <a:t> </a:t>
            </a:r>
            <a:r>
              <a:rPr lang="en-US" dirty="0" err="1"/>
              <a:t>Presentación</a:t>
            </a:r>
            <a:endParaRPr lang="en-US" dirty="0"/>
          </a:p>
        </p:txBody>
      </p:sp>
      <p:sp>
        <p:nvSpPr>
          <p:cNvPr id="76" name="Subtitle 2"/>
          <p:cNvSpPr>
            <a:spLocks noGrp="1"/>
          </p:cNvSpPr>
          <p:nvPr>
            <p:ph type="subTitle" idx="1" hasCustomPrompt="1"/>
          </p:nvPr>
        </p:nvSpPr>
        <p:spPr bwMode="white">
          <a:xfrm>
            <a:off x="1453896" y="2221992"/>
            <a:ext cx="8138160" cy="365760"/>
          </a:xfrm>
          <a:prstGeom prst="rect">
            <a:avLst/>
          </a:prstGeom>
        </p:spPr>
        <p:txBody>
          <a:bodyPr lIns="36000" tIns="46800" rIns="36000" bIns="46800" anchor="ctr"/>
          <a:lstStyle>
            <a:lvl1pPr marL="0" indent="0" algn="l">
              <a:lnSpc>
                <a:spcPct val="110000"/>
              </a:lnSpc>
              <a:buNone/>
              <a:defRPr sz="1800" b="1" baseline="0">
                <a:solidFill>
                  <a:srgbClr val="016AA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err="1"/>
              <a:t>Subtitulo</a:t>
            </a:r>
            <a:endParaRPr lang="en-US" dirty="0"/>
          </a:p>
        </p:txBody>
      </p:sp>
      <p:sp>
        <p:nvSpPr>
          <p:cNvPr id="77" name="Text Placeholder 6"/>
          <p:cNvSpPr>
            <a:spLocks noGrp="1"/>
          </p:cNvSpPr>
          <p:nvPr>
            <p:ph type="body" sz="quarter" idx="12" hasCustomPrompt="1"/>
          </p:nvPr>
        </p:nvSpPr>
        <p:spPr bwMode="black">
          <a:xfrm>
            <a:off x="1453896" y="4983480"/>
            <a:ext cx="7589520" cy="365760"/>
          </a:xfrm>
          <a:prstGeom prst="rect">
            <a:avLst/>
          </a:prstGeom>
          <a:noFill/>
        </p:spPr>
        <p:txBody>
          <a:bodyPr lIns="36000" tIns="46800" rIns="36000" bIns="46800" anchor="ctr"/>
          <a:lstStyle>
            <a:lvl1pPr algn="l">
              <a:lnSpc>
                <a:spcPct val="110000"/>
              </a:lnSpc>
              <a:buNone/>
              <a:defRPr sz="1800" b="0" cap="none" baseline="0">
                <a:solidFill>
                  <a:srgbClr val="7C1A4F"/>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err="1"/>
              <a:t>Fecha</a:t>
            </a:r>
            <a:endParaRPr lang="en-US" dirty="0"/>
          </a:p>
        </p:txBody>
      </p:sp>
    </p:spTree>
    <p:extLst>
      <p:ext uri="{BB962C8B-B14F-4D97-AF65-F5344CB8AC3E}">
        <p14:creationId xmlns:p14="http://schemas.microsoft.com/office/powerpoint/2010/main" val="37372187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87672"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7" name="Date Placeholder 56"/>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8" name="Title 7"/>
          <p:cNvSpPr>
            <a:spLocks noGrp="1"/>
          </p:cNvSpPr>
          <p:nvPr>
            <p:ph type="title" hasCustomPrompt="1"/>
          </p:nvPr>
        </p:nvSpPr>
        <p:spPr>
          <a:xfrm>
            <a:off x="630000" y="622800"/>
            <a:ext cx="10933350" cy="332399"/>
          </a:xfrm>
        </p:spPr>
        <p:txBody>
          <a:bodyPr/>
          <a:lstStyle>
            <a:lvl1pPr>
              <a:defRPr>
                <a:solidFill>
                  <a:srgbClr val="4472C4"/>
                </a:solidFill>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lumMod val="50000"/>
                  </a:schemeClr>
                </a:solidFill>
                <a:latin typeface="+mn-lt"/>
                <a:sym typeface="Trebuchet MS" panose="020B0603020202020204" pitchFamily="34" charset="0"/>
              </a:rPr>
              <a:t>Mx2020 - SteerCo - 7mar18_vf.pptx</a:t>
            </a:r>
            <a:endParaRPr lang="en-US" sz="700" dirty="0">
              <a:solidFill>
                <a:schemeClr val="bg1">
                  <a:lumMod val="50000"/>
                </a:schemeClr>
              </a:solidFill>
              <a:latin typeface="+mn-lt"/>
              <a:sym typeface="Trebuchet MS" panose="020B0603020202020204" pitchFamily="34" charset="0"/>
            </a:endParaRPr>
          </a:p>
        </p:txBody>
      </p:sp>
      <p:pic>
        <p:nvPicPr>
          <p:cNvPr id="151" name="Picture 150"/>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0688845" y="6661003"/>
            <a:ext cx="874355" cy="141242"/>
          </a:xfrm>
          <a:prstGeom prst="rect">
            <a:avLst/>
          </a:prstGeom>
        </p:spPr>
      </p:pic>
      <p:pic>
        <p:nvPicPr>
          <p:cNvPr id="152" name="pasted-image.pdf" descr="pasted-image.pdf"/>
          <p:cNvPicPr>
            <a:picLocks noChangeAspect="1"/>
          </p:cNvPicPr>
          <p:nvPr userDrawn="1"/>
        </p:nvPicPr>
        <p:blipFill>
          <a:blip r:embed="rId8" cstate="print"/>
          <a:stretch>
            <a:fillRect/>
          </a:stretch>
        </p:blipFill>
        <p:spPr>
          <a:xfrm>
            <a:off x="129456" y="6545571"/>
            <a:ext cx="420925" cy="256674"/>
          </a:xfrm>
          <a:prstGeom prst="rect">
            <a:avLst/>
          </a:prstGeom>
          <a:ln w="12700">
            <a:miter lim="400000"/>
          </a:ln>
        </p:spPr>
      </p:pic>
    </p:spTree>
    <p:extLst>
      <p:ext uri="{BB962C8B-B14F-4D97-AF65-F5344CB8AC3E}">
        <p14:creationId xmlns:p14="http://schemas.microsoft.com/office/powerpoint/2010/main" val="233541855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88696"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Date Placeholder 3"/>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a:solidFill>
                <a:schemeClr val="bg1"/>
              </a:solidFill>
              <a:latin typeface="+mn-lt"/>
              <a:sym typeface="Trebuchet MS" panose="020B0603020202020204" pitchFamily="34" charset="0"/>
            </a:endParaRPr>
          </a:p>
        </p:txBody>
      </p:sp>
      <p:sp>
        <p:nvSpPr>
          <p:cNvPr id="8" name="Subtitle 2"/>
          <p:cNvSpPr>
            <a:spLocks noGrp="1"/>
          </p:cNvSpPr>
          <p:nvPr>
            <p:ph type="subTitle" idx="13" hasCustomPrompt="1"/>
          </p:nvPr>
        </p:nvSpPr>
        <p:spPr>
          <a:xfrm>
            <a:off x="630000" y="2158987"/>
            <a:ext cx="3744000" cy="541687"/>
          </a:xfrm>
          <a:prstGeom prst="rect">
            <a:avLst/>
          </a:prstGeom>
        </p:spPr>
        <p:txBody>
          <a:bodyPr>
            <a:noAutofit/>
          </a:bodyPr>
          <a:lstStyle>
            <a:lvl1pPr marL="0" indent="0" algn="l">
              <a:buNone/>
              <a:defRPr sz="1600">
                <a:solidFill>
                  <a:srgbClr val="73C4EF"/>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9" name="Title 4"/>
          <p:cNvSpPr>
            <a:spLocks noGrp="1"/>
          </p:cNvSpPr>
          <p:nvPr>
            <p:ph type="title" hasCustomPrompt="1"/>
          </p:nvPr>
        </p:nvSpPr>
        <p:spPr>
          <a:xfrm>
            <a:off x="630000" y="1227048"/>
            <a:ext cx="3744000" cy="664797"/>
          </a:xfrm>
        </p:spPr>
        <p:txBody>
          <a:bodyPr anchor="t">
            <a:noAutofit/>
          </a:bodyPr>
          <a:lstStyle>
            <a:lvl1pPr>
              <a:defRPr sz="2400">
                <a:solidFill>
                  <a:srgbClr val="4472C4"/>
                </a:solidFill>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lumMod val="50000"/>
                  </a:schemeClr>
                </a:solidFill>
                <a:latin typeface="+mn-lt"/>
                <a:sym typeface="Trebuchet MS" panose="020B0603020202020204" pitchFamily="34" charset="0"/>
              </a:rPr>
              <a:t>Mx2020 - SteerCo - 7mar18_vf.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0582618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89720"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2"/>
                </a:solidFill>
                <a:latin typeface="+mj-lt"/>
                <a:ea typeface="+mn-ea"/>
                <a:cs typeface="Arial" panose="020B0604020202020204" pitchFamily="34" charset="0"/>
                <a:sym typeface="Trebuchet MS" panose="020B0603020202020204" pitchFamily="34" charset="0"/>
              </a:defRPr>
            </a:lvl1pPr>
          </a:lstStyle>
          <a:p>
            <a:r>
              <a:rPr lang="en-US" dirty="0"/>
              <a:t>Click to add section title</a:t>
            </a:r>
          </a:p>
        </p:txBody>
      </p:sp>
      <p:sp>
        <p:nvSpPr>
          <p:cNvPr id="11" name="Rectangle 10"/>
          <p:cNvSpPr/>
          <p:nvPr userDrawn="1"/>
        </p:nvSpPr>
        <p:spPr bwMode="white">
          <a:xfrm>
            <a:off x="1280693" y="1424081"/>
            <a:ext cx="95172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sym typeface="Trebuchet MS" panose="020B0603020202020204" pitchFamily="34" charset="0"/>
            </a:endParaRPr>
          </a:p>
        </p:txBody>
      </p:sp>
      <p:sp>
        <p:nvSpPr>
          <p:cNvPr id="10"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lumMod val="50000"/>
                  </a:schemeClr>
                </a:solidFill>
                <a:latin typeface="+mn-lt"/>
                <a:sym typeface="Trebuchet MS" panose="020B0603020202020204" pitchFamily="34" charset="0"/>
              </a:rPr>
              <a:t>Mx2020 - SteerCo - 7mar18_vf.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7589138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90744"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tx2"/>
                </a:solidFill>
                <a:latin typeface="+mj-lt"/>
                <a:sym typeface="Trebuchet MS" panose="020B0603020202020204" pitchFamily="34" charset="0"/>
              </a:defRPr>
            </a:lvl1pPr>
          </a:lstStyle>
          <a:p>
            <a:r>
              <a:rPr lang="en-US" dirty="0"/>
              <a:t>Click to add section title</a:t>
            </a:r>
          </a:p>
        </p:txBody>
      </p:sp>
      <p:cxnSp>
        <p:nvCxnSpPr>
          <p:cNvPr id="10" name="Straight Connector 9"/>
          <p:cNvCxnSpPr/>
          <p:nvPr userDrawn="1"/>
        </p:nvCxnSpPr>
        <p:spPr bwMode="white">
          <a:xfrm>
            <a:off x="630000" y="3680016"/>
            <a:ext cx="11558587"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0892748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8.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91768"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8"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2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24" name="Rectangle 23"/>
          <p:cNvSpPr/>
          <p:nvPr userDrawn="1"/>
        </p:nvSpPr>
        <p:spPr bwMode="white">
          <a:xfrm>
            <a:off x="0"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25"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rgbClr val="4472C4"/>
                </a:solidFill>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solidFill>
                <a:latin typeface="+mn-lt"/>
                <a:sym typeface="Trebuchet MS" panose="020B0603020202020204" pitchFamily="34" charset="0"/>
              </a:rPr>
              <a:t>Mx2020 - SteerCo - 7mar18_vf.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1796261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9.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92792"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18"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2" name="Title 1"/>
          <p:cNvSpPr>
            <a:spLocks noGrp="1"/>
          </p:cNvSpPr>
          <p:nvPr>
            <p:ph type="title" hasCustomPrompt="1"/>
          </p:nvPr>
        </p:nvSpPr>
        <p:spPr>
          <a:xfrm>
            <a:off x="630000" y="622800"/>
            <a:ext cx="6276529" cy="332399"/>
          </a:xfrm>
          <a:prstGeom prst="rect">
            <a:avLst/>
          </a:prstGeom>
        </p:spPr>
        <p:txBody>
          <a:bodyPr/>
          <a:lstStyle>
            <a:lvl1pPr>
              <a:defRPr>
                <a:solidFill>
                  <a:srgbClr val="4472C4"/>
                </a:solidFill>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solidFill>
                <a:latin typeface="+mn-lt"/>
                <a:sym typeface="Trebuchet MS" panose="020B0603020202020204" pitchFamily="34" charset="0"/>
              </a:rPr>
              <a:t>Mx2020 - SteerCo - 7mar18_vf.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2213261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SUB PORTADA BW">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stretch>
            <a:fillRect/>
          </a:stretch>
        </p:blipFill>
        <p:spPr>
          <a:xfrm>
            <a:off x="0" y="-89377"/>
            <a:ext cx="12283621" cy="6962249"/>
          </a:xfrm>
          <a:prstGeom prst="rect">
            <a:avLst/>
          </a:prstGeom>
        </p:spPr>
      </p:pic>
      <p:sp>
        <p:nvSpPr>
          <p:cNvPr id="6" name="Title 1"/>
          <p:cNvSpPr>
            <a:spLocks noGrp="1"/>
          </p:cNvSpPr>
          <p:nvPr>
            <p:ph type="ctrTitle" idx="4294967295"/>
          </p:nvPr>
        </p:nvSpPr>
        <p:spPr>
          <a:xfrm>
            <a:off x="819152" y="3311525"/>
            <a:ext cx="10947400" cy="517525"/>
          </a:xfrm>
        </p:spPr>
        <p:txBody>
          <a:bodyPr/>
          <a:lstStyle/>
          <a:p>
            <a:pPr>
              <a:defRPr/>
            </a:pPr>
            <a:r>
              <a:rPr lang="es-ES_tradnl" sz="3200" dirty="0">
                <a:solidFill>
                  <a:schemeClr val="bg1"/>
                </a:solidFill>
              </a:rPr>
              <a:t>T</a:t>
            </a:r>
            <a:r>
              <a:rPr lang="en-US" sz="3200" dirty="0" err="1">
                <a:solidFill>
                  <a:schemeClr val="bg1"/>
                </a:solidFill>
              </a:rPr>
              <a:t>í</a:t>
            </a:r>
            <a:r>
              <a:rPr lang="es-ES_tradnl" sz="3200" dirty="0" err="1">
                <a:solidFill>
                  <a:schemeClr val="bg1"/>
                </a:solidFill>
              </a:rPr>
              <a:t>tulo</a:t>
            </a:r>
            <a:r>
              <a:rPr lang="es-ES_tradnl" sz="3200" dirty="0">
                <a:solidFill>
                  <a:schemeClr val="bg1"/>
                </a:solidFill>
              </a:rPr>
              <a:t> va aquí</a:t>
            </a:r>
            <a:endParaRPr lang="en-US" sz="3200" dirty="0">
              <a:solidFill>
                <a:schemeClr val="bg1"/>
              </a:solidFill>
            </a:endParaRPr>
          </a:p>
        </p:txBody>
      </p:sp>
      <p:sp>
        <p:nvSpPr>
          <p:cNvPr id="7" name="Subtitle 2"/>
          <p:cNvSpPr>
            <a:spLocks noGrp="1"/>
          </p:cNvSpPr>
          <p:nvPr>
            <p:ph type="subTitle" sz="quarter" idx="4294967295"/>
          </p:nvPr>
        </p:nvSpPr>
        <p:spPr>
          <a:xfrm>
            <a:off x="823384" y="3829051"/>
            <a:ext cx="10962216" cy="1014413"/>
          </a:xfrm>
          <a:extLst>
            <a:ext uri="{91240B29-F687-4F45-9708-019B960494DF}">
              <a14:hiddenLine xmlns:a14="http://schemas.microsoft.com/office/drawing/2010/main" w="9525">
                <a:solidFill>
                  <a:schemeClr val="tx1"/>
                </a:solidFill>
                <a:miter lim="800000"/>
                <a:headEnd/>
                <a:tailEnd/>
              </a14:hiddenLine>
            </a:ext>
          </a:extLst>
        </p:spPr>
        <p:txBody>
          <a:bodyPr tIns="0" rIns="0" bIns="0"/>
          <a:lstStyle>
            <a:lvl1pPr marL="0" indent="0">
              <a:lnSpc>
                <a:spcPct val="100000"/>
              </a:lnSpc>
              <a:spcBef>
                <a:spcPct val="0"/>
              </a:spcBef>
              <a:spcAft>
                <a:spcPct val="0"/>
              </a:spcAft>
              <a:buFontTx/>
              <a:buNone/>
              <a:defRPr/>
            </a:lvl1pPr>
          </a:lstStyle>
          <a:p>
            <a:pPr marL="0" indent="0">
              <a:lnSpc>
                <a:spcPct val="100000"/>
              </a:lnSpc>
              <a:spcBef>
                <a:spcPct val="0"/>
              </a:spcBef>
              <a:spcAft>
                <a:spcPct val="0"/>
              </a:spcAft>
              <a:buFontTx/>
              <a:buNone/>
              <a:defRPr/>
            </a:pPr>
            <a:r>
              <a:rPr lang="es-ES_tradnl" sz="3200" dirty="0">
                <a:solidFill>
                  <a:srgbClr val="00BDF2"/>
                </a:solidFill>
              </a:rPr>
              <a:t>Subtitulo va aquí</a:t>
            </a:r>
          </a:p>
        </p:txBody>
      </p:sp>
      <p:pic>
        <p:nvPicPr>
          <p:cNvPr id="9" name="Picture 8"/>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305361" y="4843463"/>
            <a:ext cx="4754651" cy="2307404"/>
          </a:xfrm>
          <a:prstGeom prst="rect">
            <a:avLst/>
          </a:prstGeom>
        </p:spPr>
      </p:pic>
    </p:spTree>
    <p:extLst>
      <p:ext uri="{BB962C8B-B14F-4D97-AF65-F5344CB8AC3E}">
        <p14:creationId xmlns:p14="http://schemas.microsoft.com/office/powerpoint/2010/main" val="2699933278"/>
      </p:ext>
    </p:extLst>
  </p:cSld>
  <p:clrMapOvr>
    <a:masterClrMapping/>
  </p:clrMapOvr>
</p:sldLayout>
</file>

<file path=ppt/slideLayouts/slideLayout260.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93816"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6" name="Picture 15"/>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l="29398" t="8741" r="101" b="27"/>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a:p>
        </p:txBody>
      </p:sp>
      <p:sp>
        <p:nvSpPr>
          <p:cNvPr id="2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8101584" cy="332399"/>
          </a:xfrm>
          <a:prstGeom prst="rect">
            <a:avLst/>
          </a:prstGeom>
        </p:spPr>
        <p:txBody>
          <a:bodyPr/>
          <a:lstStyle>
            <a:lvl1pPr>
              <a:defRPr>
                <a:solidFill>
                  <a:srgbClr val="4472C4"/>
                </a:solidFill>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solidFill>
                <a:latin typeface="+mn-lt"/>
                <a:sym typeface="Trebuchet MS" panose="020B0603020202020204" pitchFamily="34" charset="0"/>
              </a:rPr>
              <a:t>Mx2020 - SteerCo - 7mar18_vf.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0784927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1.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94840"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bg1"/>
                </a:solidFill>
                <a:latin typeface="+mj-lt"/>
                <a:sym typeface="Trebuchet MS" panose="020B0603020202020204" pitchFamily="34" charset="0"/>
              </a:defRPr>
            </a:lvl1pPr>
          </a:lstStyle>
          <a:p>
            <a:r>
              <a:rPr lang="en-US" dirty="0"/>
              <a:t>Click to add title</a:t>
            </a:r>
          </a:p>
        </p:txBody>
      </p:sp>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25"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2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1"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lumMod val="50000"/>
                  </a:schemeClr>
                </a:solidFill>
                <a:latin typeface="+mn-lt"/>
                <a:sym typeface="Trebuchet MS" panose="020B0603020202020204" pitchFamily="34" charset="0"/>
              </a:rPr>
              <a:t>Mx2020 - SteerCo - 7mar18_vf.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65328075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2.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95864"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sym typeface="Trebuchet MS" panose="020B0603020202020204" pitchFamily="34" charset="0"/>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5"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18"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lumMod val="50000"/>
                  </a:schemeClr>
                </a:solidFill>
                <a:latin typeface="+mn-lt"/>
                <a:sym typeface="Trebuchet MS" panose="020B0603020202020204" pitchFamily="34" charset="0"/>
              </a:rPr>
              <a:t>Mx2020 - SteerCo - 7mar18_vf.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01451155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3.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96888"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15" name="Title 1"/>
          <p:cNvSpPr>
            <a:spLocks noGrp="1"/>
          </p:cNvSpPr>
          <p:nvPr>
            <p:ph type="title" hasCustomPrompt="1"/>
          </p:nvPr>
        </p:nvSpPr>
        <p:spPr bwMode="black">
          <a:xfrm>
            <a:off x="630936" y="178560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lumMod val="50000"/>
                  </a:schemeClr>
                </a:solidFill>
                <a:latin typeface="+mn-lt"/>
                <a:sym typeface="Trebuchet MS" panose="020B0603020202020204" pitchFamily="34" charset="0"/>
              </a:rPr>
              <a:t>Mx2020 - SteerCo - 7mar18_vf.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6141561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4.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97912"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9" name="Picture 2"/>
          <p:cNvPicPr>
            <a:picLocks noChangeAspect="1" noChangeArrowheads="1"/>
          </p:cNvPicPr>
          <p:nvPr userDrawn="1"/>
        </p:nvPicPr>
        <p:blipFill>
          <a:blip r:embed="rId7">
            <a:biLevel thresh="50000"/>
            <a:extLst>
              <a:ext uri="{28A0092B-C50C-407E-A947-70E740481C1C}">
                <a14:useLocalDpi xmlns:a14="http://schemas.microsoft.com/office/drawing/2010/main" val="0"/>
              </a:ext>
            </a:extLst>
          </a:blip>
          <a:srcRect/>
          <a:stretch>
            <a:fillRect/>
          </a:stretch>
        </p:blipFill>
        <p:spPr bwMode="auto">
          <a:xfrm>
            <a:off x="3108638" y="3588018"/>
            <a:ext cx="1365250" cy="3382962"/>
          </a:xfrm>
          <a:prstGeom prst="rect">
            <a:avLst/>
          </a:prstGeom>
          <a:noFill/>
          <a:extLst>
            <a:ext uri="{909E8E84-426E-40DD-AFC4-6F175D3DCCD1}">
              <a14:hiddenFill xmlns:a14="http://schemas.microsoft.com/office/drawing/2010/main">
                <a:solidFill>
                  <a:srgbClr val="FFFFFF"/>
                </a:solidFill>
              </a14:hiddenFill>
            </a:ext>
          </a:extLst>
        </p:spPr>
      </p:pic>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Title 2"/>
          <p:cNvSpPr>
            <a:spLocks noGrp="1"/>
          </p:cNvSpPr>
          <p:nvPr>
            <p:ph type="title" hasCustomPrompt="1"/>
          </p:nvPr>
        </p:nvSpPr>
        <p:spPr>
          <a:xfrm>
            <a:off x="630000" y="2764203"/>
            <a:ext cx="2478638" cy="1314311"/>
          </a:xfrm>
        </p:spPr>
        <p:txBody>
          <a:bodyPr anchor="ctr" anchorCtr="0">
            <a:noAutofit/>
          </a:bodyPr>
          <a:lstStyle>
            <a:lvl1pPr>
              <a:defRPr/>
            </a:lvl1pPr>
          </a:lstStyle>
          <a:p>
            <a:r>
              <a:rPr lang="en-US" dirty="0"/>
              <a:t>Click to add title</a:t>
            </a:r>
            <a:endParaRPr lang="en-GB" dirty="0"/>
          </a:p>
        </p:txBody>
      </p:sp>
      <p:sp>
        <p:nvSpPr>
          <p:cNvPr id="14"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solidFill>
                <a:latin typeface="+mn-lt"/>
                <a:sym typeface="Trebuchet MS" panose="020B0603020202020204" pitchFamily="34" charset="0"/>
              </a:rPr>
              <a:t>Mx2020 - SteerCo - 7mar18_vf.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08437444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5.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98936"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2764203"/>
            <a:ext cx="2478638" cy="1314311"/>
          </a:xfrm>
        </p:spPr>
        <p:txBody>
          <a:bodyPr anchor="ctr" anchorCtr="0">
            <a:noAutofit/>
          </a:bodyPr>
          <a:lstStyle>
            <a:lvl1pPr>
              <a:defRPr>
                <a:solidFill>
                  <a:srgbClr val="FFFFFF"/>
                </a:solidFill>
                <a:latin typeface="+mj-lt"/>
              </a:defRPr>
            </a:lvl1pPr>
          </a:lstStyle>
          <a:p>
            <a:r>
              <a:rPr lang="en-US" dirty="0"/>
              <a:t>Click to add title</a:t>
            </a:r>
          </a:p>
        </p:txBody>
      </p:sp>
      <p:sp>
        <p:nvSpPr>
          <p:cNvPr id="15"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19"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lumMod val="50000"/>
                  </a:schemeClr>
                </a:solidFill>
                <a:latin typeface="+mn-lt"/>
                <a:sym typeface="Trebuchet MS" panose="020B0603020202020204" pitchFamily="34" charset="0"/>
              </a:rPr>
              <a:t>Mx2020 - SteerCo - 7mar18_vf.pptx</a:t>
            </a:r>
            <a:endParaRPr lang="en-US" sz="700" dirty="0">
              <a:solidFill>
                <a:schemeClr val="bg1">
                  <a:lumMod val="50000"/>
                </a:schemeClr>
              </a:solidFill>
              <a:latin typeface="+mn-lt"/>
              <a:sym typeface="Trebuchet MS" panose="020B0603020202020204" pitchFamily="34" charset="0"/>
            </a:endParaRPr>
          </a:p>
        </p:txBody>
      </p:sp>
      <p:pic>
        <p:nvPicPr>
          <p:cNvPr id="11" name="Picture 10"/>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t="6216" b="7716"/>
          <a:stretch/>
        </p:blipFill>
        <p:spPr>
          <a:xfrm rot="120000">
            <a:off x="2141308" y="3402828"/>
            <a:ext cx="2694666" cy="3461745"/>
          </a:xfrm>
          <a:prstGeom prst="rect">
            <a:avLst/>
          </a:prstGeom>
        </p:spPr>
      </p:pic>
    </p:spTree>
    <p:extLst>
      <p:ext uri="{BB962C8B-B14F-4D97-AF65-F5344CB8AC3E}">
        <p14:creationId xmlns:p14="http://schemas.microsoft.com/office/powerpoint/2010/main" val="20764911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6.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99960"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9" name="TextBox 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a:solidFill>
                <a:schemeClr val="bg1"/>
              </a:solidFill>
              <a:latin typeface="+mn-lt"/>
              <a:ea typeface="+mn-ea"/>
              <a:cs typeface="+mn-cs"/>
              <a:sym typeface="Trebuchet MS" panose="020B0603020202020204" pitchFamily="34" charset="0"/>
            </a:endParaRPr>
          </a:p>
        </p:txBody>
      </p:sp>
      <p:sp>
        <p:nvSpPr>
          <p:cNvPr id="10"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pic>
        <p:nvPicPr>
          <p:cNvPr id="18" name="Picture 2"/>
          <p:cNvPicPr>
            <a:picLocks noChangeAspect="1" noChangeArrowheads="1"/>
          </p:cNvPicPr>
          <p:nvPr userDrawn="1"/>
        </p:nvPicPr>
        <p:blipFill>
          <a:blip r:embed="rId7">
            <a:biLevel thresh="50000"/>
            <a:extLst>
              <a:ext uri="{28A0092B-C50C-407E-A947-70E740481C1C}">
                <a14:useLocalDpi xmlns:a14="http://schemas.microsoft.com/office/drawing/2010/main" val="0"/>
              </a:ext>
            </a:extLst>
          </a:blip>
          <a:srcRect/>
          <a:stretch>
            <a:fillRect/>
          </a:stretch>
        </p:blipFill>
        <p:spPr bwMode="auto">
          <a:xfrm>
            <a:off x="4533900" y="3382962"/>
            <a:ext cx="1298575" cy="3571875"/>
          </a:xfrm>
          <a:prstGeom prst="rect">
            <a:avLst/>
          </a:prstGeom>
          <a:noFill/>
          <a:extLst>
            <a:ext uri="{909E8E84-426E-40DD-AFC4-6F175D3DCCD1}">
              <a14:hiddenFill xmlns:a14="http://schemas.microsoft.com/office/drawing/2010/main">
                <a:solidFill>
                  <a:srgbClr val="FFFFFF"/>
                </a:solidFill>
              </a14:hiddenFill>
            </a:ext>
          </a:extLst>
        </p:spPr>
      </p:pic>
      <p:sp>
        <p:nvSpPr>
          <p:cNvPr id="19" name="Pentagon 3"/>
          <p:cNvSpPr/>
          <p:nvPr userDrawn="1"/>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4472C4"/>
                </a:solidFill>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solidFill>
                <a:latin typeface="+mn-lt"/>
                <a:sym typeface="Trebuchet MS" panose="020B0603020202020204" pitchFamily="34" charset="0"/>
              </a:rPr>
              <a:t>Mx2020 - SteerCo - 7mar18_vf.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672750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7.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00984"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9"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16"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lumMod val="50000"/>
                  </a:schemeClr>
                </a:solidFill>
                <a:latin typeface="+mn-lt"/>
                <a:sym typeface="Trebuchet MS" panose="020B0603020202020204" pitchFamily="34" charset="0"/>
              </a:rPr>
              <a:t>Mx2020 - SteerCo - 7mar18_vf.pptx</a:t>
            </a:r>
            <a:endParaRPr lang="en-US" sz="700" dirty="0">
              <a:solidFill>
                <a:schemeClr val="bg1">
                  <a:lumMod val="50000"/>
                </a:schemeClr>
              </a:solidFill>
              <a:latin typeface="+mn-lt"/>
              <a:sym typeface="Trebuchet MS" panose="020B0603020202020204" pitchFamily="34" charset="0"/>
            </a:endParaRPr>
          </a:p>
        </p:txBody>
      </p:sp>
      <p:pic>
        <p:nvPicPr>
          <p:cNvPr id="17" name="Picture 16"/>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t="7562" b="6867"/>
          <a:stretch/>
        </p:blipFill>
        <p:spPr>
          <a:xfrm>
            <a:off x="3549481" y="3416300"/>
            <a:ext cx="2694666" cy="3441700"/>
          </a:xfrm>
          <a:prstGeom prst="rect">
            <a:avLst/>
          </a:prstGeom>
        </p:spPr>
      </p:pic>
    </p:spTree>
    <p:extLst>
      <p:ext uri="{BB962C8B-B14F-4D97-AF65-F5344CB8AC3E}">
        <p14:creationId xmlns:p14="http://schemas.microsoft.com/office/powerpoint/2010/main" val="9841285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8.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02008"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1" name="Picture 2"/>
          <p:cNvPicPr>
            <a:picLocks noChangeAspect="1" noChangeArrowheads="1"/>
          </p:cNvPicPr>
          <p:nvPr/>
        </p:nvPicPr>
        <p:blipFill>
          <a:blip r:embed="rId7">
            <a:biLevel thresh="50000"/>
            <a:extLst>
              <a:ext uri="{28A0092B-C50C-407E-A947-70E740481C1C}">
                <a14:useLocalDpi xmlns:a14="http://schemas.microsoft.com/office/drawing/2010/main" val="0"/>
              </a:ext>
            </a:extLst>
          </a:blip>
          <a:srcRect/>
          <a:stretch>
            <a:fillRect/>
          </a:stretch>
        </p:blipFill>
        <p:spPr bwMode="auto">
          <a:xfrm>
            <a:off x="5378758" y="3588018"/>
            <a:ext cx="1365250" cy="3382962"/>
          </a:xfrm>
          <a:prstGeom prst="rect">
            <a:avLst/>
          </a:prstGeom>
          <a:noFill/>
          <a:extLst>
            <a:ext uri="{909E8E84-426E-40DD-AFC4-6F175D3DCCD1}">
              <a14:hiddenFill xmlns:a14="http://schemas.microsoft.com/office/drawing/2010/main">
                <a:solidFill>
                  <a:srgbClr val="FFFFFF"/>
                </a:solidFill>
              </a14:hiddenFill>
            </a:ext>
          </a:extLst>
        </p:spPr>
      </p:pic>
      <p:sp>
        <p:nvSpPr>
          <p:cNvPr id="9" name="Pentagon 8"/>
          <p:cNvSpPr/>
          <p:nvPr/>
        </p:nvSpPr>
        <p:spPr bwMode="white">
          <a:xfrm>
            <a:off x="0" y="0"/>
            <a:ext cx="6363546"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solidFill>
                  <a:srgbClr val="4472C4"/>
                </a:solidFill>
                <a:latin typeface="+mj-lt"/>
                <a:sym typeface="Trebuchet MS" panose="020B0603020202020204" pitchFamily="34" charset="0"/>
              </a:defRPr>
            </a:lvl1pPr>
          </a:lstStyle>
          <a:p>
            <a:r>
              <a:rPr lang="en-US" dirty="0"/>
              <a:t>Click to add title</a:t>
            </a: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a:p>
        </p:txBody>
      </p:sp>
      <p:sp>
        <p:nvSpPr>
          <p:cNvPr id="18"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12"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solidFill>
                <a:latin typeface="+mn-lt"/>
                <a:sym typeface="Trebuchet MS" panose="020B0603020202020204" pitchFamily="34" charset="0"/>
              </a:rPr>
              <a:t>Mx2020 - SteerCo - 7mar18_vf.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665488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9.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03032"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9" name="Pentagon 8"/>
          <p:cNvSpPr/>
          <p:nvPr/>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17"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lumMod val="50000"/>
                  </a:schemeClr>
                </a:solidFill>
                <a:latin typeface="+mn-lt"/>
                <a:sym typeface="Trebuchet MS" panose="020B0603020202020204" pitchFamily="34" charset="0"/>
              </a:rPr>
              <a:t>Mx2020 - SteerCo - 7mar18_vf.pptx</a:t>
            </a:r>
            <a:endParaRPr lang="en-US" sz="700" dirty="0">
              <a:solidFill>
                <a:schemeClr val="bg1">
                  <a:lumMod val="50000"/>
                </a:schemeClr>
              </a:solidFill>
              <a:latin typeface="+mn-lt"/>
              <a:sym typeface="Trebuchet MS" panose="020B0603020202020204" pitchFamily="34" charset="0"/>
            </a:endParaRPr>
          </a:p>
        </p:txBody>
      </p:sp>
      <p:pic>
        <p:nvPicPr>
          <p:cNvPr id="13" name="Picture 12"/>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t="9052" b="6867"/>
          <a:stretch/>
        </p:blipFill>
        <p:spPr>
          <a:xfrm rot="120000">
            <a:off x="4428422" y="3407803"/>
            <a:ext cx="2694666" cy="3456551"/>
          </a:xfrm>
          <a:prstGeom prst="rect">
            <a:avLst/>
          </a:prstGeom>
        </p:spPr>
      </p:pic>
    </p:spTree>
    <p:extLst>
      <p:ext uri="{BB962C8B-B14F-4D97-AF65-F5344CB8AC3E}">
        <p14:creationId xmlns:p14="http://schemas.microsoft.com/office/powerpoint/2010/main" val="42394097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Quote_Azul">
    <p:spTree>
      <p:nvGrpSpPr>
        <p:cNvPr id="1" name=""/>
        <p:cNvGrpSpPr/>
        <p:nvPr/>
      </p:nvGrpSpPr>
      <p:grpSpPr>
        <a:xfrm>
          <a:off x="0" y="0"/>
          <a:ext cx="0" cy="0"/>
          <a:chOff x="0" y="0"/>
          <a:chExt cx="0" cy="0"/>
        </a:xfrm>
      </p:grpSpPr>
      <p:sp>
        <p:nvSpPr>
          <p:cNvPr id="6" name="Rectangle 4"/>
          <p:cNvSpPr>
            <a:spLocks noChangeArrowheads="1"/>
          </p:cNvSpPr>
          <p:nvPr userDrawn="1"/>
        </p:nvSpPr>
        <p:spPr bwMode="auto">
          <a:xfrm>
            <a:off x="-24676" y="0"/>
            <a:ext cx="12192000" cy="6858000"/>
          </a:xfrm>
          <a:prstGeom prst="rect">
            <a:avLst/>
          </a:prstGeom>
          <a:solidFill>
            <a:srgbClr val="002D72"/>
          </a:solidFill>
          <a:ln w="12700">
            <a:solidFill>
              <a:schemeClr val="tx2"/>
            </a:solidFill>
            <a:round/>
            <a:headEnd/>
            <a:tailEnd/>
          </a:ln>
        </p:spPr>
        <p:txBody>
          <a:bodyPr wrap="none" anchor="ctr"/>
          <a:lstStyle/>
          <a:p>
            <a:pPr algn="ctr" defTabSz="914400" fontAlgn="base">
              <a:spcBef>
                <a:spcPct val="0"/>
              </a:spcBef>
              <a:spcAft>
                <a:spcPct val="0"/>
              </a:spcAft>
            </a:pPr>
            <a:endParaRPr lang="es-ES_tradnl" sz="2400">
              <a:solidFill>
                <a:srgbClr val="002D72"/>
              </a:solidFill>
              <a:ea typeface="ＭＳ Ｐゴシック" charset="0"/>
            </a:endParaRPr>
          </a:p>
        </p:txBody>
      </p:sp>
      <p:grpSp>
        <p:nvGrpSpPr>
          <p:cNvPr id="7" name="Group 24"/>
          <p:cNvGrpSpPr>
            <a:grpSpLocks/>
          </p:cNvGrpSpPr>
          <p:nvPr userDrawn="1"/>
        </p:nvGrpSpPr>
        <p:grpSpPr bwMode="auto">
          <a:xfrm>
            <a:off x="490519" y="391003"/>
            <a:ext cx="1233216" cy="615424"/>
            <a:chOff x="-3315972" y="-924674"/>
            <a:chExt cx="6411831" cy="4278160"/>
          </a:xfrm>
          <a:solidFill>
            <a:schemeClr val="accent1"/>
          </a:solidFill>
        </p:grpSpPr>
        <p:sp>
          <p:nvSpPr>
            <p:cNvPr id="8" name="Trapezoid 21"/>
            <p:cNvSpPr>
              <a:spLocks/>
            </p:cNvSpPr>
            <p:nvPr/>
          </p:nvSpPr>
          <p:spPr bwMode="auto">
            <a:xfrm>
              <a:off x="-3315972"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defTabSz="914400" fontAlgn="base">
                <a:spcBef>
                  <a:spcPct val="0"/>
                </a:spcBef>
                <a:spcAft>
                  <a:spcPct val="0"/>
                </a:spcAft>
                <a:defRPr/>
              </a:pPr>
              <a:endParaRPr lang="en-US" sz="2400">
                <a:solidFill>
                  <a:srgbClr val="53565A"/>
                </a:solidFill>
                <a:ea typeface="ヒラギノ角ゴ Pro W3" charset="0"/>
                <a:cs typeface="ヒラギノ角ゴ Pro W3" charset="0"/>
              </a:endParaRPr>
            </a:p>
          </p:txBody>
        </p:sp>
        <p:sp>
          <p:nvSpPr>
            <p:cNvPr id="9" name="Trapezoid 21"/>
            <p:cNvSpPr>
              <a:spLocks/>
            </p:cNvSpPr>
            <p:nvPr/>
          </p:nvSpPr>
          <p:spPr bwMode="auto">
            <a:xfrm>
              <a:off x="839130"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defTabSz="914400" fontAlgn="base">
                <a:spcBef>
                  <a:spcPct val="0"/>
                </a:spcBef>
                <a:spcAft>
                  <a:spcPct val="0"/>
                </a:spcAft>
                <a:defRPr/>
              </a:pPr>
              <a:endParaRPr lang="en-US" sz="2400">
                <a:solidFill>
                  <a:srgbClr val="53565A"/>
                </a:solidFill>
                <a:ea typeface="ヒラギノ角ゴ Pro W3" charset="0"/>
                <a:cs typeface="ヒラギノ角ゴ Pro W3" charset="0"/>
              </a:endParaRPr>
            </a:p>
          </p:txBody>
        </p:sp>
      </p:grpSp>
      <p:grpSp>
        <p:nvGrpSpPr>
          <p:cNvPr id="10" name="Group 25"/>
          <p:cNvGrpSpPr>
            <a:grpSpLocks/>
          </p:cNvGrpSpPr>
          <p:nvPr userDrawn="1"/>
        </p:nvGrpSpPr>
        <p:grpSpPr bwMode="auto">
          <a:xfrm flipH="1" flipV="1">
            <a:off x="10549240" y="6005510"/>
            <a:ext cx="1233216" cy="615421"/>
            <a:chOff x="-3315972" y="-924674"/>
            <a:chExt cx="6411831" cy="4278160"/>
          </a:xfrm>
          <a:solidFill>
            <a:schemeClr val="accent1"/>
          </a:solidFill>
        </p:grpSpPr>
        <p:sp>
          <p:nvSpPr>
            <p:cNvPr id="11" name="Trapezoid 21"/>
            <p:cNvSpPr>
              <a:spLocks/>
            </p:cNvSpPr>
            <p:nvPr/>
          </p:nvSpPr>
          <p:spPr bwMode="auto">
            <a:xfrm>
              <a:off x="-3315972"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defTabSz="914400" fontAlgn="base">
                <a:spcBef>
                  <a:spcPct val="0"/>
                </a:spcBef>
                <a:spcAft>
                  <a:spcPct val="0"/>
                </a:spcAft>
                <a:defRPr/>
              </a:pPr>
              <a:endParaRPr lang="en-US" sz="2400">
                <a:solidFill>
                  <a:srgbClr val="53565A"/>
                </a:solidFill>
                <a:ea typeface="ヒラギノ角ゴ Pro W3" charset="0"/>
                <a:cs typeface="ヒラギノ角ゴ Pro W3" charset="0"/>
              </a:endParaRPr>
            </a:p>
          </p:txBody>
        </p:sp>
        <p:sp>
          <p:nvSpPr>
            <p:cNvPr id="12" name="Trapezoid 21"/>
            <p:cNvSpPr>
              <a:spLocks/>
            </p:cNvSpPr>
            <p:nvPr/>
          </p:nvSpPr>
          <p:spPr bwMode="auto">
            <a:xfrm>
              <a:off x="839130"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defTabSz="914400" fontAlgn="base">
                <a:spcBef>
                  <a:spcPct val="0"/>
                </a:spcBef>
                <a:spcAft>
                  <a:spcPct val="0"/>
                </a:spcAft>
                <a:defRPr/>
              </a:pPr>
              <a:endParaRPr lang="en-US" sz="2400">
                <a:solidFill>
                  <a:srgbClr val="53565A"/>
                </a:solidFill>
                <a:ea typeface="ヒラギノ角ゴ Pro W3" charset="0"/>
                <a:cs typeface="ヒラギノ角ゴ Pro W3" charset="0"/>
              </a:endParaRPr>
            </a:p>
          </p:txBody>
        </p:sp>
      </p:grpSp>
      <p:sp>
        <p:nvSpPr>
          <p:cNvPr id="24" name="Text Placeholder 23"/>
          <p:cNvSpPr>
            <a:spLocks noGrp="1"/>
          </p:cNvSpPr>
          <p:nvPr>
            <p:ph type="body" sz="quarter" idx="10"/>
          </p:nvPr>
        </p:nvSpPr>
        <p:spPr>
          <a:xfrm>
            <a:off x="2357969" y="1006427"/>
            <a:ext cx="8191273" cy="3686224"/>
          </a:xfrm>
        </p:spPr>
        <p:txBody>
          <a:bodyPr/>
          <a:lstStyle>
            <a:lvl1pPr marL="0" indent="0" algn="l">
              <a:buNone/>
              <a:defRPr sz="3600">
                <a:solidFill>
                  <a:schemeClr val="bg1"/>
                </a:solidFill>
              </a:defRPr>
            </a:lvl1pPr>
            <a:lvl2pPr marL="403225" indent="0" algn="l">
              <a:buNone/>
              <a:defRPr sz="3600">
                <a:solidFill>
                  <a:schemeClr val="bg1"/>
                </a:solidFill>
              </a:defRPr>
            </a:lvl2pPr>
            <a:lvl3pPr marL="747712" indent="0" algn="l">
              <a:buNone/>
              <a:defRPr sz="3600">
                <a:solidFill>
                  <a:schemeClr val="bg1"/>
                </a:solidFill>
              </a:defRPr>
            </a:lvl3pPr>
            <a:lvl4pPr marL="1089025" indent="0" algn="l">
              <a:buNone/>
              <a:defRPr sz="3600">
                <a:solidFill>
                  <a:schemeClr val="bg1"/>
                </a:solidFill>
              </a:defRPr>
            </a:lvl4pPr>
            <a:lvl5pPr marL="1427162" indent="0" algn="l">
              <a:buNone/>
              <a:defRPr sz="360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5" name="Text Placeholder 23"/>
          <p:cNvSpPr>
            <a:spLocks noGrp="1"/>
          </p:cNvSpPr>
          <p:nvPr>
            <p:ph type="body" sz="quarter" idx="11"/>
          </p:nvPr>
        </p:nvSpPr>
        <p:spPr>
          <a:xfrm>
            <a:off x="2357969" y="4944980"/>
            <a:ext cx="8191273" cy="1335504"/>
          </a:xfrm>
        </p:spPr>
        <p:txBody>
          <a:bodyPr/>
          <a:lstStyle>
            <a:lvl1pPr marL="0" indent="0" algn="l">
              <a:buNone/>
              <a:defRPr sz="2400">
                <a:solidFill>
                  <a:srgbClr val="00B3F0"/>
                </a:solidFill>
              </a:defRPr>
            </a:lvl1pPr>
            <a:lvl2pPr marL="403225" indent="0" algn="l">
              <a:buNone/>
              <a:defRPr sz="2400">
                <a:solidFill>
                  <a:srgbClr val="00B3F0"/>
                </a:solidFill>
              </a:defRPr>
            </a:lvl2pPr>
            <a:lvl3pPr marL="747712" indent="0" algn="l">
              <a:buNone/>
              <a:defRPr sz="2400">
                <a:solidFill>
                  <a:srgbClr val="00B3F0"/>
                </a:solidFill>
              </a:defRPr>
            </a:lvl3pPr>
            <a:lvl4pPr marL="1089025" indent="0" algn="l">
              <a:buNone/>
              <a:defRPr sz="2400">
                <a:solidFill>
                  <a:srgbClr val="00B3F0"/>
                </a:solidFill>
              </a:defRPr>
            </a:lvl4pPr>
            <a:lvl5pPr marL="1427162" indent="0" algn="l">
              <a:buNone/>
              <a:defRPr sz="2400">
                <a:solidFill>
                  <a:srgbClr val="00B3F0"/>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841651672"/>
      </p:ext>
    </p:extLst>
  </p:cSld>
  <p:clrMapOvr>
    <a:masterClrMapping/>
  </p:clrMapOvr>
</p:sldLayout>
</file>

<file path=ppt/slideLayouts/slideLayout270.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04056"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0" name="Picture 2"/>
          <p:cNvPicPr>
            <a:picLocks noChangeAspect="1" noChangeArrowheads="1"/>
          </p:cNvPicPr>
          <p:nvPr userDrawn="1"/>
        </p:nvPicPr>
        <p:blipFill>
          <a:blip r:embed="rId7">
            <a:biLevel thresh="50000"/>
            <a:extLst>
              <a:ext uri="{28A0092B-C50C-407E-A947-70E740481C1C}">
                <a14:useLocalDpi xmlns:a14="http://schemas.microsoft.com/office/drawing/2010/main" val="0"/>
              </a:ext>
            </a:extLst>
          </a:blip>
          <a:srcRect/>
          <a:stretch>
            <a:fillRect/>
          </a:stretch>
        </p:blipFill>
        <p:spPr bwMode="auto">
          <a:xfrm>
            <a:off x="7490341" y="3588018"/>
            <a:ext cx="1365250" cy="3382962"/>
          </a:xfrm>
          <a:prstGeom prst="rect">
            <a:avLst/>
          </a:prstGeom>
          <a:noFill/>
          <a:extLst>
            <a:ext uri="{909E8E84-426E-40DD-AFC4-6F175D3DCCD1}">
              <a14:hiddenFill xmlns:a14="http://schemas.microsoft.com/office/drawing/2010/main">
                <a:solidFill>
                  <a:srgbClr val="FFFFFF"/>
                </a:solidFill>
              </a14:hiddenFill>
            </a:ext>
          </a:extLst>
        </p:spPr>
      </p:pic>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solidFill>
                  <a:srgbClr val="4472C4"/>
                </a:solidFill>
                <a:latin typeface="+mj-lt"/>
                <a:sym typeface="Trebuchet MS" panose="020B0603020202020204" pitchFamily="34" charset="0"/>
              </a:defRPr>
            </a:lvl1pPr>
          </a:lstStyle>
          <a:p>
            <a:r>
              <a:rPr lang="en-US" dirty="0"/>
              <a:t>Click to add title</a:t>
            </a:r>
          </a:p>
        </p:txBody>
      </p:sp>
      <p:sp>
        <p:nvSpPr>
          <p:cNvPr id="14"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solidFill>
                <a:latin typeface="+mn-lt"/>
                <a:sym typeface="Trebuchet MS" panose="020B0603020202020204" pitchFamily="34" charset="0"/>
              </a:rPr>
              <a:t>Mx2020 - SteerCo - 7mar18_vf.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7664231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1.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05080"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20"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lumMod val="50000"/>
                  </a:schemeClr>
                </a:solidFill>
                <a:latin typeface="+mn-lt"/>
                <a:sym typeface="Trebuchet MS" panose="020B0603020202020204" pitchFamily="34" charset="0"/>
              </a:rPr>
              <a:t>Mx2020 - SteerCo - 7mar18_vf.pptx</a:t>
            </a:r>
            <a:endParaRPr lang="en-US" sz="700" dirty="0">
              <a:solidFill>
                <a:schemeClr val="bg1">
                  <a:lumMod val="50000"/>
                </a:schemeClr>
              </a:solidFill>
              <a:latin typeface="+mn-lt"/>
              <a:sym typeface="Trebuchet MS" panose="020B0603020202020204" pitchFamily="34" charset="0"/>
            </a:endParaRPr>
          </a:p>
        </p:txBody>
      </p:sp>
      <p:pic>
        <p:nvPicPr>
          <p:cNvPr id="14" name="Picture 13"/>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t="9052" b="6867"/>
          <a:stretch/>
        </p:blipFill>
        <p:spPr>
          <a:xfrm rot="120000">
            <a:off x="6524770" y="3407803"/>
            <a:ext cx="2694666" cy="3456551"/>
          </a:xfrm>
          <a:prstGeom prst="rect">
            <a:avLst/>
          </a:prstGeom>
        </p:spPr>
      </p:pic>
    </p:spTree>
    <p:extLst>
      <p:ext uri="{BB962C8B-B14F-4D97-AF65-F5344CB8AC3E}">
        <p14:creationId xmlns:p14="http://schemas.microsoft.com/office/powerpoint/2010/main" val="367149216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2.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06104"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10" name="TextBox 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8"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solidFill>
                <a:latin typeface="+mn-lt"/>
                <a:sym typeface="Trebuchet MS" panose="020B0603020202020204" pitchFamily="34" charset="0"/>
              </a:rPr>
              <a:t>Mx2020 - SteerCo - 7mar18_vf.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3349139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07128"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 name="Date Placeholder 7"/>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6" name="Rectangle 5"/>
          <p:cNvSpPr/>
          <p:nvPr userDrawn="1"/>
        </p:nvSpPr>
        <p:spPr bwMode="white">
          <a:xfrm>
            <a:off x="630000" y="625475"/>
            <a:ext cx="932688" cy="932688"/>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2"/>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9"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lumMod val="50000"/>
                  </a:schemeClr>
                </a:solidFill>
                <a:latin typeface="+mn-lt"/>
                <a:sym typeface="Trebuchet MS" panose="020B0603020202020204" pitchFamily="34" charset="0"/>
              </a:rPr>
              <a:t>Mx2020 - SteerCo - 7mar18_vf.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5223704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4.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08152"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1" name="Picture 10"/>
          <p:cNvPicPr>
            <a:picLocks noChangeAspect="1"/>
          </p:cNvPicPr>
          <p:nvPr/>
        </p:nvPicPr>
        <p:blipFill rotWithShape="1">
          <a:blip r:embed="rId6">
            <a:extLst>
              <a:ext uri="{28A0092B-C50C-407E-A947-70E740481C1C}">
                <a14:useLocalDpi xmlns:a14="http://schemas.microsoft.com/office/drawing/2010/main" val="0"/>
              </a:ext>
            </a:extLst>
          </a:blip>
          <a:srcRect r="3634" b="1258"/>
          <a:stretch/>
        </p:blipFill>
        <p:spPr>
          <a:xfrm rot="16200000" flipH="1">
            <a:off x="6797461" y="110968"/>
            <a:ext cx="769257" cy="10019821"/>
          </a:xfrm>
          <a:prstGeom prst="rect">
            <a:avLst/>
          </a:pr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a:latin typeface="+mn-lt"/>
              <a:sym typeface="Trebuchet MS" panose="020B0603020202020204" pitchFamily="34" charset="0"/>
            </a:endParaRPr>
          </a:p>
        </p:txBody>
      </p:sp>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a:p>
        </p:txBody>
      </p:sp>
    </p:spTree>
    <p:extLst>
      <p:ext uri="{BB962C8B-B14F-4D97-AF65-F5344CB8AC3E}">
        <p14:creationId xmlns:p14="http://schemas.microsoft.com/office/powerpoint/2010/main" val="211507667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5.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rgbClr val="4D4D4D"/>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09176" name="think-cell Slide" r:id="rId5" imgW="270" imgH="270" progId="TCLayout.ActiveDocument.1">
                  <p:embed/>
                </p:oleObj>
              </mc:Choice>
              <mc:Fallback>
                <p:oleObj name="think-cell Slide" r:id="rId5" imgW="270" imgH="270" progId="TCLayout.ActiveDocument.1">
                  <p:embed/>
                  <p:pic>
                    <p:nvPicPr>
                      <p:cNvPr id="4" name="Object 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TextBox 4"/>
          <p:cNvSpPr txBox="1"/>
          <p:nvPr/>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2" name="Title 1"/>
          <p:cNvSpPr>
            <a:spLocks noGrp="1"/>
          </p:cNvSpPr>
          <p:nvPr>
            <p:ph type="title" hasCustomPrompt="1"/>
          </p:nvPr>
        </p:nvSpPr>
        <p:spPr>
          <a:xfrm>
            <a:off x="630000" y="622800"/>
            <a:ext cx="10933200" cy="332399"/>
          </a:xfrm>
        </p:spPr>
        <p:txBody>
          <a:bodyPr/>
          <a:lstStyle>
            <a:lvl1pPr>
              <a:defRPr>
                <a:solidFill>
                  <a:schemeClr val="bg1"/>
                </a:solidFill>
                <a:latin typeface="+mj-lt"/>
                <a:sym typeface="Trebuchet MS" panose="020B0603020202020204" pitchFamily="34" charset="0"/>
              </a:defRPr>
            </a:lvl1pPr>
          </a:lstStyle>
          <a:p>
            <a:r>
              <a:rPr lang="en-US" dirty="0"/>
              <a:t>Click to add title</a:t>
            </a:r>
          </a:p>
        </p:txBody>
      </p:sp>
      <p:sp>
        <p:nvSpPr>
          <p:cNvPr id="8"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solidFill>
                <a:latin typeface="+mn-lt"/>
                <a:sym typeface="Trebuchet MS" panose="020B0603020202020204" pitchFamily="34" charset="0"/>
              </a:rPr>
              <a:t>Mx2020 - SteerCo - 7mar18_vf.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4473038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6.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10200"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2" name="Picture 2"/>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108638" y="3594368"/>
            <a:ext cx="1365250" cy="3382962"/>
          </a:xfrm>
          <a:prstGeom prst="rect">
            <a:avLst/>
          </a:prstGeom>
          <a:noFill/>
          <a:extLst>
            <a:ext uri="{909E8E84-426E-40DD-AFC4-6F175D3DCCD1}">
              <a14:hiddenFill xmlns:a14="http://schemas.microsoft.com/office/drawing/2010/main">
                <a:solidFill>
                  <a:srgbClr val="FFFFFF"/>
                </a:solidFill>
              </a14:hiddenFill>
            </a:ext>
          </a:extLst>
        </p:spPr>
      </p:pic>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rgbClr val="4472C4"/>
                </a:solidFill>
                <a:latin typeface="+mn-lt"/>
                <a:sym typeface="Trebuchet MS" panose="020B0603020202020204" pitchFamily="34" charset="0"/>
              </a:rPr>
              <a:t>Table of Contents</a:t>
            </a:r>
          </a:p>
        </p:txBody>
      </p:sp>
      <p:sp>
        <p:nvSpPr>
          <p:cNvPr id="15"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a:p>
        </p:txBody>
      </p:sp>
      <p:sp>
        <p:nvSpPr>
          <p:cNvPr id="2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4"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solidFill>
                <a:latin typeface="+mn-lt"/>
                <a:sym typeface="Trebuchet MS" panose="020B0603020202020204" pitchFamily="34" charset="0"/>
              </a:rPr>
              <a:t>Mx2020 - SteerCo - 7mar18_vf.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95191548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7.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11224"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6"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11" name="TextBox 10"/>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8"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solidFill>
                <a:latin typeface="+mn-lt"/>
                <a:sym typeface="Trebuchet MS" panose="020B0603020202020204" pitchFamily="34" charset="0"/>
              </a:rPr>
              <a:t>Mx2020 - SteerCo - 7mar18_vf.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21913469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12248"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Date Placeholder 6"/>
          <p:cNvSpPr>
            <a:spLocks noGrp="1"/>
          </p:cNvSpPr>
          <p:nvPr>
            <p:ph type="dt" sz="half" idx="10"/>
          </p:nvPr>
        </p:nvSpPr>
        <p:spPr/>
        <p:txBody>
          <a:bodyPr/>
          <a:lstStyle>
            <a:lvl1pPr>
              <a:defRPr>
                <a:latin typeface="+mn-lt"/>
                <a:sym typeface="Trebuchet MS" panose="020B0603020202020204" pitchFamily="34" charset="0"/>
              </a:defRPr>
            </a:lvl1pPr>
          </a:lstStyle>
          <a:p>
            <a:endParaRPr lang="en-US"/>
          </a:p>
        </p:txBody>
      </p:sp>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6"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lumMod val="50000"/>
                  </a:schemeClr>
                </a:solidFill>
                <a:latin typeface="+mn-lt"/>
                <a:sym typeface="Trebuchet MS" panose="020B0603020202020204" pitchFamily="34" charset="0"/>
              </a:rPr>
              <a:t>Mx2020 - SteerCo - 7mar18_vf.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66830741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13272"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grpSp>
        <p:nvGrpSpPr>
          <p:cNvPr id="144" name="Group 143"/>
          <p:cNvGrpSpPr/>
          <p:nvPr userDrawn="1"/>
        </p:nvGrpSpPr>
        <p:grpSpPr>
          <a:xfrm>
            <a:off x="-600" y="-1"/>
            <a:ext cx="12193800" cy="68580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146" name="Baselines / anchors"/>
            <p:cNvGrpSpPr/>
            <p:nvPr userDrawn="1"/>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userDrawn="1"/>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grpSp>
        <p:sp>
          <p:nvSpPr>
            <p:cNvPr id="14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mn-lt"/>
                <a:ea typeface="+mn-ea"/>
                <a:cs typeface="+mn-cs"/>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grpSp>
          <p:nvGrpSpPr>
            <p:cNvPr id="151" name="Five column measure"/>
            <p:cNvGrpSpPr/>
            <p:nvPr userDrawn="1"/>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153"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1"/>
                  </a:solidFill>
                  <a:effectLst/>
                  <a:uLnTx/>
                  <a:uFillTx/>
                  <a:latin typeface="+mn-lt"/>
                  <a:ea typeface="+mn-ea"/>
                  <a:cs typeface="+mn-cs"/>
                  <a:sym typeface="Trebuchet MS" panose="020B0603020202020204" pitchFamily="34" charset="0"/>
                </a:rPr>
                <a:t>1. </a:t>
              </a:r>
              <a:r>
                <a:rPr kumimoji="0" lang="en-US" sz="1000" b="0" i="0" u="none" strike="noStrike" kern="1200" cap="none" spc="0" normalizeH="0" baseline="0" noProof="0" dirty="0" err="1">
                  <a:ln>
                    <a:noFill/>
                  </a:ln>
                  <a:solidFill>
                    <a:schemeClr val="tx1"/>
                  </a:solidFill>
                  <a:effectLst/>
                  <a:uLnTx/>
                  <a:uFillTx/>
                  <a:latin typeface="+mn-lt"/>
                  <a:ea typeface="+mn-ea"/>
                  <a:cs typeface="+mn-cs"/>
                  <a:sym typeface="Trebuchet MS" panose="020B0603020202020204" pitchFamily="34" charset="0"/>
                </a:rPr>
                <a:t>xxxx</a:t>
              </a:r>
              <a:r>
                <a:rPr kumimoji="0" lang="en-US" sz="1000" b="0" i="0" u="none" strike="noStrike" kern="1200" cap="none" spc="0" normalizeH="0" baseline="0" noProof="0" dirty="0">
                  <a:ln>
                    <a:noFill/>
                  </a:ln>
                  <a:solidFill>
                    <a:schemeClr val="tx1"/>
                  </a:solidFill>
                  <a:effectLst/>
                  <a:uLnTx/>
                  <a:uFillTx/>
                  <a:latin typeface="+mn-lt"/>
                  <a:ea typeface="+mn-ea"/>
                  <a:cs typeface="+mn-cs"/>
                  <a:sym typeface="Trebuchet MS" panose="020B0603020202020204" pitchFamily="34" charset="0"/>
                </a:rPr>
                <a:t>  2. </a:t>
              </a:r>
              <a:r>
                <a:rPr kumimoji="0" lang="en-US" sz="1000" b="0" i="0" u="none" strike="noStrike" kern="1200" cap="none" spc="0" normalizeH="0" baseline="0" noProof="0" dirty="0" err="1">
                  <a:ln>
                    <a:noFill/>
                  </a:ln>
                  <a:solidFill>
                    <a:schemeClr val="tx1"/>
                  </a:solidFill>
                  <a:effectLst/>
                  <a:uLnTx/>
                  <a:uFillTx/>
                  <a:latin typeface="+mn-lt"/>
                  <a:ea typeface="+mn-ea"/>
                  <a:cs typeface="+mn-cs"/>
                  <a:sym typeface="Trebuchet MS" panose="020B0603020202020204" pitchFamily="34" charset="0"/>
                </a:rPr>
                <a:t>xxxx</a:t>
              </a:r>
              <a:r>
                <a:rPr kumimoji="0" lang="en-US" sz="1000" b="0" i="0" u="none" strike="noStrike" kern="1200" cap="none" spc="0" normalizeH="0" baseline="0" noProof="0" dirty="0">
                  <a:ln>
                    <a:noFill/>
                  </a:ln>
                  <a:solidFill>
                    <a:schemeClr val="tx1"/>
                  </a:solidFill>
                  <a:effectLst/>
                  <a:uLnTx/>
                  <a:uFillTx/>
                  <a:latin typeface="+mn-lt"/>
                  <a:ea typeface="+mn-ea"/>
                  <a:cs typeface="+mn-cs"/>
                  <a:sym typeface="Trebuchet MS" panose="020B0603020202020204" pitchFamily="34" charset="0"/>
                </a:rPr>
                <a:t>  3. </a:t>
              </a:r>
              <a:r>
                <a:rPr kumimoji="0" lang="en-US" sz="1000" b="0" i="0" u="none" strike="noStrike" kern="1200" cap="none" spc="0" normalizeH="0" baseline="0" noProof="0" dirty="0" err="1">
                  <a:ln>
                    <a:noFill/>
                  </a:ln>
                  <a:solidFill>
                    <a:schemeClr val="tx1"/>
                  </a:solidFill>
                  <a:effectLst/>
                  <a:uLnTx/>
                  <a:uFillTx/>
                  <a:latin typeface="+mn-lt"/>
                  <a:ea typeface="+mn-ea"/>
                  <a:cs typeface="+mn-cs"/>
                  <a:sym typeface="Trebuchet MS" panose="020B0603020202020204" pitchFamily="34" charset="0"/>
                </a:rPr>
                <a:t>xxxx</a:t>
              </a:r>
              <a:endParaRPr kumimoji="0" lang="en-US" sz="1000" b="0" i="0" u="none" strike="noStrike" kern="1200" cap="none" spc="0" normalizeH="0" baseline="0" noProof="0" dirty="0">
                <a:ln>
                  <a:noFill/>
                </a:ln>
                <a:solidFill>
                  <a:schemeClr val="tx1"/>
                </a:solidFill>
                <a:effectLst/>
                <a:uLnTx/>
                <a:uFillTx/>
                <a:latin typeface="+mn-lt"/>
                <a:ea typeface="+mn-ea"/>
                <a:cs typeface="+mn-cs"/>
                <a:sym typeface="Trebuchet MS" panose="020B0603020202020204" pitchFamily="34" charset="0"/>
              </a:endParaRP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1"/>
                  </a:solidFill>
                  <a:effectLst/>
                  <a:uLnTx/>
                  <a:uFillTx/>
                  <a:latin typeface="+mn-lt"/>
                  <a:ea typeface="+mn-ea"/>
                  <a:cs typeface="+mn-cs"/>
                  <a:sym typeface="Trebuchet MS" panose="020B0603020202020204" pitchFamily="34" charset="0"/>
                </a:rPr>
                <a:t>Note: List footnotes in numerical order. Footnote numbers are not bracketed. Use 10pt font.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1"/>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55"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lumMod val="50000"/>
                  </a:schemeClr>
                </a:solidFill>
                <a:latin typeface="+mn-lt"/>
                <a:sym typeface="Trebuchet MS" panose="020B0603020202020204" pitchFamily="34" charset="0"/>
              </a:rPr>
              <a:t>Mx2020 - SteerCo - 7mar18_vf.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6325001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Quote_BW">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pPr>
              <a:defRPr/>
            </a:pPr>
            <a:fld id="{410BB04A-6CB2-A14D-B6AF-586C8C166ED7}" type="slidenum">
              <a:rPr lang="en-US">
                <a:solidFill>
                  <a:srgbClr val="53565A"/>
                </a:solidFill>
              </a:rPr>
              <a:pPr>
                <a:defRPr/>
              </a:pPr>
              <a:t>‹#›</a:t>
            </a:fld>
            <a:endParaRPr lang="en-US">
              <a:solidFill>
                <a:srgbClr val="53565A"/>
              </a:solidFill>
            </a:endParaRPr>
          </a:p>
        </p:txBody>
      </p:sp>
      <p:sp>
        <p:nvSpPr>
          <p:cNvPr id="4" name="Date Placeholder 3"/>
          <p:cNvSpPr>
            <a:spLocks noGrp="1"/>
          </p:cNvSpPr>
          <p:nvPr>
            <p:ph type="dt" sz="half" idx="11"/>
          </p:nvPr>
        </p:nvSpPr>
        <p:spPr/>
        <p:txBody>
          <a:bodyPr/>
          <a:lstStyle/>
          <a:p>
            <a:pPr>
              <a:defRPr/>
            </a:pPr>
            <a:r>
              <a:rPr lang="en-US">
                <a:solidFill>
                  <a:srgbClr val="53565A"/>
                </a:solidFill>
              </a:rPr>
              <a:t>MM.DD.YY</a:t>
            </a:r>
          </a:p>
        </p:txBody>
      </p:sp>
      <p:sp>
        <p:nvSpPr>
          <p:cNvPr id="5" name="Footer Placeholder 4"/>
          <p:cNvSpPr>
            <a:spLocks noGrp="1"/>
          </p:cNvSpPr>
          <p:nvPr>
            <p:ph type="ftr" sz="quarter" idx="12"/>
          </p:nvPr>
        </p:nvSpPr>
        <p:spPr/>
        <p:txBody>
          <a:bodyPr/>
          <a:lstStyle/>
          <a:p>
            <a:pPr>
              <a:defRPr/>
            </a:pPr>
            <a:r>
              <a:rPr lang="en-US">
                <a:solidFill>
                  <a:srgbClr val="53565A"/>
                </a:solidFill>
              </a:rPr>
              <a:t>Presentation Title</a:t>
            </a:r>
          </a:p>
        </p:txBody>
      </p:sp>
      <p:sp>
        <p:nvSpPr>
          <p:cNvPr id="13" name="Rectangle 6"/>
          <p:cNvSpPr txBox="1">
            <a:spLocks noChangeArrowheads="1"/>
          </p:cNvSpPr>
          <p:nvPr userDrawn="1"/>
        </p:nvSpPr>
        <p:spPr bwMode="black">
          <a:xfrm>
            <a:off x="2399969" y="1597949"/>
            <a:ext cx="7342716" cy="440756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accent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lIns="0"/>
          <a:lstStyle>
            <a:lvl1pPr algn="ctr" eaLnBrk="0" hangingPunct="0">
              <a:defRPr sz="2400">
                <a:solidFill>
                  <a:schemeClr val="tx1"/>
                </a:solidFill>
                <a:latin typeface="Arial" charset="0"/>
                <a:ea typeface="ヒラギノ角ゴ Pro W3" charset="0"/>
              </a:defRPr>
            </a:lvl1pPr>
            <a:lvl2pPr marL="742950" indent="-285750" algn="ctr" eaLnBrk="0" hangingPunct="0">
              <a:defRPr sz="2400">
                <a:solidFill>
                  <a:schemeClr val="tx1"/>
                </a:solidFill>
                <a:latin typeface="Arial" charset="0"/>
                <a:ea typeface="ヒラギノ角ゴ Pro W3" charset="0"/>
              </a:defRPr>
            </a:lvl2pPr>
            <a:lvl3pPr marL="1143000" indent="-228600" algn="ctr" eaLnBrk="0" hangingPunct="0">
              <a:defRPr sz="2400">
                <a:solidFill>
                  <a:schemeClr val="tx1"/>
                </a:solidFill>
                <a:latin typeface="Arial" charset="0"/>
                <a:ea typeface="ヒラギノ角ゴ Pro W3" charset="0"/>
              </a:defRPr>
            </a:lvl3pPr>
            <a:lvl4pPr marL="1600200" indent="-228600" algn="ctr" eaLnBrk="0" hangingPunct="0">
              <a:defRPr sz="2400">
                <a:solidFill>
                  <a:schemeClr val="tx1"/>
                </a:solidFill>
                <a:latin typeface="Arial" charset="0"/>
                <a:ea typeface="ヒラギノ角ゴ Pro W3" charset="0"/>
              </a:defRPr>
            </a:lvl4pPr>
            <a:lvl5pPr marL="2057400" indent="-228600" algn="ctr" eaLnBrk="0" hangingPunct="0">
              <a:defRPr sz="2400">
                <a:solidFill>
                  <a:schemeClr val="tx1"/>
                </a:solidFill>
                <a:latin typeface="Arial" charset="0"/>
                <a:ea typeface="ヒラギノ角ゴ Pro W3" charset="0"/>
              </a:defRPr>
            </a:lvl5pPr>
            <a:lvl6pPr marL="2514600" indent="-228600" algn="ctr" eaLnBrk="0" fontAlgn="base" hangingPunct="0">
              <a:spcBef>
                <a:spcPct val="0"/>
              </a:spcBef>
              <a:spcAft>
                <a:spcPct val="0"/>
              </a:spcAft>
              <a:defRPr sz="2400">
                <a:solidFill>
                  <a:schemeClr val="tx1"/>
                </a:solidFill>
                <a:latin typeface="Arial" charset="0"/>
                <a:ea typeface="ヒラギノ角ゴ Pro W3" charset="0"/>
              </a:defRPr>
            </a:lvl6pPr>
            <a:lvl7pPr marL="2971800" indent="-228600" algn="ctr" eaLnBrk="0" fontAlgn="base" hangingPunct="0">
              <a:spcBef>
                <a:spcPct val="0"/>
              </a:spcBef>
              <a:spcAft>
                <a:spcPct val="0"/>
              </a:spcAft>
              <a:defRPr sz="2400">
                <a:solidFill>
                  <a:schemeClr val="tx1"/>
                </a:solidFill>
                <a:latin typeface="Arial" charset="0"/>
                <a:ea typeface="ヒラギノ角ゴ Pro W3" charset="0"/>
              </a:defRPr>
            </a:lvl7pPr>
            <a:lvl8pPr marL="3429000" indent="-228600" algn="ctr" eaLnBrk="0" fontAlgn="base" hangingPunct="0">
              <a:spcBef>
                <a:spcPct val="0"/>
              </a:spcBef>
              <a:spcAft>
                <a:spcPct val="0"/>
              </a:spcAft>
              <a:defRPr sz="2400">
                <a:solidFill>
                  <a:schemeClr val="tx1"/>
                </a:solidFill>
                <a:latin typeface="Arial" charset="0"/>
                <a:ea typeface="ヒラギノ角ゴ Pro W3" charset="0"/>
              </a:defRPr>
            </a:lvl8pPr>
            <a:lvl9pPr marL="3886200" indent="-228600" algn="ctr" eaLnBrk="0" fontAlgn="base" hangingPunct="0">
              <a:spcBef>
                <a:spcPct val="0"/>
              </a:spcBef>
              <a:spcAft>
                <a:spcPct val="0"/>
              </a:spcAft>
              <a:defRPr sz="2400">
                <a:solidFill>
                  <a:schemeClr val="tx1"/>
                </a:solidFill>
                <a:latin typeface="Arial" charset="0"/>
                <a:ea typeface="ヒラギノ角ゴ Pro W3" charset="0"/>
              </a:defRPr>
            </a:lvl9pPr>
          </a:lstStyle>
          <a:p>
            <a:pPr algn="l" defTabSz="914400" eaLnBrk="1" fontAlgn="base" hangingPunct="1">
              <a:lnSpc>
                <a:spcPct val="95000"/>
              </a:lnSpc>
              <a:spcBef>
                <a:spcPct val="75000"/>
              </a:spcBef>
              <a:spcAft>
                <a:spcPct val="20000"/>
              </a:spcAft>
              <a:defRPr/>
            </a:pPr>
            <a:r>
              <a:rPr lang="es-ES_tradnl" sz="3600" dirty="0">
                <a:solidFill>
                  <a:srgbClr val="FFFFFF"/>
                </a:solidFill>
                <a:ea typeface="Arial" charset="0"/>
                <a:cs typeface="Geneva" charset="0"/>
              </a:rPr>
              <a:t>Una cita puede ser colocada aquí. Una gran hoja sirve de transición </a:t>
            </a:r>
            <a:br>
              <a:rPr lang="es-ES_tradnl" sz="3600" dirty="0">
                <a:solidFill>
                  <a:srgbClr val="FFFFFF"/>
                </a:solidFill>
                <a:ea typeface="Arial" charset="0"/>
                <a:cs typeface="Geneva" charset="0"/>
              </a:rPr>
            </a:br>
            <a:r>
              <a:rPr lang="es-ES_tradnl" sz="3600" dirty="0">
                <a:solidFill>
                  <a:srgbClr val="FFFFFF"/>
                </a:solidFill>
                <a:ea typeface="Arial" charset="0"/>
                <a:cs typeface="Geneva" charset="0"/>
              </a:rPr>
              <a:t>y crea una pausa para tus clientes para digerir mejor la información. </a:t>
            </a:r>
          </a:p>
          <a:p>
            <a:pPr algn="l" defTabSz="914400" eaLnBrk="1" fontAlgn="base" hangingPunct="1">
              <a:lnSpc>
                <a:spcPct val="95000"/>
              </a:lnSpc>
              <a:spcBef>
                <a:spcPct val="75000"/>
              </a:spcBef>
              <a:spcAft>
                <a:spcPct val="20000"/>
              </a:spcAft>
              <a:defRPr/>
            </a:pPr>
            <a:r>
              <a:rPr lang="es-ES_tradnl" sz="2000" dirty="0">
                <a:solidFill>
                  <a:srgbClr val="00BDF2"/>
                </a:solidFill>
                <a:ea typeface="Arial" charset="0"/>
                <a:cs typeface="Geneva" charset="0"/>
              </a:rPr>
              <a:t>Aquí van los </a:t>
            </a:r>
            <a:r>
              <a:rPr lang="es-ES_tradnl" sz="2000" dirty="0" err="1">
                <a:solidFill>
                  <a:srgbClr val="00BDF2"/>
                </a:solidFill>
                <a:ea typeface="Arial" charset="0"/>
                <a:cs typeface="Geneva" charset="0"/>
              </a:rPr>
              <a:t>creditos</a:t>
            </a:r>
            <a:r>
              <a:rPr lang="es-ES_tradnl" sz="2000" dirty="0">
                <a:solidFill>
                  <a:srgbClr val="00BDF2"/>
                </a:solidFill>
                <a:ea typeface="Arial" charset="0"/>
                <a:cs typeface="Geneva" charset="0"/>
              </a:rPr>
              <a:t> de la cita; </a:t>
            </a:r>
            <a:r>
              <a:rPr lang="es-ES_tradnl" sz="2000" dirty="0" err="1">
                <a:solidFill>
                  <a:srgbClr val="00BDF2"/>
                </a:solidFill>
                <a:ea typeface="Arial" charset="0"/>
                <a:cs typeface="Geneva" charset="0"/>
              </a:rPr>
              <a:t>lorem</a:t>
            </a:r>
            <a:r>
              <a:rPr lang="es-ES_tradnl" sz="2000" dirty="0">
                <a:solidFill>
                  <a:srgbClr val="00BDF2"/>
                </a:solidFill>
                <a:ea typeface="Arial" charset="0"/>
                <a:cs typeface="Geneva" charset="0"/>
              </a:rPr>
              <a:t> </a:t>
            </a:r>
            <a:r>
              <a:rPr lang="es-ES_tradnl" sz="2000" dirty="0" err="1">
                <a:solidFill>
                  <a:srgbClr val="00BDF2"/>
                </a:solidFill>
                <a:ea typeface="Arial" charset="0"/>
                <a:cs typeface="Geneva" charset="0"/>
              </a:rPr>
              <a:t>ipsum</a:t>
            </a:r>
            <a:r>
              <a:rPr lang="es-ES_tradnl" sz="2000" dirty="0">
                <a:solidFill>
                  <a:srgbClr val="00BDF2"/>
                </a:solidFill>
                <a:ea typeface="Arial" charset="0"/>
                <a:cs typeface="Geneva" charset="0"/>
              </a:rPr>
              <a:t> dolor </a:t>
            </a:r>
            <a:r>
              <a:rPr lang="es-ES_tradnl" sz="2000" dirty="0" err="1">
                <a:solidFill>
                  <a:srgbClr val="00BDF2"/>
                </a:solidFill>
                <a:ea typeface="Arial" charset="0"/>
                <a:cs typeface="Geneva" charset="0"/>
              </a:rPr>
              <a:t>sit</a:t>
            </a:r>
            <a:r>
              <a:rPr lang="es-ES_tradnl" sz="2000" dirty="0">
                <a:solidFill>
                  <a:srgbClr val="00BDF2"/>
                </a:solidFill>
                <a:ea typeface="Arial" charset="0"/>
                <a:cs typeface="Geneva" charset="0"/>
              </a:rPr>
              <a:t> </a:t>
            </a:r>
            <a:r>
              <a:rPr lang="es-ES_tradnl" sz="2000" dirty="0" err="1">
                <a:solidFill>
                  <a:srgbClr val="00BDF2"/>
                </a:solidFill>
                <a:ea typeface="Arial" charset="0"/>
                <a:cs typeface="Geneva" charset="0"/>
              </a:rPr>
              <a:t>amet</a:t>
            </a:r>
            <a:r>
              <a:rPr lang="es-ES_tradnl" sz="2000" dirty="0">
                <a:solidFill>
                  <a:srgbClr val="00BDF2"/>
                </a:solidFill>
                <a:ea typeface="Arial" charset="0"/>
                <a:cs typeface="Geneva" charset="0"/>
              </a:rPr>
              <a:t> </a:t>
            </a:r>
            <a:r>
              <a:rPr lang="es-ES_tradnl" sz="2000" dirty="0" err="1">
                <a:solidFill>
                  <a:srgbClr val="00BDF2"/>
                </a:solidFill>
                <a:ea typeface="Arial" charset="0"/>
                <a:cs typeface="Geneva" charset="0"/>
              </a:rPr>
              <a:t>consectetur</a:t>
            </a:r>
            <a:r>
              <a:rPr lang="es-ES_tradnl" sz="2000" dirty="0">
                <a:solidFill>
                  <a:srgbClr val="00BDF2"/>
                </a:solidFill>
                <a:ea typeface="Arial" charset="0"/>
                <a:cs typeface="Geneva" charset="0"/>
              </a:rPr>
              <a:t> </a:t>
            </a:r>
            <a:r>
              <a:rPr lang="es-ES_tradnl" sz="2000" dirty="0" err="1">
                <a:solidFill>
                  <a:srgbClr val="00BDF2"/>
                </a:solidFill>
                <a:ea typeface="Arial" charset="0"/>
                <a:cs typeface="Geneva" charset="0"/>
              </a:rPr>
              <a:t>adipiscing</a:t>
            </a:r>
            <a:r>
              <a:rPr lang="es-ES_tradnl" sz="2000" dirty="0">
                <a:solidFill>
                  <a:srgbClr val="00BDF2"/>
                </a:solidFill>
                <a:ea typeface="Arial" charset="0"/>
                <a:cs typeface="Geneva" charset="0"/>
              </a:rPr>
              <a:t>.</a:t>
            </a:r>
          </a:p>
        </p:txBody>
      </p:sp>
      <p:pic>
        <p:nvPicPr>
          <p:cNvPr id="14" name="Picture 13"/>
          <p:cNvPicPr>
            <a:picLocks noChangeAspect="1"/>
          </p:cNvPicPr>
          <p:nvPr userDrawn="1"/>
        </p:nvPicPr>
        <p:blipFill>
          <a:blip r:embed="rId2"/>
          <a:stretch>
            <a:fillRect/>
          </a:stretch>
        </p:blipFill>
        <p:spPr>
          <a:xfrm>
            <a:off x="-36659" y="-37908"/>
            <a:ext cx="12304487" cy="6924341"/>
          </a:xfrm>
          <a:prstGeom prst="rect">
            <a:avLst/>
          </a:prstGeom>
        </p:spPr>
      </p:pic>
      <p:grpSp>
        <p:nvGrpSpPr>
          <p:cNvPr id="15" name="Group 24"/>
          <p:cNvGrpSpPr>
            <a:grpSpLocks/>
          </p:cNvGrpSpPr>
          <p:nvPr userDrawn="1"/>
        </p:nvGrpSpPr>
        <p:grpSpPr bwMode="auto">
          <a:xfrm>
            <a:off x="490519" y="391003"/>
            <a:ext cx="1233216" cy="615424"/>
            <a:chOff x="-3315972" y="-924674"/>
            <a:chExt cx="6411831" cy="4278160"/>
          </a:xfrm>
          <a:solidFill>
            <a:schemeClr val="bg1"/>
          </a:solidFill>
        </p:grpSpPr>
        <p:sp>
          <p:nvSpPr>
            <p:cNvPr id="16" name="Trapezoid 21"/>
            <p:cNvSpPr>
              <a:spLocks/>
            </p:cNvSpPr>
            <p:nvPr/>
          </p:nvSpPr>
          <p:spPr bwMode="auto">
            <a:xfrm>
              <a:off x="-3315972"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defTabSz="914400" fontAlgn="base">
                <a:spcBef>
                  <a:spcPct val="0"/>
                </a:spcBef>
                <a:spcAft>
                  <a:spcPct val="0"/>
                </a:spcAft>
                <a:defRPr/>
              </a:pPr>
              <a:endParaRPr lang="en-US" sz="2400">
                <a:solidFill>
                  <a:srgbClr val="53565A"/>
                </a:solidFill>
                <a:ea typeface="ヒラギノ角ゴ Pro W3" charset="0"/>
                <a:cs typeface="ヒラギノ角ゴ Pro W3" charset="0"/>
              </a:endParaRPr>
            </a:p>
          </p:txBody>
        </p:sp>
        <p:sp>
          <p:nvSpPr>
            <p:cNvPr id="17" name="Trapezoid 21"/>
            <p:cNvSpPr>
              <a:spLocks/>
            </p:cNvSpPr>
            <p:nvPr/>
          </p:nvSpPr>
          <p:spPr bwMode="auto">
            <a:xfrm>
              <a:off x="839130"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defTabSz="914400" fontAlgn="base">
                <a:spcBef>
                  <a:spcPct val="0"/>
                </a:spcBef>
                <a:spcAft>
                  <a:spcPct val="0"/>
                </a:spcAft>
                <a:defRPr/>
              </a:pPr>
              <a:endParaRPr lang="en-US" sz="2400">
                <a:solidFill>
                  <a:srgbClr val="53565A"/>
                </a:solidFill>
                <a:ea typeface="ヒラギノ角ゴ Pro W3" charset="0"/>
                <a:cs typeface="ヒラギノ角ゴ Pro W3" charset="0"/>
              </a:endParaRPr>
            </a:p>
          </p:txBody>
        </p:sp>
      </p:grpSp>
      <p:grpSp>
        <p:nvGrpSpPr>
          <p:cNvPr id="18" name="Group 25"/>
          <p:cNvGrpSpPr>
            <a:grpSpLocks/>
          </p:cNvGrpSpPr>
          <p:nvPr userDrawn="1"/>
        </p:nvGrpSpPr>
        <p:grpSpPr bwMode="auto">
          <a:xfrm flipH="1" flipV="1">
            <a:off x="10549240" y="6005510"/>
            <a:ext cx="1233216" cy="615421"/>
            <a:chOff x="-3315972" y="-924674"/>
            <a:chExt cx="6411831" cy="4278160"/>
          </a:xfrm>
          <a:solidFill>
            <a:schemeClr val="bg1"/>
          </a:solidFill>
        </p:grpSpPr>
        <p:sp>
          <p:nvSpPr>
            <p:cNvPr id="19" name="Trapezoid 21"/>
            <p:cNvSpPr>
              <a:spLocks/>
            </p:cNvSpPr>
            <p:nvPr/>
          </p:nvSpPr>
          <p:spPr bwMode="auto">
            <a:xfrm>
              <a:off x="-3315972"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defTabSz="914400" fontAlgn="base">
                <a:spcBef>
                  <a:spcPct val="0"/>
                </a:spcBef>
                <a:spcAft>
                  <a:spcPct val="0"/>
                </a:spcAft>
                <a:defRPr/>
              </a:pPr>
              <a:endParaRPr lang="en-US" sz="2400">
                <a:solidFill>
                  <a:srgbClr val="53565A"/>
                </a:solidFill>
                <a:ea typeface="ヒラギノ角ゴ Pro W3" charset="0"/>
                <a:cs typeface="ヒラギノ角ゴ Pro W3" charset="0"/>
              </a:endParaRPr>
            </a:p>
          </p:txBody>
        </p:sp>
        <p:sp>
          <p:nvSpPr>
            <p:cNvPr id="20" name="Trapezoid 21"/>
            <p:cNvSpPr>
              <a:spLocks/>
            </p:cNvSpPr>
            <p:nvPr/>
          </p:nvSpPr>
          <p:spPr bwMode="auto">
            <a:xfrm>
              <a:off x="839130"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defTabSz="914400" fontAlgn="base">
                <a:spcBef>
                  <a:spcPct val="0"/>
                </a:spcBef>
                <a:spcAft>
                  <a:spcPct val="0"/>
                </a:spcAft>
                <a:defRPr/>
              </a:pPr>
              <a:endParaRPr lang="en-US" sz="2400">
                <a:solidFill>
                  <a:srgbClr val="53565A"/>
                </a:solidFill>
                <a:ea typeface="ヒラギノ角ゴ Pro W3" charset="0"/>
                <a:cs typeface="ヒラギノ角ゴ Pro W3" charset="0"/>
              </a:endParaRPr>
            </a:p>
          </p:txBody>
        </p:sp>
      </p:grpSp>
      <p:sp>
        <p:nvSpPr>
          <p:cNvPr id="21" name="Text Placeholder 23"/>
          <p:cNvSpPr>
            <a:spLocks noGrp="1"/>
          </p:cNvSpPr>
          <p:nvPr>
            <p:ph type="body" sz="quarter" idx="13"/>
          </p:nvPr>
        </p:nvSpPr>
        <p:spPr>
          <a:xfrm>
            <a:off x="2357969" y="1006427"/>
            <a:ext cx="8191273" cy="3686224"/>
          </a:xfrm>
        </p:spPr>
        <p:txBody>
          <a:bodyPr/>
          <a:lstStyle>
            <a:lvl1pPr marL="0" indent="0" algn="l">
              <a:buNone/>
              <a:defRPr sz="3600">
                <a:solidFill>
                  <a:schemeClr val="bg1"/>
                </a:solidFill>
              </a:defRPr>
            </a:lvl1pPr>
            <a:lvl2pPr marL="403225" indent="0" algn="l">
              <a:buNone/>
              <a:defRPr sz="3600">
                <a:solidFill>
                  <a:schemeClr val="bg1"/>
                </a:solidFill>
              </a:defRPr>
            </a:lvl2pPr>
            <a:lvl3pPr marL="747712" indent="0" algn="l">
              <a:buNone/>
              <a:defRPr sz="3600">
                <a:solidFill>
                  <a:schemeClr val="bg1"/>
                </a:solidFill>
              </a:defRPr>
            </a:lvl3pPr>
            <a:lvl4pPr marL="1089025" indent="0" algn="l">
              <a:buNone/>
              <a:defRPr sz="3600">
                <a:solidFill>
                  <a:schemeClr val="bg1"/>
                </a:solidFill>
              </a:defRPr>
            </a:lvl4pPr>
            <a:lvl5pPr marL="1427162" indent="0" algn="l">
              <a:buNone/>
              <a:defRPr sz="360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ext Placeholder 23"/>
          <p:cNvSpPr>
            <a:spLocks noGrp="1"/>
          </p:cNvSpPr>
          <p:nvPr>
            <p:ph type="body" sz="quarter" idx="14"/>
          </p:nvPr>
        </p:nvSpPr>
        <p:spPr>
          <a:xfrm>
            <a:off x="2357969" y="4944980"/>
            <a:ext cx="8191273" cy="1335504"/>
          </a:xfrm>
        </p:spPr>
        <p:txBody>
          <a:bodyPr/>
          <a:lstStyle>
            <a:lvl1pPr marL="0" indent="0" algn="l">
              <a:buNone/>
              <a:defRPr sz="2400">
                <a:solidFill>
                  <a:srgbClr val="00B3F0"/>
                </a:solidFill>
              </a:defRPr>
            </a:lvl1pPr>
            <a:lvl2pPr marL="403225" indent="0" algn="l">
              <a:buNone/>
              <a:defRPr sz="2400">
                <a:solidFill>
                  <a:srgbClr val="00B3F0"/>
                </a:solidFill>
              </a:defRPr>
            </a:lvl2pPr>
            <a:lvl3pPr marL="747712" indent="0" algn="l">
              <a:buNone/>
              <a:defRPr sz="2400">
                <a:solidFill>
                  <a:srgbClr val="00B3F0"/>
                </a:solidFill>
              </a:defRPr>
            </a:lvl3pPr>
            <a:lvl4pPr marL="1089025" indent="0" algn="l">
              <a:buNone/>
              <a:defRPr sz="2400">
                <a:solidFill>
                  <a:srgbClr val="00B3F0"/>
                </a:solidFill>
              </a:defRPr>
            </a:lvl4pPr>
            <a:lvl5pPr marL="1427162" indent="0" algn="l">
              <a:buNone/>
              <a:defRPr sz="2400">
                <a:solidFill>
                  <a:srgbClr val="00B3F0"/>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012542292"/>
      </p:ext>
    </p:extLst>
  </p:cSld>
  <p:clrMapOvr>
    <a:masterClrMapping/>
  </p:clrMapOvr>
</p:sldLayout>
</file>

<file path=ppt/slideLayouts/slideLayout280.xml><?xml version="1.0" encoding="utf-8"?>
<p:sldLayout xmlns:a="http://schemas.openxmlformats.org/drawingml/2006/main" xmlns:r="http://schemas.openxmlformats.org/officeDocument/2006/relationships" xmlns:p="http://schemas.openxmlformats.org/presentationml/2006/main" showMasterSp="0" preserve="1" userDrawn="1">
  <p:cSld name="Cover page">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501166"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3" descr="Picture 3"/>
          <p:cNvPicPr>
            <a:picLocks noChangeAspect="1"/>
          </p:cNvPicPr>
          <p:nvPr userDrawn="1"/>
        </p:nvPicPr>
        <p:blipFill>
          <a:blip r:embed="rId6" cstate="print"/>
          <a:srcRect r="91525"/>
          <a:stretch>
            <a:fillRect/>
          </a:stretch>
        </p:blipFill>
        <p:spPr>
          <a:xfrm>
            <a:off x="0" y="0"/>
            <a:ext cx="1376613" cy="6858000"/>
          </a:xfrm>
          <a:prstGeom prst="rect">
            <a:avLst/>
          </a:prstGeom>
          <a:ln w="12700">
            <a:miter lim="400000"/>
          </a:ln>
        </p:spPr>
      </p:pic>
      <p:sp>
        <p:nvSpPr>
          <p:cNvPr id="18" name="Text Placeholder 17"/>
          <p:cNvSpPr>
            <a:spLocks noGrp="1"/>
          </p:cNvSpPr>
          <p:nvPr>
            <p:ph type="body" sz="quarter" idx="10" hasCustomPrompt="1"/>
          </p:nvPr>
        </p:nvSpPr>
        <p:spPr>
          <a:xfrm>
            <a:off x="1744393" y="722376"/>
            <a:ext cx="8924544" cy="649224"/>
          </a:xfrm>
        </p:spPr>
        <p:txBody>
          <a:bodyPr lIns="36576" tIns="45720" rIns="36576" bIns="45720" anchor="ctr">
            <a:noAutofit/>
          </a:bodyPr>
          <a:lstStyle>
            <a:lvl1pPr>
              <a:defRPr sz="3692" b="0" baseline="0">
                <a:solidFill>
                  <a:srgbClr val="86CBD8"/>
                </a:solidFill>
              </a:defRPr>
            </a:lvl1pPr>
          </a:lstStyle>
          <a:p>
            <a:pPr lvl="0"/>
            <a:r>
              <a:rPr lang="en-US" sz="3692" dirty="0" err="1">
                <a:solidFill>
                  <a:srgbClr val="86CBD8"/>
                </a:solidFill>
              </a:rPr>
              <a:t>Título</a:t>
            </a:r>
            <a:r>
              <a:rPr lang="en-US" sz="3692" dirty="0">
                <a:solidFill>
                  <a:srgbClr val="86CBD8"/>
                </a:solidFill>
              </a:rPr>
              <a:t> </a:t>
            </a:r>
            <a:r>
              <a:rPr lang="en-US" sz="3692" dirty="0" err="1">
                <a:solidFill>
                  <a:srgbClr val="86CBD8"/>
                </a:solidFill>
              </a:rPr>
              <a:t>Presentación</a:t>
            </a:r>
            <a:endParaRPr lang="en-US" dirty="0"/>
          </a:p>
        </p:txBody>
      </p:sp>
      <p:sp>
        <p:nvSpPr>
          <p:cNvPr id="20" name="Text Placeholder 19"/>
          <p:cNvSpPr>
            <a:spLocks noGrp="1"/>
          </p:cNvSpPr>
          <p:nvPr>
            <p:ph type="body" sz="quarter" idx="11" hasCustomPrompt="1"/>
          </p:nvPr>
        </p:nvSpPr>
        <p:spPr>
          <a:xfrm>
            <a:off x="1789411" y="2221992"/>
            <a:ext cx="10016197" cy="365760"/>
          </a:xfrm>
        </p:spPr>
        <p:txBody>
          <a:bodyPr lIns="36576" tIns="45720" rIns="36576" bIns="45720">
            <a:noAutofit/>
          </a:bodyPr>
          <a:lstStyle>
            <a:lvl1pPr>
              <a:defRPr sz="1662" b="1" baseline="0">
                <a:solidFill>
                  <a:srgbClr val="016AA1"/>
                </a:solidFill>
              </a:defRPr>
            </a:lvl1pPr>
          </a:lstStyle>
          <a:p>
            <a:pPr lvl="0"/>
            <a:r>
              <a:rPr lang="en-US" dirty="0" err="1"/>
              <a:t>Subtitulo</a:t>
            </a:r>
            <a:endParaRPr lang="en-US" dirty="0"/>
          </a:p>
        </p:txBody>
      </p:sp>
      <p:sp>
        <p:nvSpPr>
          <p:cNvPr id="22" name="Text Placeholder 21"/>
          <p:cNvSpPr>
            <a:spLocks noGrp="1"/>
          </p:cNvSpPr>
          <p:nvPr>
            <p:ph type="body" sz="quarter" idx="12" hasCustomPrompt="1"/>
          </p:nvPr>
        </p:nvSpPr>
        <p:spPr>
          <a:xfrm>
            <a:off x="1789411" y="4983480"/>
            <a:ext cx="9340948" cy="365760"/>
          </a:xfrm>
        </p:spPr>
        <p:txBody>
          <a:bodyPr lIns="36576" tIns="45720" rIns="36576" bIns="45720">
            <a:noAutofit/>
          </a:bodyPr>
          <a:lstStyle>
            <a:lvl1pPr>
              <a:defRPr sz="1662" b="0" baseline="0">
                <a:solidFill>
                  <a:srgbClr val="7C1A4F"/>
                </a:solidFill>
              </a:defRPr>
            </a:lvl1pPr>
          </a:lstStyle>
          <a:p>
            <a:pPr lvl="0"/>
            <a:r>
              <a:rPr lang="en-US" dirty="0" err="1"/>
              <a:t>Fecha</a:t>
            </a:r>
            <a:endParaRPr lang="en-US" dirty="0"/>
          </a:p>
        </p:txBody>
      </p:sp>
      <p:pic>
        <p:nvPicPr>
          <p:cNvPr id="9" name="footer-13.jpg" descr="footer-13.jpg"/>
          <p:cNvPicPr>
            <a:picLocks noChangeAspect="1"/>
          </p:cNvPicPr>
          <p:nvPr userDrawn="1"/>
        </p:nvPicPr>
        <p:blipFill>
          <a:blip r:embed="rId7" cstate="print"/>
          <a:stretch>
            <a:fillRect/>
          </a:stretch>
        </p:blipFill>
        <p:spPr>
          <a:xfrm>
            <a:off x="0" y="6221393"/>
            <a:ext cx="12192000" cy="574391"/>
          </a:xfrm>
          <a:prstGeom prst="rect">
            <a:avLst/>
          </a:prstGeom>
          <a:ln w="12700">
            <a:miter lim="400000"/>
          </a:ln>
        </p:spPr>
      </p:pic>
    </p:spTree>
    <p:extLst>
      <p:ext uri="{BB962C8B-B14F-4D97-AF65-F5344CB8AC3E}">
        <p14:creationId xmlns:p14="http://schemas.microsoft.com/office/powerpoint/2010/main" val="3965961162"/>
      </p:ext>
    </p:extLst>
  </p:cSld>
  <p:clrMapOvr>
    <a:masterClrMapping/>
  </p:clrMapOvr>
</p:sldLayout>
</file>

<file path=ppt/slideLayouts/slideLayout281.xml><?xml version="1.0" encoding="utf-8"?>
<p:sldLayout xmlns:a="http://schemas.openxmlformats.org/drawingml/2006/main" xmlns:r="http://schemas.openxmlformats.org/officeDocument/2006/relationships" xmlns:p="http://schemas.openxmlformats.org/presentationml/2006/main" showMasterSp="0" preserve="1" userDrawn="1">
  <p:cSld name="Divider 1">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502190"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822455"/>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DA2B57"/>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7C194F"/>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grpSp>
        <p:nvGrpSpPr>
          <p:cNvPr id="8" name="Group 7"/>
          <p:cNvGrpSpPr/>
          <p:nvPr userDrawn="1"/>
        </p:nvGrpSpPr>
        <p:grpSpPr>
          <a:xfrm>
            <a:off x="213691" y="98855"/>
            <a:ext cx="1113676" cy="6105595"/>
            <a:chOff x="160238" y="154880"/>
            <a:chExt cx="1300907" cy="8777933"/>
          </a:xfrm>
        </p:grpSpPr>
        <p:sp>
          <p:nvSpPr>
            <p:cNvPr id="9" name="Rectangle"/>
            <p:cNvSpPr/>
            <p:nvPr userDrawn="1"/>
          </p:nvSpPr>
          <p:spPr>
            <a:xfrm>
              <a:off x="160238" y="8398371"/>
              <a:ext cx="1300907" cy="534442"/>
            </a:xfrm>
            <a:prstGeom prst="rect">
              <a:avLst/>
            </a:prstGeom>
            <a:solidFill>
              <a:srgbClr val="ED207D"/>
            </a:solidFill>
            <a:ln w="12700">
              <a:miter lim="400000"/>
            </a:ln>
          </p:spPr>
          <p:txBody>
            <a:bodyPr lIns="50800" tIns="50800" rIns="50800" bIns="50800" anchor="ctr"/>
            <a:lstStyle/>
            <a:p>
              <a:endParaRPr lang="en-US" sz="1662" dirty="0"/>
            </a:p>
          </p:txBody>
        </p:sp>
        <p:sp>
          <p:nvSpPr>
            <p:cNvPr id="10" name="Rectangle"/>
            <p:cNvSpPr/>
            <p:nvPr userDrawn="1"/>
          </p:nvSpPr>
          <p:spPr>
            <a:xfrm>
              <a:off x="160238" y="8183364"/>
              <a:ext cx="1300907" cy="215008"/>
            </a:xfrm>
            <a:prstGeom prst="rect">
              <a:avLst/>
            </a:prstGeom>
            <a:solidFill>
              <a:srgbClr val="BF1D7F"/>
            </a:solidFill>
            <a:ln w="12700">
              <a:miter lim="400000"/>
            </a:ln>
          </p:spPr>
          <p:txBody>
            <a:bodyPr lIns="50800" tIns="50800" rIns="50800" bIns="50800" anchor="ctr"/>
            <a:lstStyle/>
            <a:p>
              <a:endParaRPr lang="en-US" sz="1662" dirty="0"/>
            </a:p>
          </p:txBody>
        </p:sp>
        <p:sp>
          <p:nvSpPr>
            <p:cNvPr id="11" name="Rectangle"/>
            <p:cNvSpPr/>
            <p:nvPr userDrawn="1"/>
          </p:nvSpPr>
          <p:spPr>
            <a:xfrm>
              <a:off x="160238" y="6195863"/>
              <a:ext cx="1300907" cy="1987502"/>
            </a:xfrm>
            <a:prstGeom prst="rect">
              <a:avLst/>
            </a:prstGeom>
            <a:solidFill>
              <a:srgbClr val="7C1A4F"/>
            </a:solidFill>
            <a:ln w="12700">
              <a:miter lim="400000"/>
            </a:ln>
          </p:spPr>
          <p:txBody>
            <a:bodyPr lIns="50800" tIns="50800" rIns="50800" bIns="50800" anchor="ctr"/>
            <a:lstStyle/>
            <a:p>
              <a:endParaRPr lang="en-US" sz="1662" dirty="0"/>
            </a:p>
          </p:txBody>
        </p:sp>
        <p:sp>
          <p:nvSpPr>
            <p:cNvPr id="12" name="Rectangle"/>
            <p:cNvSpPr/>
            <p:nvPr userDrawn="1"/>
          </p:nvSpPr>
          <p:spPr>
            <a:xfrm>
              <a:off x="160238" y="5724425"/>
              <a:ext cx="1300907" cy="471439"/>
            </a:xfrm>
            <a:prstGeom prst="rect">
              <a:avLst/>
            </a:prstGeom>
            <a:solidFill>
              <a:srgbClr val="DA2C57"/>
            </a:solidFill>
            <a:ln w="12700">
              <a:miter lim="400000"/>
            </a:ln>
          </p:spPr>
          <p:txBody>
            <a:bodyPr lIns="50800" tIns="50800" rIns="50800" bIns="50800" anchor="ctr"/>
            <a:lstStyle/>
            <a:p>
              <a:endParaRPr lang="en-US" sz="1662" dirty="0"/>
            </a:p>
          </p:txBody>
        </p:sp>
        <p:sp>
          <p:nvSpPr>
            <p:cNvPr id="14" name="Rectangle"/>
            <p:cNvSpPr/>
            <p:nvPr userDrawn="1"/>
          </p:nvSpPr>
          <p:spPr>
            <a:xfrm>
              <a:off x="160238" y="371177"/>
              <a:ext cx="1300907" cy="813396"/>
            </a:xfrm>
            <a:prstGeom prst="rect">
              <a:avLst/>
            </a:prstGeom>
            <a:solidFill>
              <a:srgbClr val="C4297F"/>
            </a:solidFill>
            <a:ln w="12700">
              <a:miter lim="400000"/>
            </a:ln>
          </p:spPr>
          <p:txBody>
            <a:bodyPr lIns="50800" tIns="50800" rIns="50800" bIns="50800" anchor="ctr"/>
            <a:lstStyle/>
            <a:p>
              <a:endParaRPr lang="en-US" sz="1662" dirty="0"/>
            </a:p>
          </p:txBody>
        </p:sp>
        <p:sp>
          <p:nvSpPr>
            <p:cNvPr id="17" name="Rectangle"/>
            <p:cNvSpPr/>
            <p:nvPr userDrawn="1"/>
          </p:nvSpPr>
          <p:spPr>
            <a:xfrm>
              <a:off x="160238" y="1184572"/>
              <a:ext cx="1300907" cy="4539854"/>
            </a:xfrm>
            <a:prstGeom prst="rect">
              <a:avLst/>
            </a:prstGeom>
            <a:solidFill>
              <a:srgbClr val="822455"/>
            </a:solidFill>
            <a:ln w="12700">
              <a:miter lim="400000"/>
            </a:ln>
          </p:spPr>
          <p:txBody>
            <a:bodyPr lIns="50800" tIns="50800" rIns="50800" bIns="50800" anchor="ctr"/>
            <a:lstStyle/>
            <a:p>
              <a:endParaRPr lang="en-US" sz="1662" dirty="0"/>
            </a:p>
          </p:txBody>
        </p:sp>
        <p:sp>
          <p:nvSpPr>
            <p:cNvPr id="19" name="Rectangle"/>
            <p:cNvSpPr/>
            <p:nvPr userDrawn="1"/>
          </p:nvSpPr>
          <p:spPr>
            <a:xfrm>
              <a:off x="160238" y="154880"/>
              <a:ext cx="1300907" cy="216298"/>
            </a:xfrm>
            <a:prstGeom prst="rect">
              <a:avLst/>
            </a:prstGeom>
            <a:solidFill>
              <a:srgbClr val="DA2C57"/>
            </a:solidFill>
            <a:ln w="12700">
              <a:miter lim="400000"/>
            </a:ln>
          </p:spPr>
          <p:txBody>
            <a:bodyPr lIns="50800" tIns="50800" rIns="50800" bIns="50800" anchor="ctr"/>
            <a:lstStyle/>
            <a:p>
              <a:endParaRPr lang="en-US" sz="1662" dirty="0"/>
            </a:p>
          </p:txBody>
        </p:sp>
      </p:gr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spTree>
    <p:extLst>
      <p:ext uri="{BB962C8B-B14F-4D97-AF65-F5344CB8AC3E}">
        <p14:creationId xmlns:p14="http://schemas.microsoft.com/office/powerpoint/2010/main" val="2924025177"/>
      </p:ext>
    </p:extLst>
  </p:cSld>
  <p:clrMapOvr>
    <a:masterClrMapping/>
  </p:clrMapOvr>
</p:sldLayout>
</file>

<file path=ppt/slideLayouts/slideLayout282.xml><?xml version="1.0" encoding="utf-8"?>
<p:sldLayout xmlns:a="http://schemas.openxmlformats.org/drawingml/2006/main" xmlns:r="http://schemas.openxmlformats.org/officeDocument/2006/relationships" xmlns:p="http://schemas.openxmlformats.org/presentationml/2006/main" showMasterSp="0" preserve="1" userDrawn="1">
  <p:cSld name="Divider 2">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503214"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EE4228"/>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F69427"/>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FCBA1A"/>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13691" y="98854"/>
            <a:ext cx="1113676" cy="6105595"/>
            <a:chOff x="160238" y="162796"/>
            <a:chExt cx="1300907" cy="8777933"/>
          </a:xfrm>
        </p:grpSpPr>
        <p:sp>
          <p:nvSpPr>
            <p:cNvPr id="22" name="Rectangle"/>
            <p:cNvSpPr/>
            <p:nvPr userDrawn="1"/>
          </p:nvSpPr>
          <p:spPr>
            <a:xfrm>
              <a:off x="160238" y="8406287"/>
              <a:ext cx="1300907" cy="534442"/>
            </a:xfrm>
            <a:prstGeom prst="rect">
              <a:avLst/>
            </a:prstGeom>
            <a:solidFill>
              <a:srgbClr val="D91F27"/>
            </a:solidFill>
            <a:ln w="12700">
              <a:miter lim="400000"/>
            </a:ln>
          </p:spPr>
          <p:txBody>
            <a:bodyPr lIns="50800" tIns="50800" rIns="50800" bIns="50800" anchor="ctr"/>
            <a:lstStyle/>
            <a:p>
              <a:endParaRPr lang="en-US" sz="1662" dirty="0"/>
            </a:p>
          </p:txBody>
        </p:sp>
        <p:sp>
          <p:nvSpPr>
            <p:cNvPr id="23" name="Rectangle"/>
            <p:cNvSpPr/>
            <p:nvPr userDrawn="1"/>
          </p:nvSpPr>
          <p:spPr>
            <a:xfrm>
              <a:off x="160238" y="8191280"/>
              <a:ext cx="1300907" cy="215008"/>
            </a:xfrm>
            <a:prstGeom prst="rect">
              <a:avLst/>
            </a:prstGeom>
            <a:solidFill>
              <a:srgbClr val="F36F26"/>
            </a:solidFill>
            <a:ln w="12700">
              <a:miter lim="400000"/>
            </a:ln>
          </p:spPr>
          <p:txBody>
            <a:bodyPr lIns="50800" tIns="50800" rIns="50800" bIns="50800" anchor="ctr"/>
            <a:lstStyle/>
            <a:p>
              <a:endParaRPr lang="en-US" sz="1662" dirty="0"/>
            </a:p>
          </p:txBody>
        </p:sp>
        <p:sp>
          <p:nvSpPr>
            <p:cNvPr id="24" name="Rectangle"/>
            <p:cNvSpPr/>
            <p:nvPr userDrawn="1"/>
          </p:nvSpPr>
          <p:spPr>
            <a:xfrm>
              <a:off x="160238" y="6203779"/>
              <a:ext cx="1300907" cy="1987502"/>
            </a:xfrm>
            <a:prstGeom prst="rect">
              <a:avLst/>
            </a:prstGeom>
            <a:solidFill>
              <a:srgbClr val="FBB91A"/>
            </a:solidFill>
            <a:ln w="12700">
              <a:miter lim="400000"/>
            </a:ln>
          </p:spPr>
          <p:txBody>
            <a:bodyPr lIns="50800" tIns="50800" rIns="50800" bIns="50800" anchor="ctr"/>
            <a:lstStyle/>
            <a:p>
              <a:endParaRPr lang="en-US" sz="1662" dirty="0"/>
            </a:p>
          </p:txBody>
        </p:sp>
        <p:sp>
          <p:nvSpPr>
            <p:cNvPr id="25" name="Rectangle"/>
            <p:cNvSpPr/>
            <p:nvPr userDrawn="1"/>
          </p:nvSpPr>
          <p:spPr>
            <a:xfrm>
              <a:off x="160238" y="5732341"/>
              <a:ext cx="1300907" cy="471439"/>
            </a:xfrm>
            <a:prstGeom prst="rect">
              <a:avLst/>
            </a:prstGeom>
            <a:solidFill>
              <a:srgbClr val="F69427"/>
            </a:solidFill>
            <a:ln w="12700">
              <a:miter lim="400000"/>
            </a:ln>
          </p:spPr>
          <p:txBody>
            <a:bodyPr lIns="50800" tIns="50800" rIns="50800" bIns="50800" anchor="ctr"/>
            <a:lstStyle/>
            <a:p>
              <a:endParaRPr lang="en-US" sz="1662" dirty="0"/>
            </a:p>
          </p:txBody>
        </p:sp>
        <p:sp>
          <p:nvSpPr>
            <p:cNvPr id="26" name="Rectangle"/>
            <p:cNvSpPr/>
            <p:nvPr userDrawn="1"/>
          </p:nvSpPr>
          <p:spPr>
            <a:xfrm>
              <a:off x="160238" y="379093"/>
              <a:ext cx="1300907" cy="813396"/>
            </a:xfrm>
            <a:prstGeom prst="rect">
              <a:avLst/>
            </a:prstGeom>
            <a:solidFill>
              <a:srgbClr val="F79824"/>
            </a:solidFill>
            <a:ln w="12700">
              <a:miter lim="400000"/>
            </a:ln>
          </p:spPr>
          <p:txBody>
            <a:bodyPr lIns="50800" tIns="50800" rIns="50800" bIns="50800" anchor="ctr"/>
            <a:lstStyle/>
            <a:p>
              <a:endParaRPr lang="en-US" sz="1662" dirty="0"/>
            </a:p>
          </p:txBody>
        </p:sp>
        <p:sp>
          <p:nvSpPr>
            <p:cNvPr id="27" name="Rectangle"/>
            <p:cNvSpPr/>
            <p:nvPr userDrawn="1"/>
          </p:nvSpPr>
          <p:spPr>
            <a:xfrm>
              <a:off x="160238" y="1192488"/>
              <a:ext cx="1300907" cy="4539854"/>
            </a:xfrm>
            <a:prstGeom prst="rect">
              <a:avLst/>
            </a:prstGeom>
            <a:solidFill>
              <a:srgbClr val="EE4329"/>
            </a:solidFill>
            <a:ln w="12700">
              <a:miter lim="400000"/>
            </a:ln>
          </p:spPr>
          <p:txBody>
            <a:bodyPr lIns="50800" tIns="50800" rIns="50800" bIns="50800" anchor="ctr"/>
            <a:lstStyle/>
            <a:p>
              <a:endParaRPr lang="en-US" sz="1662" dirty="0"/>
            </a:p>
          </p:txBody>
        </p:sp>
        <p:sp>
          <p:nvSpPr>
            <p:cNvPr id="28" name="Rectangle"/>
            <p:cNvSpPr/>
            <p:nvPr userDrawn="1"/>
          </p:nvSpPr>
          <p:spPr>
            <a:xfrm>
              <a:off x="160238" y="162796"/>
              <a:ext cx="1300907" cy="216298"/>
            </a:xfrm>
            <a:prstGeom prst="rect">
              <a:avLst/>
            </a:prstGeom>
            <a:solidFill>
              <a:srgbClr val="BF2126"/>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258121087"/>
      </p:ext>
    </p:extLst>
  </p:cSld>
  <p:clrMapOvr>
    <a:masterClrMapping/>
  </p:clrMapOvr>
</p:sldLayout>
</file>

<file path=ppt/slideLayouts/slideLayout283.xml><?xml version="1.0" encoding="utf-8"?>
<p:sldLayout xmlns:a="http://schemas.openxmlformats.org/drawingml/2006/main" xmlns:r="http://schemas.openxmlformats.org/officeDocument/2006/relationships" xmlns:p="http://schemas.openxmlformats.org/presentationml/2006/main" showMasterSp="0" preserve="1" userDrawn="1">
  <p:cSld name="Divider 3">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504238"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007272"/>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00C0B6"/>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00A6AB"/>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13691" y="99934"/>
            <a:ext cx="1113676" cy="6105588"/>
            <a:chOff x="90616" y="113613"/>
            <a:chExt cx="1300907" cy="8777933"/>
          </a:xfrm>
        </p:grpSpPr>
        <p:sp>
          <p:nvSpPr>
            <p:cNvPr id="22" name="Rectangle"/>
            <p:cNvSpPr/>
            <p:nvPr userDrawn="1"/>
          </p:nvSpPr>
          <p:spPr>
            <a:xfrm>
              <a:off x="90616" y="8357104"/>
              <a:ext cx="1300907" cy="534442"/>
            </a:xfrm>
            <a:prstGeom prst="rect">
              <a:avLst/>
            </a:prstGeom>
            <a:solidFill>
              <a:srgbClr val="00C0B6"/>
            </a:solidFill>
            <a:ln w="12700">
              <a:miter lim="400000"/>
            </a:ln>
          </p:spPr>
          <p:txBody>
            <a:bodyPr lIns="50800" tIns="50800" rIns="50800" bIns="50800" anchor="ctr"/>
            <a:lstStyle/>
            <a:p>
              <a:endParaRPr lang="en-US" sz="1662" dirty="0"/>
            </a:p>
          </p:txBody>
        </p:sp>
        <p:sp>
          <p:nvSpPr>
            <p:cNvPr id="23" name="Rectangle"/>
            <p:cNvSpPr/>
            <p:nvPr userDrawn="1"/>
          </p:nvSpPr>
          <p:spPr>
            <a:xfrm>
              <a:off x="90616" y="8142097"/>
              <a:ext cx="1300907" cy="215008"/>
            </a:xfrm>
            <a:prstGeom prst="rect">
              <a:avLst/>
            </a:prstGeom>
            <a:solidFill>
              <a:srgbClr val="007272"/>
            </a:solidFill>
            <a:ln w="12700">
              <a:miter lim="400000"/>
            </a:ln>
          </p:spPr>
          <p:txBody>
            <a:bodyPr lIns="50800" tIns="50800" rIns="50800" bIns="50800" anchor="ctr"/>
            <a:lstStyle/>
            <a:p>
              <a:endParaRPr lang="en-US" sz="1662" dirty="0"/>
            </a:p>
          </p:txBody>
        </p:sp>
        <p:sp>
          <p:nvSpPr>
            <p:cNvPr id="24" name="Rectangle"/>
            <p:cNvSpPr/>
            <p:nvPr userDrawn="1"/>
          </p:nvSpPr>
          <p:spPr>
            <a:xfrm>
              <a:off x="90616" y="6154596"/>
              <a:ext cx="1300907" cy="1987502"/>
            </a:xfrm>
            <a:prstGeom prst="rect">
              <a:avLst/>
            </a:prstGeom>
            <a:solidFill>
              <a:srgbClr val="00A6AB"/>
            </a:solidFill>
            <a:ln w="12700">
              <a:miter lim="400000"/>
            </a:ln>
          </p:spPr>
          <p:txBody>
            <a:bodyPr lIns="50800" tIns="50800" rIns="50800" bIns="50800" anchor="ctr"/>
            <a:lstStyle/>
            <a:p>
              <a:endParaRPr lang="en-US" sz="1662" dirty="0"/>
            </a:p>
          </p:txBody>
        </p:sp>
        <p:sp>
          <p:nvSpPr>
            <p:cNvPr id="25" name="Rectangle"/>
            <p:cNvSpPr/>
            <p:nvPr userDrawn="1"/>
          </p:nvSpPr>
          <p:spPr>
            <a:xfrm>
              <a:off x="90616" y="5683158"/>
              <a:ext cx="1300907" cy="471439"/>
            </a:xfrm>
            <a:prstGeom prst="rect">
              <a:avLst/>
            </a:prstGeom>
            <a:solidFill>
              <a:srgbClr val="00C0B6"/>
            </a:solidFill>
            <a:ln w="12700">
              <a:miter lim="400000"/>
            </a:ln>
          </p:spPr>
          <p:txBody>
            <a:bodyPr lIns="50800" tIns="50800" rIns="50800" bIns="50800" anchor="ctr"/>
            <a:lstStyle/>
            <a:p>
              <a:endParaRPr lang="en-US" sz="1662" dirty="0"/>
            </a:p>
          </p:txBody>
        </p:sp>
        <p:sp>
          <p:nvSpPr>
            <p:cNvPr id="26" name="Rectangle"/>
            <p:cNvSpPr/>
            <p:nvPr userDrawn="1"/>
          </p:nvSpPr>
          <p:spPr>
            <a:xfrm>
              <a:off x="90616" y="329910"/>
              <a:ext cx="1300907" cy="813396"/>
            </a:xfrm>
            <a:prstGeom prst="rect">
              <a:avLst/>
            </a:prstGeom>
            <a:solidFill>
              <a:srgbClr val="00C0B6"/>
            </a:solidFill>
            <a:ln w="12700">
              <a:miter lim="400000"/>
            </a:ln>
          </p:spPr>
          <p:txBody>
            <a:bodyPr lIns="50800" tIns="50800" rIns="50800" bIns="50800" anchor="ctr"/>
            <a:lstStyle/>
            <a:p>
              <a:endParaRPr lang="en-US" sz="1662" dirty="0"/>
            </a:p>
          </p:txBody>
        </p:sp>
        <p:sp>
          <p:nvSpPr>
            <p:cNvPr id="27" name="Rectangle"/>
            <p:cNvSpPr/>
            <p:nvPr userDrawn="1"/>
          </p:nvSpPr>
          <p:spPr>
            <a:xfrm>
              <a:off x="90616" y="1143305"/>
              <a:ext cx="1300907" cy="4539854"/>
            </a:xfrm>
            <a:prstGeom prst="rect">
              <a:avLst/>
            </a:prstGeom>
            <a:solidFill>
              <a:srgbClr val="007272"/>
            </a:solidFill>
            <a:ln w="12700">
              <a:miter lim="400000"/>
            </a:ln>
          </p:spPr>
          <p:txBody>
            <a:bodyPr lIns="50800" tIns="50800" rIns="50800" bIns="50800" anchor="ctr"/>
            <a:lstStyle/>
            <a:p>
              <a:endParaRPr lang="en-US" sz="1662" dirty="0"/>
            </a:p>
          </p:txBody>
        </p:sp>
        <p:sp>
          <p:nvSpPr>
            <p:cNvPr id="28" name="Rectangle"/>
            <p:cNvSpPr/>
            <p:nvPr userDrawn="1"/>
          </p:nvSpPr>
          <p:spPr>
            <a:xfrm>
              <a:off x="90616" y="113613"/>
              <a:ext cx="1300907" cy="216298"/>
            </a:xfrm>
            <a:prstGeom prst="rect">
              <a:avLst/>
            </a:prstGeom>
            <a:solidFill>
              <a:srgbClr val="00A6AB"/>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153288540"/>
      </p:ext>
    </p:extLst>
  </p:cSld>
  <p:clrMapOvr>
    <a:masterClrMapping/>
  </p:clrMapOvr>
</p:sldLayout>
</file>

<file path=ppt/slideLayouts/slideLayout284.xml><?xml version="1.0" encoding="utf-8"?>
<p:sldLayout xmlns:a="http://schemas.openxmlformats.org/drawingml/2006/main" xmlns:r="http://schemas.openxmlformats.org/officeDocument/2006/relationships" xmlns:p="http://schemas.openxmlformats.org/presentationml/2006/main" showMasterSp="0" preserve="1" userDrawn="1">
  <p:cSld name="Divider 4">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505262"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73A600"/>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AABA35"/>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94B301"/>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15939" y="99934"/>
            <a:ext cx="1113675" cy="6105588"/>
            <a:chOff x="160238" y="154880"/>
            <a:chExt cx="1300907" cy="8777933"/>
          </a:xfrm>
        </p:grpSpPr>
        <p:sp>
          <p:nvSpPr>
            <p:cNvPr id="22" name="Rectangle"/>
            <p:cNvSpPr/>
            <p:nvPr userDrawn="1"/>
          </p:nvSpPr>
          <p:spPr>
            <a:xfrm>
              <a:off x="160238" y="8398371"/>
              <a:ext cx="1300907" cy="534442"/>
            </a:xfrm>
            <a:prstGeom prst="rect">
              <a:avLst/>
            </a:prstGeom>
            <a:solidFill>
              <a:srgbClr val="AABA36"/>
            </a:solidFill>
            <a:ln w="12700">
              <a:miter lim="400000"/>
            </a:ln>
          </p:spPr>
          <p:txBody>
            <a:bodyPr lIns="50800" tIns="50800" rIns="50800" bIns="50800" anchor="ctr"/>
            <a:lstStyle/>
            <a:p>
              <a:endParaRPr lang="en-US" sz="1662" dirty="0"/>
            </a:p>
          </p:txBody>
        </p:sp>
        <p:sp>
          <p:nvSpPr>
            <p:cNvPr id="23" name="Rectangle"/>
            <p:cNvSpPr/>
            <p:nvPr userDrawn="1"/>
          </p:nvSpPr>
          <p:spPr>
            <a:xfrm>
              <a:off x="160238" y="8183364"/>
              <a:ext cx="1300907" cy="215008"/>
            </a:xfrm>
            <a:prstGeom prst="rect">
              <a:avLst/>
            </a:prstGeom>
            <a:solidFill>
              <a:srgbClr val="CEDD01"/>
            </a:solidFill>
            <a:ln w="12700">
              <a:miter lim="400000"/>
            </a:ln>
          </p:spPr>
          <p:txBody>
            <a:bodyPr lIns="50800" tIns="50800" rIns="50800" bIns="50800" anchor="ctr"/>
            <a:lstStyle/>
            <a:p>
              <a:endParaRPr lang="en-US" sz="1662" dirty="0"/>
            </a:p>
          </p:txBody>
        </p:sp>
        <p:sp>
          <p:nvSpPr>
            <p:cNvPr id="24" name="Rectangle"/>
            <p:cNvSpPr/>
            <p:nvPr userDrawn="1"/>
          </p:nvSpPr>
          <p:spPr>
            <a:xfrm>
              <a:off x="160238" y="6195863"/>
              <a:ext cx="1300907" cy="1987502"/>
            </a:xfrm>
            <a:prstGeom prst="rect">
              <a:avLst/>
            </a:prstGeom>
            <a:solidFill>
              <a:srgbClr val="94B301"/>
            </a:solidFill>
            <a:ln w="12700">
              <a:miter lim="400000"/>
            </a:ln>
          </p:spPr>
          <p:txBody>
            <a:bodyPr lIns="50800" tIns="50800" rIns="50800" bIns="50800" anchor="ctr"/>
            <a:lstStyle/>
            <a:p>
              <a:endParaRPr lang="en-US" sz="1662" dirty="0"/>
            </a:p>
          </p:txBody>
        </p:sp>
        <p:sp>
          <p:nvSpPr>
            <p:cNvPr id="25" name="Rectangle"/>
            <p:cNvSpPr/>
            <p:nvPr userDrawn="1"/>
          </p:nvSpPr>
          <p:spPr>
            <a:xfrm>
              <a:off x="160238" y="5724425"/>
              <a:ext cx="1300907" cy="471439"/>
            </a:xfrm>
            <a:prstGeom prst="rect">
              <a:avLst/>
            </a:prstGeom>
            <a:solidFill>
              <a:srgbClr val="AABA36"/>
            </a:solidFill>
            <a:ln w="12700">
              <a:miter lim="400000"/>
            </a:ln>
          </p:spPr>
          <p:txBody>
            <a:bodyPr lIns="50800" tIns="50800" rIns="50800" bIns="50800" anchor="ctr"/>
            <a:lstStyle/>
            <a:p>
              <a:endParaRPr lang="en-US" sz="1662" dirty="0"/>
            </a:p>
          </p:txBody>
        </p:sp>
        <p:sp>
          <p:nvSpPr>
            <p:cNvPr id="26" name="Rectangle"/>
            <p:cNvSpPr/>
            <p:nvPr userDrawn="1"/>
          </p:nvSpPr>
          <p:spPr>
            <a:xfrm>
              <a:off x="160238" y="371177"/>
              <a:ext cx="1300907" cy="813396"/>
            </a:xfrm>
            <a:prstGeom prst="rect">
              <a:avLst/>
            </a:prstGeom>
            <a:solidFill>
              <a:srgbClr val="CEDD01"/>
            </a:solidFill>
            <a:ln w="12700">
              <a:miter lim="400000"/>
            </a:ln>
          </p:spPr>
          <p:txBody>
            <a:bodyPr lIns="50800" tIns="50800" rIns="50800" bIns="50800" anchor="ctr"/>
            <a:lstStyle/>
            <a:p>
              <a:endParaRPr lang="en-US" sz="1662" dirty="0"/>
            </a:p>
          </p:txBody>
        </p:sp>
        <p:sp>
          <p:nvSpPr>
            <p:cNvPr id="27" name="Rectangle"/>
            <p:cNvSpPr/>
            <p:nvPr userDrawn="1"/>
          </p:nvSpPr>
          <p:spPr>
            <a:xfrm>
              <a:off x="160238" y="1184572"/>
              <a:ext cx="1300907" cy="4539854"/>
            </a:xfrm>
            <a:prstGeom prst="rect">
              <a:avLst/>
            </a:prstGeom>
            <a:solidFill>
              <a:srgbClr val="73A600"/>
            </a:solidFill>
            <a:ln w="12700">
              <a:miter lim="400000"/>
            </a:ln>
          </p:spPr>
          <p:txBody>
            <a:bodyPr lIns="50800" tIns="50800" rIns="50800" bIns="50800" anchor="ctr"/>
            <a:lstStyle/>
            <a:p>
              <a:endParaRPr lang="en-US" sz="1662" dirty="0"/>
            </a:p>
          </p:txBody>
        </p:sp>
        <p:sp>
          <p:nvSpPr>
            <p:cNvPr id="28" name="Rectangle"/>
            <p:cNvSpPr/>
            <p:nvPr userDrawn="1"/>
          </p:nvSpPr>
          <p:spPr>
            <a:xfrm>
              <a:off x="160238" y="154880"/>
              <a:ext cx="1300907" cy="216298"/>
            </a:xfrm>
            <a:prstGeom prst="rect">
              <a:avLst/>
            </a:prstGeom>
            <a:solidFill>
              <a:srgbClr val="94B301"/>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777000010"/>
      </p:ext>
    </p:extLst>
  </p:cSld>
  <p:clrMapOvr>
    <a:masterClrMapping/>
  </p:clrMapOvr>
</p:sldLayout>
</file>

<file path=ppt/slideLayouts/slideLayout285.xml><?xml version="1.0" encoding="utf-8"?>
<p:sldLayout xmlns:a="http://schemas.openxmlformats.org/drawingml/2006/main" xmlns:r="http://schemas.openxmlformats.org/officeDocument/2006/relationships" xmlns:p="http://schemas.openxmlformats.org/presentationml/2006/main" showMasterSp="0" preserve="1" userDrawn="1">
  <p:cSld name="Divider 5">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506286"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70147B"/>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8B4093"/>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63006C"/>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15939" y="99934"/>
            <a:ext cx="1113675" cy="6105588"/>
            <a:chOff x="1081465" y="114688"/>
            <a:chExt cx="1300907" cy="8777933"/>
          </a:xfrm>
        </p:grpSpPr>
        <p:sp>
          <p:nvSpPr>
            <p:cNvPr id="22" name="Rectangle"/>
            <p:cNvSpPr/>
            <p:nvPr userDrawn="1"/>
          </p:nvSpPr>
          <p:spPr>
            <a:xfrm>
              <a:off x="1081465" y="8358179"/>
              <a:ext cx="1300907" cy="534442"/>
            </a:xfrm>
            <a:prstGeom prst="rect">
              <a:avLst/>
            </a:prstGeom>
            <a:solidFill>
              <a:srgbClr val="8C4395"/>
            </a:solidFill>
            <a:ln w="12700">
              <a:miter lim="400000"/>
            </a:ln>
          </p:spPr>
          <p:txBody>
            <a:bodyPr lIns="50800" tIns="50800" rIns="50800" bIns="50800" anchor="ctr"/>
            <a:lstStyle/>
            <a:p>
              <a:endParaRPr lang="en-US" sz="1662" dirty="0"/>
            </a:p>
          </p:txBody>
        </p:sp>
        <p:sp>
          <p:nvSpPr>
            <p:cNvPr id="23" name="Rectangle"/>
            <p:cNvSpPr/>
            <p:nvPr userDrawn="1"/>
          </p:nvSpPr>
          <p:spPr>
            <a:xfrm>
              <a:off x="1081465" y="8143172"/>
              <a:ext cx="1300907" cy="215008"/>
            </a:xfrm>
            <a:prstGeom prst="rect">
              <a:avLst/>
            </a:prstGeom>
            <a:solidFill>
              <a:srgbClr val="A469AB"/>
            </a:solidFill>
            <a:ln w="12700">
              <a:miter lim="400000"/>
            </a:ln>
          </p:spPr>
          <p:txBody>
            <a:bodyPr lIns="50800" tIns="50800" rIns="50800" bIns="50800" anchor="ctr"/>
            <a:lstStyle/>
            <a:p>
              <a:endParaRPr lang="en-US" sz="1662" dirty="0"/>
            </a:p>
          </p:txBody>
        </p:sp>
        <p:sp>
          <p:nvSpPr>
            <p:cNvPr id="24" name="Rectangle"/>
            <p:cNvSpPr/>
            <p:nvPr userDrawn="1"/>
          </p:nvSpPr>
          <p:spPr>
            <a:xfrm>
              <a:off x="1081465" y="6155671"/>
              <a:ext cx="1300907" cy="1987502"/>
            </a:xfrm>
            <a:prstGeom prst="rect">
              <a:avLst/>
            </a:prstGeom>
            <a:solidFill>
              <a:srgbClr val="63006C"/>
            </a:solidFill>
            <a:ln w="12700">
              <a:miter lim="400000"/>
            </a:ln>
          </p:spPr>
          <p:txBody>
            <a:bodyPr lIns="50800" tIns="50800" rIns="50800" bIns="50800" anchor="ctr"/>
            <a:lstStyle/>
            <a:p>
              <a:endParaRPr lang="en-US" sz="1662" dirty="0"/>
            </a:p>
          </p:txBody>
        </p:sp>
        <p:sp>
          <p:nvSpPr>
            <p:cNvPr id="25" name="Rectangle"/>
            <p:cNvSpPr/>
            <p:nvPr userDrawn="1"/>
          </p:nvSpPr>
          <p:spPr>
            <a:xfrm>
              <a:off x="1081465" y="5684233"/>
              <a:ext cx="1300907" cy="471439"/>
            </a:xfrm>
            <a:prstGeom prst="rect">
              <a:avLst/>
            </a:prstGeom>
            <a:solidFill>
              <a:srgbClr val="8B4193"/>
            </a:solidFill>
            <a:ln w="12700">
              <a:miter lim="400000"/>
            </a:ln>
          </p:spPr>
          <p:txBody>
            <a:bodyPr lIns="50800" tIns="50800" rIns="50800" bIns="50800" anchor="ctr"/>
            <a:lstStyle/>
            <a:p>
              <a:endParaRPr lang="en-US" sz="1662" dirty="0"/>
            </a:p>
          </p:txBody>
        </p:sp>
        <p:sp>
          <p:nvSpPr>
            <p:cNvPr id="26" name="Rectangle"/>
            <p:cNvSpPr/>
            <p:nvPr userDrawn="1"/>
          </p:nvSpPr>
          <p:spPr>
            <a:xfrm>
              <a:off x="1081465" y="330985"/>
              <a:ext cx="1300907" cy="813396"/>
            </a:xfrm>
            <a:prstGeom prst="rect">
              <a:avLst/>
            </a:prstGeom>
            <a:solidFill>
              <a:srgbClr val="8C4395"/>
            </a:solidFill>
            <a:ln w="12700">
              <a:miter lim="400000"/>
            </a:ln>
          </p:spPr>
          <p:txBody>
            <a:bodyPr lIns="50800" tIns="50800" rIns="50800" bIns="50800" anchor="ctr"/>
            <a:lstStyle/>
            <a:p>
              <a:endParaRPr lang="en-US" sz="1662" dirty="0"/>
            </a:p>
          </p:txBody>
        </p:sp>
        <p:sp>
          <p:nvSpPr>
            <p:cNvPr id="27" name="Rectangle"/>
            <p:cNvSpPr/>
            <p:nvPr userDrawn="1"/>
          </p:nvSpPr>
          <p:spPr>
            <a:xfrm>
              <a:off x="1081465" y="1144380"/>
              <a:ext cx="1300907" cy="4539854"/>
            </a:xfrm>
            <a:prstGeom prst="rect">
              <a:avLst/>
            </a:prstGeom>
            <a:solidFill>
              <a:srgbClr val="70147B"/>
            </a:solidFill>
            <a:ln w="12700">
              <a:miter lim="400000"/>
            </a:ln>
          </p:spPr>
          <p:txBody>
            <a:bodyPr lIns="50800" tIns="50800" rIns="50800" bIns="50800" anchor="ctr"/>
            <a:lstStyle/>
            <a:p>
              <a:endParaRPr lang="en-US" sz="1662" dirty="0"/>
            </a:p>
          </p:txBody>
        </p:sp>
        <p:sp>
          <p:nvSpPr>
            <p:cNvPr id="28" name="Rectangle"/>
            <p:cNvSpPr/>
            <p:nvPr userDrawn="1"/>
          </p:nvSpPr>
          <p:spPr>
            <a:xfrm>
              <a:off x="1081465" y="114688"/>
              <a:ext cx="1300907" cy="216298"/>
            </a:xfrm>
            <a:prstGeom prst="rect">
              <a:avLst/>
            </a:prstGeom>
            <a:solidFill>
              <a:srgbClr val="70147B"/>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1519452939"/>
      </p:ext>
    </p:extLst>
  </p:cSld>
  <p:clrMapOvr>
    <a:masterClrMapping/>
  </p:clrMapOvr>
</p:sldLayout>
</file>

<file path=ppt/slideLayouts/slideLayout286.xml><?xml version="1.0" encoding="utf-8"?>
<p:sldLayout xmlns:a="http://schemas.openxmlformats.org/drawingml/2006/main" xmlns:r="http://schemas.openxmlformats.org/officeDocument/2006/relationships" xmlns:p="http://schemas.openxmlformats.org/presentationml/2006/main" showMasterSp="0" preserve="1" userDrawn="1">
  <p:cSld name="Divider 6">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507310"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016AA1"/>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104D6A"/>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2591C0"/>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09179" y="98854"/>
            <a:ext cx="1111928" cy="6096000"/>
            <a:chOff x="160238" y="154880"/>
            <a:chExt cx="1300907" cy="8777933"/>
          </a:xfrm>
        </p:grpSpPr>
        <p:sp>
          <p:nvSpPr>
            <p:cNvPr id="22" name="Rectangle"/>
            <p:cNvSpPr/>
            <p:nvPr userDrawn="1"/>
          </p:nvSpPr>
          <p:spPr>
            <a:xfrm>
              <a:off x="160238" y="8398371"/>
              <a:ext cx="1300907" cy="534442"/>
            </a:xfrm>
            <a:prstGeom prst="rect">
              <a:avLst/>
            </a:prstGeom>
            <a:solidFill>
              <a:srgbClr val="85CDD9"/>
            </a:solidFill>
            <a:ln w="12700">
              <a:miter lim="400000"/>
            </a:ln>
          </p:spPr>
          <p:txBody>
            <a:bodyPr lIns="50800" tIns="50800" rIns="50800" bIns="50800" anchor="ctr"/>
            <a:lstStyle/>
            <a:p>
              <a:endParaRPr lang="en-US" sz="1662" dirty="0"/>
            </a:p>
          </p:txBody>
        </p:sp>
        <p:sp>
          <p:nvSpPr>
            <p:cNvPr id="23" name="Rectangle"/>
            <p:cNvSpPr/>
            <p:nvPr userDrawn="1"/>
          </p:nvSpPr>
          <p:spPr>
            <a:xfrm>
              <a:off x="160238" y="8183364"/>
              <a:ext cx="1300907" cy="215008"/>
            </a:xfrm>
            <a:prstGeom prst="rect">
              <a:avLst/>
            </a:prstGeom>
            <a:solidFill>
              <a:srgbClr val="4D89AD"/>
            </a:solidFill>
            <a:ln w="12700">
              <a:miter lim="400000"/>
            </a:ln>
          </p:spPr>
          <p:txBody>
            <a:bodyPr lIns="50800" tIns="50800" rIns="50800" bIns="50800" anchor="ctr"/>
            <a:lstStyle/>
            <a:p>
              <a:endParaRPr lang="en-US" sz="1662" dirty="0"/>
            </a:p>
          </p:txBody>
        </p:sp>
        <p:sp>
          <p:nvSpPr>
            <p:cNvPr id="24" name="Rectangle"/>
            <p:cNvSpPr/>
            <p:nvPr userDrawn="1"/>
          </p:nvSpPr>
          <p:spPr>
            <a:xfrm>
              <a:off x="160238" y="6195863"/>
              <a:ext cx="1300907" cy="1987502"/>
            </a:xfrm>
            <a:prstGeom prst="rect">
              <a:avLst/>
            </a:prstGeom>
            <a:solidFill>
              <a:srgbClr val="2591C0"/>
            </a:solidFill>
            <a:ln w="12700">
              <a:miter lim="400000"/>
            </a:ln>
          </p:spPr>
          <p:txBody>
            <a:bodyPr lIns="50800" tIns="50800" rIns="50800" bIns="50800" anchor="ctr"/>
            <a:lstStyle/>
            <a:p>
              <a:endParaRPr lang="en-US" sz="1662" dirty="0"/>
            </a:p>
          </p:txBody>
        </p:sp>
        <p:sp>
          <p:nvSpPr>
            <p:cNvPr id="25" name="Rectangle"/>
            <p:cNvSpPr/>
            <p:nvPr userDrawn="1"/>
          </p:nvSpPr>
          <p:spPr>
            <a:xfrm>
              <a:off x="160238" y="5724425"/>
              <a:ext cx="1300907" cy="471439"/>
            </a:xfrm>
            <a:prstGeom prst="rect">
              <a:avLst/>
            </a:prstGeom>
            <a:solidFill>
              <a:srgbClr val="104D6A"/>
            </a:solidFill>
            <a:ln w="12700">
              <a:miter lim="400000"/>
            </a:ln>
          </p:spPr>
          <p:txBody>
            <a:bodyPr lIns="50800" tIns="50800" rIns="50800" bIns="50800" anchor="ctr"/>
            <a:lstStyle/>
            <a:p>
              <a:endParaRPr lang="en-US" sz="1662" dirty="0"/>
            </a:p>
          </p:txBody>
        </p:sp>
        <p:sp>
          <p:nvSpPr>
            <p:cNvPr id="26" name="Rectangle"/>
            <p:cNvSpPr/>
            <p:nvPr userDrawn="1"/>
          </p:nvSpPr>
          <p:spPr>
            <a:xfrm>
              <a:off x="160238" y="371177"/>
              <a:ext cx="1300907" cy="813396"/>
            </a:xfrm>
            <a:prstGeom prst="rect">
              <a:avLst/>
            </a:prstGeom>
            <a:solidFill>
              <a:srgbClr val="095B88"/>
            </a:solidFill>
            <a:ln w="12700">
              <a:miter lim="400000"/>
            </a:ln>
          </p:spPr>
          <p:txBody>
            <a:bodyPr lIns="50800" tIns="50800" rIns="50800" bIns="50800" anchor="ctr"/>
            <a:lstStyle/>
            <a:p>
              <a:endParaRPr lang="en-US" sz="1662" dirty="0"/>
            </a:p>
          </p:txBody>
        </p:sp>
        <p:sp>
          <p:nvSpPr>
            <p:cNvPr id="27" name="Rectangle"/>
            <p:cNvSpPr/>
            <p:nvPr userDrawn="1"/>
          </p:nvSpPr>
          <p:spPr>
            <a:xfrm>
              <a:off x="160238" y="1184572"/>
              <a:ext cx="1300907" cy="4539854"/>
            </a:xfrm>
            <a:prstGeom prst="rect">
              <a:avLst/>
            </a:prstGeom>
            <a:solidFill>
              <a:srgbClr val="016AA1"/>
            </a:solidFill>
            <a:ln w="12700">
              <a:miter lim="400000"/>
            </a:ln>
          </p:spPr>
          <p:txBody>
            <a:bodyPr lIns="50800" tIns="50800" rIns="50800" bIns="50800" anchor="ctr"/>
            <a:lstStyle/>
            <a:p>
              <a:endParaRPr lang="en-US" sz="1662" dirty="0"/>
            </a:p>
          </p:txBody>
        </p:sp>
        <p:sp>
          <p:nvSpPr>
            <p:cNvPr id="28" name="Rectangle"/>
            <p:cNvSpPr/>
            <p:nvPr userDrawn="1"/>
          </p:nvSpPr>
          <p:spPr>
            <a:xfrm>
              <a:off x="160238" y="154880"/>
              <a:ext cx="1300907" cy="216298"/>
            </a:xfrm>
            <a:prstGeom prst="rect">
              <a:avLst/>
            </a:prstGeom>
            <a:solidFill>
              <a:srgbClr val="85CDD9"/>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4237241759"/>
      </p:ext>
    </p:extLst>
  </p:cSld>
  <p:clrMapOvr>
    <a:masterClrMapping/>
  </p:clrMapOvr>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508334"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562709" y="162000"/>
            <a:ext cx="11068060" cy="704087"/>
          </a:xfrm>
        </p:spPr>
        <p:txBody>
          <a:bodyPr anchor="t"/>
          <a:lstStyle>
            <a:lvl1pPr>
              <a:defRPr>
                <a:latin typeface="Arial"/>
                <a:sym typeface="Arial"/>
              </a:defRPr>
            </a:lvl1pPr>
          </a:lstStyle>
          <a:p>
            <a:endParaRPr lang="en-US" dirty="0"/>
          </a:p>
        </p:txBody>
      </p:sp>
      <p:sp>
        <p:nvSpPr>
          <p:cNvPr id="4" name="Text Placeholder 3"/>
          <p:cNvSpPr>
            <a:spLocks noGrp="1"/>
          </p:cNvSpPr>
          <p:nvPr>
            <p:ph type="body" sz="quarter" idx="10"/>
          </p:nvPr>
        </p:nvSpPr>
        <p:spPr>
          <a:xfrm>
            <a:off x="562709" y="1508760"/>
            <a:ext cx="11068060" cy="3997304"/>
          </a:xfrm>
        </p:spPr>
        <p:txBody>
          <a:bodyPr lIns="0" tIns="0" rIns="0" bIns="0"/>
          <a:lstStyle>
            <a:lvl1pPr>
              <a:spcBef>
                <a:spcPts val="354"/>
              </a:spcBef>
              <a:defRPr>
                <a:latin typeface="Arial"/>
                <a:sym typeface="Arial"/>
              </a:defRPr>
            </a:lvl1pPr>
            <a:lvl2pPr marL="422041" indent="-212682">
              <a:spcBef>
                <a:spcPts val="354"/>
              </a:spcBef>
              <a:defRPr>
                <a:latin typeface="Arial"/>
                <a:sym typeface="Arial"/>
              </a:defRPr>
            </a:lvl2pPr>
            <a:lvl3pPr marL="844083" indent="-212682">
              <a:spcBef>
                <a:spcPts val="354"/>
              </a:spcBef>
              <a:defRPr>
                <a:latin typeface="Arial"/>
                <a:sym typeface="Arial"/>
              </a:defRPr>
            </a:lvl3pPr>
            <a:lvl4pPr marL="1269447" indent="-216005">
              <a:spcBef>
                <a:spcPts val="354"/>
              </a:spcBef>
              <a:defRPr>
                <a:latin typeface="Arial"/>
                <a:sym typeface="Arial"/>
              </a:defRPr>
            </a:lvl4pPr>
            <a:lvl5pPr marL="1900848" indent="-212682">
              <a:spcBef>
                <a:spcPts val="354"/>
              </a:spcBef>
              <a:defRPr>
                <a:latin typeface="Arial"/>
                <a:sym typeface="Aria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6"/>
          <p:cNvSpPr>
            <a:spLocks noGrp="1"/>
          </p:cNvSpPr>
          <p:nvPr>
            <p:ph type="body" sz="quarter" idx="11"/>
          </p:nvPr>
        </p:nvSpPr>
        <p:spPr>
          <a:xfrm>
            <a:off x="562709" y="863601"/>
            <a:ext cx="11068060" cy="320359"/>
          </a:xfrm>
        </p:spPr>
        <p:txBody>
          <a:bodyPr anchor="t">
            <a:normAutofit/>
          </a:bodyPr>
          <a:lstStyle>
            <a:lvl1pPr>
              <a:defRPr sz="1385" b="0">
                <a:solidFill>
                  <a:srgbClr val="73C4EF"/>
                </a:solidFill>
              </a:defRPr>
            </a:lvl1pPr>
          </a:lstStyle>
          <a:p>
            <a:pPr lvl="0"/>
            <a:endParaRPr lang="en-US" dirty="0"/>
          </a:p>
        </p:txBody>
      </p:sp>
    </p:spTree>
    <p:extLst>
      <p:ext uri="{BB962C8B-B14F-4D97-AF65-F5344CB8AC3E}">
        <p14:creationId xmlns:p14="http://schemas.microsoft.com/office/powerpoint/2010/main" val="1464564547"/>
      </p:ext>
    </p:extLst>
  </p:cSld>
  <p:clrMapOvr>
    <a:masterClrMapping/>
  </p:clrMapOvr>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userDrawn="1">
  <p:cSld name="Text with bullets">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509358" name="think-cell Slide" r:id="rId4" imgW="270" imgH="270" progId="TCLayout.ActiveDocument.1">
                  <p:embed/>
                </p:oleObj>
              </mc:Choice>
              <mc:Fallback>
                <p:oleObj name="think-cell Slide" r:id="rId4" imgW="270" imgH="270" progId="TCLayout.ActiveDocument.1">
                  <p:embed/>
                  <p:pic>
                    <p:nvPicPr>
                      <p:cNvPr id="6" name="Object 5"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ext Placeholder 7"/>
          <p:cNvSpPr>
            <a:spLocks noGrp="1"/>
          </p:cNvSpPr>
          <p:nvPr userDrawn="1">
            <p:ph type="body" sz="quarter" idx="13"/>
          </p:nvPr>
        </p:nvSpPr>
        <p:spPr>
          <a:xfrm>
            <a:off x="562709" y="1508400"/>
            <a:ext cx="11068060" cy="3997304"/>
          </a:xfrm>
          <a:prstGeom prst="rect">
            <a:avLst/>
          </a:prstGeom>
        </p:spPr>
        <p:txBody>
          <a:bodyPr lIns="0" tIns="0" rIns="0" bIns="0"/>
          <a:lstStyle>
            <a:lvl1pPr marL="159512" indent="-159512">
              <a:spcBef>
                <a:spcPts val="354"/>
              </a:spcBef>
              <a:buClr>
                <a:srgbClr val="002D72"/>
              </a:buClr>
              <a:buFont typeface="Arial" pitchFamily="34" charset="0"/>
              <a:buChar char="•"/>
              <a:tabLst/>
              <a:defRPr b="0">
                <a:latin typeface="Arial"/>
                <a:sym typeface="Arial"/>
              </a:defRPr>
            </a:lvl1pPr>
            <a:lvl2pPr marL="581553" indent="-212682">
              <a:spcBef>
                <a:spcPts val="354"/>
              </a:spcBef>
              <a:buFont typeface="Arial" pitchFamily="34" charset="0"/>
              <a:buChar char="–"/>
              <a:defRPr>
                <a:latin typeface="Arial"/>
                <a:sym typeface="Arial"/>
              </a:defRPr>
            </a:lvl2pPr>
            <a:lvl3pPr marL="993625" indent="-212682">
              <a:spcBef>
                <a:spcPts val="354"/>
              </a:spcBef>
              <a:defRPr>
                <a:latin typeface="Arial"/>
                <a:sym typeface="Arial"/>
              </a:defRPr>
            </a:lvl3pPr>
            <a:lvl4pPr marL="1425636" indent="-212682">
              <a:spcBef>
                <a:spcPts val="354"/>
              </a:spcBef>
              <a:defRPr>
                <a:latin typeface="Arial"/>
                <a:sym typeface="Arial"/>
              </a:defRPr>
            </a:lvl4pPr>
            <a:lvl5pPr marL="1900848" indent="-212682">
              <a:spcBef>
                <a:spcPts val="354"/>
              </a:spcBef>
              <a:defRPr>
                <a:latin typeface="Arial"/>
                <a:sym typeface="Aria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itle 1"/>
          <p:cNvSpPr>
            <a:spLocks noGrp="1"/>
          </p:cNvSpPr>
          <p:nvPr>
            <p:ph type="title"/>
          </p:nvPr>
        </p:nvSpPr>
        <p:spPr>
          <a:xfrm>
            <a:off x="562709" y="162000"/>
            <a:ext cx="11068060" cy="704087"/>
          </a:xfrm>
        </p:spPr>
        <p:txBody>
          <a:bodyPr anchor="t"/>
          <a:lstStyle>
            <a:lvl1pPr>
              <a:defRPr>
                <a:latin typeface="Arial"/>
                <a:sym typeface="Arial"/>
              </a:defRPr>
            </a:lvl1pPr>
          </a:lstStyle>
          <a:p>
            <a:endParaRPr lang="en-US" dirty="0"/>
          </a:p>
        </p:txBody>
      </p:sp>
      <p:sp>
        <p:nvSpPr>
          <p:cNvPr id="8" name="Text Placeholder 6"/>
          <p:cNvSpPr>
            <a:spLocks noGrp="1"/>
          </p:cNvSpPr>
          <p:nvPr>
            <p:ph type="body" sz="quarter" idx="11"/>
          </p:nvPr>
        </p:nvSpPr>
        <p:spPr>
          <a:xfrm>
            <a:off x="562709" y="863601"/>
            <a:ext cx="11068060" cy="320359"/>
          </a:xfrm>
        </p:spPr>
        <p:txBody>
          <a:bodyPr anchor="t">
            <a:normAutofit/>
          </a:bodyPr>
          <a:lstStyle>
            <a:lvl1pPr>
              <a:defRPr sz="1385" b="0">
                <a:solidFill>
                  <a:srgbClr val="73C4EF"/>
                </a:solidFill>
              </a:defRPr>
            </a:lvl1pPr>
          </a:lstStyle>
          <a:p>
            <a:pPr lvl="0"/>
            <a:endParaRPr lang="en-US" dirty="0"/>
          </a:p>
        </p:txBody>
      </p:sp>
    </p:spTree>
    <p:extLst>
      <p:ext uri="{BB962C8B-B14F-4D97-AF65-F5344CB8AC3E}">
        <p14:creationId xmlns:p14="http://schemas.microsoft.com/office/powerpoint/2010/main" val="3220676165"/>
      </p:ext>
    </p:extLst>
  </p:cSld>
  <p:clrMapOvr>
    <a:masterClrMapping/>
  </p:clrMapOvr>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510382" name="think-cell Slide" r:id="rId4" imgW="270" imgH="270" progId="TCLayout.ActiveDocument.1">
                  <p:embed/>
                </p:oleObj>
              </mc:Choice>
              <mc:Fallback>
                <p:oleObj name="think-cell Slide" r:id="rId4" imgW="270" imgH="270" progId="TCLayout.ActiveDocument.1">
                  <p:embed/>
                  <p:pic>
                    <p:nvPicPr>
                      <p:cNvPr id="7" name="Object 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le 1"/>
          <p:cNvSpPr>
            <a:spLocks noGrp="1"/>
          </p:cNvSpPr>
          <p:nvPr>
            <p:ph type="title"/>
          </p:nvPr>
        </p:nvSpPr>
        <p:spPr>
          <a:xfrm>
            <a:off x="562709" y="162000"/>
            <a:ext cx="11068060" cy="704087"/>
          </a:xfrm>
        </p:spPr>
        <p:txBody>
          <a:bodyPr anchor="t"/>
          <a:lstStyle>
            <a:lvl1pPr>
              <a:defRPr>
                <a:latin typeface="Arial"/>
                <a:sym typeface="Arial"/>
              </a:defRPr>
            </a:lvl1pPr>
          </a:lstStyle>
          <a:p>
            <a:endParaRPr lang="en-US" dirty="0"/>
          </a:p>
        </p:txBody>
      </p:sp>
      <p:sp>
        <p:nvSpPr>
          <p:cNvPr id="6" name="Text Placeholder 6"/>
          <p:cNvSpPr>
            <a:spLocks noGrp="1"/>
          </p:cNvSpPr>
          <p:nvPr>
            <p:ph type="body" sz="quarter" idx="11"/>
          </p:nvPr>
        </p:nvSpPr>
        <p:spPr>
          <a:xfrm>
            <a:off x="562709" y="863601"/>
            <a:ext cx="11068060" cy="320359"/>
          </a:xfrm>
        </p:spPr>
        <p:txBody>
          <a:bodyPr anchor="t">
            <a:normAutofit/>
          </a:bodyPr>
          <a:lstStyle>
            <a:lvl1pPr>
              <a:defRPr sz="1385" b="0">
                <a:solidFill>
                  <a:srgbClr val="73C4EF"/>
                </a:solidFill>
              </a:defRPr>
            </a:lvl1pPr>
          </a:lstStyle>
          <a:p>
            <a:pPr lvl="0"/>
            <a:endParaRPr lang="en-US" dirty="0"/>
          </a:p>
        </p:txBody>
      </p:sp>
    </p:spTree>
    <p:extLst>
      <p:ext uri="{BB962C8B-B14F-4D97-AF65-F5344CB8AC3E}">
        <p14:creationId xmlns:p14="http://schemas.microsoft.com/office/powerpoint/2010/main" val="634590851"/>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IMAGEN FULL">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pPr>
              <a:defRPr/>
            </a:pPr>
            <a:fld id="{410BB04A-6CB2-A14D-B6AF-586C8C166ED7}" type="slidenum">
              <a:rPr lang="en-US">
                <a:solidFill>
                  <a:srgbClr val="53565A"/>
                </a:solidFill>
              </a:rPr>
              <a:pPr>
                <a:defRPr/>
              </a:pPr>
              <a:t>‹#›</a:t>
            </a:fld>
            <a:endParaRPr lang="en-US">
              <a:solidFill>
                <a:srgbClr val="53565A"/>
              </a:solidFill>
            </a:endParaRPr>
          </a:p>
        </p:txBody>
      </p:sp>
      <p:sp>
        <p:nvSpPr>
          <p:cNvPr id="4" name="Date Placeholder 3"/>
          <p:cNvSpPr>
            <a:spLocks noGrp="1"/>
          </p:cNvSpPr>
          <p:nvPr>
            <p:ph type="dt" sz="half" idx="11"/>
          </p:nvPr>
        </p:nvSpPr>
        <p:spPr/>
        <p:txBody>
          <a:bodyPr/>
          <a:lstStyle/>
          <a:p>
            <a:pPr>
              <a:defRPr/>
            </a:pPr>
            <a:r>
              <a:rPr lang="en-US">
                <a:solidFill>
                  <a:srgbClr val="53565A"/>
                </a:solidFill>
              </a:rPr>
              <a:t>MM.DD.YY</a:t>
            </a:r>
          </a:p>
        </p:txBody>
      </p:sp>
      <p:sp>
        <p:nvSpPr>
          <p:cNvPr id="5" name="Footer Placeholder 4"/>
          <p:cNvSpPr>
            <a:spLocks noGrp="1"/>
          </p:cNvSpPr>
          <p:nvPr>
            <p:ph type="ftr" sz="quarter" idx="12"/>
          </p:nvPr>
        </p:nvSpPr>
        <p:spPr/>
        <p:txBody>
          <a:bodyPr/>
          <a:lstStyle/>
          <a:p>
            <a:pPr>
              <a:defRPr/>
            </a:pPr>
            <a:r>
              <a:rPr lang="en-US">
                <a:solidFill>
                  <a:srgbClr val="53565A"/>
                </a:solidFill>
              </a:rPr>
              <a:t>Presentation Title</a:t>
            </a:r>
          </a:p>
        </p:txBody>
      </p:sp>
      <p:sp>
        <p:nvSpPr>
          <p:cNvPr id="10" name="Picture Placeholder 9"/>
          <p:cNvSpPr>
            <a:spLocks noGrp="1"/>
          </p:cNvSpPr>
          <p:nvPr>
            <p:ph type="pic" sz="quarter" idx="13"/>
          </p:nvPr>
        </p:nvSpPr>
        <p:spPr>
          <a:xfrm>
            <a:off x="0" y="0"/>
            <a:ext cx="12192000" cy="6858000"/>
          </a:xfrm>
        </p:spPr>
        <p:txBody>
          <a:bodyPr/>
          <a:lstStyle/>
          <a:p>
            <a:endParaRPr lang="en-US" dirty="0"/>
          </a:p>
        </p:txBody>
      </p:sp>
      <p:sp>
        <p:nvSpPr>
          <p:cNvPr id="24" name="Rounded Rectangle 23"/>
          <p:cNvSpPr/>
          <p:nvPr userDrawn="1"/>
        </p:nvSpPr>
        <p:spPr bwMode="auto">
          <a:xfrm>
            <a:off x="-288755" y="234065"/>
            <a:ext cx="12199241" cy="1342366"/>
          </a:xfrm>
          <a:prstGeom prst="roundRect">
            <a:avLst/>
          </a:prstGeom>
          <a:solidFill>
            <a:schemeClr val="bg1">
              <a:alpha val="30000"/>
            </a:schemeClr>
          </a:solidFill>
          <a:ln w="12700" cap="flat" cmpd="sng" algn="ctr">
            <a:no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txBody>
          <a:bodyPr vert="horz" wrap="none" lIns="91440" tIns="45720" rIns="91440" bIns="45720" numCol="1" rtlCol="0" anchor="ctr" anchorCtr="0" compatLnSpc="1">
            <a:prstTxWarp prst="textNoShape">
              <a:avLst/>
            </a:prstTxWarp>
          </a:bodyPr>
          <a:lstStyle/>
          <a:p>
            <a:pPr algn="ctr" defTabSz="914400" fontAlgn="base">
              <a:spcBef>
                <a:spcPct val="0"/>
              </a:spcBef>
              <a:spcAft>
                <a:spcPct val="0"/>
              </a:spcAft>
            </a:pPr>
            <a:endParaRPr lang="en-US" sz="2400">
              <a:solidFill>
                <a:srgbClr val="000000"/>
              </a:solidFill>
            </a:endParaRPr>
          </a:p>
        </p:txBody>
      </p:sp>
      <p:sp>
        <p:nvSpPr>
          <p:cNvPr id="26" name="Text Placeholder 14"/>
          <p:cNvSpPr>
            <a:spLocks noGrp="1"/>
          </p:cNvSpPr>
          <p:nvPr>
            <p:ph type="body" sz="quarter" idx="14"/>
          </p:nvPr>
        </p:nvSpPr>
        <p:spPr>
          <a:xfrm>
            <a:off x="795869" y="411960"/>
            <a:ext cx="11114617" cy="418223"/>
          </a:xfrm>
        </p:spPr>
        <p:txBody>
          <a:bodyPr/>
          <a:lstStyle>
            <a:lvl1pPr marL="0" indent="0">
              <a:buNone/>
              <a:defRPr sz="2400">
                <a:solidFill>
                  <a:srgbClr val="004785"/>
                </a:solidFill>
              </a:defRPr>
            </a:lvl1pPr>
            <a:lvl2pPr marL="403225" indent="0">
              <a:buNone/>
              <a:defRPr sz="2400">
                <a:solidFill>
                  <a:srgbClr val="004785"/>
                </a:solidFill>
              </a:defRPr>
            </a:lvl2pPr>
            <a:lvl3pPr marL="747712" indent="0">
              <a:buNone/>
              <a:defRPr sz="2400">
                <a:solidFill>
                  <a:srgbClr val="004785"/>
                </a:solidFill>
              </a:defRPr>
            </a:lvl3pPr>
            <a:lvl4pPr marL="1089025" indent="0">
              <a:buNone/>
              <a:defRPr sz="2400">
                <a:solidFill>
                  <a:srgbClr val="004785"/>
                </a:solidFill>
              </a:defRPr>
            </a:lvl4pPr>
            <a:lvl5pPr marL="1427162" indent="0">
              <a:buNone/>
              <a:defRPr sz="2400">
                <a:solidFill>
                  <a:srgbClr val="004785"/>
                </a:solidFill>
              </a:defRPr>
            </a:lvl5pPr>
          </a:lstStyle>
          <a:p>
            <a:pPr lvl="0"/>
            <a:r>
              <a:rPr lang="en-US" dirty="0"/>
              <a:t>Click to edit Master text styles</a:t>
            </a:r>
          </a:p>
        </p:txBody>
      </p:sp>
      <p:sp>
        <p:nvSpPr>
          <p:cNvPr id="27" name="Text Placeholder 14"/>
          <p:cNvSpPr>
            <a:spLocks noGrp="1"/>
          </p:cNvSpPr>
          <p:nvPr>
            <p:ph type="body" sz="quarter" idx="15"/>
          </p:nvPr>
        </p:nvSpPr>
        <p:spPr>
          <a:xfrm>
            <a:off x="795869" y="905249"/>
            <a:ext cx="11114617" cy="418223"/>
          </a:xfrm>
        </p:spPr>
        <p:txBody>
          <a:bodyPr/>
          <a:lstStyle>
            <a:lvl1pPr marL="0" indent="0">
              <a:buNone/>
              <a:defRPr sz="2400">
                <a:solidFill>
                  <a:srgbClr val="00B3F0"/>
                </a:solidFill>
              </a:defRPr>
            </a:lvl1pPr>
            <a:lvl2pPr marL="403225" indent="0">
              <a:buNone/>
              <a:defRPr sz="2400">
                <a:solidFill>
                  <a:srgbClr val="004785"/>
                </a:solidFill>
              </a:defRPr>
            </a:lvl2pPr>
            <a:lvl3pPr marL="747712" indent="0">
              <a:buNone/>
              <a:defRPr sz="2400">
                <a:solidFill>
                  <a:srgbClr val="004785"/>
                </a:solidFill>
              </a:defRPr>
            </a:lvl3pPr>
            <a:lvl4pPr marL="1089025" indent="0">
              <a:buNone/>
              <a:defRPr sz="2400">
                <a:solidFill>
                  <a:srgbClr val="004785"/>
                </a:solidFill>
              </a:defRPr>
            </a:lvl4pPr>
            <a:lvl5pPr marL="1427162" indent="0">
              <a:buNone/>
              <a:defRPr sz="2400">
                <a:solidFill>
                  <a:srgbClr val="004785"/>
                </a:solidFill>
              </a:defRPr>
            </a:lvl5pPr>
          </a:lstStyle>
          <a:p>
            <a:pPr lvl="0"/>
            <a:r>
              <a:rPr lang="en-US" dirty="0"/>
              <a:t>Click to edit Master text styles</a:t>
            </a:r>
          </a:p>
        </p:txBody>
      </p:sp>
    </p:spTree>
    <p:extLst>
      <p:ext uri="{BB962C8B-B14F-4D97-AF65-F5344CB8AC3E}">
        <p14:creationId xmlns:p14="http://schemas.microsoft.com/office/powerpoint/2010/main" val="2748838024"/>
      </p:ext>
    </p:extLst>
  </p:cSld>
  <p:clrMapOvr>
    <a:masterClrMapping/>
  </p:clrMapOvr>
</p:sldLayout>
</file>

<file path=ppt/slideLayouts/slideLayout29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511406" name="think-cell Slide" r:id="rId4" imgW="270" imgH="270" progId="TCLayout.ActiveDocument.1">
                  <p:embed/>
                </p:oleObj>
              </mc:Choice>
              <mc:Fallback>
                <p:oleObj name="think-cell Slide" r:id="rId4" imgW="270" imgH="270" progId="TCLayout.ActiveDocument.1">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1922182103"/>
      </p:ext>
    </p:extLst>
  </p:cSld>
  <p:clrMapOvr>
    <a:masterClrMapping/>
  </p:clrMapOvr>
</p:sldLayout>
</file>

<file path=ppt/slideLayouts/slideLayout291.xml><?xml version="1.0" encoding="utf-8"?>
<p:sldLayout xmlns:a="http://schemas.openxmlformats.org/drawingml/2006/main" xmlns:r="http://schemas.openxmlformats.org/officeDocument/2006/relationships" xmlns:p="http://schemas.openxmlformats.org/presentationml/2006/main" type="titleOnly">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4154176241"/>
      </p:ext>
    </p:extLst>
  </p:cSld>
  <p:clrMapOvr>
    <a:masterClrMapping/>
  </p:clrMapOvr>
</p:sldLayout>
</file>

<file path=ppt/slideLayouts/slideLayout292.xml><?xml version="1.0" encoding="utf-8"?>
<p:sldLayout xmlns:a="http://schemas.openxmlformats.org/drawingml/2006/main" xmlns:r="http://schemas.openxmlformats.org/officeDocument/2006/relationships" xmlns:p="http://schemas.openxmlformats.org/presentationml/2006/main" userDrawn="1">
  <p:cSld name="4_Custom Layout">
    <p:spTree>
      <p:nvGrpSpPr>
        <p:cNvPr id="1" name=""/>
        <p:cNvGrpSpPr/>
        <p:nvPr/>
      </p:nvGrpSpPr>
      <p:grpSpPr>
        <a:xfrm>
          <a:off x="0" y="0"/>
          <a:ext cx="0" cy="0"/>
          <a:chOff x="0" y="0"/>
          <a:chExt cx="0" cy="0"/>
        </a:xfrm>
      </p:grpSpPr>
      <p:sp>
        <p:nvSpPr>
          <p:cNvPr id="14" name="Rectangle 13"/>
          <p:cNvSpPr/>
          <p:nvPr userDrawn="1"/>
        </p:nvSpPr>
        <p:spPr>
          <a:xfrm>
            <a:off x="226611" y="6608"/>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grpSp>
        <p:nvGrpSpPr>
          <p:cNvPr id="15" name="Group 14"/>
          <p:cNvGrpSpPr/>
          <p:nvPr userDrawn="1"/>
        </p:nvGrpSpPr>
        <p:grpSpPr>
          <a:xfrm flipH="1">
            <a:off x="226609" y="98856"/>
            <a:ext cx="1203763" cy="6096001"/>
            <a:chOff x="160238" y="148877"/>
            <a:chExt cx="1300907" cy="8783936"/>
          </a:xfrm>
        </p:grpSpPr>
        <p:sp>
          <p:nvSpPr>
            <p:cNvPr id="16" name="Rectangle"/>
            <p:cNvSpPr/>
            <p:nvPr userDrawn="1"/>
          </p:nvSpPr>
          <p:spPr>
            <a:xfrm>
              <a:off x="160238" y="7811988"/>
              <a:ext cx="1300907" cy="1120825"/>
            </a:xfrm>
            <a:prstGeom prst="rect">
              <a:avLst/>
            </a:prstGeom>
            <a:solidFill>
              <a:srgbClr val="C4297F"/>
            </a:solidFill>
            <a:ln w="12700">
              <a:miter lim="400000"/>
            </a:ln>
          </p:spPr>
          <p:txBody>
            <a:bodyPr lIns="50800" tIns="50800" rIns="50800" bIns="50800" anchor="ctr"/>
            <a:lstStyle/>
            <a:p>
              <a:endParaRPr sz="1800">
                <a:solidFill>
                  <a:prstClr val="black"/>
                </a:solidFill>
              </a:endParaRPr>
            </a:p>
          </p:txBody>
        </p:sp>
        <p:sp>
          <p:nvSpPr>
            <p:cNvPr id="17" name="Rectangle"/>
            <p:cNvSpPr/>
            <p:nvPr userDrawn="1"/>
          </p:nvSpPr>
          <p:spPr>
            <a:xfrm>
              <a:off x="160238" y="7090072"/>
              <a:ext cx="1300907" cy="721917"/>
            </a:xfrm>
            <a:prstGeom prst="rect">
              <a:avLst/>
            </a:prstGeom>
            <a:solidFill>
              <a:srgbClr val="7C1A4F"/>
            </a:solidFill>
            <a:ln w="12700">
              <a:miter lim="400000"/>
            </a:ln>
          </p:spPr>
          <p:txBody>
            <a:bodyPr lIns="50800" tIns="50800" rIns="50800" bIns="50800" anchor="ctr"/>
            <a:lstStyle/>
            <a:p>
              <a:endParaRPr sz="1800">
                <a:solidFill>
                  <a:prstClr val="black"/>
                </a:solidFill>
              </a:endParaRPr>
            </a:p>
          </p:txBody>
        </p:sp>
        <p:sp>
          <p:nvSpPr>
            <p:cNvPr id="18" name="Rectangle"/>
            <p:cNvSpPr/>
            <p:nvPr userDrawn="1"/>
          </p:nvSpPr>
          <p:spPr>
            <a:xfrm>
              <a:off x="160238" y="6877694"/>
              <a:ext cx="1300907" cy="212379"/>
            </a:xfrm>
            <a:prstGeom prst="rect">
              <a:avLst/>
            </a:prstGeom>
            <a:solidFill>
              <a:srgbClr val="F79824"/>
            </a:solidFill>
            <a:ln w="12700">
              <a:miter lim="400000"/>
            </a:ln>
          </p:spPr>
          <p:txBody>
            <a:bodyPr lIns="50800" tIns="50800" rIns="50800" bIns="50800" anchor="ctr"/>
            <a:lstStyle/>
            <a:p>
              <a:endParaRPr sz="1800">
                <a:solidFill>
                  <a:prstClr val="black"/>
                </a:solidFill>
              </a:endParaRPr>
            </a:p>
          </p:txBody>
        </p:sp>
        <p:sp>
          <p:nvSpPr>
            <p:cNvPr id="19" name="Rectangle"/>
            <p:cNvSpPr/>
            <p:nvPr userDrawn="1"/>
          </p:nvSpPr>
          <p:spPr>
            <a:xfrm>
              <a:off x="160238" y="5875535"/>
              <a:ext cx="1300907" cy="1002160"/>
            </a:xfrm>
            <a:prstGeom prst="rect">
              <a:avLst/>
            </a:prstGeom>
            <a:solidFill>
              <a:srgbClr val="EE4329"/>
            </a:solidFill>
            <a:ln w="12700">
              <a:miter lim="400000"/>
            </a:ln>
          </p:spPr>
          <p:txBody>
            <a:bodyPr lIns="50800" tIns="50800" rIns="50800" bIns="50800" anchor="ctr"/>
            <a:lstStyle/>
            <a:p>
              <a:endParaRPr sz="1800">
                <a:solidFill>
                  <a:prstClr val="black"/>
                </a:solidFill>
              </a:endParaRPr>
            </a:p>
          </p:txBody>
        </p:sp>
        <p:sp>
          <p:nvSpPr>
            <p:cNvPr id="20" name="Rectangle"/>
            <p:cNvSpPr/>
            <p:nvPr userDrawn="1"/>
          </p:nvSpPr>
          <p:spPr>
            <a:xfrm>
              <a:off x="160238" y="3874095"/>
              <a:ext cx="1300907" cy="2001441"/>
            </a:xfrm>
            <a:prstGeom prst="rect">
              <a:avLst/>
            </a:prstGeom>
            <a:solidFill>
              <a:srgbClr val="F36F26"/>
            </a:solidFill>
            <a:ln w="12700">
              <a:miter lim="400000"/>
            </a:ln>
          </p:spPr>
          <p:txBody>
            <a:bodyPr lIns="50800" tIns="50800" rIns="50800" bIns="50800" anchor="ctr"/>
            <a:lstStyle/>
            <a:p>
              <a:endParaRPr sz="1800">
                <a:solidFill>
                  <a:prstClr val="black"/>
                </a:solidFill>
              </a:endParaRPr>
            </a:p>
          </p:txBody>
        </p:sp>
        <p:sp>
          <p:nvSpPr>
            <p:cNvPr id="21" name="Rectangle"/>
            <p:cNvSpPr/>
            <p:nvPr userDrawn="1"/>
          </p:nvSpPr>
          <p:spPr>
            <a:xfrm>
              <a:off x="160238" y="3154213"/>
              <a:ext cx="1300907" cy="721867"/>
            </a:xfrm>
            <a:prstGeom prst="rect">
              <a:avLst/>
            </a:prstGeom>
            <a:solidFill>
              <a:srgbClr val="016AA1"/>
            </a:solidFill>
            <a:ln w="12700">
              <a:miter lim="400000"/>
            </a:ln>
          </p:spPr>
          <p:txBody>
            <a:bodyPr lIns="50800" tIns="50800" rIns="50800" bIns="50800" anchor="ctr"/>
            <a:lstStyle/>
            <a:p>
              <a:endParaRPr sz="1800">
                <a:solidFill>
                  <a:prstClr val="black"/>
                </a:solidFill>
              </a:endParaRPr>
            </a:p>
          </p:txBody>
        </p:sp>
        <p:sp>
          <p:nvSpPr>
            <p:cNvPr id="22" name="Rectangle"/>
            <p:cNvSpPr/>
            <p:nvPr userDrawn="1"/>
          </p:nvSpPr>
          <p:spPr>
            <a:xfrm>
              <a:off x="160238" y="148877"/>
              <a:ext cx="1300907" cy="3005337"/>
            </a:xfrm>
            <a:prstGeom prst="rect">
              <a:avLst/>
            </a:prstGeom>
            <a:solidFill>
              <a:srgbClr val="86CBD8"/>
            </a:solidFill>
            <a:ln w="12700">
              <a:miter lim="400000"/>
            </a:ln>
          </p:spPr>
          <p:txBody>
            <a:bodyPr lIns="50800" tIns="50800" rIns="50800" bIns="50800" anchor="ctr"/>
            <a:lstStyle/>
            <a:p>
              <a:endParaRPr sz="1800">
                <a:solidFill>
                  <a:prstClr val="black"/>
                </a:solidFill>
              </a:endParaRPr>
            </a:p>
          </p:txBody>
        </p:sp>
      </p:grpSp>
    </p:spTree>
    <p:extLst>
      <p:ext uri="{BB962C8B-B14F-4D97-AF65-F5344CB8AC3E}">
        <p14:creationId xmlns:p14="http://schemas.microsoft.com/office/powerpoint/2010/main" val="3127307165"/>
      </p:ext>
    </p:extLst>
  </p:cSld>
  <p:clrMapOvr>
    <a:masterClrMapping/>
  </p:clrMapOvr>
</p:sldLayout>
</file>

<file path=ppt/slideLayouts/slideLayout293.xml><?xml version="1.0" encoding="utf-8"?>
<p:sldLayout xmlns:a="http://schemas.openxmlformats.org/drawingml/2006/main" xmlns:r="http://schemas.openxmlformats.org/officeDocument/2006/relationships" xmlns:p="http://schemas.openxmlformats.org/presentationml/2006/main" userDrawn="1">
  <p:cSld name="Separador1">
    <p:spTree>
      <p:nvGrpSpPr>
        <p:cNvPr id="1" name=""/>
        <p:cNvGrpSpPr/>
        <p:nvPr/>
      </p:nvGrpSpPr>
      <p:grpSpPr>
        <a:xfrm>
          <a:off x="0" y="0"/>
          <a:ext cx="0" cy="0"/>
          <a:chOff x="0" y="0"/>
          <a:chExt cx="0" cy="0"/>
        </a:xfrm>
      </p:grpSpPr>
      <p:sp>
        <p:nvSpPr>
          <p:cNvPr id="11" name="Rectangle 10"/>
          <p:cNvSpPr/>
          <p:nvPr userDrawn="1"/>
        </p:nvSpPr>
        <p:spPr>
          <a:xfrm>
            <a:off x="226611" y="6608"/>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grpSp>
        <p:nvGrpSpPr>
          <p:cNvPr id="19" name="Group 18"/>
          <p:cNvGrpSpPr/>
          <p:nvPr userDrawn="1"/>
        </p:nvGrpSpPr>
        <p:grpSpPr>
          <a:xfrm>
            <a:off x="226614" y="98854"/>
            <a:ext cx="1204588" cy="6096000"/>
            <a:chOff x="160238" y="154880"/>
            <a:chExt cx="1300907" cy="8777933"/>
          </a:xfrm>
        </p:grpSpPr>
        <p:sp>
          <p:nvSpPr>
            <p:cNvPr id="12" name="Rectangle"/>
            <p:cNvSpPr/>
            <p:nvPr userDrawn="1"/>
          </p:nvSpPr>
          <p:spPr>
            <a:xfrm>
              <a:off x="160238" y="8398371"/>
              <a:ext cx="1300907" cy="534442"/>
            </a:xfrm>
            <a:prstGeom prst="rect">
              <a:avLst/>
            </a:prstGeom>
            <a:solidFill>
              <a:srgbClr val="85CDD9"/>
            </a:solidFill>
            <a:ln w="12700">
              <a:miter lim="400000"/>
            </a:ln>
          </p:spPr>
          <p:txBody>
            <a:bodyPr lIns="50800" tIns="50800" rIns="50800" bIns="50800" anchor="ctr"/>
            <a:lstStyle/>
            <a:p>
              <a:endParaRPr sz="1800">
                <a:solidFill>
                  <a:prstClr val="black"/>
                </a:solidFill>
              </a:endParaRPr>
            </a:p>
          </p:txBody>
        </p:sp>
        <p:sp>
          <p:nvSpPr>
            <p:cNvPr id="13" name="Rectangle"/>
            <p:cNvSpPr/>
            <p:nvPr userDrawn="1"/>
          </p:nvSpPr>
          <p:spPr>
            <a:xfrm>
              <a:off x="160238" y="8183364"/>
              <a:ext cx="1300907" cy="215008"/>
            </a:xfrm>
            <a:prstGeom prst="rect">
              <a:avLst/>
            </a:prstGeom>
            <a:solidFill>
              <a:srgbClr val="4D89AD"/>
            </a:solidFill>
            <a:ln w="12700">
              <a:miter lim="400000"/>
            </a:ln>
          </p:spPr>
          <p:txBody>
            <a:bodyPr lIns="50800" tIns="50800" rIns="50800" bIns="50800" anchor="ctr"/>
            <a:lstStyle/>
            <a:p>
              <a:endParaRPr sz="1800">
                <a:solidFill>
                  <a:prstClr val="black"/>
                </a:solidFill>
              </a:endParaRPr>
            </a:p>
          </p:txBody>
        </p:sp>
        <p:sp>
          <p:nvSpPr>
            <p:cNvPr id="14" name="Rectangle"/>
            <p:cNvSpPr/>
            <p:nvPr userDrawn="1"/>
          </p:nvSpPr>
          <p:spPr>
            <a:xfrm>
              <a:off x="160238" y="6195863"/>
              <a:ext cx="1300907" cy="1987502"/>
            </a:xfrm>
            <a:prstGeom prst="rect">
              <a:avLst/>
            </a:prstGeom>
            <a:solidFill>
              <a:srgbClr val="2591C0"/>
            </a:solidFill>
            <a:ln w="12700">
              <a:miter lim="400000"/>
            </a:ln>
          </p:spPr>
          <p:txBody>
            <a:bodyPr lIns="50800" tIns="50800" rIns="50800" bIns="50800" anchor="ctr"/>
            <a:lstStyle/>
            <a:p>
              <a:endParaRPr sz="1800">
                <a:solidFill>
                  <a:prstClr val="black"/>
                </a:solidFill>
              </a:endParaRPr>
            </a:p>
          </p:txBody>
        </p:sp>
        <p:sp>
          <p:nvSpPr>
            <p:cNvPr id="15" name="Rectangle"/>
            <p:cNvSpPr/>
            <p:nvPr userDrawn="1"/>
          </p:nvSpPr>
          <p:spPr>
            <a:xfrm>
              <a:off x="160238" y="5724425"/>
              <a:ext cx="1300907" cy="471439"/>
            </a:xfrm>
            <a:prstGeom prst="rect">
              <a:avLst/>
            </a:prstGeom>
            <a:solidFill>
              <a:srgbClr val="104D6A"/>
            </a:solidFill>
            <a:ln w="12700">
              <a:miter lim="400000"/>
            </a:ln>
          </p:spPr>
          <p:txBody>
            <a:bodyPr lIns="50800" tIns="50800" rIns="50800" bIns="50800" anchor="ctr"/>
            <a:lstStyle/>
            <a:p>
              <a:endParaRPr sz="1800">
                <a:solidFill>
                  <a:prstClr val="black"/>
                </a:solidFill>
              </a:endParaRPr>
            </a:p>
          </p:txBody>
        </p:sp>
        <p:sp>
          <p:nvSpPr>
            <p:cNvPr id="16" name="Rectangle"/>
            <p:cNvSpPr/>
            <p:nvPr userDrawn="1"/>
          </p:nvSpPr>
          <p:spPr>
            <a:xfrm>
              <a:off x="160238" y="371177"/>
              <a:ext cx="1300907" cy="813396"/>
            </a:xfrm>
            <a:prstGeom prst="rect">
              <a:avLst/>
            </a:prstGeom>
            <a:solidFill>
              <a:srgbClr val="095B88"/>
            </a:solidFill>
            <a:ln w="12700">
              <a:miter lim="400000"/>
            </a:ln>
          </p:spPr>
          <p:txBody>
            <a:bodyPr lIns="50800" tIns="50800" rIns="50800" bIns="50800" anchor="ctr"/>
            <a:lstStyle/>
            <a:p>
              <a:endParaRPr sz="1800">
                <a:solidFill>
                  <a:prstClr val="black"/>
                </a:solidFill>
              </a:endParaRPr>
            </a:p>
          </p:txBody>
        </p:sp>
        <p:sp>
          <p:nvSpPr>
            <p:cNvPr id="17" name="Rectangle"/>
            <p:cNvSpPr/>
            <p:nvPr userDrawn="1"/>
          </p:nvSpPr>
          <p:spPr>
            <a:xfrm>
              <a:off x="160238" y="1184572"/>
              <a:ext cx="1300907" cy="4539854"/>
            </a:xfrm>
            <a:prstGeom prst="rect">
              <a:avLst/>
            </a:prstGeom>
            <a:solidFill>
              <a:srgbClr val="016AA1"/>
            </a:solidFill>
            <a:ln w="12700">
              <a:miter lim="400000"/>
            </a:ln>
          </p:spPr>
          <p:txBody>
            <a:bodyPr lIns="50800" tIns="50800" rIns="50800" bIns="50800" anchor="ctr"/>
            <a:lstStyle/>
            <a:p>
              <a:endParaRPr sz="1800">
                <a:solidFill>
                  <a:prstClr val="black"/>
                </a:solidFill>
              </a:endParaRPr>
            </a:p>
          </p:txBody>
        </p:sp>
        <p:sp>
          <p:nvSpPr>
            <p:cNvPr id="18" name="Rectangle"/>
            <p:cNvSpPr/>
            <p:nvPr userDrawn="1"/>
          </p:nvSpPr>
          <p:spPr>
            <a:xfrm>
              <a:off x="160238" y="154880"/>
              <a:ext cx="1300907" cy="216298"/>
            </a:xfrm>
            <a:prstGeom prst="rect">
              <a:avLst/>
            </a:prstGeom>
            <a:solidFill>
              <a:srgbClr val="85CDD9"/>
            </a:solidFill>
            <a:ln w="12700">
              <a:miter lim="400000"/>
            </a:ln>
          </p:spPr>
          <p:txBody>
            <a:bodyPr lIns="50800" tIns="50800" rIns="50800" bIns="50800" anchor="ctr"/>
            <a:lstStyle/>
            <a:p>
              <a:endParaRPr sz="1800">
                <a:solidFill>
                  <a:prstClr val="black"/>
                </a:solidFill>
              </a:endParaRPr>
            </a:p>
          </p:txBody>
        </p:sp>
      </p:grpSp>
    </p:spTree>
    <p:extLst>
      <p:ext uri="{BB962C8B-B14F-4D97-AF65-F5344CB8AC3E}">
        <p14:creationId xmlns:p14="http://schemas.microsoft.com/office/powerpoint/2010/main" val="2210911376"/>
      </p:ext>
    </p:extLst>
  </p:cSld>
  <p:clrMapOvr>
    <a:masterClrMapping/>
  </p:clrMapOvr>
</p:sldLayout>
</file>

<file path=ppt/slideLayouts/slideLayout294.xml><?xml version="1.0" encoding="utf-8"?>
<p:sldLayout xmlns:a="http://schemas.openxmlformats.org/drawingml/2006/main" xmlns:r="http://schemas.openxmlformats.org/officeDocument/2006/relationships" xmlns:p="http://schemas.openxmlformats.org/presentationml/2006/main" showMasterSp="0" preserve="1" userDrawn="1">
  <p:cSld name="Cover page">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736652"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3" descr="Picture 3"/>
          <p:cNvPicPr>
            <a:picLocks noChangeAspect="1"/>
          </p:cNvPicPr>
          <p:nvPr userDrawn="1"/>
        </p:nvPicPr>
        <p:blipFill>
          <a:blip r:embed="rId6" cstate="print"/>
          <a:srcRect r="91525"/>
          <a:stretch>
            <a:fillRect/>
          </a:stretch>
        </p:blipFill>
        <p:spPr>
          <a:xfrm>
            <a:off x="0" y="0"/>
            <a:ext cx="1376613" cy="6858000"/>
          </a:xfrm>
          <a:prstGeom prst="rect">
            <a:avLst/>
          </a:prstGeom>
          <a:ln w="12700">
            <a:miter lim="400000"/>
          </a:ln>
        </p:spPr>
      </p:pic>
      <p:sp>
        <p:nvSpPr>
          <p:cNvPr id="18" name="Text Placeholder 17"/>
          <p:cNvSpPr>
            <a:spLocks noGrp="1"/>
          </p:cNvSpPr>
          <p:nvPr>
            <p:ph type="body" sz="quarter" idx="10" hasCustomPrompt="1"/>
          </p:nvPr>
        </p:nvSpPr>
        <p:spPr>
          <a:xfrm>
            <a:off x="1744393" y="722376"/>
            <a:ext cx="8924544" cy="649224"/>
          </a:xfrm>
        </p:spPr>
        <p:txBody>
          <a:bodyPr lIns="36576" tIns="45720" rIns="36576" bIns="45720" anchor="ctr">
            <a:noAutofit/>
          </a:bodyPr>
          <a:lstStyle>
            <a:lvl1pPr>
              <a:defRPr sz="3692" b="0" baseline="0">
                <a:solidFill>
                  <a:srgbClr val="86CBD8"/>
                </a:solidFill>
              </a:defRPr>
            </a:lvl1pPr>
          </a:lstStyle>
          <a:p>
            <a:pPr lvl="0"/>
            <a:r>
              <a:rPr lang="en-US" sz="3692" dirty="0" err="1">
                <a:solidFill>
                  <a:srgbClr val="86CBD8"/>
                </a:solidFill>
              </a:rPr>
              <a:t>Título</a:t>
            </a:r>
            <a:r>
              <a:rPr lang="en-US" sz="3692" dirty="0">
                <a:solidFill>
                  <a:srgbClr val="86CBD8"/>
                </a:solidFill>
              </a:rPr>
              <a:t> </a:t>
            </a:r>
            <a:r>
              <a:rPr lang="en-US" sz="3692" dirty="0" err="1">
                <a:solidFill>
                  <a:srgbClr val="86CBD8"/>
                </a:solidFill>
              </a:rPr>
              <a:t>Presentación</a:t>
            </a:r>
            <a:endParaRPr lang="en-US" dirty="0"/>
          </a:p>
        </p:txBody>
      </p:sp>
      <p:sp>
        <p:nvSpPr>
          <p:cNvPr id="20" name="Text Placeholder 19"/>
          <p:cNvSpPr>
            <a:spLocks noGrp="1"/>
          </p:cNvSpPr>
          <p:nvPr>
            <p:ph type="body" sz="quarter" idx="11" hasCustomPrompt="1"/>
          </p:nvPr>
        </p:nvSpPr>
        <p:spPr>
          <a:xfrm>
            <a:off x="1789411" y="2221992"/>
            <a:ext cx="10016197" cy="365760"/>
          </a:xfrm>
        </p:spPr>
        <p:txBody>
          <a:bodyPr lIns="36576" tIns="45720" rIns="36576" bIns="45720">
            <a:noAutofit/>
          </a:bodyPr>
          <a:lstStyle>
            <a:lvl1pPr>
              <a:defRPr sz="1662" b="1" baseline="0">
                <a:solidFill>
                  <a:srgbClr val="016AA1"/>
                </a:solidFill>
              </a:defRPr>
            </a:lvl1pPr>
          </a:lstStyle>
          <a:p>
            <a:pPr lvl="0"/>
            <a:r>
              <a:rPr lang="en-US" dirty="0" err="1"/>
              <a:t>Subtitulo</a:t>
            </a:r>
            <a:endParaRPr lang="en-US" dirty="0"/>
          </a:p>
        </p:txBody>
      </p:sp>
      <p:sp>
        <p:nvSpPr>
          <p:cNvPr id="22" name="Text Placeholder 21"/>
          <p:cNvSpPr>
            <a:spLocks noGrp="1"/>
          </p:cNvSpPr>
          <p:nvPr>
            <p:ph type="body" sz="quarter" idx="12" hasCustomPrompt="1"/>
          </p:nvPr>
        </p:nvSpPr>
        <p:spPr>
          <a:xfrm>
            <a:off x="1789411" y="4983480"/>
            <a:ext cx="9340948" cy="365760"/>
          </a:xfrm>
        </p:spPr>
        <p:txBody>
          <a:bodyPr lIns="36576" tIns="45720" rIns="36576" bIns="45720">
            <a:noAutofit/>
          </a:bodyPr>
          <a:lstStyle>
            <a:lvl1pPr>
              <a:defRPr sz="1662" b="0" baseline="0">
                <a:solidFill>
                  <a:srgbClr val="7C1A4F"/>
                </a:solidFill>
              </a:defRPr>
            </a:lvl1pPr>
          </a:lstStyle>
          <a:p>
            <a:pPr lvl="0"/>
            <a:r>
              <a:rPr lang="en-US" dirty="0" err="1"/>
              <a:t>Fecha</a:t>
            </a:r>
            <a:endParaRPr lang="en-US" dirty="0"/>
          </a:p>
        </p:txBody>
      </p:sp>
      <p:pic>
        <p:nvPicPr>
          <p:cNvPr id="9" name="footer-13.jpg" descr="footer-13.jpg"/>
          <p:cNvPicPr>
            <a:picLocks noChangeAspect="1"/>
          </p:cNvPicPr>
          <p:nvPr userDrawn="1"/>
        </p:nvPicPr>
        <p:blipFill>
          <a:blip r:embed="rId7" cstate="print"/>
          <a:stretch>
            <a:fillRect/>
          </a:stretch>
        </p:blipFill>
        <p:spPr>
          <a:xfrm>
            <a:off x="0" y="6221393"/>
            <a:ext cx="12192000" cy="574391"/>
          </a:xfrm>
          <a:prstGeom prst="rect">
            <a:avLst/>
          </a:prstGeom>
          <a:ln w="12700">
            <a:miter lim="400000"/>
          </a:ln>
        </p:spPr>
      </p:pic>
    </p:spTree>
    <p:extLst>
      <p:ext uri="{BB962C8B-B14F-4D97-AF65-F5344CB8AC3E}">
        <p14:creationId xmlns:p14="http://schemas.microsoft.com/office/powerpoint/2010/main" val="985858707"/>
      </p:ext>
    </p:extLst>
  </p:cSld>
  <p:clrMapOvr>
    <a:masterClrMapping/>
  </p:clrMapOvr>
</p:sldLayout>
</file>

<file path=ppt/slideLayouts/slideLayout295.xml><?xml version="1.0" encoding="utf-8"?>
<p:sldLayout xmlns:a="http://schemas.openxmlformats.org/drawingml/2006/main" xmlns:r="http://schemas.openxmlformats.org/officeDocument/2006/relationships" xmlns:p="http://schemas.openxmlformats.org/presentationml/2006/main" showMasterSp="0" preserve="1" userDrawn="1">
  <p:cSld name="Divider 1">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737676"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822455"/>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DA2B57"/>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7C194F"/>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grpSp>
        <p:nvGrpSpPr>
          <p:cNvPr id="8" name="Group 7"/>
          <p:cNvGrpSpPr/>
          <p:nvPr userDrawn="1"/>
        </p:nvGrpSpPr>
        <p:grpSpPr>
          <a:xfrm>
            <a:off x="213691" y="98855"/>
            <a:ext cx="1113676" cy="6105595"/>
            <a:chOff x="160238" y="154880"/>
            <a:chExt cx="1300907" cy="8777933"/>
          </a:xfrm>
        </p:grpSpPr>
        <p:sp>
          <p:nvSpPr>
            <p:cNvPr id="9" name="Rectangle"/>
            <p:cNvSpPr/>
            <p:nvPr userDrawn="1"/>
          </p:nvSpPr>
          <p:spPr>
            <a:xfrm>
              <a:off x="160238" y="8398371"/>
              <a:ext cx="1300907" cy="534442"/>
            </a:xfrm>
            <a:prstGeom prst="rect">
              <a:avLst/>
            </a:prstGeom>
            <a:solidFill>
              <a:srgbClr val="ED207D"/>
            </a:solidFill>
            <a:ln w="12700">
              <a:miter lim="400000"/>
            </a:ln>
          </p:spPr>
          <p:txBody>
            <a:bodyPr lIns="50800" tIns="50800" rIns="50800" bIns="50800" anchor="ctr"/>
            <a:lstStyle/>
            <a:p>
              <a:endParaRPr lang="en-US" sz="1662" dirty="0"/>
            </a:p>
          </p:txBody>
        </p:sp>
        <p:sp>
          <p:nvSpPr>
            <p:cNvPr id="10" name="Rectangle"/>
            <p:cNvSpPr/>
            <p:nvPr userDrawn="1"/>
          </p:nvSpPr>
          <p:spPr>
            <a:xfrm>
              <a:off x="160238" y="8183364"/>
              <a:ext cx="1300907" cy="215008"/>
            </a:xfrm>
            <a:prstGeom prst="rect">
              <a:avLst/>
            </a:prstGeom>
            <a:solidFill>
              <a:srgbClr val="BF1D7F"/>
            </a:solidFill>
            <a:ln w="12700">
              <a:miter lim="400000"/>
            </a:ln>
          </p:spPr>
          <p:txBody>
            <a:bodyPr lIns="50800" tIns="50800" rIns="50800" bIns="50800" anchor="ctr"/>
            <a:lstStyle/>
            <a:p>
              <a:endParaRPr lang="en-US" sz="1662" dirty="0"/>
            </a:p>
          </p:txBody>
        </p:sp>
        <p:sp>
          <p:nvSpPr>
            <p:cNvPr id="11" name="Rectangle"/>
            <p:cNvSpPr/>
            <p:nvPr userDrawn="1"/>
          </p:nvSpPr>
          <p:spPr>
            <a:xfrm>
              <a:off x="160238" y="6195863"/>
              <a:ext cx="1300907" cy="1987502"/>
            </a:xfrm>
            <a:prstGeom prst="rect">
              <a:avLst/>
            </a:prstGeom>
            <a:solidFill>
              <a:srgbClr val="7C1A4F"/>
            </a:solidFill>
            <a:ln w="12700">
              <a:miter lim="400000"/>
            </a:ln>
          </p:spPr>
          <p:txBody>
            <a:bodyPr lIns="50800" tIns="50800" rIns="50800" bIns="50800" anchor="ctr"/>
            <a:lstStyle/>
            <a:p>
              <a:endParaRPr lang="en-US" sz="1662" dirty="0"/>
            </a:p>
          </p:txBody>
        </p:sp>
        <p:sp>
          <p:nvSpPr>
            <p:cNvPr id="12" name="Rectangle"/>
            <p:cNvSpPr/>
            <p:nvPr userDrawn="1"/>
          </p:nvSpPr>
          <p:spPr>
            <a:xfrm>
              <a:off x="160238" y="5724425"/>
              <a:ext cx="1300907" cy="471439"/>
            </a:xfrm>
            <a:prstGeom prst="rect">
              <a:avLst/>
            </a:prstGeom>
            <a:solidFill>
              <a:srgbClr val="DA2C57"/>
            </a:solidFill>
            <a:ln w="12700">
              <a:miter lim="400000"/>
            </a:ln>
          </p:spPr>
          <p:txBody>
            <a:bodyPr lIns="50800" tIns="50800" rIns="50800" bIns="50800" anchor="ctr"/>
            <a:lstStyle/>
            <a:p>
              <a:endParaRPr lang="en-US" sz="1662" dirty="0"/>
            </a:p>
          </p:txBody>
        </p:sp>
        <p:sp>
          <p:nvSpPr>
            <p:cNvPr id="14" name="Rectangle"/>
            <p:cNvSpPr/>
            <p:nvPr userDrawn="1"/>
          </p:nvSpPr>
          <p:spPr>
            <a:xfrm>
              <a:off x="160238" y="371177"/>
              <a:ext cx="1300907" cy="813396"/>
            </a:xfrm>
            <a:prstGeom prst="rect">
              <a:avLst/>
            </a:prstGeom>
            <a:solidFill>
              <a:srgbClr val="C4297F"/>
            </a:solidFill>
            <a:ln w="12700">
              <a:miter lim="400000"/>
            </a:ln>
          </p:spPr>
          <p:txBody>
            <a:bodyPr lIns="50800" tIns="50800" rIns="50800" bIns="50800" anchor="ctr"/>
            <a:lstStyle/>
            <a:p>
              <a:endParaRPr lang="en-US" sz="1662" dirty="0"/>
            </a:p>
          </p:txBody>
        </p:sp>
        <p:sp>
          <p:nvSpPr>
            <p:cNvPr id="17" name="Rectangle"/>
            <p:cNvSpPr/>
            <p:nvPr userDrawn="1"/>
          </p:nvSpPr>
          <p:spPr>
            <a:xfrm>
              <a:off x="160238" y="1184572"/>
              <a:ext cx="1300907" cy="4539854"/>
            </a:xfrm>
            <a:prstGeom prst="rect">
              <a:avLst/>
            </a:prstGeom>
            <a:solidFill>
              <a:srgbClr val="822455"/>
            </a:solidFill>
            <a:ln w="12700">
              <a:miter lim="400000"/>
            </a:ln>
          </p:spPr>
          <p:txBody>
            <a:bodyPr lIns="50800" tIns="50800" rIns="50800" bIns="50800" anchor="ctr"/>
            <a:lstStyle/>
            <a:p>
              <a:endParaRPr lang="en-US" sz="1662" dirty="0"/>
            </a:p>
          </p:txBody>
        </p:sp>
        <p:sp>
          <p:nvSpPr>
            <p:cNvPr id="19" name="Rectangle"/>
            <p:cNvSpPr/>
            <p:nvPr userDrawn="1"/>
          </p:nvSpPr>
          <p:spPr>
            <a:xfrm>
              <a:off x="160238" y="154880"/>
              <a:ext cx="1300907" cy="216298"/>
            </a:xfrm>
            <a:prstGeom prst="rect">
              <a:avLst/>
            </a:prstGeom>
            <a:solidFill>
              <a:srgbClr val="DA2C57"/>
            </a:solidFill>
            <a:ln w="12700">
              <a:miter lim="400000"/>
            </a:ln>
          </p:spPr>
          <p:txBody>
            <a:bodyPr lIns="50800" tIns="50800" rIns="50800" bIns="50800" anchor="ctr"/>
            <a:lstStyle/>
            <a:p>
              <a:endParaRPr lang="en-US" sz="1662" dirty="0"/>
            </a:p>
          </p:txBody>
        </p:sp>
      </p:gr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spTree>
    <p:extLst>
      <p:ext uri="{BB962C8B-B14F-4D97-AF65-F5344CB8AC3E}">
        <p14:creationId xmlns:p14="http://schemas.microsoft.com/office/powerpoint/2010/main" val="798525880"/>
      </p:ext>
    </p:extLst>
  </p:cSld>
  <p:clrMapOvr>
    <a:masterClrMapping/>
  </p:clrMapOvr>
</p:sldLayout>
</file>

<file path=ppt/slideLayouts/slideLayout296.xml><?xml version="1.0" encoding="utf-8"?>
<p:sldLayout xmlns:a="http://schemas.openxmlformats.org/drawingml/2006/main" xmlns:r="http://schemas.openxmlformats.org/officeDocument/2006/relationships" xmlns:p="http://schemas.openxmlformats.org/presentationml/2006/main" showMasterSp="0" preserve="1" userDrawn="1">
  <p:cSld name="Divider 2">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738700"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EE4228"/>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F69427"/>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FCBA1A"/>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13691" y="98854"/>
            <a:ext cx="1113676" cy="6105595"/>
            <a:chOff x="160238" y="162796"/>
            <a:chExt cx="1300907" cy="8777933"/>
          </a:xfrm>
        </p:grpSpPr>
        <p:sp>
          <p:nvSpPr>
            <p:cNvPr id="22" name="Rectangle"/>
            <p:cNvSpPr/>
            <p:nvPr userDrawn="1"/>
          </p:nvSpPr>
          <p:spPr>
            <a:xfrm>
              <a:off x="160238" y="8406287"/>
              <a:ext cx="1300907" cy="534442"/>
            </a:xfrm>
            <a:prstGeom prst="rect">
              <a:avLst/>
            </a:prstGeom>
            <a:solidFill>
              <a:srgbClr val="D91F27"/>
            </a:solidFill>
            <a:ln w="12700">
              <a:miter lim="400000"/>
            </a:ln>
          </p:spPr>
          <p:txBody>
            <a:bodyPr lIns="50800" tIns="50800" rIns="50800" bIns="50800" anchor="ctr"/>
            <a:lstStyle/>
            <a:p>
              <a:endParaRPr lang="en-US" sz="1662" dirty="0"/>
            </a:p>
          </p:txBody>
        </p:sp>
        <p:sp>
          <p:nvSpPr>
            <p:cNvPr id="23" name="Rectangle"/>
            <p:cNvSpPr/>
            <p:nvPr userDrawn="1"/>
          </p:nvSpPr>
          <p:spPr>
            <a:xfrm>
              <a:off x="160238" y="8191280"/>
              <a:ext cx="1300907" cy="215008"/>
            </a:xfrm>
            <a:prstGeom prst="rect">
              <a:avLst/>
            </a:prstGeom>
            <a:solidFill>
              <a:srgbClr val="F36F26"/>
            </a:solidFill>
            <a:ln w="12700">
              <a:miter lim="400000"/>
            </a:ln>
          </p:spPr>
          <p:txBody>
            <a:bodyPr lIns="50800" tIns="50800" rIns="50800" bIns="50800" anchor="ctr"/>
            <a:lstStyle/>
            <a:p>
              <a:endParaRPr lang="en-US" sz="1662" dirty="0"/>
            </a:p>
          </p:txBody>
        </p:sp>
        <p:sp>
          <p:nvSpPr>
            <p:cNvPr id="24" name="Rectangle"/>
            <p:cNvSpPr/>
            <p:nvPr userDrawn="1"/>
          </p:nvSpPr>
          <p:spPr>
            <a:xfrm>
              <a:off x="160238" y="6203779"/>
              <a:ext cx="1300907" cy="1987502"/>
            </a:xfrm>
            <a:prstGeom prst="rect">
              <a:avLst/>
            </a:prstGeom>
            <a:solidFill>
              <a:srgbClr val="FBB91A"/>
            </a:solidFill>
            <a:ln w="12700">
              <a:miter lim="400000"/>
            </a:ln>
          </p:spPr>
          <p:txBody>
            <a:bodyPr lIns="50800" tIns="50800" rIns="50800" bIns="50800" anchor="ctr"/>
            <a:lstStyle/>
            <a:p>
              <a:endParaRPr lang="en-US" sz="1662" dirty="0"/>
            </a:p>
          </p:txBody>
        </p:sp>
        <p:sp>
          <p:nvSpPr>
            <p:cNvPr id="25" name="Rectangle"/>
            <p:cNvSpPr/>
            <p:nvPr userDrawn="1"/>
          </p:nvSpPr>
          <p:spPr>
            <a:xfrm>
              <a:off x="160238" y="5732341"/>
              <a:ext cx="1300907" cy="471439"/>
            </a:xfrm>
            <a:prstGeom prst="rect">
              <a:avLst/>
            </a:prstGeom>
            <a:solidFill>
              <a:srgbClr val="F69427"/>
            </a:solidFill>
            <a:ln w="12700">
              <a:miter lim="400000"/>
            </a:ln>
          </p:spPr>
          <p:txBody>
            <a:bodyPr lIns="50800" tIns="50800" rIns="50800" bIns="50800" anchor="ctr"/>
            <a:lstStyle/>
            <a:p>
              <a:endParaRPr lang="en-US" sz="1662" dirty="0"/>
            </a:p>
          </p:txBody>
        </p:sp>
        <p:sp>
          <p:nvSpPr>
            <p:cNvPr id="26" name="Rectangle"/>
            <p:cNvSpPr/>
            <p:nvPr userDrawn="1"/>
          </p:nvSpPr>
          <p:spPr>
            <a:xfrm>
              <a:off x="160238" y="379093"/>
              <a:ext cx="1300907" cy="813396"/>
            </a:xfrm>
            <a:prstGeom prst="rect">
              <a:avLst/>
            </a:prstGeom>
            <a:solidFill>
              <a:srgbClr val="F79824"/>
            </a:solidFill>
            <a:ln w="12700">
              <a:miter lim="400000"/>
            </a:ln>
          </p:spPr>
          <p:txBody>
            <a:bodyPr lIns="50800" tIns="50800" rIns="50800" bIns="50800" anchor="ctr"/>
            <a:lstStyle/>
            <a:p>
              <a:endParaRPr lang="en-US" sz="1662" dirty="0"/>
            </a:p>
          </p:txBody>
        </p:sp>
        <p:sp>
          <p:nvSpPr>
            <p:cNvPr id="27" name="Rectangle"/>
            <p:cNvSpPr/>
            <p:nvPr userDrawn="1"/>
          </p:nvSpPr>
          <p:spPr>
            <a:xfrm>
              <a:off x="160238" y="1192488"/>
              <a:ext cx="1300907" cy="4539854"/>
            </a:xfrm>
            <a:prstGeom prst="rect">
              <a:avLst/>
            </a:prstGeom>
            <a:solidFill>
              <a:srgbClr val="EE4329"/>
            </a:solidFill>
            <a:ln w="12700">
              <a:miter lim="400000"/>
            </a:ln>
          </p:spPr>
          <p:txBody>
            <a:bodyPr lIns="50800" tIns="50800" rIns="50800" bIns="50800" anchor="ctr"/>
            <a:lstStyle/>
            <a:p>
              <a:endParaRPr lang="en-US" sz="1662" dirty="0"/>
            </a:p>
          </p:txBody>
        </p:sp>
        <p:sp>
          <p:nvSpPr>
            <p:cNvPr id="28" name="Rectangle"/>
            <p:cNvSpPr/>
            <p:nvPr userDrawn="1"/>
          </p:nvSpPr>
          <p:spPr>
            <a:xfrm>
              <a:off x="160238" y="162796"/>
              <a:ext cx="1300907" cy="216298"/>
            </a:xfrm>
            <a:prstGeom prst="rect">
              <a:avLst/>
            </a:prstGeom>
            <a:solidFill>
              <a:srgbClr val="BF2126"/>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1398991597"/>
      </p:ext>
    </p:extLst>
  </p:cSld>
  <p:clrMapOvr>
    <a:masterClrMapping/>
  </p:clrMapOvr>
</p:sldLayout>
</file>

<file path=ppt/slideLayouts/slideLayout297.xml><?xml version="1.0" encoding="utf-8"?>
<p:sldLayout xmlns:a="http://schemas.openxmlformats.org/drawingml/2006/main" xmlns:r="http://schemas.openxmlformats.org/officeDocument/2006/relationships" xmlns:p="http://schemas.openxmlformats.org/presentationml/2006/main" showMasterSp="0" preserve="1" userDrawn="1">
  <p:cSld name="Divider 3">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739724"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007272"/>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00C0B6"/>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00A6AB"/>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13691" y="99934"/>
            <a:ext cx="1113676" cy="6105588"/>
            <a:chOff x="90616" y="113613"/>
            <a:chExt cx="1300907" cy="8777933"/>
          </a:xfrm>
        </p:grpSpPr>
        <p:sp>
          <p:nvSpPr>
            <p:cNvPr id="22" name="Rectangle"/>
            <p:cNvSpPr/>
            <p:nvPr userDrawn="1"/>
          </p:nvSpPr>
          <p:spPr>
            <a:xfrm>
              <a:off x="90616" y="8357104"/>
              <a:ext cx="1300907" cy="534442"/>
            </a:xfrm>
            <a:prstGeom prst="rect">
              <a:avLst/>
            </a:prstGeom>
            <a:solidFill>
              <a:srgbClr val="00C0B6"/>
            </a:solidFill>
            <a:ln w="12700">
              <a:miter lim="400000"/>
            </a:ln>
          </p:spPr>
          <p:txBody>
            <a:bodyPr lIns="50800" tIns="50800" rIns="50800" bIns="50800" anchor="ctr"/>
            <a:lstStyle/>
            <a:p>
              <a:endParaRPr lang="en-US" sz="1662" dirty="0"/>
            </a:p>
          </p:txBody>
        </p:sp>
        <p:sp>
          <p:nvSpPr>
            <p:cNvPr id="23" name="Rectangle"/>
            <p:cNvSpPr/>
            <p:nvPr userDrawn="1"/>
          </p:nvSpPr>
          <p:spPr>
            <a:xfrm>
              <a:off x="90616" y="8142097"/>
              <a:ext cx="1300907" cy="215008"/>
            </a:xfrm>
            <a:prstGeom prst="rect">
              <a:avLst/>
            </a:prstGeom>
            <a:solidFill>
              <a:srgbClr val="007272"/>
            </a:solidFill>
            <a:ln w="12700">
              <a:miter lim="400000"/>
            </a:ln>
          </p:spPr>
          <p:txBody>
            <a:bodyPr lIns="50800" tIns="50800" rIns="50800" bIns="50800" anchor="ctr"/>
            <a:lstStyle/>
            <a:p>
              <a:endParaRPr lang="en-US" sz="1662" dirty="0"/>
            </a:p>
          </p:txBody>
        </p:sp>
        <p:sp>
          <p:nvSpPr>
            <p:cNvPr id="24" name="Rectangle"/>
            <p:cNvSpPr/>
            <p:nvPr userDrawn="1"/>
          </p:nvSpPr>
          <p:spPr>
            <a:xfrm>
              <a:off x="90616" y="6154596"/>
              <a:ext cx="1300907" cy="1987502"/>
            </a:xfrm>
            <a:prstGeom prst="rect">
              <a:avLst/>
            </a:prstGeom>
            <a:solidFill>
              <a:srgbClr val="00A6AB"/>
            </a:solidFill>
            <a:ln w="12700">
              <a:miter lim="400000"/>
            </a:ln>
          </p:spPr>
          <p:txBody>
            <a:bodyPr lIns="50800" tIns="50800" rIns="50800" bIns="50800" anchor="ctr"/>
            <a:lstStyle/>
            <a:p>
              <a:endParaRPr lang="en-US" sz="1662" dirty="0"/>
            </a:p>
          </p:txBody>
        </p:sp>
        <p:sp>
          <p:nvSpPr>
            <p:cNvPr id="25" name="Rectangle"/>
            <p:cNvSpPr/>
            <p:nvPr userDrawn="1"/>
          </p:nvSpPr>
          <p:spPr>
            <a:xfrm>
              <a:off x="90616" y="5683158"/>
              <a:ext cx="1300907" cy="471439"/>
            </a:xfrm>
            <a:prstGeom prst="rect">
              <a:avLst/>
            </a:prstGeom>
            <a:solidFill>
              <a:srgbClr val="00C0B6"/>
            </a:solidFill>
            <a:ln w="12700">
              <a:miter lim="400000"/>
            </a:ln>
          </p:spPr>
          <p:txBody>
            <a:bodyPr lIns="50800" tIns="50800" rIns="50800" bIns="50800" anchor="ctr"/>
            <a:lstStyle/>
            <a:p>
              <a:endParaRPr lang="en-US" sz="1662" dirty="0"/>
            </a:p>
          </p:txBody>
        </p:sp>
        <p:sp>
          <p:nvSpPr>
            <p:cNvPr id="26" name="Rectangle"/>
            <p:cNvSpPr/>
            <p:nvPr userDrawn="1"/>
          </p:nvSpPr>
          <p:spPr>
            <a:xfrm>
              <a:off x="90616" y="329910"/>
              <a:ext cx="1300907" cy="813396"/>
            </a:xfrm>
            <a:prstGeom prst="rect">
              <a:avLst/>
            </a:prstGeom>
            <a:solidFill>
              <a:srgbClr val="00C0B6"/>
            </a:solidFill>
            <a:ln w="12700">
              <a:miter lim="400000"/>
            </a:ln>
          </p:spPr>
          <p:txBody>
            <a:bodyPr lIns="50800" tIns="50800" rIns="50800" bIns="50800" anchor="ctr"/>
            <a:lstStyle/>
            <a:p>
              <a:endParaRPr lang="en-US" sz="1662" dirty="0"/>
            </a:p>
          </p:txBody>
        </p:sp>
        <p:sp>
          <p:nvSpPr>
            <p:cNvPr id="27" name="Rectangle"/>
            <p:cNvSpPr/>
            <p:nvPr userDrawn="1"/>
          </p:nvSpPr>
          <p:spPr>
            <a:xfrm>
              <a:off x="90616" y="1143305"/>
              <a:ext cx="1300907" cy="4539854"/>
            </a:xfrm>
            <a:prstGeom prst="rect">
              <a:avLst/>
            </a:prstGeom>
            <a:solidFill>
              <a:srgbClr val="007272"/>
            </a:solidFill>
            <a:ln w="12700">
              <a:miter lim="400000"/>
            </a:ln>
          </p:spPr>
          <p:txBody>
            <a:bodyPr lIns="50800" tIns="50800" rIns="50800" bIns="50800" anchor="ctr"/>
            <a:lstStyle/>
            <a:p>
              <a:endParaRPr lang="en-US" sz="1662" dirty="0"/>
            </a:p>
          </p:txBody>
        </p:sp>
        <p:sp>
          <p:nvSpPr>
            <p:cNvPr id="28" name="Rectangle"/>
            <p:cNvSpPr/>
            <p:nvPr userDrawn="1"/>
          </p:nvSpPr>
          <p:spPr>
            <a:xfrm>
              <a:off x="90616" y="113613"/>
              <a:ext cx="1300907" cy="216298"/>
            </a:xfrm>
            <a:prstGeom prst="rect">
              <a:avLst/>
            </a:prstGeom>
            <a:solidFill>
              <a:srgbClr val="00A6AB"/>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2217715710"/>
      </p:ext>
    </p:extLst>
  </p:cSld>
  <p:clrMapOvr>
    <a:masterClrMapping/>
  </p:clrMapOvr>
</p:sldLayout>
</file>

<file path=ppt/slideLayouts/slideLayout298.xml><?xml version="1.0" encoding="utf-8"?>
<p:sldLayout xmlns:a="http://schemas.openxmlformats.org/drawingml/2006/main" xmlns:r="http://schemas.openxmlformats.org/officeDocument/2006/relationships" xmlns:p="http://schemas.openxmlformats.org/presentationml/2006/main" showMasterSp="0" preserve="1" userDrawn="1">
  <p:cSld name="Divider 4">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740748"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73A600"/>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AABA35"/>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94B301"/>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15939" y="99934"/>
            <a:ext cx="1113675" cy="6105588"/>
            <a:chOff x="160238" y="154880"/>
            <a:chExt cx="1300907" cy="8777933"/>
          </a:xfrm>
        </p:grpSpPr>
        <p:sp>
          <p:nvSpPr>
            <p:cNvPr id="22" name="Rectangle"/>
            <p:cNvSpPr/>
            <p:nvPr userDrawn="1"/>
          </p:nvSpPr>
          <p:spPr>
            <a:xfrm>
              <a:off x="160238" y="8398371"/>
              <a:ext cx="1300907" cy="534442"/>
            </a:xfrm>
            <a:prstGeom prst="rect">
              <a:avLst/>
            </a:prstGeom>
            <a:solidFill>
              <a:srgbClr val="AABA36"/>
            </a:solidFill>
            <a:ln w="12700">
              <a:miter lim="400000"/>
            </a:ln>
          </p:spPr>
          <p:txBody>
            <a:bodyPr lIns="50800" tIns="50800" rIns="50800" bIns="50800" anchor="ctr"/>
            <a:lstStyle/>
            <a:p>
              <a:endParaRPr lang="en-US" sz="1662" dirty="0"/>
            </a:p>
          </p:txBody>
        </p:sp>
        <p:sp>
          <p:nvSpPr>
            <p:cNvPr id="23" name="Rectangle"/>
            <p:cNvSpPr/>
            <p:nvPr userDrawn="1"/>
          </p:nvSpPr>
          <p:spPr>
            <a:xfrm>
              <a:off x="160238" y="8183364"/>
              <a:ext cx="1300907" cy="215008"/>
            </a:xfrm>
            <a:prstGeom prst="rect">
              <a:avLst/>
            </a:prstGeom>
            <a:solidFill>
              <a:srgbClr val="CEDD01"/>
            </a:solidFill>
            <a:ln w="12700">
              <a:miter lim="400000"/>
            </a:ln>
          </p:spPr>
          <p:txBody>
            <a:bodyPr lIns="50800" tIns="50800" rIns="50800" bIns="50800" anchor="ctr"/>
            <a:lstStyle/>
            <a:p>
              <a:endParaRPr lang="en-US" sz="1662" dirty="0"/>
            </a:p>
          </p:txBody>
        </p:sp>
        <p:sp>
          <p:nvSpPr>
            <p:cNvPr id="24" name="Rectangle"/>
            <p:cNvSpPr/>
            <p:nvPr userDrawn="1"/>
          </p:nvSpPr>
          <p:spPr>
            <a:xfrm>
              <a:off x="160238" y="6195863"/>
              <a:ext cx="1300907" cy="1987502"/>
            </a:xfrm>
            <a:prstGeom prst="rect">
              <a:avLst/>
            </a:prstGeom>
            <a:solidFill>
              <a:srgbClr val="94B301"/>
            </a:solidFill>
            <a:ln w="12700">
              <a:miter lim="400000"/>
            </a:ln>
          </p:spPr>
          <p:txBody>
            <a:bodyPr lIns="50800" tIns="50800" rIns="50800" bIns="50800" anchor="ctr"/>
            <a:lstStyle/>
            <a:p>
              <a:endParaRPr lang="en-US" sz="1662" dirty="0"/>
            </a:p>
          </p:txBody>
        </p:sp>
        <p:sp>
          <p:nvSpPr>
            <p:cNvPr id="25" name="Rectangle"/>
            <p:cNvSpPr/>
            <p:nvPr userDrawn="1"/>
          </p:nvSpPr>
          <p:spPr>
            <a:xfrm>
              <a:off x="160238" y="5724425"/>
              <a:ext cx="1300907" cy="471439"/>
            </a:xfrm>
            <a:prstGeom prst="rect">
              <a:avLst/>
            </a:prstGeom>
            <a:solidFill>
              <a:srgbClr val="AABA36"/>
            </a:solidFill>
            <a:ln w="12700">
              <a:miter lim="400000"/>
            </a:ln>
          </p:spPr>
          <p:txBody>
            <a:bodyPr lIns="50800" tIns="50800" rIns="50800" bIns="50800" anchor="ctr"/>
            <a:lstStyle/>
            <a:p>
              <a:endParaRPr lang="en-US" sz="1662" dirty="0"/>
            </a:p>
          </p:txBody>
        </p:sp>
        <p:sp>
          <p:nvSpPr>
            <p:cNvPr id="26" name="Rectangle"/>
            <p:cNvSpPr/>
            <p:nvPr userDrawn="1"/>
          </p:nvSpPr>
          <p:spPr>
            <a:xfrm>
              <a:off x="160238" y="371177"/>
              <a:ext cx="1300907" cy="813396"/>
            </a:xfrm>
            <a:prstGeom prst="rect">
              <a:avLst/>
            </a:prstGeom>
            <a:solidFill>
              <a:srgbClr val="CEDD01"/>
            </a:solidFill>
            <a:ln w="12700">
              <a:miter lim="400000"/>
            </a:ln>
          </p:spPr>
          <p:txBody>
            <a:bodyPr lIns="50800" tIns="50800" rIns="50800" bIns="50800" anchor="ctr"/>
            <a:lstStyle/>
            <a:p>
              <a:endParaRPr lang="en-US" sz="1662" dirty="0"/>
            </a:p>
          </p:txBody>
        </p:sp>
        <p:sp>
          <p:nvSpPr>
            <p:cNvPr id="27" name="Rectangle"/>
            <p:cNvSpPr/>
            <p:nvPr userDrawn="1"/>
          </p:nvSpPr>
          <p:spPr>
            <a:xfrm>
              <a:off x="160238" y="1184572"/>
              <a:ext cx="1300907" cy="4539854"/>
            </a:xfrm>
            <a:prstGeom prst="rect">
              <a:avLst/>
            </a:prstGeom>
            <a:solidFill>
              <a:srgbClr val="73A600"/>
            </a:solidFill>
            <a:ln w="12700">
              <a:miter lim="400000"/>
            </a:ln>
          </p:spPr>
          <p:txBody>
            <a:bodyPr lIns="50800" tIns="50800" rIns="50800" bIns="50800" anchor="ctr"/>
            <a:lstStyle/>
            <a:p>
              <a:endParaRPr lang="en-US" sz="1662" dirty="0"/>
            </a:p>
          </p:txBody>
        </p:sp>
        <p:sp>
          <p:nvSpPr>
            <p:cNvPr id="28" name="Rectangle"/>
            <p:cNvSpPr/>
            <p:nvPr userDrawn="1"/>
          </p:nvSpPr>
          <p:spPr>
            <a:xfrm>
              <a:off x="160238" y="154880"/>
              <a:ext cx="1300907" cy="216298"/>
            </a:xfrm>
            <a:prstGeom prst="rect">
              <a:avLst/>
            </a:prstGeom>
            <a:solidFill>
              <a:srgbClr val="94B301"/>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1804076077"/>
      </p:ext>
    </p:extLst>
  </p:cSld>
  <p:clrMapOvr>
    <a:masterClrMapping/>
  </p:clrMapOvr>
</p:sldLayout>
</file>

<file path=ppt/slideLayouts/slideLayout299.xml><?xml version="1.0" encoding="utf-8"?>
<p:sldLayout xmlns:a="http://schemas.openxmlformats.org/drawingml/2006/main" xmlns:r="http://schemas.openxmlformats.org/officeDocument/2006/relationships" xmlns:p="http://schemas.openxmlformats.org/presentationml/2006/main" showMasterSp="0" preserve="1" userDrawn="1">
  <p:cSld name="Divider 5">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741772"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70147B"/>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8B4093"/>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63006C"/>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15939" y="99934"/>
            <a:ext cx="1113675" cy="6105588"/>
            <a:chOff x="1081465" y="114688"/>
            <a:chExt cx="1300907" cy="8777933"/>
          </a:xfrm>
        </p:grpSpPr>
        <p:sp>
          <p:nvSpPr>
            <p:cNvPr id="22" name="Rectangle"/>
            <p:cNvSpPr/>
            <p:nvPr userDrawn="1"/>
          </p:nvSpPr>
          <p:spPr>
            <a:xfrm>
              <a:off x="1081465" y="8358179"/>
              <a:ext cx="1300907" cy="534442"/>
            </a:xfrm>
            <a:prstGeom prst="rect">
              <a:avLst/>
            </a:prstGeom>
            <a:solidFill>
              <a:srgbClr val="8C4395"/>
            </a:solidFill>
            <a:ln w="12700">
              <a:miter lim="400000"/>
            </a:ln>
          </p:spPr>
          <p:txBody>
            <a:bodyPr lIns="50800" tIns="50800" rIns="50800" bIns="50800" anchor="ctr"/>
            <a:lstStyle/>
            <a:p>
              <a:endParaRPr lang="en-US" sz="1662" dirty="0"/>
            </a:p>
          </p:txBody>
        </p:sp>
        <p:sp>
          <p:nvSpPr>
            <p:cNvPr id="23" name="Rectangle"/>
            <p:cNvSpPr/>
            <p:nvPr userDrawn="1"/>
          </p:nvSpPr>
          <p:spPr>
            <a:xfrm>
              <a:off x="1081465" y="8143172"/>
              <a:ext cx="1300907" cy="215008"/>
            </a:xfrm>
            <a:prstGeom prst="rect">
              <a:avLst/>
            </a:prstGeom>
            <a:solidFill>
              <a:srgbClr val="A469AB"/>
            </a:solidFill>
            <a:ln w="12700">
              <a:miter lim="400000"/>
            </a:ln>
          </p:spPr>
          <p:txBody>
            <a:bodyPr lIns="50800" tIns="50800" rIns="50800" bIns="50800" anchor="ctr"/>
            <a:lstStyle/>
            <a:p>
              <a:endParaRPr lang="en-US" sz="1662" dirty="0"/>
            </a:p>
          </p:txBody>
        </p:sp>
        <p:sp>
          <p:nvSpPr>
            <p:cNvPr id="24" name="Rectangle"/>
            <p:cNvSpPr/>
            <p:nvPr userDrawn="1"/>
          </p:nvSpPr>
          <p:spPr>
            <a:xfrm>
              <a:off x="1081465" y="6155671"/>
              <a:ext cx="1300907" cy="1987502"/>
            </a:xfrm>
            <a:prstGeom prst="rect">
              <a:avLst/>
            </a:prstGeom>
            <a:solidFill>
              <a:srgbClr val="63006C"/>
            </a:solidFill>
            <a:ln w="12700">
              <a:miter lim="400000"/>
            </a:ln>
          </p:spPr>
          <p:txBody>
            <a:bodyPr lIns="50800" tIns="50800" rIns="50800" bIns="50800" anchor="ctr"/>
            <a:lstStyle/>
            <a:p>
              <a:endParaRPr lang="en-US" sz="1662" dirty="0"/>
            </a:p>
          </p:txBody>
        </p:sp>
        <p:sp>
          <p:nvSpPr>
            <p:cNvPr id="25" name="Rectangle"/>
            <p:cNvSpPr/>
            <p:nvPr userDrawn="1"/>
          </p:nvSpPr>
          <p:spPr>
            <a:xfrm>
              <a:off x="1081465" y="5684233"/>
              <a:ext cx="1300907" cy="471439"/>
            </a:xfrm>
            <a:prstGeom prst="rect">
              <a:avLst/>
            </a:prstGeom>
            <a:solidFill>
              <a:srgbClr val="8B4193"/>
            </a:solidFill>
            <a:ln w="12700">
              <a:miter lim="400000"/>
            </a:ln>
          </p:spPr>
          <p:txBody>
            <a:bodyPr lIns="50800" tIns="50800" rIns="50800" bIns="50800" anchor="ctr"/>
            <a:lstStyle/>
            <a:p>
              <a:endParaRPr lang="en-US" sz="1662" dirty="0"/>
            </a:p>
          </p:txBody>
        </p:sp>
        <p:sp>
          <p:nvSpPr>
            <p:cNvPr id="26" name="Rectangle"/>
            <p:cNvSpPr/>
            <p:nvPr userDrawn="1"/>
          </p:nvSpPr>
          <p:spPr>
            <a:xfrm>
              <a:off x="1081465" y="330985"/>
              <a:ext cx="1300907" cy="813396"/>
            </a:xfrm>
            <a:prstGeom prst="rect">
              <a:avLst/>
            </a:prstGeom>
            <a:solidFill>
              <a:srgbClr val="8C4395"/>
            </a:solidFill>
            <a:ln w="12700">
              <a:miter lim="400000"/>
            </a:ln>
          </p:spPr>
          <p:txBody>
            <a:bodyPr lIns="50800" tIns="50800" rIns="50800" bIns="50800" anchor="ctr"/>
            <a:lstStyle/>
            <a:p>
              <a:endParaRPr lang="en-US" sz="1662" dirty="0"/>
            </a:p>
          </p:txBody>
        </p:sp>
        <p:sp>
          <p:nvSpPr>
            <p:cNvPr id="27" name="Rectangle"/>
            <p:cNvSpPr/>
            <p:nvPr userDrawn="1"/>
          </p:nvSpPr>
          <p:spPr>
            <a:xfrm>
              <a:off x="1081465" y="1144380"/>
              <a:ext cx="1300907" cy="4539854"/>
            </a:xfrm>
            <a:prstGeom prst="rect">
              <a:avLst/>
            </a:prstGeom>
            <a:solidFill>
              <a:srgbClr val="70147B"/>
            </a:solidFill>
            <a:ln w="12700">
              <a:miter lim="400000"/>
            </a:ln>
          </p:spPr>
          <p:txBody>
            <a:bodyPr lIns="50800" tIns="50800" rIns="50800" bIns="50800" anchor="ctr"/>
            <a:lstStyle/>
            <a:p>
              <a:endParaRPr lang="en-US" sz="1662" dirty="0"/>
            </a:p>
          </p:txBody>
        </p:sp>
        <p:sp>
          <p:nvSpPr>
            <p:cNvPr id="28" name="Rectangle"/>
            <p:cNvSpPr/>
            <p:nvPr userDrawn="1"/>
          </p:nvSpPr>
          <p:spPr>
            <a:xfrm>
              <a:off x="1081465" y="114688"/>
              <a:ext cx="1300907" cy="216298"/>
            </a:xfrm>
            <a:prstGeom prst="rect">
              <a:avLst/>
            </a:prstGeom>
            <a:solidFill>
              <a:srgbClr val="70147B"/>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39273316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Rectangle 85"/>
          <p:cNvSpPr>
            <a:spLocks noGrp="1" noChangeArrowheads="1"/>
          </p:cNvSpPr>
          <p:nvPr>
            <p:ph type="sldNum" sz="quarter" idx="10"/>
          </p:nvPr>
        </p:nvSpPr>
        <p:spPr>
          <a:ln/>
        </p:spPr>
        <p:txBody>
          <a:bodyPr/>
          <a:lstStyle>
            <a:lvl1pPr>
              <a:defRPr/>
            </a:lvl1pPr>
          </a:lstStyle>
          <a:p>
            <a:pPr>
              <a:defRPr/>
            </a:pPr>
            <a:fld id="{B53A4395-16C9-6F44-AB3C-C7A6087BA63D}" type="slidenum">
              <a:rPr lang="en-US">
                <a:solidFill>
                  <a:srgbClr val="53565A"/>
                </a:solidFill>
              </a:rPr>
              <a:pPr>
                <a:defRPr/>
              </a:pPr>
              <a:t>‹#›</a:t>
            </a:fld>
            <a:endParaRPr lang="en-US">
              <a:solidFill>
                <a:srgbClr val="53565A"/>
              </a:solidFill>
            </a:endParaRPr>
          </a:p>
        </p:txBody>
      </p:sp>
      <p:sp>
        <p:nvSpPr>
          <p:cNvPr id="4" name="Rectangle 87"/>
          <p:cNvSpPr>
            <a:spLocks noGrp="1" noChangeArrowheads="1"/>
          </p:cNvSpPr>
          <p:nvPr>
            <p:ph type="dt" sz="half" idx="11"/>
          </p:nvPr>
        </p:nvSpPr>
        <p:spPr>
          <a:ln/>
        </p:spPr>
        <p:txBody>
          <a:bodyPr/>
          <a:lstStyle>
            <a:lvl1pPr>
              <a:defRPr/>
            </a:lvl1pPr>
          </a:lstStyle>
          <a:p>
            <a:pPr>
              <a:defRPr/>
            </a:pPr>
            <a:r>
              <a:rPr lang="en-US">
                <a:solidFill>
                  <a:srgbClr val="53565A"/>
                </a:solidFill>
              </a:rPr>
              <a:t>MM.DD.YY</a:t>
            </a:r>
          </a:p>
        </p:txBody>
      </p:sp>
      <p:sp>
        <p:nvSpPr>
          <p:cNvPr id="5" name="Rectangle 92"/>
          <p:cNvSpPr>
            <a:spLocks noGrp="1" noChangeArrowheads="1"/>
          </p:cNvSpPr>
          <p:nvPr>
            <p:ph type="ftr" sz="quarter" idx="12"/>
          </p:nvPr>
        </p:nvSpPr>
        <p:spPr>
          <a:ln/>
        </p:spPr>
        <p:txBody>
          <a:bodyPr/>
          <a:lstStyle>
            <a:lvl1pPr>
              <a:defRPr/>
            </a:lvl1pPr>
          </a:lstStyle>
          <a:p>
            <a:pPr>
              <a:defRPr/>
            </a:pPr>
            <a:r>
              <a:rPr lang="en-US">
                <a:solidFill>
                  <a:srgbClr val="53565A"/>
                </a:solidFill>
              </a:rPr>
              <a:t>Presentation Title</a:t>
            </a:r>
          </a:p>
        </p:txBody>
      </p:sp>
    </p:spTree>
    <p:extLst>
      <p:ext uri="{BB962C8B-B14F-4D97-AF65-F5344CB8AC3E}">
        <p14:creationId xmlns:p14="http://schemas.microsoft.com/office/powerpoint/2010/main" val="4196623075"/>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ierre">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stretch>
            <a:fillRect/>
          </a:stretch>
        </p:blipFill>
        <p:spPr>
          <a:xfrm>
            <a:off x="-36659" y="-37908"/>
            <a:ext cx="12304487" cy="6924341"/>
          </a:xfrm>
          <a:prstGeom prst="rect">
            <a:avLst/>
          </a:prstGeom>
        </p:spPr>
      </p:pic>
      <p:pic>
        <p:nvPicPr>
          <p:cNvPr id="7" name="Picture 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480167" y="1308578"/>
            <a:ext cx="9203871" cy="4466585"/>
          </a:xfrm>
          <a:prstGeom prst="rect">
            <a:avLst/>
          </a:prstGeom>
        </p:spPr>
      </p:pic>
    </p:spTree>
    <p:extLst>
      <p:ext uri="{BB962C8B-B14F-4D97-AF65-F5344CB8AC3E}">
        <p14:creationId xmlns:p14="http://schemas.microsoft.com/office/powerpoint/2010/main" val="2874111586"/>
      </p:ext>
    </p:extLst>
  </p:cSld>
  <p:clrMapOvr>
    <a:masterClrMapping/>
  </p:clrMapOvr>
</p:sldLayout>
</file>

<file path=ppt/slideLayouts/slideLayout300.xml><?xml version="1.0" encoding="utf-8"?>
<p:sldLayout xmlns:a="http://schemas.openxmlformats.org/drawingml/2006/main" xmlns:r="http://schemas.openxmlformats.org/officeDocument/2006/relationships" xmlns:p="http://schemas.openxmlformats.org/presentationml/2006/main" showMasterSp="0" preserve="1" userDrawn="1">
  <p:cSld name="Divider 6">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742796"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016AA1"/>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104D6A"/>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2591C0"/>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09179" y="98854"/>
            <a:ext cx="1111928" cy="6096000"/>
            <a:chOff x="160238" y="154880"/>
            <a:chExt cx="1300907" cy="8777933"/>
          </a:xfrm>
        </p:grpSpPr>
        <p:sp>
          <p:nvSpPr>
            <p:cNvPr id="22" name="Rectangle"/>
            <p:cNvSpPr/>
            <p:nvPr userDrawn="1"/>
          </p:nvSpPr>
          <p:spPr>
            <a:xfrm>
              <a:off x="160238" y="8398371"/>
              <a:ext cx="1300907" cy="534442"/>
            </a:xfrm>
            <a:prstGeom prst="rect">
              <a:avLst/>
            </a:prstGeom>
            <a:solidFill>
              <a:srgbClr val="85CDD9"/>
            </a:solidFill>
            <a:ln w="12700">
              <a:miter lim="400000"/>
            </a:ln>
          </p:spPr>
          <p:txBody>
            <a:bodyPr lIns="50800" tIns="50800" rIns="50800" bIns="50800" anchor="ctr"/>
            <a:lstStyle/>
            <a:p>
              <a:endParaRPr lang="en-US" sz="1662" dirty="0"/>
            </a:p>
          </p:txBody>
        </p:sp>
        <p:sp>
          <p:nvSpPr>
            <p:cNvPr id="23" name="Rectangle"/>
            <p:cNvSpPr/>
            <p:nvPr userDrawn="1"/>
          </p:nvSpPr>
          <p:spPr>
            <a:xfrm>
              <a:off x="160238" y="8183364"/>
              <a:ext cx="1300907" cy="215008"/>
            </a:xfrm>
            <a:prstGeom prst="rect">
              <a:avLst/>
            </a:prstGeom>
            <a:solidFill>
              <a:srgbClr val="4D89AD"/>
            </a:solidFill>
            <a:ln w="12700">
              <a:miter lim="400000"/>
            </a:ln>
          </p:spPr>
          <p:txBody>
            <a:bodyPr lIns="50800" tIns="50800" rIns="50800" bIns="50800" anchor="ctr"/>
            <a:lstStyle/>
            <a:p>
              <a:endParaRPr lang="en-US" sz="1662" dirty="0"/>
            </a:p>
          </p:txBody>
        </p:sp>
        <p:sp>
          <p:nvSpPr>
            <p:cNvPr id="24" name="Rectangle"/>
            <p:cNvSpPr/>
            <p:nvPr userDrawn="1"/>
          </p:nvSpPr>
          <p:spPr>
            <a:xfrm>
              <a:off x="160238" y="6195863"/>
              <a:ext cx="1300907" cy="1987502"/>
            </a:xfrm>
            <a:prstGeom prst="rect">
              <a:avLst/>
            </a:prstGeom>
            <a:solidFill>
              <a:srgbClr val="2591C0"/>
            </a:solidFill>
            <a:ln w="12700">
              <a:miter lim="400000"/>
            </a:ln>
          </p:spPr>
          <p:txBody>
            <a:bodyPr lIns="50800" tIns="50800" rIns="50800" bIns="50800" anchor="ctr"/>
            <a:lstStyle/>
            <a:p>
              <a:endParaRPr lang="en-US" sz="1662" dirty="0"/>
            </a:p>
          </p:txBody>
        </p:sp>
        <p:sp>
          <p:nvSpPr>
            <p:cNvPr id="25" name="Rectangle"/>
            <p:cNvSpPr/>
            <p:nvPr userDrawn="1"/>
          </p:nvSpPr>
          <p:spPr>
            <a:xfrm>
              <a:off x="160238" y="5724425"/>
              <a:ext cx="1300907" cy="471439"/>
            </a:xfrm>
            <a:prstGeom prst="rect">
              <a:avLst/>
            </a:prstGeom>
            <a:solidFill>
              <a:srgbClr val="104D6A"/>
            </a:solidFill>
            <a:ln w="12700">
              <a:miter lim="400000"/>
            </a:ln>
          </p:spPr>
          <p:txBody>
            <a:bodyPr lIns="50800" tIns="50800" rIns="50800" bIns="50800" anchor="ctr"/>
            <a:lstStyle/>
            <a:p>
              <a:endParaRPr lang="en-US" sz="1662" dirty="0"/>
            </a:p>
          </p:txBody>
        </p:sp>
        <p:sp>
          <p:nvSpPr>
            <p:cNvPr id="26" name="Rectangle"/>
            <p:cNvSpPr/>
            <p:nvPr userDrawn="1"/>
          </p:nvSpPr>
          <p:spPr>
            <a:xfrm>
              <a:off x="160238" y="371177"/>
              <a:ext cx="1300907" cy="813396"/>
            </a:xfrm>
            <a:prstGeom prst="rect">
              <a:avLst/>
            </a:prstGeom>
            <a:solidFill>
              <a:srgbClr val="095B88"/>
            </a:solidFill>
            <a:ln w="12700">
              <a:miter lim="400000"/>
            </a:ln>
          </p:spPr>
          <p:txBody>
            <a:bodyPr lIns="50800" tIns="50800" rIns="50800" bIns="50800" anchor="ctr"/>
            <a:lstStyle/>
            <a:p>
              <a:endParaRPr lang="en-US" sz="1662" dirty="0"/>
            </a:p>
          </p:txBody>
        </p:sp>
        <p:sp>
          <p:nvSpPr>
            <p:cNvPr id="27" name="Rectangle"/>
            <p:cNvSpPr/>
            <p:nvPr userDrawn="1"/>
          </p:nvSpPr>
          <p:spPr>
            <a:xfrm>
              <a:off x="160238" y="1184572"/>
              <a:ext cx="1300907" cy="4539854"/>
            </a:xfrm>
            <a:prstGeom prst="rect">
              <a:avLst/>
            </a:prstGeom>
            <a:solidFill>
              <a:srgbClr val="016AA1"/>
            </a:solidFill>
            <a:ln w="12700">
              <a:miter lim="400000"/>
            </a:ln>
          </p:spPr>
          <p:txBody>
            <a:bodyPr lIns="50800" tIns="50800" rIns="50800" bIns="50800" anchor="ctr"/>
            <a:lstStyle/>
            <a:p>
              <a:endParaRPr lang="en-US" sz="1662" dirty="0"/>
            </a:p>
          </p:txBody>
        </p:sp>
        <p:sp>
          <p:nvSpPr>
            <p:cNvPr id="28" name="Rectangle"/>
            <p:cNvSpPr/>
            <p:nvPr userDrawn="1"/>
          </p:nvSpPr>
          <p:spPr>
            <a:xfrm>
              <a:off x="160238" y="154880"/>
              <a:ext cx="1300907" cy="216298"/>
            </a:xfrm>
            <a:prstGeom prst="rect">
              <a:avLst/>
            </a:prstGeom>
            <a:solidFill>
              <a:srgbClr val="85CDD9"/>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407317339"/>
      </p:ext>
    </p:extLst>
  </p:cSld>
  <p:clrMapOvr>
    <a:masterClrMapping/>
  </p:clrMapOvr>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743820"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562709" y="162000"/>
            <a:ext cx="11068060" cy="704087"/>
          </a:xfrm>
        </p:spPr>
        <p:txBody>
          <a:bodyPr anchor="t"/>
          <a:lstStyle>
            <a:lvl1pPr>
              <a:defRPr>
                <a:latin typeface="Arial"/>
                <a:sym typeface="Arial"/>
              </a:defRPr>
            </a:lvl1pPr>
          </a:lstStyle>
          <a:p>
            <a:endParaRPr lang="en-US" dirty="0"/>
          </a:p>
        </p:txBody>
      </p:sp>
      <p:sp>
        <p:nvSpPr>
          <p:cNvPr id="4" name="Text Placeholder 3"/>
          <p:cNvSpPr>
            <a:spLocks noGrp="1"/>
          </p:cNvSpPr>
          <p:nvPr>
            <p:ph type="body" sz="quarter" idx="10"/>
          </p:nvPr>
        </p:nvSpPr>
        <p:spPr>
          <a:xfrm>
            <a:off x="562709" y="1508760"/>
            <a:ext cx="11068060" cy="3997304"/>
          </a:xfrm>
        </p:spPr>
        <p:txBody>
          <a:bodyPr lIns="0" tIns="0" rIns="0" bIns="0"/>
          <a:lstStyle>
            <a:lvl1pPr>
              <a:spcBef>
                <a:spcPts val="354"/>
              </a:spcBef>
              <a:defRPr>
                <a:latin typeface="Arial"/>
                <a:sym typeface="Arial"/>
              </a:defRPr>
            </a:lvl1pPr>
            <a:lvl2pPr marL="422041" indent="-212682">
              <a:spcBef>
                <a:spcPts val="354"/>
              </a:spcBef>
              <a:defRPr>
                <a:latin typeface="Arial"/>
                <a:sym typeface="Arial"/>
              </a:defRPr>
            </a:lvl2pPr>
            <a:lvl3pPr marL="844083" indent="-212682">
              <a:spcBef>
                <a:spcPts val="354"/>
              </a:spcBef>
              <a:defRPr>
                <a:latin typeface="Arial"/>
                <a:sym typeface="Arial"/>
              </a:defRPr>
            </a:lvl3pPr>
            <a:lvl4pPr marL="1269447" indent="-216005">
              <a:spcBef>
                <a:spcPts val="354"/>
              </a:spcBef>
              <a:defRPr>
                <a:latin typeface="Arial"/>
                <a:sym typeface="Arial"/>
              </a:defRPr>
            </a:lvl4pPr>
            <a:lvl5pPr marL="1900848" indent="-212682">
              <a:spcBef>
                <a:spcPts val="354"/>
              </a:spcBef>
              <a:defRPr>
                <a:latin typeface="Arial"/>
                <a:sym typeface="Aria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6"/>
          <p:cNvSpPr>
            <a:spLocks noGrp="1"/>
          </p:cNvSpPr>
          <p:nvPr>
            <p:ph type="body" sz="quarter" idx="11"/>
          </p:nvPr>
        </p:nvSpPr>
        <p:spPr>
          <a:xfrm>
            <a:off x="562709" y="863601"/>
            <a:ext cx="11068060" cy="320359"/>
          </a:xfrm>
        </p:spPr>
        <p:txBody>
          <a:bodyPr anchor="t">
            <a:normAutofit/>
          </a:bodyPr>
          <a:lstStyle>
            <a:lvl1pPr>
              <a:defRPr sz="1385" b="0">
                <a:solidFill>
                  <a:srgbClr val="73C4EF"/>
                </a:solidFill>
              </a:defRPr>
            </a:lvl1pPr>
          </a:lstStyle>
          <a:p>
            <a:pPr lvl="0"/>
            <a:endParaRPr lang="en-US" dirty="0"/>
          </a:p>
        </p:txBody>
      </p:sp>
    </p:spTree>
    <p:extLst>
      <p:ext uri="{BB962C8B-B14F-4D97-AF65-F5344CB8AC3E}">
        <p14:creationId xmlns:p14="http://schemas.microsoft.com/office/powerpoint/2010/main" val="1293136155"/>
      </p:ext>
    </p:extLst>
  </p:cSld>
  <p:clrMapOvr>
    <a:masterClrMapping/>
  </p:clrMapOvr>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Text with bullets">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744844" name="think-cell Slide" r:id="rId4" imgW="270" imgH="270" progId="TCLayout.ActiveDocument.1">
                  <p:embed/>
                </p:oleObj>
              </mc:Choice>
              <mc:Fallback>
                <p:oleObj name="think-cell Slide" r:id="rId4" imgW="270" imgH="270" progId="TCLayout.ActiveDocument.1">
                  <p:embed/>
                  <p:pic>
                    <p:nvPicPr>
                      <p:cNvPr id="6" name="Object 5"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ext Placeholder 7"/>
          <p:cNvSpPr>
            <a:spLocks noGrp="1"/>
          </p:cNvSpPr>
          <p:nvPr userDrawn="1">
            <p:ph type="body" sz="quarter" idx="13"/>
          </p:nvPr>
        </p:nvSpPr>
        <p:spPr>
          <a:xfrm>
            <a:off x="562709" y="1508400"/>
            <a:ext cx="11068060" cy="3997304"/>
          </a:xfrm>
          <a:prstGeom prst="rect">
            <a:avLst/>
          </a:prstGeom>
        </p:spPr>
        <p:txBody>
          <a:bodyPr lIns="0" tIns="0" rIns="0" bIns="0"/>
          <a:lstStyle>
            <a:lvl1pPr marL="159512" indent="-159512">
              <a:spcBef>
                <a:spcPts val="354"/>
              </a:spcBef>
              <a:buClr>
                <a:srgbClr val="002D72"/>
              </a:buClr>
              <a:buFont typeface="Arial" pitchFamily="34" charset="0"/>
              <a:buChar char="•"/>
              <a:tabLst/>
              <a:defRPr b="0">
                <a:latin typeface="Arial"/>
                <a:sym typeface="Arial"/>
              </a:defRPr>
            </a:lvl1pPr>
            <a:lvl2pPr marL="581553" indent="-212682">
              <a:spcBef>
                <a:spcPts val="354"/>
              </a:spcBef>
              <a:buFont typeface="Arial" pitchFamily="34" charset="0"/>
              <a:buChar char="–"/>
              <a:defRPr>
                <a:latin typeface="Arial"/>
                <a:sym typeface="Arial"/>
              </a:defRPr>
            </a:lvl2pPr>
            <a:lvl3pPr marL="993625" indent="-212682">
              <a:spcBef>
                <a:spcPts val="354"/>
              </a:spcBef>
              <a:defRPr>
                <a:latin typeface="Arial"/>
                <a:sym typeface="Arial"/>
              </a:defRPr>
            </a:lvl3pPr>
            <a:lvl4pPr marL="1425636" indent="-212682">
              <a:spcBef>
                <a:spcPts val="354"/>
              </a:spcBef>
              <a:defRPr>
                <a:latin typeface="Arial"/>
                <a:sym typeface="Arial"/>
              </a:defRPr>
            </a:lvl4pPr>
            <a:lvl5pPr marL="1900848" indent="-212682">
              <a:spcBef>
                <a:spcPts val="354"/>
              </a:spcBef>
              <a:defRPr>
                <a:latin typeface="Arial"/>
                <a:sym typeface="Aria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itle 1"/>
          <p:cNvSpPr>
            <a:spLocks noGrp="1"/>
          </p:cNvSpPr>
          <p:nvPr>
            <p:ph type="title"/>
          </p:nvPr>
        </p:nvSpPr>
        <p:spPr>
          <a:xfrm>
            <a:off x="562709" y="162000"/>
            <a:ext cx="11068060" cy="704087"/>
          </a:xfrm>
        </p:spPr>
        <p:txBody>
          <a:bodyPr anchor="t"/>
          <a:lstStyle>
            <a:lvl1pPr>
              <a:defRPr>
                <a:latin typeface="Arial"/>
                <a:sym typeface="Arial"/>
              </a:defRPr>
            </a:lvl1pPr>
          </a:lstStyle>
          <a:p>
            <a:endParaRPr lang="en-US" dirty="0"/>
          </a:p>
        </p:txBody>
      </p:sp>
      <p:sp>
        <p:nvSpPr>
          <p:cNvPr id="8" name="Text Placeholder 6"/>
          <p:cNvSpPr>
            <a:spLocks noGrp="1"/>
          </p:cNvSpPr>
          <p:nvPr>
            <p:ph type="body" sz="quarter" idx="11"/>
          </p:nvPr>
        </p:nvSpPr>
        <p:spPr>
          <a:xfrm>
            <a:off x="562709" y="863601"/>
            <a:ext cx="11068060" cy="320359"/>
          </a:xfrm>
        </p:spPr>
        <p:txBody>
          <a:bodyPr anchor="t">
            <a:normAutofit/>
          </a:bodyPr>
          <a:lstStyle>
            <a:lvl1pPr>
              <a:defRPr sz="1385" b="0">
                <a:solidFill>
                  <a:srgbClr val="73C4EF"/>
                </a:solidFill>
              </a:defRPr>
            </a:lvl1pPr>
          </a:lstStyle>
          <a:p>
            <a:pPr lvl="0"/>
            <a:endParaRPr lang="en-US" dirty="0"/>
          </a:p>
        </p:txBody>
      </p:sp>
    </p:spTree>
    <p:extLst>
      <p:ext uri="{BB962C8B-B14F-4D97-AF65-F5344CB8AC3E}">
        <p14:creationId xmlns:p14="http://schemas.microsoft.com/office/powerpoint/2010/main" val="3733476871"/>
      </p:ext>
    </p:extLst>
  </p:cSld>
  <p:clrMapOvr>
    <a:masterClrMapping/>
  </p:clrMapOvr>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745868" name="think-cell Slide" r:id="rId4" imgW="270" imgH="270" progId="TCLayout.ActiveDocument.1">
                  <p:embed/>
                </p:oleObj>
              </mc:Choice>
              <mc:Fallback>
                <p:oleObj name="think-cell Slide" r:id="rId4" imgW="270" imgH="270" progId="TCLayout.ActiveDocument.1">
                  <p:embed/>
                  <p:pic>
                    <p:nvPicPr>
                      <p:cNvPr id="7" name="Object 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le 1"/>
          <p:cNvSpPr>
            <a:spLocks noGrp="1"/>
          </p:cNvSpPr>
          <p:nvPr>
            <p:ph type="title"/>
          </p:nvPr>
        </p:nvSpPr>
        <p:spPr>
          <a:xfrm>
            <a:off x="562709" y="162000"/>
            <a:ext cx="11068060" cy="704087"/>
          </a:xfrm>
        </p:spPr>
        <p:txBody>
          <a:bodyPr anchor="t"/>
          <a:lstStyle>
            <a:lvl1pPr>
              <a:defRPr>
                <a:latin typeface="Arial"/>
                <a:sym typeface="Arial"/>
              </a:defRPr>
            </a:lvl1pPr>
          </a:lstStyle>
          <a:p>
            <a:endParaRPr lang="en-US" dirty="0"/>
          </a:p>
        </p:txBody>
      </p:sp>
      <p:sp>
        <p:nvSpPr>
          <p:cNvPr id="6" name="Text Placeholder 6"/>
          <p:cNvSpPr>
            <a:spLocks noGrp="1"/>
          </p:cNvSpPr>
          <p:nvPr>
            <p:ph type="body" sz="quarter" idx="11"/>
          </p:nvPr>
        </p:nvSpPr>
        <p:spPr>
          <a:xfrm>
            <a:off x="562709" y="863601"/>
            <a:ext cx="11068060" cy="320359"/>
          </a:xfrm>
        </p:spPr>
        <p:txBody>
          <a:bodyPr anchor="t">
            <a:normAutofit/>
          </a:bodyPr>
          <a:lstStyle>
            <a:lvl1pPr>
              <a:defRPr sz="1385" b="0">
                <a:solidFill>
                  <a:srgbClr val="73C4EF"/>
                </a:solidFill>
              </a:defRPr>
            </a:lvl1pPr>
          </a:lstStyle>
          <a:p>
            <a:pPr lvl="0"/>
            <a:endParaRPr lang="en-US" dirty="0"/>
          </a:p>
        </p:txBody>
      </p:sp>
    </p:spTree>
    <p:extLst>
      <p:ext uri="{BB962C8B-B14F-4D97-AF65-F5344CB8AC3E}">
        <p14:creationId xmlns:p14="http://schemas.microsoft.com/office/powerpoint/2010/main" val="993307992"/>
      </p:ext>
    </p:extLst>
  </p:cSld>
  <p:clrMapOvr>
    <a:masterClrMapping/>
  </p:clrMapOvr>
</p:sldLayout>
</file>

<file path=ppt/slideLayouts/slideLayout30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746892" name="think-cell Slide" r:id="rId4" imgW="270" imgH="270" progId="TCLayout.ActiveDocument.1">
                  <p:embed/>
                </p:oleObj>
              </mc:Choice>
              <mc:Fallback>
                <p:oleObj name="think-cell Slide" r:id="rId4" imgW="270" imgH="270" progId="TCLayout.ActiveDocument.1">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1352926350"/>
      </p:ext>
    </p:extLst>
  </p:cSld>
  <p:clrMapOvr>
    <a:masterClrMapping/>
  </p:clrMapOvr>
</p:sldLayout>
</file>

<file path=ppt/slideLayouts/slideLayout305.xml><?xml version="1.0" encoding="utf-8"?>
<p:sldLayout xmlns:a="http://schemas.openxmlformats.org/drawingml/2006/main" xmlns:r="http://schemas.openxmlformats.org/officeDocument/2006/relationships" xmlns:p="http://schemas.openxmlformats.org/presentationml/2006/main" type="titleOnly">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4035745874"/>
      </p:ext>
    </p:extLst>
  </p:cSld>
  <p:clrMapOvr>
    <a:masterClrMapping/>
  </p:clrMapOvr>
</p:sldLayout>
</file>

<file path=ppt/slideLayouts/slideLayout306.xml><?xml version="1.0" encoding="utf-8"?>
<p:sldLayout xmlns:a="http://schemas.openxmlformats.org/drawingml/2006/main" xmlns:r="http://schemas.openxmlformats.org/officeDocument/2006/relationships" xmlns:p="http://schemas.openxmlformats.org/presentationml/2006/main" userDrawn="1">
  <p:cSld name="4_Custom Layout">
    <p:spTree>
      <p:nvGrpSpPr>
        <p:cNvPr id="1" name=""/>
        <p:cNvGrpSpPr/>
        <p:nvPr/>
      </p:nvGrpSpPr>
      <p:grpSpPr>
        <a:xfrm>
          <a:off x="0" y="0"/>
          <a:ext cx="0" cy="0"/>
          <a:chOff x="0" y="0"/>
          <a:chExt cx="0" cy="0"/>
        </a:xfrm>
      </p:grpSpPr>
      <p:sp>
        <p:nvSpPr>
          <p:cNvPr id="14" name="Rectangle 13"/>
          <p:cNvSpPr/>
          <p:nvPr userDrawn="1"/>
        </p:nvSpPr>
        <p:spPr>
          <a:xfrm>
            <a:off x="226611" y="6608"/>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grpSp>
        <p:nvGrpSpPr>
          <p:cNvPr id="15" name="Group 14"/>
          <p:cNvGrpSpPr/>
          <p:nvPr userDrawn="1"/>
        </p:nvGrpSpPr>
        <p:grpSpPr>
          <a:xfrm flipH="1">
            <a:off x="226609" y="98856"/>
            <a:ext cx="1203763" cy="6096001"/>
            <a:chOff x="160238" y="148877"/>
            <a:chExt cx="1300907" cy="8783936"/>
          </a:xfrm>
        </p:grpSpPr>
        <p:sp>
          <p:nvSpPr>
            <p:cNvPr id="16" name="Rectangle"/>
            <p:cNvSpPr/>
            <p:nvPr userDrawn="1"/>
          </p:nvSpPr>
          <p:spPr>
            <a:xfrm>
              <a:off x="160238" y="7811988"/>
              <a:ext cx="1300907" cy="1120825"/>
            </a:xfrm>
            <a:prstGeom prst="rect">
              <a:avLst/>
            </a:prstGeom>
            <a:solidFill>
              <a:srgbClr val="C4297F"/>
            </a:solidFill>
            <a:ln w="12700">
              <a:miter lim="400000"/>
            </a:ln>
          </p:spPr>
          <p:txBody>
            <a:bodyPr lIns="50800" tIns="50800" rIns="50800" bIns="50800" anchor="ctr"/>
            <a:lstStyle/>
            <a:p>
              <a:endParaRPr sz="1800">
                <a:solidFill>
                  <a:prstClr val="black"/>
                </a:solidFill>
              </a:endParaRPr>
            </a:p>
          </p:txBody>
        </p:sp>
        <p:sp>
          <p:nvSpPr>
            <p:cNvPr id="17" name="Rectangle"/>
            <p:cNvSpPr/>
            <p:nvPr userDrawn="1"/>
          </p:nvSpPr>
          <p:spPr>
            <a:xfrm>
              <a:off x="160238" y="7090072"/>
              <a:ext cx="1300907" cy="721917"/>
            </a:xfrm>
            <a:prstGeom prst="rect">
              <a:avLst/>
            </a:prstGeom>
            <a:solidFill>
              <a:srgbClr val="7C1A4F"/>
            </a:solidFill>
            <a:ln w="12700">
              <a:miter lim="400000"/>
            </a:ln>
          </p:spPr>
          <p:txBody>
            <a:bodyPr lIns="50800" tIns="50800" rIns="50800" bIns="50800" anchor="ctr"/>
            <a:lstStyle/>
            <a:p>
              <a:endParaRPr sz="1800">
                <a:solidFill>
                  <a:prstClr val="black"/>
                </a:solidFill>
              </a:endParaRPr>
            </a:p>
          </p:txBody>
        </p:sp>
        <p:sp>
          <p:nvSpPr>
            <p:cNvPr id="18" name="Rectangle"/>
            <p:cNvSpPr/>
            <p:nvPr userDrawn="1"/>
          </p:nvSpPr>
          <p:spPr>
            <a:xfrm>
              <a:off x="160238" y="6877694"/>
              <a:ext cx="1300907" cy="212379"/>
            </a:xfrm>
            <a:prstGeom prst="rect">
              <a:avLst/>
            </a:prstGeom>
            <a:solidFill>
              <a:srgbClr val="F79824"/>
            </a:solidFill>
            <a:ln w="12700">
              <a:miter lim="400000"/>
            </a:ln>
          </p:spPr>
          <p:txBody>
            <a:bodyPr lIns="50800" tIns="50800" rIns="50800" bIns="50800" anchor="ctr"/>
            <a:lstStyle/>
            <a:p>
              <a:endParaRPr sz="1800">
                <a:solidFill>
                  <a:prstClr val="black"/>
                </a:solidFill>
              </a:endParaRPr>
            </a:p>
          </p:txBody>
        </p:sp>
        <p:sp>
          <p:nvSpPr>
            <p:cNvPr id="19" name="Rectangle"/>
            <p:cNvSpPr/>
            <p:nvPr userDrawn="1"/>
          </p:nvSpPr>
          <p:spPr>
            <a:xfrm>
              <a:off x="160238" y="5875535"/>
              <a:ext cx="1300907" cy="1002160"/>
            </a:xfrm>
            <a:prstGeom prst="rect">
              <a:avLst/>
            </a:prstGeom>
            <a:solidFill>
              <a:srgbClr val="EE4329"/>
            </a:solidFill>
            <a:ln w="12700">
              <a:miter lim="400000"/>
            </a:ln>
          </p:spPr>
          <p:txBody>
            <a:bodyPr lIns="50800" tIns="50800" rIns="50800" bIns="50800" anchor="ctr"/>
            <a:lstStyle/>
            <a:p>
              <a:endParaRPr sz="1800">
                <a:solidFill>
                  <a:prstClr val="black"/>
                </a:solidFill>
              </a:endParaRPr>
            </a:p>
          </p:txBody>
        </p:sp>
        <p:sp>
          <p:nvSpPr>
            <p:cNvPr id="20" name="Rectangle"/>
            <p:cNvSpPr/>
            <p:nvPr userDrawn="1"/>
          </p:nvSpPr>
          <p:spPr>
            <a:xfrm>
              <a:off x="160238" y="3874095"/>
              <a:ext cx="1300907" cy="2001441"/>
            </a:xfrm>
            <a:prstGeom prst="rect">
              <a:avLst/>
            </a:prstGeom>
            <a:solidFill>
              <a:srgbClr val="F36F26"/>
            </a:solidFill>
            <a:ln w="12700">
              <a:miter lim="400000"/>
            </a:ln>
          </p:spPr>
          <p:txBody>
            <a:bodyPr lIns="50800" tIns="50800" rIns="50800" bIns="50800" anchor="ctr"/>
            <a:lstStyle/>
            <a:p>
              <a:endParaRPr sz="1800">
                <a:solidFill>
                  <a:prstClr val="black"/>
                </a:solidFill>
              </a:endParaRPr>
            </a:p>
          </p:txBody>
        </p:sp>
        <p:sp>
          <p:nvSpPr>
            <p:cNvPr id="21" name="Rectangle"/>
            <p:cNvSpPr/>
            <p:nvPr userDrawn="1"/>
          </p:nvSpPr>
          <p:spPr>
            <a:xfrm>
              <a:off x="160238" y="3154213"/>
              <a:ext cx="1300907" cy="721867"/>
            </a:xfrm>
            <a:prstGeom prst="rect">
              <a:avLst/>
            </a:prstGeom>
            <a:solidFill>
              <a:srgbClr val="016AA1"/>
            </a:solidFill>
            <a:ln w="12700">
              <a:miter lim="400000"/>
            </a:ln>
          </p:spPr>
          <p:txBody>
            <a:bodyPr lIns="50800" tIns="50800" rIns="50800" bIns="50800" anchor="ctr"/>
            <a:lstStyle/>
            <a:p>
              <a:endParaRPr sz="1800">
                <a:solidFill>
                  <a:prstClr val="black"/>
                </a:solidFill>
              </a:endParaRPr>
            </a:p>
          </p:txBody>
        </p:sp>
        <p:sp>
          <p:nvSpPr>
            <p:cNvPr id="22" name="Rectangle"/>
            <p:cNvSpPr/>
            <p:nvPr userDrawn="1"/>
          </p:nvSpPr>
          <p:spPr>
            <a:xfrm>
              <a:off x="160238" y="148877"/>
              <a:ext cx="1300907" cy="3005337"/>
            </a:xfrm>
            <a:prstGeom prst="rect">
              <a:avLst/>
            </a:prstGeom>
            <a:solidFill>
              <a:srgbClr val="86CBD8"/>
            </a:solidFill>
            <a:ln w="12700">
              <a:miter lim="400000"/>
            </a:ln>
          </p:spPr>
          <p:txBody>
            <a:bodyPr lIns="50800" tIns="50800" rIns="50800" bIns="50800" anchor="ctr"/>
            <a:lstStyle/>
            <a:p>
              <a:endParaRPr sz="1800">
                <a:solidFill>
                  <a:prstClr val="black"/>
                </a:solidFill>
              </a:endParaRPr>
            </a:p>
          </p:txBody>
        </p:sp>
      </p:grpSp>
    </p:spTree>
    <p:extLst>
      <p:ext uri="{BB962C8B-B14F-4D97-AF65-F5344CB8AC3E}">
        <p14:creationId xmlns:p14="http://schemas.microsoft.com/office/powerpoint/2010/main" val="3744509262"/>
      </p:ext>
    </p:extLst>
  </p:cSld>
  <p:clrMapOvr>
    <a:masterClrMapping/>
  </p:clrMapOvr>
</p:sldLayout>
</file>

<file path=ppt/slideLayouts/slideLayout307.xml><?xml version="1.0" encoding="utf-8"?>
<p:sldLayout xmlns:a="http://schemas.openxmlformats.org/drawingml/2006/main" xmlns:r="http://schemas.openxmlformats.org/officeDocument/2006/relationships" xmlns:p="http://schemas.openxmlformats.org/presentationml/2006/main" userDrawn="1">
  <p:cSld name="Separador1">
    <p:spTree>
      <p:nvGrpSpPr>
        <p:cNvPr id="1" name=""/>
        <p:cNvGrpSpPr/>
        <p:nvPr/>
      </p:nvGrpSpPr>
      <p:grpSpPr>
        <a:xfrm>
          <a:off x="0" y="0"/>
          <a:ext cx="0" cy="0"/>
          <a:chOff x="0" y="0"/>
          <a:chExt cx="0" cy="0"/>
        </a:xfrm>
      </p:grpSpPr>
      <p:sp>
        <p:nvSpPr>
          <p:cNvPr id="11" name="Rectangle 10"/>
          <p:cNvSpPr/>
          <p:nvPr userDrawn="1"/>
        </p:nvSpPr>
        <p:spPr>
          <a:xfrm>
            <a:off x="226611" y="6608"/>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grpSp>
        <p:nvGrpSpPr>
          <p:cNvPr id="19" name="Group 18"/>
          <p:cNvGrpSpPr/>
          <p:nvPr userDrawn="1"/>
        </p:nvGrpSpPr>
        <p:grpSpPr>
          <a:xfrm>
            <a:off x="226614" y="98854"/>
            <a:ext cx="1204588" cy="6096000"/>
            <a:chOff x="160238" y="154880"/>
            <a:chExt cx="1300907" cy="8777933"/>
          </a:xfrm>
        </p:grpSpPr>
        <p:sp>
          <p:nvSpPr>
            <p:cNvPr id="12" name="Rectangle"/>
            <p:cNvSpPr/>
            <p:nvPr userDrawn="1"/>
          </p:nvSpPr>
          <p:spPr>
            <a:xfrm>
              <a:off x="160238" y="8398371"/>
              <a:ext cx="1300907" cy="534442"/>
            </a:xfrm>
            <a:prstGeom prst="rect">
              <a:avLst/>
            </a:prstGeom>
            <a:solidFill>
              <a:srgbClr val="85CDD9"/>
            </a:solidFill>
            <a:ln w="12700">
              <a:miter lim="400000"/>
            </a:ln>
          </p:spPr>
          <p:txBody>
            <a:bodyPr lIns="50800" tIns="50800" rIns="50800" bIns="50800" anchor="ctr"/>
            <a:lstStyle/>
            <a:p>
              <a:endParaRPr sz="1800">
                <a:solidFill>
                  <a:prstClr val="black"/>
                </a:solidFill>
              </a:endParaRPr>
            </a:p>
          </p:txBody>
        </p:sp>
        <p:sp>
          <p:nvSpPr>
            <p:cNvPr id="13" name="Rectangle"/>
            <p:cNvSpPr/>
            <p:nvPr userDrawn="1"/>
          </p:nvSpPr>
          <p:spPr>
            <a:xfrm>
              <a:off x="160238" y="8183364"/>
              <a:ext cx="1300907" cy="215008"/>
            </a:xfrm>
            <a:prstGeom prst="rect">
              <a:avLst/>
            </a:prstGeom>
            <a:solidFill>
              <a:srgbClr val="4D89AD"/>
            </a:solidFill>
            <a:ln w="12700">
              <a:miter lim="400000"/>
            </a:ln>
          </p:spPr>
          <p:txBody>
            <a:bodyPr lIns="50800" tIns="50800" rIns="50800" bIns="50800" anchor="ctr"/>
            <a:lstStyle/>
            <a:p>
              <a:endParaRPr sz="1800">
                <a:solidFill>
                  <a:prstClr val="black"/>
                </a:solidFill>
              </a:endParaRPr>
            </a:p>
          </p:txBody>
        </p:sp>
        <p:sp>
          <p:nvSpPr>
            <p:cNvPr id="14" name="Rectangle"/>
            <p:cNvSpPr/>
            <p:nvPr userDrawn="1"/>
          </p:nvSpPr>
          <p:spPr>
            <a:xfrm>
              <a:off x="160238" y="6195863"/>
              <a:ext cx="1300907" cy="1987502"/>
            </a:xfrm>
            <a:prstGeom prst="rect">
              <a:avLst/>
            </a:prstGeom>
            <a:solidFill>
              <a:srgbClr val="2591C0"/>
            </a:solidFill>
            <a:ln w="12700">
              <a:miter lim="400000"/>
            </a:ln>
          </p:spPr>
          <p:txBody>
            <a:bodyPr lIns="50800" tIns="50800" rIns="50800" bIns="50800" anchor="ctr"/>
            <a:lstStyle/>
            <a:p>
              <a:endParaRPr sz="1800">
                <a:solidFill>
                  <a:prstClr val="black"/>
                </a:solidFill>
              </a:endParaRPr>
            </a:p>
          </p:txBody>
        </p:sp>
        <p:sp>
          <p:nvSpPr>
            <p:cNvPr id="15" name="Rectangle"/>
            <p:cNvSpPr/>
            <p:nvPr userDrawn="1"/>
          </p:nvSpPr>
          <p:spPr>
            <a:xfrm>
              <a:off x="160238" y="5724425"/>
              <a:ext cx="1300907" cy="471439"/>
            </a:xfrm>
            <a:prstGeom prst="rect">
              <a:avLst/>
            </a:prstGeom>
            <a:solidFill>
              <a:srgbClr val="104D6A"/>
            </a:solidFill>
            <a:ln w="12700">
              <a:miter lim="400000"/>
            </a:ln>
          </p:spPr>
          <p:txBody>
            <a:bodyPr lIns="50800" tIns="50800" rIns="50800" bIns="50800" anchor="ctr"/>
            <a:lstStyle/>
            <a:p>
              <a:endParaRPr sz="1800">
                <a:solidFill>
                  <a:prstClr val="black"/>
                </a:solidFill>
              </a:endParaRPr>
            </a:p>
          </p:txBody>
        </p:sp>
        <p:sp>
          <p:nvSpPr>
            <p:cNvPr id="16" name="Rectangle"/>
            <p:cNvSpPr/>
            <p:nvPr userDrawn="1"/>
          </p:nvSpPr>
          <p:spPr>
            <a:xfrm>
              <a:off x="160238" y="371177"/>
              <a:ext cx="1300907" cy="813396"/>
            </a:xfrm>
            <a:prstGeom prst="rect">
              <a:avLst/>
            </a:prstGeom>
            <a:solidFill>
              <a:srgbClr val="095B88"/>
            </a:solidFill>
            <a:ln w="12700">
              <a:miter lim="400000"/>
            </a:ln>
          </p:spPr>
          <p:txBody>
            <a:bodyPr lIns="50800" tIns="50800" rIns="50800" bIns="50800" anchor="ctr"/>
            <a:lstStyle/>
            <a:p>
              <a:endParaRPr sz="1800">
                <a:solidFill>
                  <a:prstClr val="black"/>
                </a:solidFill>
              </a:endParaRPr>
            </a:p>
          </p:txBody>
        </p:sp>
        <p:sp>
          <p:nvSpPr>
            <p:cNvPr id="17" name="Rectangle"/>
            <p:cNvSpPr/>
            <p:nvPr userDrawn="1"/>
          </p:nvSpPr>
          <p:spPr>
            <a:xfrm>
              <a:off x="160238" y="1184572"/>
              <a:ext cx="1300907" cy="4539854"/>
            </a:xfrm>
            <a:prstGeom prst="rect">
              <a:avLst/>
            </a:prstGeom>
            <a:solidFill>
              <a:srgbClr val="016AA1"/>
            </a:solidFill>
            <a:ln w="12700">
              <a:miter lim="400000"/>
            </a:ln>
          </p:spPr>
          <p:txBody>
            <a:bodyPr lIns="50800" tIns="50800" rIns="50800" bIns="50800" anchor="ctr"/>
            <a:lstStyle/>
            <a:p>
              <a:endParaRPr sz="1800">
                <a:solidFill>
                  <a:prstClr val="black"/>
                </a:solidFill>
              </a:endParaRPr>
            </a:p>
          </p:txBody>
        </p:sp>
        <p:sp>
          <p:nvSpPr>
            <p:cNvPr id="18" name="Rectangle"/>
            <p:cNvSpPr/>
            <p:nvPr userDrawn="1"/>
          </p:nvSpPr>
          <p:spPr>
            <a:xfrm>
              <a:off x="160238" y="154880"/>
              <a:ext cx="1300907" cy="216298"/>
            </a:xfrm>
            <a:prstGeom prst="rect">
              <a:avLst/>
            </a:prstGeom>
            <a:solidFill>
              <a:srgbClr val="85CDD9"/>
            </a:solidFill>
            <a:ln w="12700">
              <a:miter lim="400000"/>
            </a:ln>
          </p:spPr>
          <p:txBody>
            <a:bodyPr lIns="50800" tIns="50800" rIns="50800" bIns="50800" anchor="ctr"/>
            <a:lstStyle/>
            <a:p>
              <a:endParaRPr sz="1800">
                <a:solidFill>
                  <a:prstClr val="black"/>
                </a:solidFill>
              </a:endParaRPr>
            </a:p>
          </p:txBody>
        </p:sp>
      </p:grpSp>
    </p:spTree>
    <p:extLst>
      <p:ext uri="{BB962C8B-B14F-4D97-AF65-F5344CB8AC3E}">
        <p14:creationId xmlns:p14="http://schemas.microsoft.com/office/powerpoint/2010/main" val="3090349300"/>
      </p:ext>
    </p:extLst>
  </p:cSld>
  <p:clrMapOvr>
    <a:masterClrMapping/>
  </p:clrMapOvr>
</p:sldLayout>
</file>

<file path=ppt/slideLayouts/slideLayout30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85"/>
          <p:cNvSpPr>
            <a:spLocks noGrp="1" noChangeArrowheads="1"/>
          </p:cNvSpPr>
          <p:nvPr>
            <p:ph type="sldNum" sz="quarter" idx="10"/>
          </p:nvPr>
        </p:nvSpPr>
        <p:spPr>
          <a:xfrm>
            <a:off x="334434" y="6440489"/>
            <a:ext cx="461433" cy="274637"/>
          </a:xfrm>
          <a:prstGeom prst="rect">
            <a:avLst/>
          </a:prstGeom>
          <a:ln/>
        </p:spPr>
        <p:txBody>
          <a:bodyPr/>
          <a:lstStyle>
            <a:lvl1pPr>
              <a:defRPr/>
            </a:lvl1pPr>
          </a:lstStyle>
          <a:p>
            <a:pPr>
              <a:defRPr/>
            </a:pPr>
            <a:fld id="{92C380FF-0397-644C-B316-9BC79B505A0E}" type="slidenum">
              <a:rPr lang="en-US"/>
              <a:pPr>
                <a:defRPr/>
              </a:pPr>
              <a:t>‹#›</a:t>
            </a:fld>
            <a:endParaRPr lang="en-US"/>
          </a:p>
        </p:txBody>
      </p:sp>
      <p:sp>
        <p:nvSpPr>
          <p:cNvPr id="5" name="Rectangle 87"/>
          <p:cNvSpPr>
            <a:spLocks noGrp="1" noChangeArrowheads="1"/>
          </p:cNvSpPr>
          <p:nvPr>
            <p:ph type="dt" sz="half" idx="11"/>
          </p:nvPr>
        </p:nvSpPr>
        <p:spPr>
          <a:xfrm>
            <a:off x="804333" y="6440489"/>
            <a:ext cx="1422400" cy="274637"/>
          </a:xfrm>
          <a:prstGeom prst="rect">
            <a:avLst/>
          </a:prstGeom>
          <a:ln/>
        </p:spPr>
        <p:txBody>
          <a:bodyPr/>
          <a:lstStyle>
            <a:lvl1pPr>
              <a:defRPr/>
            </a:lvl1pPr>
          </a:lstStyle>
          <a:p>
            <a:pPr>
              <a:defRPr/>
            </a:pPr>
            <a:r>
              <a:rPr lang="en-US"/>
              <a:t>MM.DD.YY</a:t>
            </a:r>
          </a:p>
        </p:txBody>
      </p:sp>
      <p:sp>
        <p:nvSpPr>
          <p:cNvPr id="6" name="Rectangle 92"/>
          <p:cNvSpPr>
            <a:spLocks noGrp="1" noChangeArrowheads="1"/>
          </p:cNvSpPr>
          <p:nvPr>
            <p:ph type="ftr" sz="quarter" idx="12"/>
          </p:nvPr>
        </p:nvSpPr>
        <p:spPr>
          <a:xfrm>
            <a:off x="2781300" y="6440489"/>
            <a:ext cx="5427133" cy="274637"/>
          </a:xfrm>
          <a:prstGeom prst="rect">
            <a:avLst/>
          </a:prstGeom>
          <a:ln/>
        </p:spPr>
        <p:txBody>
          <a:bodyPr/>
          <a:lstStyle>
            <a:lvl1pPr>
              <a:defRPr/>
            </a:lvl1pPr>
          </a:lstStyle>
          <a:p>
            <a:pPr>
              <a:defRPr/>
            </a:pPr>
            <a:r>
              <a:rPr lang="en-US"/>
              <a:t>Presentation Title</a:t>
            </a:r>
          </a:p>
        </p:txBody>
      </p:sp>
    </p:spTree>
    <p:extLst>
      <p:ext uri="{BB962C8B-B14F-4D97-AF65-F5344CB8AC3E}">
        <p14:creationId xmlns:p14="http://schemas.microsoft.com/office/powerpoint/2010/main" val="3882254847"/>
      </p:ext>
    </p:extLst>
  </p:cSld>
  <p:clrMapOvr>
    <a:masterClrMapping/>
  </p:clrMapOvr>
</p:sldLayout>
</file>

<file path=ppt/slideLayouts/slideLayout309.xml><?xml version="1.0" encoding="utf-8"?>
<p:sldLayout xmlns:a="http://schemas.openxmlformats.org/drawingml/2006/main" xmlns:r="http://schemas.openxmlformats.org/officeDocument/2006/relationships" xmlns:p="http://schemas.openxmlformats.org/presentationml/2006/main" showMasterSp="0" preserve="1" userDrawn="1">
  <p:cSld name="Cover page">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798053"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3" descr="Picture 3"/>
          <p:cNvPicPr>
            <a:picLocks noChangeAspect="1"/>
          </p:cNvPicPr>
          <p:nvPr userDrawn="1"/>
        </p:nvPicPr>
        <p:blipFill>
          <a:blip r:embed="rId6" cstate="print"/>
          <a:srcRect r="91525"/>
          <a:stretch>
            <a:fillRect/>
          </a:stretch>
        </p:blipFill>
        <p:spPr>
          <a:xfrm>
            <a:off x="0" y="0"/>
            <a:ext cx="1376613" cy="6858000"/>
          </a:xfrm>
          <a:prstGeom prst="rect">
            <a:avLst/>
          </a:prstGeom>
          <a:ln w="12700">
            <a:miter lim="400000"/>
          </a:ln>
        </p:spPr>
      </p:pic>
      <p:sp>
        <p:nvSpPr>
          <p:cNvPr id="18" name="Text Placeholder 17"/>
          <p:cNvSpPr>
            <a:spLocks noGrp="1"/>
          </p:cNvSpPr>
          <p:nvPr>
            <p:ph type="body" sz="quarter" idx="10" hasCustomPrompt="1"/>
          </p:nvPr>
        </p:nvSpPr>
        <p:spPr>
          <a:xfrm>
            <a:off x="1744393" y="722376"/>
            <a:ext cx="8924544" cy="649224"/>
          </a:xfrm>
        </p:spPr>
        <p:txBody>
          <a:bodyPr lIns="36576" tIns="45720" rIns="36576" bIns="45720" anchor="ctr">
            <a:noAutofit/>
          </a:bodyPr>
          <a:lstStyle>
            <a:lvl1pPr>
              <a:defRPr sz="3692" b="0" baseline="0">
                <a:solidFill>
                  <a:srgbClr val="86CBD8"/>
                </a:solidFill>
              </a:defRPr>
            </a:lvl1pPr>
          </a:lstStyle>
          <a:p>
            <a:pPr lvl="0"/>
            <a:r>
              <a:rPr lang="en-US" sz="3692" dirty="0" err="1">
                <a:solidFill>
                  <a:srgbClr val="86CBD8"/>
                </a:solidFill>
              </a:rPr>
              <a:t>Título</a:t>
            </a:r>
            <a:r>
              <a:rPr lang="en-US" sz="3692" dirty="0">
                <a:solidFill>
                  <a:srgbClr val="86CBD8"/>
                </a:solidFill>
              </a:rPr>
              <a:t> </a:t>
            </a:r>
            <a:r>
              <a:rPr lang="en-US" sz="3692" dirty="0" err="1">
                <a:solidFill>
                  <a:srgbClr val="86CBD8"/>
                </a:solidFill>
              </a:rPr>
              <a:t>Presentación</a:t>
            </a:r>
            <a:endParaRPr lang="en-US" dirty="0"/>
          </a:p>
        </p:txBody>
      </p:sp>
      <p:sp>
        <p:nvSpPr>
          <p:cNvPr id="20" name="Text Placeholder 19"/>
          <p:cNvSpPr>
            <a:spLocks noGrp="1"/>
          </p:cNvSpPr>
          <p:nvPr>
            <p:ph type="body" sz="quarter" idx="11" hasCustomPrompt="1"/>
          </p:nvPr>
        </p:nvSpPr>
        <p:spPr>
          <a:xfrm>
            <a:off x="1789411" y="2221992"/>
            <a:ext cx="10016197" cy="365760"/>
          </a:xfrm>
        </p:spPr>
        <p:txBody>
          <a:bodyPr lIns="36576" tIns="45720" rIns="36576" bIns="45720">
            <a:noAutofit/>
          </a:bodyPr>
          <a:lstStyle>
            <a:lvl1pPr>
              <a:defRPr sz="1662" b="1" baseline="0">
                <a:solidFill>
                  <a:srgbClr val="016AA1"/>
                </a:solidFill>
              </a:defRPr>
            </a:lvl1pPr>
          </a:lstStyle>
          <a:p>
            <a:pPr lvl="0"/>
            <a:r>
              <a:rPr lang="en-US" dirty="0" err="1"/>
              <a:t>Subtitulo</a:t>
            </a:r>
            <a:endParaRPr lang="en-US" dirty="0"/>
          </a:p>
        </p:txBody>
      </p:sp>
      <p:sp>
        <p:nvSpPr>
          <p:cNvPr id="22" name="Text Placeholder 21"/>
          <p:cNvSpPr>
            <a:spLocks noGrp="1"/>
          </p:cNvSpPr>
          <p:nvPr>
            <p:ph type="body" sz="quarter" idx="12" hasCustomPrompt="1"/>
          </p:nvPr>
        </p:nvSpPr>
        <p:spPr>
          <a:xfrm>
            <a:off x="1789411" y="4983480"/>
            <a:ext cx="9340948" cy="365760"/>
          </a:xfrm>
        </p:spPr>
        <p:txBody>
          <a:bodyPr lIns="36576" tIns="45720" rIns="36576" bIns="45720">
            <a:noAutofit/>
          </a:bodyPr>
          <a:lstStyle>
            <a:lvl1pPr>
              <a:defRPr sz="1662" b="0" baseline="0">
                <a:solidFill>
                  <a:srgbClr val="7C1A4F"/>
                </a:solidFill>
              </a:defRPr>
            </a:lvl1pPr>
          </a:lstStyle>
          <a:p>
            <a:pPr lvl="0"/>
            <a:r>
              <a:rPr lang="en-US" dirty="0" err="1"/>
              <a:t>Fecha</a:t>
            </a:r>
            <a:endParaRPr lang="en-US" dirty="0"/>
          </a:p>
        </p:txBody>
      </p:sp>
      <p:pic>
        <p:nvPicPr>
          <p:cNvPr id="9" name="footer-13.jpg" descr="footer-13.jpg"/>
          <p:cNvPicPr>
            <a:picLocks noChangeAspect="1"/>
          </p:cNvPicPr>
          <p:nvPr userDrawn="1"/>
        </p:nvPicPr>
        <p:blipFill>
          <a:blip r:embed="rId7" cstate="print"/>
          <a:stretch>
            <a:fillRect/>
          </a:stretch>
        </p:blipFill>
        <p:spPr>
          <a:xfrm>
            <a:off x="0" y="6221393"/>
            <a:ext cx="12192000" cy="574391"/>
          </a:xfrm>
          <a:prstGeom prst="rect">
            <a:avLst/>
          </a:prstGeom>
          <a:ln w="12700">
            <a:miter lim="400000"/>
          </a:ln>
        </p:spPr>
      </p:pic>
    </p:spTree>
    <p:extLst>
      <p:ext uri="{BB962C8B-B14F-4D97-AF65-F5344CB8AC3E}">
        <p14:creationId xmlns:p14="http://schemas.microsoft.com/office/powerpoint/2010/main" val="63592215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2_Custom Layout">
    <p:spTree>
      <p:nvGrpSpPr>
        <p:cNvPr id="1" name=""/>
        <p:cNvGrpSpPr/>
        <p:nvPr/>
      </p:nvGrpSpPr>
      <p:grpSpPr>
        <a:xfrm>
          <a:off x="0" y="0"/>
          <a:ext cx="0" cy="0"/>
          <a:chOff x="0" y="0"/>
          <a:chExt cx="0" cy="0"/>
        </a:xfrm>
      </p:grpSpPr>
      <p:sp>
        <p:nvSpPr>
          <p:cNvPr id="6" name="Rectangle 5"/>
          <p:cNvSpPr/>
          <p:nvPr userDrawn="1"/>
        </p:nvSpPr>
        <p:spPr>
          <a:xfrm>
            <a:off x="120826" y="14846"/>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sz="1800">
              <a:solidFill>
                <a:srgbClr val="FFFFFF"/>
              </a:solidFill>
            </a:endParaRPr>
          </a:p>
        </p:txBody>
      </p:sp>
      <p:grpSp>
        <p:nvGrpSpPr>
          <p:cNvPr id="7" name="Group 6"/>
          <p:cNvGrpSpPr/>
          <p:nvPr userDrawn="1"/>
        </p:nvGrpSpPr>
        <p:grpSpPr>
          <a:xfrm>
            <a:off x="233936" y="99934"/>
            <a:ext cx="1206481" cy="6105588"/>
            <a:chOff x="160238" y="154880"/>
            <a:chExt cx="1300907" cy="8777933"/>
          </a:xfrm>
        </p:grpSpPr>
        <p:sp>
          <p:nvSpPr>
            <p:cNvPr id="8" name="Rectangle"/>
            <p:cNvSpPr/>
            <p:nvPr userDrawn="1"/>
          </p:nvSpPr>
          <p:spPr>
            <a:xfrm>
              <a:off x="160238" y="8398371"/>
              <a:ext cx="1300907" cy="534442"/>
            </a:xfrm>
            <a:prstGeom prst="rect">
              <a:avLst/>
            </a:prstGeom>
            <a:solidFill>
              <a:srgbClr val="AABA36"/>
            </a:solidFill>
            <a:ln w="12700">
              <a:miter lim="400000"/>
            </a:ln>
          </p:spPr>
          <p:txBody>
            <a:bodyPr lIns="50800" tIns="50800" rIns="50800" bIns="50800" anchor="ctr"/>
            <a:lstStyle/>
            <a:p>
              <a:pPr defTabSz="914400"/>
              <a:endParaRPr sz="1800">
                <a:solidFill>
                  <a:srgbClr val="53565A"/>
                </a:solidFill>
              </a:endParaRPr>
            </a:p>
          </p:txBody>
        </p:sp>
        <p:sp>
          <p:nvSpPr>
            <p:cNvPr id="9" name="Rectangle"/>
            <p:cNvSpPr/>
            <p:nvPr userDrawn="1"/>
          </p:nvSpPr>
          <p:spPr>
            <a:xfrm>
              <a:off x="160238" y="8183364"/>
              <a:ext cx="1300907" cy="215008"/>
            </a:xfrm>
            <a:prstGeom prst="rect">
              <a:avLst/>
            </a:prstGeom>
            <a:solidFill>
              <a:srgbClr val="CEDD01"/>
            </a:solidFill>
            <a:ln w="12700">
              <a:miter lim="400000"/>
            </a:ln>
          </p:spPr>
          <p:txBody>
            <a:bodyPr lIns="50800" tIns="50800" rIns="50800" bIns="50800" anchor="ctr"/>
            <a:lstStyle/>
            <a:p>
              <a:pPr defTabSz="914400"/>
              <a:endParaRPr sz="1800">
                <a:solidFill>
                  <a:srgbClr val="53565A"/>
                </a:solidFill>
              </a:endParaRPr>
            </a:p>
          </p:txBody>
        </p:sp>
        <p:sp>
          <p:nvSpPr>
            <p:cNvPr id="10" name="Rectangle"/>
            <p:cNvSpPr/>
            <p:nvPr userDrawn="1"/>
          </p:nvSpPr>
          <p:spPr>
            <a:xfrm>
              <a:off x="160238" y="6195863"/>
              <a:ext cx="1300907" cy="1987502"/>
            </a:xfrm>
            <a:prstGeom prst="rect">
              <a:avLst/>
            </a:prstGeom>
            <a:solidFill>
              <a:srgbClr val="94B301"/>
            </a:solidFill>
            <a:ln w="12700">
              <a:miter lim="400000"/>
            </a:ln>
          </p:spPr>
          <p:txBody>
            <a:bodyPr lIns="50800" tIns="50800" rIns="50800" bIns="50800" anchor="ctr"/>
            <a:lstStyle/>
            <a:p>
              <a:pPr defTabSz="914400"/>
              <a:endParaRPr sz="1800">
                <a:solidFill>
                  <a:srgbClr val="53565A"/>
                </a:solidFill>
              </a:endParaRPr>
            </a:p>
          </p:txBody>
        </p:sp>
        <p:sp>
          <p:nvSpPr>
            <p:cNvPr id="11" name="Rectangle"/>
            <p:cNvSpPr/>
            <p:nvPr userDrawn="1"/>
          </p:nvSpPr>
          <p:spPr>
            <a:xfrm>
              <a:off x="160238" y="5724425"/>
              <a:ext cx="1300907" cy="471439"/>
            </a:xfrm>
            <a:prstGeom prst="rect">
              <a:avLst/>
            </a:prstGeom>
            <a:solidFill>
              <a:srgbClr val="AABA36"/>
            </a:solidFill>
            <a:ln w="12700">
              <a:miter lim="400000"/>
            </a:ln>
          </p:spPr>
          <p:txBody>
            <a:bodyPr lIns="50800" tIns="50800" rIns="50800" bIns="50800" anchor="ctr"/>
            <a:lstStyle/>
            <a:p>
              <a:pPr defTabSz="914400"/>
              <a:endParaRPr sz="1800">
                <a:solidFill>
                  <a:srgbClr val="53565A"/>
                </a:solidFill>
              </a:endParaRPr>
            </a:p>
          </p:txBody>
        </p:sp>
        <p:sp>
          <p:nvSpPr>
            <p:cNvPr id="12" name="Rectangle"/>
            <p:cNvSpPr/>
            <p:nvPr userDrawn="1"/>
          </p:nvSpPr>
          <p:spPr>
            <a:xfrm>
              <a:off x="160238" y="371177"/>
              <a:ext cx="1300907" cy="813396"/>
            </a:xfrm>
            <a:prstGeom prst="rect">
              <a:avLst/>
            </a:prstGeom>
            <a:solidFill>
              <a:srgbClr val="CEDD01"/>
            </a:solidFill>
            <a:ln w="12700">
              <a:miter lim="400000"/>
            </a:ln>
          </p:spPr>
          <p:txBody>
            <a:bodyPr lIns="50800" tIns="50800" rIns="50800" bIns="50800" anchor="ctr"/>
            <a:lstStyle/>
            <a:p>
              <a:pPr defTabSz="914400"/>
              <a:endParaRPr sz="1800">
                <a:solidFill>
                  <a:srgbClr val="53565A"/>
                </a:solidFill>
              </a:endParaRPr>
            </a:p>
          </p:txBody>
        </p:sp>
        <p:sp>
          <p:nvSpPr>
            <p:cNvPr id="13" name="Rectangle"/>
            <p:cNvSpPr/>
            <p:nvPr userDrawn="1"/>
          </p:nvSpPr>
          <p:spPr>
            <a:xfrm>
              <a:off x="160238" y="1184572"/>
              <a:ext cx="1300907" cy="4539854"/>
            </a:xfrm>
            <a:prstGeom prst="rect">
              <a:avLst/>
            </a:prstGeom>
            <a:solidFill>
              <a:srgbClr val="73A600"/>
            </a:solidFill>
            <a:ln w="12700">
              <a:miter lim="400000"/>
            </a:ln>
          </p:spPr>
          <p:txBody>
            <a:bodyPr lIns="50800" tIns="50800" rIns="50800" bIns="50800" anchor="ctr"/>
            <a:lstStyle/>
            <a:p>
              <a:pPr defTabSz="914400"/>
              <a:endParaRPr sz="1800">
                <a:solidFill>
                  <a:srgbClr val="53565A"/>
                </a:solidFill>
              </a:endParaRPr>
            </a:p>
          </p:txBody>
        </p:sp>
        <p:sp>
          <p:nvSpPr>
            <p:cNvPr id="14" name="Rectangle"/>
            <p:cNvSpPr/>
            <p:nvPr userDrawn="1"/>
          </p:nvSpPr>
          <p:spPr>
            <a:xfrm>
              <a:off x="160238" y="154880"/>
              <a:ext cx="1300907" cy="216298"/>
            </a:xfrm>
            <a:prstGeom prst="rect">
              <a:avLst/>
            </a:prstGeom>
            <a:solidFill>
              <a:srgbClr val="94B301"/>
            </a:solidFill>
            <a:ln w="12700">
              <a:miter lim="400000"/>
            </a:ln>
          </p:spPr>
          <p:txBody>
            <a:bodyPr lIns="50800" tIns="50800" rIns="50800" bIns="50800" anchor="ctr"/>
            <a:lstStyle/>
            <a:p>
              <a:pPr defTabSz="914400"/>
              <a:endParaRPr sz="1800">
                <a:solidFill>
                  <a:srgbClr val="53565A"/>
                </a:solidFill>
              </a:endParaRPr>
            </a:p>
          </p:txBody>
        </p:sp>
      </p:grpSp>
    </p:spTree>
    <p:extLst>
      <p:ext uri="{BB962C8B-B14F-4D97-AF65-F5344CB8AC3E}">
        <p14:creationId xmlns:p14="http://schemas.microsoft.com/office/powerpoint/2010/main" val="1235104699"/>
      </p:ext>
    </p:extLst>
  </p:cSld>
  <p:clrMapOvr>
    <a:masterClrMapping/>
  </p:clrMapOvr>
</p:sldLayout>
</file>

<file path=ppt/slideLayouts/slideLayout310.xml><?xml version="1.0" encoding="utf-8"?>
<p:sldLayout xmlns:a="http://schemas.openxmlformats.org/drawingml/2006/main" xmlns:r="http://schemas.openxmlformats.org/officeDocument/2006/relationships" xmlns:p="http://schemas.openxmlformats.org/presentationml/2006/main" showMasterSp="0" preserve="1" userDrawn="1">
  <p:cSld name="Divider 1">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799077"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822455"/>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DA2B57"/>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7C194F"/>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grpSp>
        <p:nvGrpSpPr>
          <p:cNvPr id="8" name="Group 7"/>
          <p:cNvGrpSpPr/>
          <p:nvPr userDrawn="1"/>
        </p:nvGrpSpPr>
        <p:grpSpPr>
          <a:xfrm>
            <a:off x="213691" y="98855"/>
            <a:ext cx="1113676" cy="6105595"/>
            <a:chOff x="160238" y="154880"/>
            <a:chExt cx="1300907" cy="8777933"/>
          </a:xfrm>
        </p:grpSpPr>
        <p:sp>
          <p:nvSpPr>
            <p:cNvPr id="9" name="Rectangle"/>
            <p:cNvSpPr/>
            <p:nvPr userDrawn="1"/>
          </p:nvSpPr>
          <p:spPr>
            <a:xfrm>
              <a:off x="160238" y="8398371"/>
              <a:ext cx="1300907" cy="534442"/>
            </a:xfrm>
            <a:prstGeom prst="rect">
              <a:avLst/>
            </a:prstGeom>
            <a:solidFill>
              <a:srgbClr val="ED207D"/>
            </a:solidFill>
            <a:ln w="12700">
              <a:miter lim="400000"/>
            </a:ln>
          </p:spPr>
          <p:txBody>
            <a:bodyPr lIns="50800" tIns="50800" rIns="50800" bIns="50800" anchor="ctr"/>
            <a:lstStyle/>
            <a:p>
              <a:endParaRPr lang="en-US" sz="1662" dirty="0"/>
            </a:p>
          </p:txBody>
        </p:sp>
        <p:sp>
          <p:nvSpPr>
            <p:cNvPr id="10" name="Rectangle"/>
            <p:cNvSpPr/>
            <p:nvPr userDrawn="1"/>
          </p:nvSpPr>
          <p:spPr>
            <a:xfrm>
              <a:off x="160238" y="8183364"/>
              <a:ext cx="1300907" cy="215008"/>
            </a:xfrm>
            <a:prstGeom prst="rect">
              <a:avLst/>
            </a:prstGeom>
            <a:solidFill>
              <a:srgbClr val="BF1D7F"/>
            </a:solidFill>
            <a:ln w="12700">
              <a:miter lim="400000"/>
            </a:ln>
          </p:spPr>
          <p:txBody>
            <a:bodyPr lIns="50800" tIns="50800" rIns="50800" bIns="50800" anchor="ctr"/>
            <a:lstStyle/>
            <a:p>
              <a:endParaRPr lang="en-US" sz="1662" dirty="0"/>
            </a:p>
          </p:txBody>
        </p:sp>
        <p:sp>
          <p:nvSpPr>
            <p:cNvPr id="11" name="Rectangle"/>
            <p:cNvSpPr/>
            <p:nvPr userDrawn="1"/>
          </p:nvSpPr>
          <p:spPr>
            <a:xfrm>
              <a:off x="160238" y="6195863"/>
              <a:ext cx="1300907" cy="1987502"/>
            </a:xfrm>
            <a:prstGeom prst="rect">
              <a:avLst/>
            </a:prstGeom>
            <a:solidFill>
              <a:srgbClr val="7C1A4F"/>
            </a:solidFill>
            <a:ln w="12700">
              <a:miter lim="400000"/>
            </a:ln>
          </p:spPr>
          <p:txBody>
            <a:bodyPr lIns="50800" tIns="50800" rIns="50800" bIns="50800" anchor="ctr"/>
            <a:lstStyle/>
            <a:p>
              <a:endParaRPr lang="en-US" sz="1662" dirty="0"/>
            </a:p>
          </p:txBody>
        </p:sp>
        <p:sp>
          <p:nvSpPr>
            <p:cNvPr id="12" name="Rectangle"/>
            <p:cNvSpPr/>
            <p:nvPr userDrawn="1"/>
          </p:nvSpPr>
          <p:spPr>
            <a:xfrm>
              <a:off x="160238" y="5724425"/>
              <a:ext cx="1300907" cy="471439"/>
            </a:xfrm>
            <a:prstGeom prst="rect">
              <a:avLst/>
            </a:prstGeom>
            <a:solidFill>
              <a:srgbClr val="DA2C57"/>
            </a:solidFill>
            <a:ln w="12700">
              <a:miter lim="400000"/>
            </a:ln>
          </p:spPr>
          <p:txBody>
            <a:bodyPr lIns="50800" tIns="50800" rIns="50800" bIns="50800" anchor="ctr"/>
            <a:lstStyle/>
            <a:p>
              <a:endParaRPr lang="en-US" sz="1662" dirty="0"/>
            </a:p>
          </p:txBody>
        </p:sp>
        <p:sp>
          <p:nvSpPr>
            <p:cNvPr id="14" name="Rectangle"/>
            <p:cNvSpPr/>
            <p:nvPr userDrawn="1"/>
          </p:nvSpPr>
          <p:spPr>
            <a:xfrm>
              <a:off x="160238" y="371177"/>
              <a:ext cx="1300907" cy="813396"/>
            </a:xfrm>
            <a:prstGeom prst="rect">
              <a:avLst/>
            </a:prstGeom>
            <a:solidFill>
              <a:srgbClr val="C4297F"/>
            </a:solidFill>
            <a:ln w="12700">
              <a:miter lim="400000"/>
            </a:ln>
          </p:spPr>
          <p:txBody>
            <a:bodyPr lIns="50800" tIns="50800" rIns="50800" bIns="50800" anchor="ctr"/>
            <a:lstStyle/>
            <a:p>
              <a:endParaRPr lang="en-US" sz="1662" dirty="0"/>
            </a:p>
          </p:txBody>
        </p:sp>
        <p:sp>
          <p:nvSpPr>
            <p:cNvPr id="17" name="Rectangle"/>
            <p:cNvSpPr/>
            <p:nvPr userDrawn="1"/>
          </p:nvSpPr>
          <p:spPr>
            <a:xfrm>
              <a:off x="160238" y="1184572"/>
              <a:ext cx="1300907" cy="4539854"/>
            </a:xfrm>
            <a:prstGeom prst="rect">
              <a:avLst/>
            </a:prstGeom>
            <a:solidFill>
              <a:srgbClr val="822455"/>
            </a:solidFill>
            <a:ln w="12700">
              <a:miter lim="400000"/>
            </a:ln>
          </p:spPr>
          <p:txBody>
            <a:bodyPr lIns="50800" tIns="50800" rIns="50800" bIns="50800" anchor="ctr"/>
            <a:lstStyle/>
            <a:p>
              <a:endParaRPr lang="en-US" sz="1662" dirty="0"/>
            </a:p>
          </p:txBody>
        </p:sp>
        <p:sp>
          <p:nvSpPr>
            <p:cNvPr id="19" name="Rectangle"/>
            <p:cNvSpPr/>
            <p:nvPr userDrawn="1"/>
          </p:nvSpPr>
          <p:spPr>
            <a:xfrm>
              <a:off x="160238" y="154880"/>
              <a:ext cx="1300907" cy="216298"/>
            </a:xfrm>
            <a:prstGeom prst="rect">
              <a:avLst/>
            </a:prstGeom>
            <a:solidFill>
              <a:srgbClr val="DA2C57"/>
            </a:solidFill>
            <a:ln w="12700">
              <a:miter lim="400000"/>
            </a:ln>
          </p:spPr>
          <p:txBody>
            <a:bodyPr lIns="50800" tIns="50800" rIns="50800" bIns="50800" anchor="ctr"/>
            <a:lstStyle/>
            <a:p>
              <a:endParaRPr lang="en-US" sz="1662" dirty="0"/>
            </a:p>
          </p:txBody>
        </p:sp>
      </p:gr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spTree>
    <p:extLst>
      <p:ext uri="{BB962C8B-B14F-4D97-AF65-F5344CB8AC3E}">
        <p14:creationId xmlns:p14="http://schemas.microsoft.com/office/powerpoint/2010/main" val="1925606505"/>
      </p:ext>
    </p:extLst>
  </p:cSld>
  <p:clrMapOvr>
    <a:masterClrMapping/>
  </p:clrMapOvr>
</p:sldLayout>
</file>

<file path=ppt/slideLayouts/slideLayout311.xml><?xml version="1.0" encoding="utf-8"?>
<p:sldLayout xmlns:a="http://schemas.openxmlformats.org/drawingml/2006/main" xmlns:r="http://schemas.openxmlformats.org/officeDocument/2006/relationships" xmlns:p="http://schemas.openxmlformats.org/presentationml/2006/main" showMasterSp="0" preserve="1" userDrawn="1">
  <p:cSld name="Divider 2">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800101"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EE4228"/>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F69427"/>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FCBA1A"/>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13691" y="98854"/>
            <a:ext cx="1113676" cy="6105595"/>
            <a:chOff x="160238" y="162796"/>
            <a:chExt cx="1300907" cy="8777933"/>
          </a:xfrm>
        </p:grpSpPr>
        <p:sp>
          <p:nvSpPr>
            <p:cNvPr id="22" name="Rectangle"/>
            <p:cNvSpPr/>
            <p:nvPr userDrawn="1"/>
          </p:nvSpPr>
          <p:spPr>
            <a:xfrm>
              <a:off x="160238" y="8406287"/>
              <a:ext cx="1300907" cy="534442"/>
            </a:xfrm>
            <a:prstGeom prst="rect">
              <a:avLst/>
            </a:prstGeom>
            <a:solidFill>
              <a:srgbClr val="D91F27"/>
            </a:solidFill>
            <a:ln w="12700">
              <a:miter lim="400000"/>
            </a:ln>
          </p:spPr>
          <p:txBody>
            <a:bodyPr lIns="50800" tIns="50800" rIns="50800" bIns="50800" anchor="ctr"/>
            <a:lstStyle/>
            <a:p>
              <a:endParaRPr lang="en-US" sz="1662" dirty="0"/>
            </a:p>
          </p:txBody>
        </p:sp>
        <p:sp>
          <p:nvSpPr>
            <p:cNvPr id="23" name="Rectangle"/>
            <p:cNvSpPr/>
            <p:nvPr userDrawn="1"/>
          </p:nvSpPr>
          <p:spPr>
            <a:xfrm>
              <a:off x="160238" y="8191280"/>
              <a:ext cx="1300907" cy="215008"/>
            </a:xfrm>
            <a:prstGeom prst="rect">
              <a:avLst/>
            </a:prstGeom>
            <a:solidFill>
              <a:srgbClr val="F36F26"/>
            </a:solidFill>
            <a:ln w="12700">
              <a:miter lim="400000"/>
            </a:ln>
          </p:spPr>
          <p:txBody>
            <a:bodyPr lIns="50800" tIns="50800" rIns="50800" bIns="50800" anchor="ctr"/>
            <a:lstStyle/>
            <a:p>
              <a:endParaRPr lang="en-US" sz="1662" dirty="0"/>
            </a:p>
          </p:txBody>
        </p:sp>
        <p:sp>
          <p:nvSpPr>
            <p:cNvPr id="24" name="Rectangle"/>
            <p:cNvSpPr/>
            <p:nvPr userDrawn="1"/>
          </p:nvSpPr>
          <p:spPr>
            <a:xfrm>
              <a:off x="160238" y="6203779"/>
              <a:ext cx="1300907" cy="1987502"/>
            </a:xfrm>
            <a:prstGeom prst="rect">
              <a:avLst/>
            </a:prstGeom>
            <a:solidFill>
              <a:srgbClr val="FBB91A"/>
            </a:solidFill>
            <a:ln w="12700">
              <a:miter lim="400000"/>
            </a:ln>
          </p:spPr>
          <p:txBody>
            <a:bodyPr lIns="50800" tIns="50800" rIns="50800" bIns="50800" anchor="ctr"/>
            <a:lstStyle/>
            <a:p>
              <a:endParaRPr lang="en-US" sz="1662" dirty="0"/>
            </a:p>
          </p:txBody>
        </p:sp>
        <p:sp>
          <p:nvSpPr>
            <p:cNvPr id="25" name="Rectangle"/>
            <p:cNvSpPr/>
            <p:nvPr userDrawn="1"/>
          </p:nvSpPr>
          <p:spPr>
            <a:xfrm>
              <a:off x="160238" y="5732341"/>
              <a:ext cx="1300907" cy="471439"/>
            </a:xfrm>
            <a:prstGeom prst="rect">
              <a:avLst/>
            </a:prstGeom>
            <a:solidFill>
              <a:srgbClr val="F69427"/>
            </a:solidFill>
            <a:ln w="12700">
              <a:miter lim="400000"/>
            </a:ln>
          </p:spPr>
          <p:txBody>
            <a:bodyPr lIns="50800" tIns="50800" rIns="50800" bIns="50800" anchor="ctr"/>
            <a:lstStyle/>
            <a:p>
              <a:endParaRPr lang="en-US" sz="1662" dirty="0"/>
            </a:p>
          </p:txBody>
        </p:sp>
        <p:sp>
          <p:nvSpPr>
            <p:cNvPr id="26" name="Rectangle"/>
            <p:cNvSpPr/>
            <p:nvPr userDrawn="1"/>
          </p:nvSpPr>
          <p:spPr>
            <a:xfrm>
              <a:off x="160238" y="379093"/>
              <a:ext cx="1300907" cy="813396"/>
            </a:xfrm>
            <a:prstGeom prst="rect">
              <a:avLst/>
            </a:prstGeom>
            <a:solidFill>
              <a:srgbClr val="F79824"/>
            </a:solidFill>
            <a:ln w="12700">
              <a:miter lim="400000"/>
            </a:ln>
          </p:spPr>
          <p:txBody>
            <a:bodyPr lIns="50800" tIns="50800" rIns="50800" bIns="50800" anchor="ctr"/>
            <a:lstStyle/>
            <a:p>
              <a:endParaRPr lang="en-US" sz="1662" dirty="0"/>
            </a:p>
          </p:txBody>
        </p:sp>
        <p:sp>
          <p:nvSpPr>
            <p:cNvPr id="27" name="Rectangle"/>
            <p:cNvSpPr/>
            <p:nvPr userDrawn="1"/>
          </p:nvSpPr>
          <p:spPr>
            <a:xfrm>
              <a:off x="160238" y="1192488"/>
              <a:ext cx="1300907" cy="4539854"/>
            </a:xfrm>
            <a:prstGeom prst="rect">
              <a:avLst/>
            </a:prstGeom>
            <a:solidFill>
              <a:srgbClr val="EE4329"/>
            </a:solidFill>
            <a:ln w="12700">
              <a:miter lim="400000"/>
            </a:ln>
          </p:spPr>
          <p:txBody>
            <a:bodyPr lIns="50800" tIns="50800" rIns="50800" bIns="50800" anchor="ctr"/>
            <a:lstStyle/>
            <a:p>
              <a:endParaRPr lang="en-US" sz="1662" dirty="0"/>
            </a:p>
          </p:txBody>
        </p:sp>
        <p:sp>
          <p:nvSpPr>
            <p:cNvPr id="28" name="Rectangle"/>
            <p:cNvSpPr/>
            <p:nvPr userDrawn="1"/>
          </p:nvSpPr>
          <p:spPr>
            <a:xfrm>
              <a:off x="160238" y="162796"/>
              <a:ext cx="1300907" cy="216298"/>
            </a:xfrm>
            <a:prstGeom prst="rect">
              <a:avLst/>
            </a:prstGeom>
            <a:solidFill>
              <a:srgbClr val="BF2126"/>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2868263180"/>
      </p:ext>
    </p:extLst>
  </p:cSld>
  <p:clrMapOvr>
    <a:masterClrMapping/>
  </p:clrMapOvr>
</p:sldLayout>
</file>

<file path=ppt/slideLayouts/slideLayout312.xml><?xml version="1.0" encoding="utf-8"?>
<p:sldLayout xmlns:a="http://schemas.openxmlformats.org/drawingml/2006/main" xmlns:r="http://schemas.openxmlformats.org/officeDocument/2006/relationships" xmlns:p="http://schemas.openxmlformats.org/presentationml/2006/main" showMasterSp="0" preserve="1" userDrawn="1">
  <p:cSld name="Divider 3">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801125"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007272"/>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00C0B6"/>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00A6AB"/>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13691" y="99934"/>
            <a:ext cx="1113676" cy="6105588"/>
            <a:chOff x="90616" y="113613"/>
            <a:chExt cx="1300907" cy="8777933"/>
          </a:xfrm>
        </p:grpSpPr>
        <p:sp>
          <p:nvSpPr>
            <p:cNvPr id="22" name="Rectangle"/>
            <p:cNvSpPr/>
            <p:nvPr userDrawn="1"/>
          </p:nvSpPr>
          <p:spPr>
            <a:xfrm>
              <a:off x="90616" y="8357104"/>
              <a:ext cx="1300907" cy="534442"/>
            </a:xfrm>
            <a:prstGeom prst="rect">
              <a:avLst/>
            </a:prstGeom>
            <a:solidFill>
              <a:srgbClr val="00C0B6"/>
            </a:solidFill>
            <a:ln w="12700">
              <a:miter lim="400000"/>
            </a:ln>
          </p:spPr>
          <p:txBody>
            <a:bodyPr lIns="50800" tIns="50800" rIns="50800" bIns="50800" anchor="ctr"/>
            <a:lstStyle/>
            <a:p>
              <a:endParaRPr lang="en-US" sz="1662" dirty="0"/>
            </a:p>
          </p:txBody>
        </p:sp>
        <p:sp>
          <p:nvSpPr>
            <p:cNvPr id="23" name="Rectangle"/>
            <p:cNvSpPr/>
            <p:nvPr userDrawn="1"/>
          </p:nvSpPr>
          <p:spPr>
            <a:xfrm>
              <a:off x="90616" y="8142097"/>
              <a:ext cx="1300907" cy="215008"/>
            </a:xfrm>
            <a:prstGeom prst="rect">
              <a:avLst/>
            </a:prstGeom>
            <a:solidFill>
              <a:srgbClr val="007272"/>
            </a:solidFill>
            <a:ln w="12700">
              <a:miter lim="400000"/>
            </a:ln>
          </p:spPr>
          <p:txBody>
            <a:bodyPr lIns="50800" tIns="50800" rIns="50800" bIns="50800" anchor="ctr"/>
            <a:lstStyle/>
            <a:p>
              <a:endParaRPr lang="en-US" sz="1662" dirty="0"/>
            </a:p>
          </p:txBody>
        </p:sp>
        <p:sp>
          <p:nvSpPr>
            <p:cNvPr id="24" name="Rectangle"/>
            <p:cNvSpPr/>
            <p:nvPr userDrawn="1"/>
          </p:nvSpPr>
          <p:spPr>
            <a:xfrm>
              <a:off x="90616" y="6154596"/>
              <a:ext cx="1300907" cy="1987502"/>
            </a:xfrm>
            <a:prstGeom prst="rect">
              <a:avLst/>
            </a:prstGeom>
            <a:solidFill>
              <a:srgbClr val="00A6AB"/>
            </a:solidFill>
            <a:ln w="12700">
              <a:miter lim="400000"/>
            </a:ln>
          </p:spPr>
          <p:txBody>
            <a:bodyPr lIns="50800" tIns="50800" rIns="50800" bIns="50800" anchor="ctr"/>
            <a:lstStyle/>
            <a:p>
              <a:endParaRPr lang="en-US" sz="1662" dirty="0"/>
            </a:p>
          </p:txBody>
        </p:sp>
        <p:sp>
          <p:nvSpPr>
            <p:cNvPr id="25" name="Rectangle"/>
            <p:cNvSpPr/>
            <p:nvPr userDrawn="1"/>
          </p:nvSpPr>
          <p:spPr>
            <a:xfrm>
              <a:off x="90616" y="5683158"/>
              <a:ext cx="1300907" cy="471439"/>
            </a:xfrm>
            <a:prstGeom prst="rect">
              <a:avLst/>
            </a:prstGeom>
            <a:solidFill>
              <a:srgbClr val="00C0B6"/>
            </a:solidFill>
            <a:ln w="12700">
              <a:miter lim="400000"/>
            </a:ln>
          </p:spPr>
          <p:txBody>
            <a:bodyPr lIns="50800" tIns="50800" rIns="50800" bIns="50800" anchor="ctr"/>
            <a:lstStyle/>
            <a:p>
              <a:endParaRPr lang="en-US" sz="1662" dirty="0"/>
            </a:p>
          </p:txBody>
        </p:sp>
        <p:sp>
          <p:nvSpPr>
            <p:cNvPr id="26" name="Rectangle"/>
            <p:cNvSpPr/>
            <p:nvPr userDrawn="1"/>
          </p:nvSpPr>
          <p:spPr>
            <a:xfrm>
              <a:off x="90616" y="329910"/>
              <a:ext cx="1300907" cy="813396"/>
            </a:xfrm>
            <a:prstGeom prst="rect">
              <a:avLst/>
            </a:prstGeom>
            <a:solidFill>
              <a:srgbClr val="00C0B6"/>
            </a:solidFill>
            <a:ln w="12700">
              <a:miter lim="400000"/>
            </a:ln>
          </p:spPr>
          <p:txBody>
            <a:bodyPr lIns="50800" tIns="50800" rIns="50800" bIns="50800" anchor="ctr"/>
            <a:lstStyle/>
            <a:p>
              <a:endParaRPr lang="en-US" sz="1662" dirty="0"/>
            </a:p>
          </p:txBody>
        </p:sp>
        <p:sp>
          <p:nvSpPr>
            <p:cNvPr id="27" name="Rectangle"/>
            <p:cNvSpPr/>
            <p:nvPr userDrawn="1"/>
          </p:nvSpPr>
          <p:spPr>
            <a:xfrm>
              <a:off x="90616" y="1143305"/>
              <a:ext cx="1300907" cy="4539854"/>
            </a:xfrm>
            <a:prstGeom prst="rect">
              <a:avLst/>
            </a:prstGeom>
            <a:solidFill>
              <a:srgbClr val="007272"/>
            </a:solidFill>
            <a:ln w="12700">
              <a:miter lim="400000"/>
            </a:ln>
          </p:spPr>
          <p:txBody>
            <a:bodyPr lIns="50800" tIns="50800" rIns="50800" bIns="50800" anchor="ctr"/>
            <a:lstStyle/>
            <a:p>
              <a:endParaRPr lang="en-US" sz="1662" dirty="0"/>
            </a:p>
          </p:txBody>
        </p:sp>
        <p:sp>
          <p:nvSpPr>
            <p:cNvPr id="28" name="Rectangle"/>
            <p:cNvSpPr/>
            <p:nvPr userDrawn="1"/>
          </p:nvSpPr>
          <p:spPr>
            <a:xfrm>
              <a:off x="90616" y="113613"/>
              <a:ext cx="1300907" cy="216298"/>
            </a:xfrm>
            <a:prstGeom prst="rect">
              <a:avLst/>
            </a:prstGeom>
            <a:solidFill>
              <a:srgbClr val="00A6AB"/>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2613083339"/>
      </p:ext>
    </p:extLst>
  </p:cSld>
  <p:clrMapOvr>
    <a:masterClrMapping/>
  </p:clrMapOvr>
</p:sldLayout>
</file>

<file path=ppt/slideLayouts/slideLayout313.xml><?xml version="1.0" encoding="utf-8"?>
<p:sldLayout xmlns:a="http://schemas.openxmlformats.org/drawingml/2006/main" xmlns:r="http://schemas.openxmlformats.org/officeDocument/2006/relationships" xmlns:p="http://schemas.openxmlformats.org/presentationml/2006/main" showMasterSp="0" preserve="1" userDrawn="1">
  <p:cSld name="Divider 4">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802149"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73A600"/>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AABA35"/>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94B301"/>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15939" y="99934"/>
            <a:ext cx="1113675" cy="6105588"/>
            <a:chOff x="160238" y="154880"/>
            <a:chExt cx="1300907" cy="8777933"/>
          </a:xfrm>
        </p:grpSpPr>
        <p:sp>
          <p:nvSpPr>
            <p:cNvPr id="22" name="Rectangle"/>
            <p:cNvSpPr/>
            <p:nvPr userDrawn="1"/>
          </p:nvSpPr>
          <p:spPr>
            <a:xfrm>
              <a:off x="160238" y="8398371"/>
              <a:ext cx="1300907" cy="534442"/>
            </a:xfrm>
            <a:prstGeom prst="rect">
              <a:avLst/>
            </a:prstGeom>
            <a:solidFill>
              <a:srgbClr val="AABA36"/>
            </a:solidFill>
            <a:ln w="12700">
              <a:miter lim="400000"/>
            </a:ln>
          </p:spPr>
          <p:txBody>
            <a:bodyPr lIns="50800" tIns="50800" rIns="50800" bIns="50800" anchor="ctr"/>
            <a:lstStyle/>
            <a:p>
              <a:endParaRPr lang="en-US" sz="1662" dirty="0"/>
            </a:p>
          </p:txBody>
        </p:sp>
        <p:sp>
          <p:nvSpPr>
            <p:cNvPr id="23" name="Rectangle"/>
            <p:cNvSpPr/>
            <p:nvPr userDrawn="1"/>
          </p:nvSpPr>
          <p:spPr>
            <a:xfrm>
              <a:off x="160238" y="8183364"/>
              <a:ext cx="1300907" cy="215008"/>
            </a:xfrm>
            <a:prstGeom prst="rect">
              <a:avLst/>
            </a:prstGeom>
            <a:solidFill>
              <a:srgbClr val="CEDD01"/>
            </a:solidFill>
            <a:ln w="12700">
              <a:miter lim="400000"/>
            </a:ln>
          </p:spPr>
          <p:txBody>
            <a:bodyPr lIns="50800" tIns="50800" rIns="50800" bIns="50800" anchor="ctr"/>
            <a:lstStyle/>
            <a:p>
              <a:endParaRPr lang="en-US" sz="1662" dirty="0"/>
            </a:p>
          </p:txBody>
        </p:sp>
        <p:sp>
          <p:nvSpPr>
            <p:cNvPr id="24" name="Rectangle"/>
            <p:cNvSpPr/>
            <p:nvPr userDrawn="1"/>
          </p:nvSpPr>
          <p:spPr>
            <a:xfrm>
              <a:off x="160238" y="6195863"/>
              <a:ext cx="1300907" cy="1987502"/>
            </a:xfrm>
            <a:prstGeom prst="rect">
              <a:avLst/>
            </a:prstGeom>
            <a:solidFill>
              <a:srgbClr val="94B301"/>
            </a:solidFill>
            <a:ln w="12700">
              <a:miter lim="400000"/>
            </a:ln>
          </p:spPr>
          <p:txBody>
            <a:bodyPr lIns="50800" tIns="50800" rIns="50800" bIns="50800" anchor="ctr"/>
            <a:lstStyle/>
            <a:p>
              <a:endParaRPr lang="en-US" sz="1662" dirty="0"/>
            </a:p>
          </p:txBody>
        </p:sp>
        <p:sp>
          <p:nvSpPr>
            <p:cNvPr id="25" name="Rectangle"/>
            <p:cNvSpPr/>
            <p:nvPr userDrawn="1"/>
          </p:nvSpPr>
          <p:spPr>
            <a:xfrm>
              <a:off x="160238" y="5724425"/>
              <a:ext cx="1300907" cy="471439"/>
            </a:xfrm>
            <a:prstGeom prst="rect">
              <a:avLst/>
            </a:prstGeom>
            <a:solidFill>
              <a:srgbClr val="AABA36"/>
            </a:solidFill>
            <a:ln w="12700">
              <a:miter lim="400000"/>
            </a:ln>
          </p:spPr>
          <p:txBody>
            <a:bodyPr lIns="50800" tIns="50800" rIns="50800" bIns="50800" anchor="ctr"/>
            <a:lstStyle/>
            <a:p>
              <a:endParaRPr lang="en-US" sz="1662" dirty="0"/>
            </a:p>
          </p:txBody>
        </p:sp>
        <p:sp>
          <p:nvSpPr>
            <p:cNvPr id="26" name="Rectangle"/>
            <p:cNvSpPr/>
            <p:nvPr userDrawn="1"/>
          </p:nvSpPr>
          <p:spPr>
            <a:xfrm>
              <a:off x="160238" y="371177"/>
              <a:ext cx="1300907" cy="813396"/>
            </a:xfrm>
            <a:prstGeom prst="rect">
              <a:avLst/>
            </a:prstGeom>
            <a:solidFill>
              <a:srgbClr val="CEDD01"/>
            </a:solidFill>
            <a:ln w="12700">
              <a:miter lim="400000"/>
            </a:ln>
          </p:spPr>
          <p:txBody>
            <a:bodyPr lIns="50800" tIns="50800" rIns="50800" bIns="50800" anchor="ctr"/>
            <a:lstStyle/>
            <a:p>
              <a:endParaRPr lang="en-US" sz="1662" dirty="0"/>
            </a:p>
          </p:txBody>
        </p:sp>
        <p:sp>
          <p:nvSpPr>
            <p:cNvPr id="27" name="Rectangle"/>
            <p:cNvSpPr/>
            <p:nvPr userDrawn="1"/>
          </p:nvSpPr>
          <p:spPr>
            <a:xfrm>
              <a:off x="160238" y="1184572"/>
              <a:ext cx="1300907" cy="4539854"/>
            </a:xfrm>
            <a:prstGeom prst="rect">
              <a:avLst/>
            </a:prstGeom>
            <a:solidFill>
              <a:srgbClr val="73A600"/>
            </a:solidFill>
            <a:ln w="12700">
              <a:miter lim="400000"/>
            </a:ln>
          </p:spPr>
          <p:txBody>
            <a:bodyPr lIns="50800" tIns="50800" rIns="50800" bIns="50800" anchor="ctr"/>
            <a:lstStyle/>
            <a:p>
              <a:endParaRPr lang="en-US" sz="1662" dirty="0"/>
            </a:p>
          </p:txBody>
        </p:sp>
        <p:sp>
          <p:nvSpPr>
            <p:cNvPr id="28" name="Rectangle"/>
            <p:cNvSpPr/>
            <p:nvPr userDrawn="1"/>
          </p:nvSpPr>
          <p:spPr>
            <a:xfrm>
              <a:off x="160238" y="154880"/>
              <a:ext cx="1300907" cy="216298"/>
            </a:xfrm>
            <a:prstGeom prst="rect">
              <a:avLst/>
            </a:prstGeom>
            <a:solidFill>
              <a:srgbClr val="94B301"/>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1841354023"/>
      </p:ext>
    </p:extLst>
  </p:cSld>
  <p:clrMapOvr>
    <a:masterClrMapping/>
  </p:clrMapOvr>
</p:sldLayout>
</file>

<file path=ppt/slideLayouts/slideLayout314.xml><?xml version="1.0" encoding="utf-8"?>
<p:sldLayout xmlns:a="http://schemas.openxmlformats.org/drawingml/2006/main" xmlns:r="http://schemas.openxmlformats.org/officeDocument/2006/relationships" xmlns:p="http://schemas.openxmlformats.org/presentationml/2006/main" showMasterSp="0" preserve="1" userDrawn="1">
  <p:cSld name="Divider 5">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803173"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70147B"/>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8B4093"/>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63006C"/>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15939" y="99934"/>
            <a:ext cx="1113675" cy="6105588"/>
            <a:chOff x="1081465" y="114688"/>
            <a:chExt cx="1300907" cy="8777933"/>
          </a:xfrm>
        </p:grpSpPr>
        <p:sp>
          <p:nvSpPr>
            <p:cNvPr id="22" name="Rectangle"/>
            <p:cNvSpPr/>
            <p:nvPr userDrawn="1"/>
          </p:nvSpPr>
          <p:spPr>
            <a:xfrm>
              <a:off x="1081465" y="8358179"/>
              <a:ext cx="1300907" cy="534442"/>
            </a:xfrm>
            <a:prstGeom prst="rect">
              <a:avLst/>
            </a:prstGeom>
            <a:solidFill>
              <a:srgbClr val="8C4395"/>
            </a:solidFill>
            <a:ln w="12700">
              <a:miter lim="400000"/>
            </a:ln>
          </p:spPr>
          <p:txBody>
            <a:bodyPr lIns="50800" tIns="50800" rIns="50800" bIns="50800" anchor="ctr"/>
            <a:lstStyle/>
            <a:p>
              <a:endParaRPr lang="en-US" sz="1662" dirty="0"/>
            </a:p>
          </p:txBody>
        </p:sp>
        <p:sp>
          <p:nvSpPr>
            <p:cNvPr id="23" name="Rectangle"/>
            <p:cNvSpPr/>
            <p:nvPr userDrawn="1"/>
          </p:nvSpPr>
          <p:spPr>
            <a:xfrm>
              <a:off x="1081465" y="8143172"/>
              <a:ext cx="1300907" cy="215008"/>
            </a:xfrm>
            <a:prstGeom prst="rect">
              <a:avLst/>
            </a:prstGeom>
            <a:solidFill>
              <a:srgbClr val="A469AB"/>
            </a:solidFill>
            <a:ln w="12700">
              <a:miter lim="400000"/>
            </a:ln>
          </p:spPr>
          <p:txBody>
            <a:bodyPr lIns="50800" tIns="50800" rIns="50800" bIns="50800" anchor="ctr"/>
            <a:lstStyle/>
            <a:p>
              <a:endParaRPr lang="en-US" sz="1662" dirty="0"/>
            </a:p>
          </p:txBody>
        </p:sp>
        <p:sp>
          <p:nvSpPr>
            <p:cNvPr id="24" name="Rectangle"/>
            <p:cNvSpPr/>
            <p:nvPr userDrawn="1"/>
          </p:nvSpPr>
          <p:spPr>
            <a:xfrm>
              <a:off x="1081465" y="6155671"/>
              <a:ext cx="1300907" cy="1987502"/>
            </a:xfrm>
            <a:prstGeom prst="rect">
              <a:avLst/>
            </a:prstGeom>
            <a:solidFill>
              <a:srgbClr val="63006C"/>
            </a:solidFill>
            <a:ln w="12700">
              <a:miter lim="400000"/>
            </a:ln>
          </p:spPr>
          <p:txBody>
            <a:bodyPr lIns="50800" tIns="50800" rIns="50800" bIns="50800" anchor="ctr"/>
            <a:lstStyle/>
            <a:p>
              <a:endParaRPr lang="en-US" sz="1662" dirty="0"/>
            </a:p>
          </p:txBody>
        </p:sp>
        <p:sp>
          <p:nvSpPr>
            <p:cNvPr id="25" name="Rectangle"/>
            <p:cNvSpPr/>
            <p:nvPr userDrawn="1"/>
          </p:nvSpPr>
          <p:spPr>
            <a:xfrm>
              <a:off x="1081465" y="5684233"/>
              <a:ext cx="1300907" cy="471439"/>
            </a:xfrm>
            <a:prstGeom prst="rect">
              <a:avLst/>
            </a:prstGeom>
            <a:solidFill>
              <a:srgbClr val="8B4193"/>
            </a:solidFill>
            <a:ln w="12700">
              <a:miter lim="400000"/>
            </a:ln>
          </p:spPr>
          <p:txBody>
            <a:bodyPr lIns="50800" tIns="50800" rIns="50800" bIns="50800" anchor="ctr"/>
            <a:lstStyle/>
            <a:p>
              <a:endParaRPr lang="en-US" sz="1662" dirty="0"/>
            </a:p>
          </p:txBody>
        </p:sp>
        <p:sp>
          <p:nvSpPr>
            <p:cNvPr id="26" name="Rectangle"/>
            <p:cNvSpPr/>
            <p:nvPr userDrawn="1"/>
          </p:nvSpPr>
          <p:spPr>
            <a:xfrm>
              <a:off x="1081465" y="330985"/>
              <a:ext cx="1300907" cy="813396"/>
            </a:xfrm>
            <a:prstGeom prst="rect">
              <a:avLst/>
            </a:prstGeom>
            <a:solidFill>
              <a:srgbClr val="8C4395"/>
            </a:solidFill>
            <a:ln w="12700">
              <a:miter lim="400000"/>
            </a:ln>
          </p:spPr>
          <p:txBody>
            <a:bodyPr lIns="50800" tIns="50800" rIns="50800" bIns="50800" anchor="ctr"/>
            <a:lstStyle/>
            <a:p>
              <a:endParaRPr lang="en-US" sz="1662" dirty="0"/>
            </a:p>
          </p:txBody>
        </p:sp>
        <p:sp>
          <p:nvSpPr>
            <p:cNvPr id="27" name="Rectangle"/>
            <p:cNvSpPr/>
            <p:nvPr userDrawn="1"/>
          </p:nvSpPr>
          <p:spPr>
            <a:xfrm>
              <a:off x="1081465" y="1144380"/>
              <a:ext cx="1300907" cy="4539854"/>
            </a:xfrm>
            <a:prstGeom prst="rect">
              <a:avLst/>
            </a:prstGeom>
            <a:solidFill>
              <a:srgbClr val="70147B"/>
            </a:solidFill>
            <a:ln w="12700">
              <a:miter lim="400000"/>
            </a:ln>
          </p:spPr>
          <p:txBody>
            <a:bodyPr lIns="50800" tIns="50800" rIns="50800" bIns="50800" anchor="ctr"/>
            <a:lstStyle/>
            <a:p>
              <a:endParaRPr lang="en-US" sz="1662" dirty="0"/>
            </a:p>
          </p:txBody>
        </p:sp>
        <p:sp>
          <p:nvSpPr>
            <p:cNvPr id="28" name="Rectangle"/>
            <p:cNvSpPr/>
            <p:nvPr userDrawn="1"/>
          </p:nvSpPr>
          <p:spPr>
            <a:xfrm>
              <a:off x="1081465" y="114688"/>
              <a:ext cx="1300907" cy="216298"/>
            </a:xfrm>
            <a:prstGeom prst="rect">
              <a:avLst/>
            </a:prstGeom>
            <a:solidFill>
              <a:srgbClr val="70147B"/>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2411470666"/>
      </p:ext>
    </p:extLst>
  </p:cSld>
  <p:clrMapOvr>
    <a:masterClrMapping/>
  </p:clrMapOvr>
</p:sldLayout>
</file>

<file path=ppt/slideLayouts/slideLayout315.xml><?xml version="1.0" encoding="utf-8"?>
<p:sldLayout xmlns:a="http://schemas.openxmlformats.org/drawingml/2006/main" xmlns:r="http://schemas.openxmlformats.org/officeDocument/2006/relationships" xmlns:p="http://schemas.openxmlformats.org/presentationml/2006/main" showMasterSp="0" preserve="1" userDrawn="1">
  <p:cSld name="Divider 6">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804197"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016AA1"/>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104D6A"/>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2591C0"/>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09179" y="98854"/>
            <a:ext cx="1111928" cy="6096000"/>
            <a:chOff x="160238" y="154880"/>
            <a:chExt cx="1300907" cy="8777933"/>
          </a:xfrm>
        </p:grpSpPr>
        <p:sp>
          <p:nvSpPr>
            <p:cNvPr id="22" name="Rectangle"/>
            <p:cNvSpPr/>
            <p:nvPr userDrawn="1"/>
          </p:nvSpPr>
          <p:spPr>
            <a:xfrm>
              <a:off x="160238" y="8398371"/>
              <a:ext cx="1300907" cy="534442"/>
            </a:xfrm>
            <a:prstGeom prst="rect">
              <a:avLst/>
            </a:prstGeom>
            <a:solidFill>
              <a:srgbClr val="85CDD9"/>
            </a:solidFill>
            <a:ln w="12700">
              <a:miter lim="400000"/>
            </a:ln>
          </p:spPr>
          <p:txBody>
            <a:bodyPr lIns="50800" tIns="50800" rIns="50800" bIns="50800" anchor="ctr"/>
            <a:lstStyle/>
            <a:p>
              <a:endParaRPr lang="en-US" sz="1662" dirty="0"/>
            </a:p>
          </p:txBody>
        </p:sp>
        <p:sp>
          <p:nvSpPr>
            <p:cNvPr id="23" name="Rectangle"/>
            <p:cNvSpPr/>
            <p:nvPr userDrawn="1"/>
          </p:nvSpPr>
          <p:spPr>
            <a:xfrm>
              <a:off x="160238" y="8183364"/>
              <a:ext cx="1300907" cy="215008"/>
            </a:xfrm>
            <a:prstGeom prst="rect">
              <a:avLst/>
            </a:prstGeom>
            <a:solidFill>
              <a:srgbClr val="4D89AD"/>
            </a:solidFill>
            <a:ln w="12700">
              <a:miter lim="400000"/>
            </a:ln>
          </p:spPr>
          <p:txBody>
            <a:bodyPr lIns="50800" tIns="50800" rIns="50800" bIns="50800" anchor="ctr"/>
            <a:lstStyle/>
            <a:p>
              <a:endParaRPr lang="en-US" sz="1662" dirty="0"/>
            </a:p>
          </p:txBody>
        </p:sp>
        <p:sp>
          <p:nvSpPr>
            <p:cNvPr id="24" name="Rectangle"/>
            <p:cNvSpPr/>
            <p:nvPr userDrawn="1"/>
          </p:nvSpPr>
          <p:spPr>
            <a:xfrm>
              <a:off x="160238" y="6195863"/>
              <a:ext cx="1300907" cy="1987502"/>
            </a:xfrm>
            <a:prstGeom prst="rect">
              <a:avLst/>
            </a:prstGeom>
            <a:solidFill>
              <a:srgbClr val="2591C0"/>
            </a:solidFill>
            <a:ln w="12700">
              <a:miter lim="400000"/>
            </a:ln>
          </p:spPr>
          <p:txBody>
            <a:bodyPr lIns="50800" tIns="50800" rIns="50800" bIns="50800" anchor="ctr"/>
            <a:lstStyle/>
            <a:p>
              <a:endParaRPr lang="en-US" sz="1662" dirty="0"/>
            </a:p>
          </p:txBody>
        </p:sp>
        <p:sp>
          <p:nvSpPr>
            <p:cNvPr id="25" name="Rectangle"/>
            <p:cNvSpPr/>
            <p:nvPr userDrawn="1"/>
          </p:nvSpPr>
          <p:spPr>
            <a:xfrm>
              <a:off x="160238" y="5724425"/>
              <a:ext cx="1300907" cy="471439"/>
            </a:xfrm>
            <a:prstGeom prst="rect">
              <a:avLst/>
            </a:prstGeom>
            <a:solidFill>
              <a:srgbClr val="104D6A"/>
            </a:solidFill>
            <a:ln w="12700">
              <a:miter lim="400000"/>
            </a:ln>
          </p:spPr>
          <p:txBody>
            <a:bodyPr lIns="50800" tIns="50800" rIns="50800" bIns="50800" anchor="ctr"/>
            <a:lstStyle/>
            <a:p>
              <a:endParaRPr lang="en-US" sz="1662" dirty="0"/>
            </a:p>
          </p:txBody>
        </p:sp>
        <p:sp>
          <p:nvSpPr>
            <p:cNvPr id="26" name="Rectangle"/>
            <p:cNvSpPr/>
            <p:nvPr userDrawn="1"/>
          </p:nvSpPr>
          <p:spPr>
            <a:xfrm>
              <a:off x="160238" y="371177"/>
              <a:ext cx="1300907" cy="813396"/>
            </a:xfrm>
            <a:prstGeom prst="rect">
              <a:avLst/>
            </a:prstGeom>
            <a:solidFill>
              <a:srgbClr val="095B88"/>
            </a:solidFill>
            <a:ln w="12700">
              <a:miter lim="400000"/>
            </a:ln>
          </p:spPr>
          <p:txBody>
            <a:bodyPr lIns="50800" tIns="50800" rIns="50800" bIns="50800" anchor="ctr"/>
            <a:lstStyle/>
            <a:p>
              <a:endParaRPr lang="en-US" sz="1662" dirty="0"/>
            </a:p>
          </p:txBody>
        </p:sp>
        <p:sp>
          <p:nvSpPr>
            <p:cNvPr id="27" name="Rectangle"/>
            <p:cNvSpPr/>
            <p:nvPr userDrawn="1"/>
          </p:nvSpPr>
          <p:spPr>
            <a:xfrm>
              <a:off x="160238" y="1184572"/>
              <a:ext cx="1300907" cy="4539854"/>
            </a:xfrm>
            <a:prstGeom prst="rect">
              <a:avLst/>
            </a:prstGeom>
            <a:solidFill>
              <a:srgbClr val="016AA1"/>
            </a:solidFill>
            <a:ln w="12700">
              <a:miter lim="400000"/>
            </a:ln>
          </p:spPr>
          <p:txBody>
            <a:bodyPr lIns="50800" tIns="50800" rIns="50800" bIns="50800" anchor="ctr"/>
            <a:lstStyle/>
            <a:p>
              <a:endParaRPr lang="en-US" sz="1662" dirty="0"/>
            </a:p>
          </p:txBody>
        </p:sp>
        <p:sp>
          <p:nvSpPr>
            <p:cNvPr id="28" name="Rectangle"/>
            <p:cNvSpPr/>
            <p:nvPr userDrawn="1"/>
          </p:nvSpPr>
          <p:spPr>
            <a:xfrm>
              <a:off x="160238" y="154880"/>
              <a:ext cx="1300907" cy="216298"/>
            </a:xfrm>
            <a:prstGeom prst="rect">
              <a:avLst/>
            </a:prstGeom>
            <a:solidFill>
              <a:srgbClr val="85CDD9"/>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522739906"/>
      </p:ext>
    </p:extLst>
  </p:cSld>
  <p:clrMapOvr>
    <a:masterClrMapping/>
  </p:clrMapOvr>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805221"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562709" y="162000"/>
            <a:ext cx="11068060" cy="704087"/>
          </a:xfrm>
        </p:spPr>
        <p:txBody>
          <a:bodyPr anchor="t"/>
          <a:lstStyle>
            <a:lvl1pPr>
              <a:defRPr>
                <a:latin typeface="Arial"/>
                <a:sym typeface="Arial"/>
              </a:defRPr>
            </a:lvl1pPr>
          </a:lstStyle>
          <a:p>
            <a:endParaRPr lang="en-US" dirty="0"/>
          </a:p>
        </p:txBody>
      </p:sp>
      <p:sp>
        <p:nvSpPr>
          <p:cNvPr id="4" name="Text Placeholder 3"/>
          <p:cNvSpPr>
            <a:spLocks noGrp="1"/>
          </p:cNvSpPr>
          <p:nvPr>
            <p:ph type="body" sz="quarter" idx="10"/>
          </p:nvPr>
        </p:nvSpPr>
        <p:spPr>
          <a:xfrm>
            <a:off x="562709" y="1508760"/>
            <a:ext cx="11068060" cy="3997304"/>
          </a:xfrm>
        </p:spPr>
        <p:txBody>
          <a:bodyPr lIns="0" tIns="0" rIns="0" bIns="0"/>
          <a:lstStyle>
            <a:lvl1pPr>
              <a:spcBef>
                <a:spcPts val="354"/>
              </a:spcBef>
              <a:defRPr>
                <a:latin typeface="Arial"/>
                <a:sym typeface="Arial"/>
              </a:defRPr>
            </a:lvl1pPr>
            <a:lvl2pPr marL="422041" indent="-212682">
              <a:spcBef>
                <a:spcPts val="354"/>
              </a:spcBef>
              <a:defRPr>
                <a:latin typeface="Arial"/>
                <a:sym typeface="Arial"/>
              </a:defRPr>
            </a:lvl2pPr>
            <a:lvl3pPr marL="844083" indent="-212682">
              <a:spcBef>
                <a:spcPts val="354"/>
              </a:spcBef>
              <a:defRPr>
                <a:latin typeface="Arial"/>
                <a:sym typeface="Arial"/>
              </a:defRPr>
            </a:lvl3pPr>
            <a:lvl4pPr marL="1269447" indent="-216005">
              <a:spcBef>
                <a:spcPts val="354"/>
              </a:spcBef>
              <a:defRPr>
                <a:latin typeface="Arial"/>
                <a:sym typeface="Arial"/>
              </a:defRPr>
            </a:lvl4pPr>
            <a:lvl5pPr marL="1900848" indent="-212682">
              <a:spcBef>
                <a:spcPts val="354"/>
              </a:spcBef>
              <a:defRPr>
                <a:latin typeface="Arial"/>
                <a:sym typeface="Aria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6"/>
          <p:cNvSpPr>
            <a:spLocks noGrp="1"/>
          </p:cNvSpPr>
          <p:nvPr>
            <p:ph type="body" sz="quarter" idx="11"/>
          </p:nvPr>
        </p:nvSpPr>
        <p:spPr>
          <a:xfrm>
            <a:off x="562709" y="863601"/>
            <a:ext cx="11068060" cy="320359"/>
          </a:xfrm>
        </p:spPr>
        <p:txBody>
          <a:bodyPr anchor="t">
            <a:normAutofit/>
          </a:bodyPr>
          <a:lstStyle>
            <a:lvl1pPr>
              <a:defRPr sz="1385" b="0">
                <a:solidFill>
                  <a:srgbClr val="73C4EF"/>
                </a:solidFill>
              </a:defRPr>
            </a:lvl1pPr>
          </a:lstStyle>
          <a:p>
            <a:pPr lvl="0"/>
            <a:endParaRPr lang="en-US" dirty="0"/>
          </a:p>
        </p:txBody>
      </p:sp>
    </p:spTree>
    <p:extLst>
      <p:ext uri="{BB962C8B-B14F-4D97-AF65-F5344CB8AC3E}">
        <p14:creationId xmlns:p14="http://schemas.microsoft.com/office/powerpoint/2010/main" val="2400463598"/>
      </p:ext>
    </p:extLst>
  </p:cSld>
  <p:clrMapOvr>
    <a:masterClrMapping/>
  </p:clrMapOvr>
</p:sldLayout>
</file>

<file path=ppt/slideLayouts/slideLayout317.xml><?xml version="1.0" encoding="utf-8"?>
<p:sldLayout xmlns:a="http://schemas.openxmlformats.org/drawingml/2006/main" xmlns:r="http://schemas.openxmlformats.org/officeDocument/2006/relationships" xmlns:p="http://schemas.openxmlformats.org/presentationml/2006/main" preserve="1" userDrawn="1">
  <p:cSld name="Text with bullets">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806245" name="think-cell Slide" r:id="rId4" imgW="270" imgH="270" progId="TCLayout.ActiveDocument.1">
                  <p:embed/>
                </p:oleObj>
              </mc:Choice>
              <mc:Fallback>
                <p:oleObj name="think-cell Slide" r:id="rId4" imgW="270" imgH="270" progId="TCLayout.ActiveDocument.1">
                  <p:embed/>
                  <p:pic>
                    <p:nvPicPr>
                      <p:cNvPr id="6" name="Object 5"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ext Placeholder 7"/>
          <p:cNvSpPr>
            <a:spLocks noGrp="1"/>
          </p:cNvSpPr>
          <p:nvPr userDrawn="1">
            <p:ph type="body" sz="quarter" idx="13"/>
          </p:nvPr>
        </p:nvSpPr>
        <p:spPr>
          <a:xfrm>
            <a:off x="562709" y="1508400"/>
            <a:ext cx="11068060" cy="3997304"/>
          </a:xfrm>
          <a:prstGeom prst="rect">
            <a:avLst/>
          </a:prstGeom>
        </p:spPr>
        <p:txBody>
          <a:bodyPr lIns="0" tIns="0" rIns="0" bIns="0"/>
          <a:lstStyle>
            <a:lvl1pPr marL="159512" indent="-159512">
              <a:spcBef>
                <a:spcPts val="354"/>
              </a:spcBef>
              <a:buClr>
                <a:srgbClr val="002D72"/>
              </a:buClr>
              <a:buFont typeface="Arial" pitchFamily="34" charset="0"/>
              <a:buChar char="•"/>
              <a:tabLst/>
              <a:defRPr b="0">
                <a:latin typeface="Arial"/>
                <a:sym typeface="Arial"/>
              </a:defRPr>
            </a:lvl1pPr>
            <a:lvl2pPr marL="581553" indent="-212682">
              <a:spcBef>
                <a:spcPts val="354"/>
              </a:spcBef>
              <a:buFont typeface="Arial" pitchFamily="34" charset="0"/>
              <a:buChar char="–"/>
              <a:defRPr>
                <a:latin typeface="Arial"/>
                <a:sym typeface="Arial"/>
              </a:defRPr>
            </a:lvl2pPr>
            <a:lvl3pPr marL="993625" indent="-212682">
              <a:spcBef>
                <a:spcPts val="354"/>
              </a:spcBef>
              <a:defRPr>
                <a:latin typeface="Arial"/>
                <a:sym typeface="Arial"/>
              </a:defRPr>
            </a:lvl3pPr>
            <a:lvl4pPr marL="1425636" indent="-212682">
              <a:spcBef>
                <a:spcPts val="354"/>
              </a:spcBef>
              <a:defRPr>
                <a:latin typeface="Arial"/>
                <a:sym typeface="Arial"/>
              </a:defRPr>
            </a:lvl4pPr>
            <a:lvl5pPr marL="1900848" indent="-212682">
              <a:spcBef>
                <a:spcPts val="354"/>
              </a:spcBef>
              <a:defRPr>
                <a:latin typeface="Arial"/>
                <a:sym typeface="Aria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itle 1"/>
          <p:cNvSpPr>
            <a:spLocks noGrp="1"/>
          </p:cNvSpPr>
          <p:nvPr>
            <p:ph type="title"/>
          </p:nvPr>
        </p:nvSpPr>
        <p:spPr>
          <a:xfrm>
            <a:off x="562709" y="162000"/>
            <a:ext cx="11068060" cy="704087"/>
          </a:xfrm>
        </p:spPr>
        <p:txBody>
          <a:bodyPr anchor="t"/>
          <a:lstStyle>
            <a:lvl1pPr>
              <a:defRPr>
                <a:latin typeface="Arial"/>
                <a:sym typeface="Arial"/>
              </a:defRPr>
            </a:lvl1pPr>
          </a:lstStyle>
          <a:p>
            <a:endParaRPr lang="en-US" dirty="0"/>
          </a:p>
        </p:txBody>
      </p:sp>
      <p:sp>
        <p:nvSpPr>
          <p:cNvPr id="8" name="Text Placeholder 6"/>
          <p:cNvSpPr>
            <a:spLocks noGrp="1"/>
          </p:cNvSpPr>
          <p:nvPr>
            <p:ph type="body" sz="quarter" idx="11"/>
          </p:nvPr>
        </p:nvSpPr>
        <p:spPr>
          <a:xfrm>
            <a:off x="562709" y="863601"/>
            <a:ext cx="11068060" cy="320359"/>
          </a:xfrm>
        </p:spPr>
        <p:txBody>
          <a:bodyPr anchor="t">
            <a:normAutofit/>
          </a:bodyPr>
          <a:lstStyle>
            <a:lvl1pPr>
              <a:defRPr sz="1385" b="0">
                <a:solidFill>
                  <a:srgbClr val="73C4EF"/>
                </a:solidFill>
              </a:defRPr>
            </a:lvl1pPr>
          </a:lstStyle>
          <a:p>
            <a:pPr lvl="0"/>
            <a:endParaRPr lang="en-US" dirty="0"/>
          </a:p>
        </p:txBody>
      </p:sp>
    </p:spTree>
    <p:extLst>
      <p:ext uri="{BB962C8B-B14F-4D97-AF65-F5344CB8AC3E}">
        <p14:creationId xmlns:p14="http://schemas.microsoft.com/office/powerpoint/2010/main" val="3671993461"/>
      </p:ext>
    </p:extLst>
  </p:cSld>
  <p:clrMapOvr>
    <a:masterClrMapping/>
  </p:clrMapOvr>
</p:sldLayout>
</file>

<file path=ppt/slideLayouts/slideLayout31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807269" name="think-cell Slide" r:id="rId4" imgW="270" imgH="270" progId="TCLayout.ActiveDocument.1">
                  <p:embed/>
                </p:oleObj>
              </mc:Choice>
              <mc:Fallback>
                <p:oleObj name="think-cell Slide" r:id="rId4" imgW="270" imgH="270" progId="TCLayout.ActiveDocument.1">
                  <p:embed/>
                  <p:pic>
                    <p:nvPicPr>
                      <p:cNvPr id="7" name="Object 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le 1"/>
          <p:cNvSpPr>
            <a:spLocks noGrp="1"/>
          </p:cNvSpPr>
          <p:nvPr>
            <p:ph type="title"/>
          </p:nvPr>
        </p:nvSpPr>
        <p:spPr>
          <a:xfrm>
            <a:off x="562709" y="162000"/>
            <a:ext cx="11068060" cy="704087"/>
          </a:xfrm>
        </p:spPr>
        <p:txBody>
          <a:bodyPr anchor="t"/>
          <a:lstStyle>
            <a:lvl1pPr>
              <a:defRPr>
                <a:latin typeface="Arial"/>
                <a:sym typeface="Arial"/>
              </a:defRPr>
            </a:lvl1pPr>
          </a:lstStyle>
          <a:p>
            <a:endParaRPr lang="en-US" dirty="0"/>
          </a:p>
        </p:txBody>
      </p:sp>
      <p:sp>
        <p:nvSpPr>
          <p:cNvPr id="6" name="Text Placeholder 6"/>
          <p:cNvSpPr>
            <a:spLocks noGrp="1"/>
          </p:cNvSpPr>
          <p:nvPr>
            <p:ph type="body" sz="quarter" idx="11"/>
          </p:nvPr>
        </p:nvSpPr>
        <p:spPr>
          <a:xfrm>
            <a:off x="562709" y="863601"/>
            <a:ext cx="11068060" cy="320359"/>
          </a:xfrm>
        </p:spPr>
        <p:txBody>
          <a:bodyPr anchor="t">
            <a:normAutofit/>
          </a:bodyPr>
          <a:lstStyle>
            <a:lvl1pPr>
              <a:defRPr sz="1385" b="0">
                <a:solidFill>
                  <a:srgbClr val="73C4EF"/>
                </a:solidFill>
              </a:defRPr>
            </a:lvl1pPr>
          </a:lstStyle>
          <a:p>
            <a:pPr lvl="0"/>
            <a:endParaRPr lang="en-US" dirty="0"/>
          </a:p>
        </p:txBody>
      </p:sp>
    </p:spTree>
    <p:extLst>
      <p:ext uri="{BB962C8B-B14F-4D97-AF65-F5344CB8AC3E}">
        <p14:creationId xmlns:p14="http://schemas.microsoft.com/office/powerpoint/2010/main" val="3392585018"/>
      </p:ext>
    </p:extLst>
  </p:cSld>
  <p:clrMapOvr>
    <a:masterClrMapping/>
  </p:clrMapOvr>
</p:sldLayout>
</file>

<file path=ppt/slideLayouts/slideLayout31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808293" name="think-cell Slide" r:id="rId4" imgW="270" imgH="270" progId="TCLayout.ActiveDocument.1">
                  <p:embed/>
                </p:oleObj>
              </mc:Choice>
              <mc:Fallback>
                <p:oleObj name="think-cell Slide" r:id="rId4" imgW="270" imgH="270" progId="TCLayout.ActiveDocument.1">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390390588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4_Custom Layout">
    <p:spTree>
      <p:nvGrpSpPr>
        <p:cNvPr id="1" name=""/>
        <p:cNvGrpSpPr/>
        <p:nvPr/>
      </p:nvGrpSpPr>
      <p:grpSpPr>
        <a:xfrm>
          <a:off x="0" y="0"/>
          <a:ext cx="0" cy="0"/>
          <a:chOff x="0" y="0"/>
          <a:chExt cx="0" cy="0"/>
        </a:xfrm>
      </p:grpSpPr>
      <p:sp>
        <p:nvSpPr>
          <p:cNvPr id="14" name="Rectangle 13"/>
          <p:cNvSpPr/>
          <p:nvPr userDrawn="1"/>
        </p:nvSpPr>
        <p:spPr>
          <a:xfrm>
            <a:off x="226611" y="6608"/>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sz="1800">
              <a:solidFill>
                <a:srgbClr val="FFFFFF"/>
              </a:solidFill>
            </a:endParaRPr>
          </a:p>
        </p:txBody>
      </p:sp>
      <p:grpSp>
        <p:nvGrpSpPr>
          <p:cNvPr id="15" name="Group 14"/>
          <p:cNvGrpSpPr/>
          <p:nvPr userDrawn="1"/>
        </p:nvGrpSpPr>
        <p:grpSpPr>
          <a:xfrm flipH="1">
            <a:off x="226609" y="98855"/>
            <a:ext cx="1203763" cy="6096001"/>
            <a:chOff x="160238" y="148877"/>
            <a:chExt cx="1300907" cy="8783936"/>
          </a:xfrm>
        </p:grpSpPr>
        <p:sp>
          <p:nvSpPr>
            <p:cNvPr id="16" name="Rectangle"/>
            <p:cNvSpPr/>
            <p:nvPr userDrawn="1"/>
          </p:nvSpPr>
          <p:spPr>
            <a:xfrm>
              <a:off x="160238" y="7811988"/>
              <a:ext cx="1300907" cy="1120825"/>
            </a:xfrm>
            <a:prstGeom prst="rect">
              <a:avLst/>
            </a:prstGeom>
            <a:solidFill>
              <a:srgbClr val="C4297F"/>
            </a:solidFill>
            <a:ln w="12700">
              <a:miter lim="400000"/>
            </a:ln>
          </p:spPr>
          <p:txBody>
            <a:bodyPr lIns="50800" tIns="50800" rIns="50800" bIns="50800" anchor="ctr"/>
            <a:lstStyle/>
            <a:p>
              <a:pPr defTabSz="914400"/>
              <a:endParaRPr sz="1800">
                <a:solidFill>
                  <a:srgbClr val="53565A"/>
                </a:solidFill>
              </a:endParaRPr>
            </a:p>
          </p:txBody>
        </p:sp>
        <p:sp>
          <p:nvSpPr>
            <p:cNvPr id="17" name="Rectangle"/>
            <p:cNvSpPr/>
            <p:nvPr userDrawn="1"/>
          </p:nvSpPr>
          <p:spPr>
            <a:xfrm>
              <a:off x="160238" y="7090072"/>
              <a:ext cx="1300907" cy="721917"/>
            </a:xfrm>
            <a:prstGeom prst="rect">
              <a:avLst/>
            </a:prstGeom>
            <a:solidFill>
              <a:srgbClr val="7C1A4F"/>
            </a:solidFill>
            <a:ln w="12700">
              <a:miter lim="400000"/>
            </a:ln>
          </p:spPr>
          <p:txBody>
            <a:bodyPr lIns="50800" tIns="50800" rIns="50800" bIns="50800" anchor="ctr"/>
            <a:lstStyle/>
            <a:p>
              <a:pPr defTabSz="914400"/>
              <a:endParaRPr sz="1800">
                <a:solidFill>
                  <a:srgbClr val="53565A"/>
                </a:solidFill>
              </a:endParaRPr>
            </a:p>
          </p:txBody>
        </p:sp>
        <p:sp>
          <p:nvSpPr>
            <p:cNvPr id="18" name="Rectangle"/>
            <p:cNvSpPr/>
            <p:nvPr userDrawn="1"/>
          </p:nvSpPr>
          <p:spPr>
            <a:xfrm>
              <a:off x="160238" y="6877694"/>
              <a:ext cx="1300907" cy="212379"/>
            </a:xfrm>
            <a:prstGeom prst="rect">
              <a:avLst/>
            </a:prstGeom>
            <a:solidFill>
              <a:srgbClr val="F79824"/>
            </a:solidFill>
            <a:ln w="12700">
              <a:miter lim="400000"/>
            </a:ln>
          </p:spPr>
          <p:txBody>
            <a:bodyPr lIns="50800" tIns="50800" rIns="50800" bIns="50800" anchor="ctr"/>
            <a:lstStyle/>
            <a:p>
              <a:pPr defTabSz="914400"/>
              <a:endParaRPr sz="1800">
                <a:solidFill>
                  <a:srgbClr val="53565A"/>
                </a:solidFill>
              </a:endParaRPr>
            </a:p>
          </p:txBody>
        </p:sp>
        <p:sp>
          <p:nvSpPr>
            <p:cNvPr id="19" name="Rectangle"/>
            <p:cNvSpPr/>
            <p:nvPr userDrawn="1"/>
          </p:nvSpPr>
          <p:spPr>
            <a:xfrm>
              <a:off x="160238" y="5875535"/>
              <a:ext cx="1300907" cy="1002160"/>
            </a:xfrm>
            <a:prstGeom prst="rect">
              <a:avLst/>
            </a:prstGeom>
            <a:solidFill>
              <a:srgbClr val="EE4329"/>
            </a:solidFill>
            <a:ln w="12700">
              <a:miter lim="400000"/>
            </a:ln>
          </p:spPr>
          <p:txBody>
            <a:bodyPr lIns="50800" tIns="50800" rIns="50800" bIns="50800" anchor="ctr"/>
            <a:lstStyle/>
            <a:p>
              <a:pPr defTabSz="914400"/>
              <a:endParaRPr sz="1800">
                <a:solidFill>
                  <a:srgbClr val="53565A"/>
                </a:solidFill>
              </a:endParaRPr>
            </a:p>
          </p:txBody>
        </p:sp>
        <p:sp>
          <p:nvSpPr>
            <p:cNvPr id="20" name="Rectangle"/>
            <p:cNvSpPr/>
            <p:nvPr userDrawn="1"/>
          </p:nvSpPr>
          <p:spPr>
            <a:xfrm>
              <a:off x="160238" y="3874095"/>
              <a:ext cx="1300907" cy="2001441"/>
            </a:xfrm>
            <a:prstGeom prst="rect">
              <a:avLst/>
            </a:prstGeom>
            <a:solidFill>
              <a:srgbClr val="F36F26"/>
            </a:solidFill>
            <a:ln w="12700">
              <a:miter lim="400000"/>
            </a:ln>
          </p:spPr>
          <p:txBody>
            <a:bodyPr lIns="50800" tIns="50800" rIns="50800" bIns="50800" anchor="ctr"/>
            <a:lstStyle/>
            <a:p>
              <a:pPr defTabSz="914400"/>
              <a:endParaRPr sz="1800">
                <a:solidFill>
                  <a:srgbClr val="53565A"/>
                </a:solidFill>
              </a:endParaRPr>
            </a:p>
          </p:txBody>
        </p:sp>
        <p:sp>
          <p:nvSpPr>
            <p:cNvPr id="21" name="Rectangle"/>
            <p:cNvSpPr/>
            <p:nvPr userDrawn="1"/>
          </p:nvSpPr>
          <p:spPr>
            <a:xfrm>
              <a:off x="160238" y="3154213"/>
              <a:ext cx="1300907" cy="721867"/>
            </a:xfrm>
            <a:prstGeom prst="rect">
              <a:avLst/>
            </a:prstGeom>
            <a:solidFill>
              <a:srgbClr val="016AA1"/>
            </a:solidFill>
            <a:ln w="12700">
              <a:miter lim="400000"/>
            </a:ln>
          </p:spPr>
          <p:txBody>
            <a:bodyPr lIns="50800" tIns="50800" rIns="50800" bIns="50800" anchor="ctr"/>
            <a:lstStyle/>
            <a:p>
              <a:pPr defTabSz="914400"/>
              <a:endParaRPr sz="1800">
                <a:solidFill>
                  <a:srgbClr val="53565A"/>
                </a:solidFill>
              </a:endParaRPr>
            </a:p>
          </p:txBody>
        </p:sp>
        <p:sp>
          <p:nvSpPr>
            <p:cNvPr id="22" name="Rectangle"/>
            <p:cNvSpPr/>
            <p:nvPr userDrawn="1"/>
          </p:nvSpPr>
          <p:spPr>
            <a:xfrm>
              <a:off x="160238" y="148877"/>
              <a:ext cx="1300907" cy="3005337"/>
            </a:xfrm>
            <a:prstGeom prst="rect">
              <a:avLst/>
            </a:prstGeom>
            <a:solidFill>
              <a:srgbClr val="86CBD8"/>
            </a:solidFill>
            <a:ln w="12700">
              <a:miter lim="400000"/>
            </a:ln>
          </p:spPr>
          <p:txBody>
            <a:bodyPr lIns="50800" tIns="50800" rIns="50800" bIns="50800" anchor="ctr"/>
            <a:lstStyle/>
            <a:p>
              <a:pPr defTabSz="914400"/>
              <a:endParaRPr sz="1800">
                <a:solidFill>
                  <a:srgbClr val="53565A"/>
                </a:solidFill>
              </a:endParaRPr>
            </a:p>
          </p:txBody>
        </p:sp>
      </p:grpSp>
    </p:spTree>
    <p:extLst>
      <p:ext uri="{BB962C8B-B14F-4D97-AF65-F5344CB8AC3E}">
        <p14:creationId xmlns:p14="http://schemas.microsoft.com/office/powerpoint/2010/main" val="1905750422"/>
      </p:ext>
    </p:extLst>
  </p:cSld>
  <p:clrMapOvr>
    <a:masterClrMapping/>
  </p:clrMapOvr>
</p:sldLayout>
</file>

<file path=ppt/slideLayouts/slideLayout320.xml><?xml version="1.0" encoding="utf-8"?>
<p:sldLayout xmlns:a="http://schemas.openxmlformats.org/drawingml/2006/main" xmlns:r="http://schemas.openxmlformats.org/officeDocument/2006/relationships" xmlns:p="http://schemas.openxmlformats.org/presentationml/2006/main" type="titleOnly">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1341134816"/>
      </p:ext>
    </p:extLst>
  </p:cSld>
  <p:clrMapOvr>
    <a:masterClrMapping/>
  </p:clrMapOvr>
</p:sldLayout>
</file>

<file path=ppt/slideLayouts/slideLayout321.xml><?xml version="1.0" encoding="utf-8"?>
<p:sldLayout xmlns:a="http://schemas.openxmlformats.org/drawingml/2006/main" xmlns:r="http://schemas.openxmlformats.org/officeDocument/2006/relationships" xmlns:p="http://schemas.openxmlformats.org/presentationml/2006/main" showMasterSp="0" preserve="1" userDrawn="1">
  <p:cSld name="Cover page">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847170"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3" descr="Picture 3"/>
          <p:cNvPicPr>
            <a:picLocks noChangeAspect="1"/>
          </p:cNvPicPr>
          <p:nvPr userDrawn="1"/>
        </p:nvPicPr>
        <p:blipFill>
          <a:blip r:embed="rId6" cstate="print"/>
          <a:srcRect r="91525"/>
          <a:stretch>
            <a:fillRect/>
          </a:stretch>
        </p:blipFill>
        <p:spPr>
          <a:xfrm>
            <a:off x="0" y="0"/>
            <a:ext cx="1376613" cy="6858000"/>
          </a:xfrm>
          <a:prstGeom prst="rect">
            <a:avLst/>
          </a:prstGeom>
          <a:ln w="12700">
            <a:miter lim="400000"/>
          </a:ln>
        </p:spPr>
      </p:pic>
      <p:sp>
        <p:nvSpPr>
          <p:cNvPr id="18" name="Text Placeholder 17"/>
          <p:cNvSpPr>
            <a:spLocks noGrp="1"/>
          </p:cNvSpPr>
          <p:nvPr>
            <p:ph type="body" sz="quarter" idx="10" hasCustomPrompt="1"/>
          </p:nvPr>
        </p:nvSpPr>
        <p:spPr>
          <a:xfrm>
            <a:off x="1744393" y="722376"/>
            <a:ext cx="8924544" cy="649224"/>
          </a:xfrm>
        </p:spPr>
        <p:txBody>
          <a:bodyPr lIns="36576" tIns="45720" rIns="36576" bIns="45720" anchor="ctr">
            <a:noAutofit/>
          </a:bodyPr>
          <a:lstStyle>
            <a:lvl1pPr>
              <a:defRPr sz="3692" b="0" baseline="0">
                <a:solidFill>
                  <a:srgbClr val="86CBD8"/>
                </a:solidFill>
              </a:defRPr>
            </a:lvl1pPr>
          </a:lstStyle>
          <a:p>
            <a:pPr lvl="0"/>
            <a:r>
              <a:rPr lang="en-US" sz="3692" dirty="0" err="1">
                <a:solidFill>
                  <a:srgbClr val="86CBD8"/>
                </a:solidFill>
              </a:rPr>
              <a:t>Título</a:t>
            </a:r>
            <a:r>
              <a:rPr lang="en-US" sz="3692" dirty="0">
                <a:solidFill>
                  <a:srgbClr val="86CBD8"/>
                </a:solidFill>
              </a:rPr>
              <a:t> </a:t>
            </a:r>
            <a:r>
              <a:rPr lang="en-US" sz="3692" dirty="0" err="1">
                <a:solidFill>
                  <a:srgbClr val="86CBD8"/>
                </a:solidFill>
              </a:rPr>
              <a:t>Presentación</a:t>
            </a:r>
            <a:endParaRPr lang="en-US" dirty="0"/>
          </a:p>
        </p:txBody>
      </p:sp>
      <p:sp>
        <p:nvSpPr>
          <p:cNvPr id="20" name="Text Placeholder 19"/>
          <p:cNvSpPr>
            <a:spLocks noGrp="1"/>
          </p:cNvSpPr>
          <p:nvPr>
            <p:ph type="body" sz="quarter" idx="11" hasCustomPrompt="1"/>
          </p:nvPr>
        </p:nvSpPr>
        <p:spPr>
          <a:xfrm>
            <a:off x="1789411" y="2221992"/>
            <a:ext cx="10016197" cy="365760"/>
          </a:xfrm>
        </p:spPr>
        <p:txBody>
          <a:bodyPr lIns="36576" tIns="45720" rIns="36576" bIns="45720">
            <a:noAutofit/>
          </a:bodyPr>
          <a:lstStyle>
            <a:lvl1pPr>
              <a:defRPr sz="1662" b="1" baseline="0">
                <a:solidFill>
                  <a:srgbClr val="016AA1"/>
                </a:solidFill>
              </a:defRPr>
            </a:lvl1pPr>
          </a:lstStyle>
          <a:p>
            <a:pPr lvl="0"/>
            <a:r>
              <a:rPr lang="en-US" dirty="0" err="1"/>
              <a:t>Subtitulo</a:t>
            </a:r>
            <a:endParaRPr lang="en-US" dirty="0"/>
          </a:p>
        </p:txBody>
      </p:sp>
      <p:sp>
        <p:nvSpPr>
          <p:cNvPr id="22" name="Text Placeholder 21"/>
          <p:cNvSpPr>
            <a:spLocks noGrp="1"/>
          </p:cNvSpPr>
          <p:nvPr>
            <p:ph type="body" sz="quarter" idx="12" hasCustomPrompt="1"/>
          </p:nvPr>
        </p:nvSpPr>
        <p:spPr>
          <a:xfrm>
            <a:off x="1789411" y="4983480"/>
            <a:ext cx="9340948" cy="365760"/>
          </a:xfrm>
        </p:spPr>
        <p:txBody>
          <a:bodyPr lIns="36576" tIns="45720" rIns="36576" bIns="45720">
            <a:noAutofit/>
          </a:bodyPr>
          <a:lstStyle>
            <a:lvl1pPr>
              <a:defRPr sz="1662" b="0" baseline="0">
                <a:solidFill>
                  <a:srgbClr val="7C1A4F"/>
                </a:solidFill>
              </a:defRPr>
            </a:lvl1pPr>
          </a:lstStyle>
          <a:p>
            <a:pPr lvl="0"/>
            <a:r>
              <a:rPr lang="en-US" dirty="0" err="1"/>
              <a:t>Fecha</a:t>
            </a:r>
            <a:endParaRPr lang="en-US" dirty="0"/>
          </a:p>
        </p:txBody>
      </p:sp>
      <p:pic>
        <p:nvPicPr>
          <p:cNvPr id="9" name="footer-13.jpg" descr="footer-13.jpg"/>
          <p:cNvPicPr>
            <a:picLocks noChangeAspect="1"/>
          </p:cNvPicPr>
          <p:nvPr userDrawn="1"/>
        </p:nvPicPr>
        <p:blipFill>
          <a:blip r:embed="rId7" cstate="print"/>
          <a:stretch>
            <a:fillRect/>
          </a:stretch>
        </p:blipFill>
        <p:spPr>
          <a:xfrm>
            <a:off x="0" y="6221393"/>
            <a:ext cx="12192000" cy="574391"/>
          </a:xfrm>
          <a:prstGeom prst="rect">
            <a:avLst/>
          </a:prstGeom>
          <a:ln w="12700">
            <a:miter lim="400000"/>
          </a:ln>
        </p:spPr>
      </p:pic>
    </p:spTree>
    <p:extLst>
      <p:ext uri="{BB962C8B-B14F-4D97-AF65-F5344CB8AC3E}">
        <p14:creationId xmlns:p14="http://schemas.microsoft.com/office/powerpoint/2010/main" val="4241558018"/>
      </p:ext>
    </p:extLst>
  </p:cSld>
  <p:clrMapOvr>
    <a:masterClrMapping/>
  </p:clrMapOvr>
</p:sldLayout>
</file>

<file path=ppt/slideLayouts/slideLayout322.xml><?xml version="1.0" encoding="utf-8"?>
<p:sldLayout xmlns:a="http://schemas.openxmlformats.org/drawingml/2006/main" xmlns:r="http://schemas.openxmlformats.org/officeDocument/2006/relationships" xmlns:p="http://schemas.openxmlformats.org/presentationml/2006/main" showMasterSp="0" preserve="1" userDrawn="1">
  <p:cSld name="Divider 1">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848194"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822455"/>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DA2B57"/>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7C194F"/>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grpSp>
        <p:nvGrpSpPr>
          <p:cNvPr id="8" name="Group 7"/>
          <p:cNvGrpSpPr/>
          <p:nvPr userDrawn="1"/>
        </p:nvGrpSpPr>
        <p:grpSpPr>
          <a:xfrm>
            <a:off x="213691" y="98855"/>
            <a:ext cx="1113676" cy="6105595"/>
            <a:chOff x="160238" y="154880"/>
            <a:chExt cx="1300907" cy="8777933"/>
          </a:xfrm>
        </p:grpSpPr>
        <p:sp>
          <p:nvSpPr>
            <p:cNvPr id="9" name="Rectangle"/>
            <p:cNvSpPr/>
            <p:nvPr userDrawn="1"/>
          </p:nvSpPr>
          <p:spPr>
            <a:xfrm>
              <a:off x="160238" y="8398371"/>
              <a:ext cx="1300907" cy="534442"/>
            </a:xfrm>
            <a:prstGeom prst="rect">
              <a:avLst/>
            </a:prstGeom>
            <a:solidFill>
              <a:srgbClr val="ED207D"/>
            </a:solidFill>
            <a:ln w="12700">
              <a:miter lim="400000"/>
            </a:ln>
          </p:spPr>
          <p:txBody>
            <a:bodyPr lIns="50800" tIns="50800" rIns="50800" bIns="50800" anchor="ctr"/>
            <a:lstStyle/>
            <a:p>
              <a:endParaRPr lang="en-US" sz="1662" dirty="0"/>
            </a:p>
          </p:txBody>
        </p:sp>
        <p:sp>
          <p:nvSpPr>
            <p:cNvPr id="10" name="Rectangle"/>
            <p:cNvSpPr/>
            <p:nvPr userDrawn="1"/>
          </p:nvSpPr>
          <p:spPr>
            <a:xfrm>
              <a:off x="160238" y="8183364"/>
              <a:ext cx="1300907" cy="215008"/>
            </a:xfrm>
            <a:prstGeom prst="rect">
              <a:avLst/>
            </a:prstGeom>
            <a:solidFill>
              <a:srgbClr val="BF1D7F"/>
            </a:solidFill>
            <a:ln w="12700">
              <a:miter lim="400000"/>
            </a:ln>
          </p:spPr>
          <p:txBody>
            <a:bodyPr lIns="50800" tIns="50800" rIns="50800" bIns="50800" anchor="ctr"/>
            <a:lstStyle/>
            <a:p>
              <a:endParaRPr lang="en-US" sz="1662" dirty="0"/>
            </a:p>
          </p:txBody>
        </p:sp>
        <p:sp>
          <p:nvSpPr>
            <p:cNvPr id="11" name="Rectangle"/>
            <p:cNvSpPr/>
            <p:nvPr userDrawn="1"/>
          </p:nvSpPr>
          <p:spPr>
            <a:xfrm>
              <a:off x="160238" y="6195863"/>
              <a:ext cx="1300907" cy="1987502"/>
            </a:xfrm>
            <a:prstGeom prst="rect">
              <a:avLst/>
            </a:prstGeom>
            <a:solidFill>
              <a:srgbClr val="7C1A4F"/>
            </a:solidFill>
            <a:ln w="12700">
              <a:miter lim="400000"/>
            </a:ln>
          </p:spPr>
          <p:txBody>
            <a:bodyPr lIns="50800" tIns="50800" rIns="50800" bIns="50800" anchor="ctr"/>
            <a:lstStyle/>
            <a:p>
              <a:endParaRPr lang="en-US" sz="1662" dirty="0"/>
            </a:p>
          </p:txBody>
        </p:sp>
        <p:sp>
          <p:nvSpPr>
            <p:cNvPr id="12" name="Rectangle"/>
            <p:cNvSpPr/>
            <p:nvPr userDrawn="1"/>
          </p:nvSpPr>
          <p:spPr>
            <a:xfrm>
              <a:off x="160238" y="5724425"/>
              <a:ext cx="1300907" cy="471439"/>
            </a:xfrm>
            <a:prstGeom prst="rect">
              <a:avLst/>
            </a:prstGeom>
            <a:solidFill>
              <a:srgbClr val="DA2C57"/>
            </a:solidFill>
            <a:ln w="12700">
              <a:miter lim="400000"/>
            </a:ln>
          </p:spPr>
          <p:txBody>
            <a:bodyPr lIns="50800" tIns="50800" rIns="50800" bIns="50800" anchor="ctr"/>
            <a:lstStyle/>
            <a:p>
              <a:endParaRPr lang="en-US" sz="1662" dirty="0"/>
            </a:p>
          </p:txBody>
        </p:sp>
        <p:sp>
          <p:nvSpPr>
            <p:cNvPr id="14" name="Rectangle"/>
            <p:cNvSpPr/>
            <p:nvPr userDrawn="1"/>
          </p:nvSpPr>
          <p:spPr>
            <a:xfrm>
              <a:off x="160238" y="371177"/>
              <a:ext cx="1300907" cy="813396"/>
            </a:xfrm>
            <a:prstGeom prst="rect">
              <a:avLst/>
            </a:prstGeom>
            <a:solidFill>
              <a:srgbClr val="C4297F"/>
            </a:solidFill>
            <a:ln w="12700">
              <a:miter lim="400000"/>
            </a:ln>
          </p:spPr>
          <p:txBody>
            <a:bodyPr lIns="50800" tIns="50800" rIns="50800" bIns="50800" anchor="ctr"/>
            <a:lstStyle/>
            <a:p>
              <a:endParaRPr lang="en-US" sz="1662" dirty="0"/>
            </a:p>
          </p:txBody>
        </p:sp>
        <p:sp>
          <p:nvSpPr>
            <p:cNvPr id="17" name="Rectangle"/>
            <p:cNvSpPr/>
            <p:nvPr userDrawn="1"/>
          </p:nvSpPr>
          <p:spPr>
            <a:xfrm>
              <a:off x="160238" y="1184572"/>
              <a:ext cx="1300907" cy="4539854"/>
            </a:xfrm>
            <a:prstGeom prst="rect">
              <a:avLst/>
            </a:prstGeom>
            <a:solidFill>
              <a:srgbClr val="822455"/>
            </a:solidFill>
            <a:ln w="12700">
              <a:miter lim="400000"/>
            </a:ln>
          </p:spPr>
          <p:txBody>
            <a:bodyPr lIns="50800" tIns="50800" rIns="50800" bIns="50800" anchor="ctr"/>
            <a:lstStyle/>
            <a:p>
              <a:endParaRPr lang="en-US" sz="1662" dirty="0"/>
            </a:p>
          </p:txBody>
        </p:sp>
        <p:sp>
          <p:nvSpPr>
            <p:cNvPr id="19" name="Rectangle"/>
            <p:cNvSpPr/>
            <p:nvPr userDrawn="1"/>
          </p:nvSpPr>
          <p:spPr>
            <a:xfrm>
              <a:off x="160238" y="154880"/>
              <a:ext cx="1300907" cy="216298"/>
            </a:xfrm>
            <a:prstGeom prst="rect">
              <a:avLst/>
            </a:prstGeom>
            <a:solidFill>
              <a:srgbClr val="DA2C57"/>
            </a:solidFill>
            <a:ln w="12700">
              <a:miter lim="400000"/>
            </a:ln>
          </p:spPr>
          <p:txBody>
            <a:bodyPr lIns="50800" tIns="50800" rIns="50800" bIns="50800" anchor="ctr"/>
            <a:lstStyle/>
            <a:p>
              <a:endParaRPr lang="en-US" sz="1662" dirty="0"/>
            </a:p>
          </p:txBody>
        </p:sp>
      </p:gr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spTree>
    <p:extLst>
      <p:ext uri="{BB962C8B-B14F-4D97-AF65-F5344CB8AC3E}">
        <p14:creationId xmlns:p14="http://schemas.microsoft.com/office/powerpoint/2010/main" val="3177188396"/>
      </p:ext>
    </p:extLst>
  </p:cSld>
  <p:clrMapOvr>
    <a:masterClrMapping/>
  </p:clrMapOvr>
</p:sldLayout>
</file>

<file path=ppt/slideLayouts/slideLayout323.xml><?xml version="1.0" encoding="utf-8"?>
<p:sldLayout xmlns:a="http://schemas.openxmlformats.org/drawingml/2006/main" xmlns:r="http://schemas.openxmlformats.org/officeDocument/2006/relationships" xmlns:p="http://schemas.openxmlformats.org/presentationml/2006/main" showMasterSp="0" preserve="1" userDrawn="1">
  <p:cSld name="Divider 2">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849218"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EE4228"/>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F69427"/>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FCBA1A"/>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13691" y="98854"/>
            <a:ext cx="1113676" cy="6105595"/>
            <a:chOff x="160238" y="162796"/>
            <a:chExt cx="1300907" cy="8777933"/>
          </a:xfrm>
        </p:grpSpPr>
        <p:sp>
          <p:nvSpPr>
            <p:cNvPr id="22" name="Rectangle"/>
            <p:cNvSpPr/>
            <p:nvPr userDrawn="1"/>
          </p:nvSpPr>
          <p:spPr>
            <a:xfrm>
              <a:off x="160238" y="8406287"/>
              <a:ext cx="1300907" cy="534442"/>
            </a:xfrm>
            <a:prstGeom prst="rect">
              <a:avLst/>
            </a:prstGeom>
            <a:solidFill>
              <a:srgbClr val="D91F27"/>
            </a:solidFill>
            <a:ln w="12700">
              <a:miter lim="400000"/>
            </a:ln>
          </p:spPr>
          <p:txBody>
            <a:bodyPr lIns="50800" tIns="50800" rIns="50800" bIns="50800" anchor="ctr"/>
            <a:lstStyle/>
            <a:p>
              <a:endParaRPr lang="en-US" sz="1662" dirty="0"/>
            </a:p>
          </p:txBody>
        </p:sp>
        <p:sp>
          <p:nvSpPr>
            <p:cNvPr id="23" name="Rectangle"/>
            <p:cNvSpPr/>
            <p:nvPr userDrawn="1"/>
          </p:nvSpPr>
          <p:spPr>
            <a:xfrm>
              <a:off x="160238" y="8191280"/>
              <a:ext cx="1300907" cy="215008"/>
            </a:xfrm>
            <a:prstGeom prst="rect">
              <a:avLst/>
            </a:prstGeom>
            <a:solidFill>
              <a:srgbClr val="F36F26"/>
            </a:solidFill>
            <a:ln w="12700">
              <a:miter lim="400000"/>
            </a:ln>
          </p:spPr>
          <p:txBody>
            <a:bodyPr lIns="50800" tIns="50800" rIns="50800" bIns="50800" anchor="ctr"/>
            <a:lstStyle/>
            <a:p>
              <a:endParaRPr lang="en-US" sz="1662" dirty="0"/>
            </a:p>
          </p:txBody>
        </p:sp>
        <p:sp>
          <p:nvSpPr>
            <p:cNvPr id="24" name="Rectangle"/>
            <p:cNvSpPr/>
            <p:nvPr userDrawn="1"/>
          </p:nvSpPr>
          <p:spPr>
            <a:xfrm>
              <a:off x="160238" y="6203779"/>
              <a:ext cx="1300907" cy="1987502"/>
            </a:xfrm>
            <a:prstGeom prst="rect">
              <a:avLst/>
            </a:prstGeom>
            <a:solidFill>
              <a:srgbClr val="FBB91A"/>
            </a:solidFill>
            <a:ln w="12700">
              <a:miter lim="400000"/>
            </a:ln>
          </p:spPr>
          <p:txBody>
            <a:bodyPr lIns="50800" tIns="50800" rIns="50800" bIns="50800" anchor="ctr"/>
            <a:lstStyle/>
            <a:p>
              <a:endParaRPr lang="en-US" sz="1662" dirty="0"/>
            </a:p>
          </p:txBody>
        </p:sp>
        <p:sp>
          <p:nvSpPr>
            <p:cNvPr id="25" name="Rectangle"/>
            <p:cNvSpPr/>
            <p:nvPr userDrawn="1"/>
          </p:nvSpPr>
          <p:spPr>
            <a:xfrm>
              <a:off x="160238" y="5732341"/>
              <a:ext cx="1300907" cy="471439"/>
            </a:xfrm>
            <a:prstGeom prst="rect">
              <a:avLst/>
            </a:prstGeom>
            <a:solidFill>
              <a:srgbClr val="F69427"/>
            </a:solidFill>
            <a:ln w="12700">
              <a:miter lim="400000"/>
            </a:ln>
          </p:spPr>
          <p:txBody>
            <a:bodyPr lIns="50800" tIns="50800" rIns="50800" bIns="50800" anchor="ctr"/>
            <a:lstStyle/>
            <a:p>
              <a:endParaRPr lang="en-US" sz="1662" dirty="0"/>
            </a:p>
          </p:txBody>
        </p:sp>
        <p:sp>
          <p:nvSpPr>
            <p:cNvPr id="26" name="Rectangle"/>
            <p:cNvSpPr/>
            <p:nvPr userDrawn="1"/>
          </p:nvSpPr>
          <p:spPr>
            <a:xfrm>
              <a:off x="160238" y="379093"/>
              <a:ext cx="1300907" cy="813396"/>
            </a:xfrm>
            <a:prstGeom prst="rect">
              <a:avLst/>
            </a:prstGeom>
            <a:solidFill>
              <a:srgbClr val="F79824"/>
            </a:solidFill>
            <a:ln w="12700">
              <a:miter lim="400000"/>
            </a:ln>
          </p:spPr>
          <p:txBody>
            <a:bodyPr lIns="50800" tIns="50800" rIns="50800" bIns="50800" anchor="ctr"/>
            <a:lstStyle/>
            <a:p>
              <a:endParaRPr lang="en-US" sz="1662" dirty="0"/>
            </a:p>
          </p:txBody>
        </p:sp>
        <p:sp>
          <p:nvSpPr>
            <p:cNvPr id="27" name="Rectangle"/>
            <p:cNvSpPr/>
            <p:nvPr userDrawn="1"/>
          </p:nvSpPr>
          <p:spPr>
            <a:xfrm>
              <a:off x="160238" y="1192488"/>
              <a:ext cx="1300907" cy="4539854"/>
            </a:xfrm>
            <a:prstGeom prst="rect">
              <a:avLst/>
            </a:prstGeom>
            <a:solidFill>
              <a:srgbClr val="EE4329"/>
            </a:solidFill>
            <a:ln w="12700">
              <a:miter lim="400000"/>
            </a:ln>
          </p:spPr>
          <p:txBody>
            <a:bodyPr lIns="50800" tIns="50800" rIns="50800" bIns="50800" anchor="ctr"/>
            <a:lstStyle/>
            <a:p>
              <a:endParaRPr lang="en-US" sz="1662" dirty="0"/>
            </a:p>
          </p:txBody>
        </p:sp>
        <p:sp>
          <p:nvSpPr>
            <p:cNvPr id="28" name="Rectangle"/>
            <p:cNvSpPr/>
            <p:nvPr userDrawn="1"/>
          </p:nvSpPr>
          <p:spPr>
            <a:xfrm>
              <a:off x="160238" y="162796"/>
              <a:ext cx="1300907" cy="216298"/>
            </a:xfrm>
            <a:prstGeom prst="rect">
              <a:avLst/>
            </a:prstGeom>
            <a:solidFill>
              <a:srgbClr val="BF2126"/>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1223502455"/>
      </p:ext>
    </p:extLst>
  </p:cSld>
  <p:clrMapOvr>
    <a:masterClrMapping/>
  </p:clrMapOvr>
</p:sldLayout>
</file>

<file path=ppt/slideLayouts/slideLayout324.xml><?xml version="1.0" encoding="utf-8"?>
<p:sldLayout xmlns:a="http://schemas.openxmlformats.org/drawingml/2006/main" xmlns:r="http://schemas.openxmlformats.org/officeDocument/2006/relationships" xmlns:p="http://schemas.openxmlformats.org/presentationml/2006/main" showMasterSp="0" preserve="1" userDrawn="1">
  <p:cSld name="Divider 3">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850242"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007272"/>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00C0B6"/>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00A6AB"/>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13691" y="99934"/>
            <a:ext cx="1113676" cy="6105588"/>
            <a:chOff x="90616" y="113613"/>
            <a:chExt cx="1300907" cy="8777933"/>
          </a:xfrm>
        </p:grpSpPr>
        <p:sp>
          <p:nvSpPr>
            <p:cNvPr id="22" name="Rectangle"/>
            <p:cNvSpPr/>
            <p:nvPr userDrawn="1"/>
          </p:nvSpPr>
          <p:spPr>
            <a:xfrm>
              <a:off x="90616" y="8357104"/>
              <a:ext cx="1300907" cy="534442"/>
            </a:xfrm>
            <a:prstGeom prst="rect">
              <a:avLst/>
            </a:prstGeom>
            <a:solidFill>
              <a:srgbClr val="00C0B6"/>
            </a:solidFill>
            <a:ln w="12700">
              <a:miter lim="400000"/>
            </a:ln>
          </p:spPr>
          <p:txBody>
            <a:bodyPr lIns="50800" tIns="50800" rIns="50800" bIns="50800" anchor="ctr"/>
            <a:lstStyle/>
            <a:p>
              <a:endParaRPr lang="en-US" sz="1662" dirty="0"/>
            </a:p>
          </p:txBody>
        </p:sp>
        <p:sp>
          <p:nvSpPr>
            <p:cNvPr id="23" name="Rectangle"/>
            <p:cNvSpPr/>
            <p:nvPr userDrawn="1"/>
          </p:nvSpPr>
          <p:spPr>
            <a:xfrm>
              <a:off x="90616" y="8142097"/>
              <a:ext cx="1300907" cy="215008"/>
            </a:xfrm>
            <a:prstGeom prst="rect">
              <a:avLst/>
            </a:prstGeom>
            <a:solidFill>
              <a:srgbClr val="007272"/>
            </a:solidFill>
            <a:ln w="12700">
              <a:miter lim="400000"/>
            </a:ln>
          </p:spPr>
          <p:txBody>
            <a:bodyPr lIns="50800" tIns="50800" rIns="50800" bIns="50800" anchor="ctr"/>
            <a:lstStyle/>
            <a:p>
              <a:endParaRPr lang="en-US" sz="1662" dirty="0"/>
            </a:p>
          </p:txBody>
        </p:sp>
        <p:sp>
          <p:nvSpPr>
            <p:cNvPr id="24" name="Rectangle"/>
            <p:cNvSpPr/>
            <p:nvPr userDrawn="1"/>
          </p:nvSpPr>
          <p:spPr>
            <a:xfrm>
              <a:off x="90616" y="6154596"/>
              <a:ext cx="1300907" cy="1987502"/>
            </a:xfrm>
            <a:prstGeom prst="rect">
              <a:avLst/>
            </a:prstGeom>
            <a:solidFill>
              <a:srgbClr val="00A6AB"/>
            </a:solidFill>
            <a:ln w="12700">
              <a:miter lim="400000"/>
            </a:ln>
          </p:spPr>
          <p:txBody>
            <a:bodyPr lIns="50800" tIns="50800" rIns="50800" bIns="50800" anchor="ctr"/>
            <a:lstStyle/>
            <a:p>
              <a:endParaRPr lang="en-US" sz="1662" dirty="0"/>
            </a:p>
          </p:txBody>
        </p:sp>
        <p:sp>
          <p:nvSpPr>
            <p:cNvPr id="25" name="Rectangle"/>
            <p:cNvSpPr/>
            <p:nvPr userDrawn="1"/>
          </p:nvSpPr>
          <p:spPr>
            <a:xfrm>
              <a:off x="90616" y="5683158"/>
              <a:ext cx="1300907" cy="471439"/>
            </a:xfrm>
            <a:prstGeom prst="rect">
              <a:avLst/>
            </a:prstGeom>
            <a:solidFill>
              <a:srgbClr val="00C0B6"/>
            </a:solidFill>
            <a:ln w="12700">
              <a:miter lim="400000"/>
            </a:ln>
          </p:spPr>
          <p:txBody>
            <a:bodyPr lIns="50800" tIns="50800" rIns="50800" bIns="50800" anchor="ctr"/>
            <a:lstStyle/>
            <a:p>
              <a:endParaRPr lang="en-US" sz="1662" dirty="0"/>
            </a:p>
          </p:txBody>
        </p:sp>
        <p:sp>
          <p:nvSpPr>
            <p:cNvPr id="26" name="Rectangle"/>
            <p:cNvSpPr/>
            <p:nvPr userDrawn="1"/>
          </p:nvSpPr>
          <p:spPr>
            <a:xfrm>
              <a:off x="90616" y="329910"/>
              <a:ext cx="1300907" cy="813396"/>
            </a:xfrm>
            <a:prstGeom prst="rect">
              <a:avLst/>
            </a:prstGeom>
            <a:solidFill>
              <a:srgbClr val="00C0B6"/>
            </a:solidFill>
            <a:ln w="12700">
              <a:miter lim="400000"/>
            </a:ln>
          </p:spPr>
          <p:txBody>
            <a:bodyPr lIns="50800" tIns="50800" rIns="50800" bIns="50800" anchor="ctr"/>
            <a:lstStyle/>
            <a:p>
              <a:endParaRPr lang="en-US" sz="1662" dirty="0"/>
            </a:p>
          </p:txBody>
        </p:sp>
        <p:sp>
          <p:nvSpPr>
            <p:cNvPr id="27" name="Rectangle"/>
            <p:cNvSpPr/>
            <p:nvPr userDrawn="1"/>
          </p:nvSpPr>
          <p:spPr>
            <a:xfrm>
              <a:off x="90616" y="1143305"/>
              <a:ext cx="1300907" cy="4539854"/>
            </a:xfrm>
            <a:prstGeom prst="rect">
              <a:avLst/>
            </a:prstGeom>
            <a:solidFill>
              <a:srgbClr val="007272"/>
            </a:solidFill>
            <a:ln w="12700">
              <a:miter lim="400000"/>
            </a:ln>
          </p:spPr>
          <p:txBody>
            <a:bodyPr lIns="50800" tIns="50800" rIns="50800" bIns="50800" anchor="ctr"/>
            <a:lstStyle/>
            <a:p>
              <a:endParaRPr lang="en-US" sz="1662" dirty="0"/>
            </a:p>
          </p:txBody>
        </p:sp>
        <p:sp>
          <p:nvSpPr>
            <p:cNvPr id="28" name="Rectangle"/>
            <p:cNvSpPr/>
            <p:nvPr userDrawn="1"/>
          </p:nvSpPr>
          <p:spPr>
            <a:xfrm>
              <a:off x="90616" y="113613"/>
              <a:ext cx="1300907" cy="216298"/>
            </a:xfrm>
            <a:prstGeom prst="rect">
              <a:avLst/>
            </a:prstGeom>
            <a:solidFill>
              <a:srgbClr val="00A6AB"/>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885431471"/>
      </p:ext>
    </p:extLst>
  </p:cSld>
  <p:clrMapOvr>
    <a:masterClrMapping/>
  </p:clrMapOvr>
</p:sldLayout>
</file>

<file path=ppt/slideLayouts/slideLayout325.xml><?xml version="1.0" encoding="utf-8"?>
<p:sldLayout xmlns:a="http://schemas.openxmlformats.org/drawingml/2006/main" xmlns:r="http://schemas.openxmlformats.org/officeDocument/2006/relationships" xmlns:p="http://schemas.openxmlformats.org/presentationml/2006/main" showMasterSp="0" preserve="1" userDrawn="1">
  <p:cSld name="Divider 4">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851266"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73A600"/>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AABA35"/>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94B301"/>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15939" y="99934"/>
            <a:ext cx="1113675" cy="6105588"/>
            <a:chOff x="160238" y="154880"/>
            <a:chExt cx="1300907" cy="8777933"/>
          </a:xfrm>
        </p:grpSpPr>
        <p:sp>
          <p:nvSpPr>
            <p:cNvPr id="22" name="Rectangle"/>
            <p:cNvSpPr/>
            <p:nvPr userDrawn="1"/>
          </p:nvSpPr>
          <p:spPr>
            <a:xfrm>
              <a:off x="160238" y="8398371"/>
              <a:ext cx="1300907" cy="534442"/>
            </a:xfrm>
            <a:prstGeom prst="rect">
              <a:avLst/>
            </a:prstGeom>
            <a:solidFill>
              <a:srgbClr val="AABA36"/>
            </a:solidFill>
            <a:ln w="12700">
              <a:miter lim="400000"/>
            </a:ln>
          </p:spPr>
          <p:txBody>
            <a:bodyPr lIns="50800" tIns="50800" rIns="50800" bIns="50800" anchor="ctr"/>
            <a:lstStyle/>
            <a:p>
              <a:endParaRPr lang="en-US" sz="1662" dirty="0"/>
            </a:p>
          </p:txBody>
        </p:sp>
        <p:sp>
          <p:nvSpPr>
            <p:cNvPr id="23" name="Rectangle"/>
            <p:cNvSpPr/>
            <p:nvPr userDrawn="1"/>
          </p:nvSpPr>
          <p:spPr>
            <a:xfrm>
              <a:off x="160238" y="8183364"/>
              <a:ext cx="1300907" cy="215008"/>
            </a:xfrm>
            <a:prstGeom prst="rect">
              <a:avLst/>
            </a:prstGeom>
            <a:solidFill>
              <a:srgbClr val="CEDD01"/>
            </a:solidFill>
            <a:ln w="12700">
              <a:miter lim="400000"/>
            </a:ln>
          </p:spPr>
          <p:txBody>
            <a:bodyPr lIns="50800" tIns="50800" rIns="50800" bIns="50800" anchor="ctr"/>
            <a:lstStyle/>
            <a:p>
              <a:endParaRPr lang="en-US" sz="1662" dirty="0"/>
            </a:p>
          </p:txBody>
        </p:sp>
        <p:sp>
          <p:nvSpPr>
            <p:cNvPr id="24" name="Rectangle"/>
            <p:cNvSpPr/>
            <p:nvPr userDrawn="1"/>
          </p:nvSpPr>
          <p:spPr>
            <a:xfrm>
              <a:off x="160238" y="6195863"/>
              <a:ext cx="1300907" cy="1987502"/>
            </a:xfrm>
            <a:prstGeom prst="rect">
              <a:avLst/>
            </a:prstGeom>
            <a:solidFill>
              <a:srgbClr val="94B301"/>
            </a:solidFill>
            <a:ln w="12700">
              <a:miter lim="400000"/>
            </a:ln>
          </p:spPr>
          <p:txBody>
            <a:bodyPr lIns="50800" tIns="50800" rIns="50800" bIns="50800" anchor="ctr"/>
            <a:lstStyle/>
            <a:p>
              <a:endParaRPr lang="en-US" sz="1662" dirty="0"/>
            </a:p>
          </p:txBody>
        </p:sp>
        <p:sp>
          <p:nvSpPr>
            <p:cNvPr id="25" name="Rectangle"/>
            <p:cNvSpPr/>
            <p:nvPr userDrawn="1"/>
          </p:nvSpPr>
          <p:spPr>
            <a:xfrm>
              <a:off x="160238" y="5724425"/>
              <a:ext cx="1300907" cy="471439"/>
            </a:xfrm>
            <a:prstGeom prst="rect">
              <a:avLst/>
            </a:prstGeom>
            <a:solidFill>
              <a:srgbClr val="AABA36"/>
            </a:solidFill>
            <a:ln w="12700">
              <a:miter lim="400000"/>
            </a:ln>
          </p:spPr>
          <p:txBody>
            <a:bodyPr lIns="50800" tIns="50800" rIns="50800" bIns="50800" anchor="ctr"/>
            <a:lstStyle/>
            <a:p>
              <a:endParaRPr lang="en-US" sz="1662" dirty="0"/>
            </a:p>
          </p:txBody>
        </p:sp>
        <p:sp>
          <p:nvSpPr>
            <p:cNvPr id="26" name="Rectangle"/>
            <p:cNvSpPr/>
            <p:nvPr userDrawn="1"/>
          </p:nvSpPr>
          <p:spPr>
            <a:xfrm>
              <a:off x="160238" y="371177"/>
              <a:ext cx="1300907" cy="813396"/>
            </a:xfrm>
            <a:prstGeom prst="rect">
              <a:avLst/>
            </a:prstGeom>
            <a:solidFill>
              <a:srgbClr val="CEDD01"/>
            </a:solidFill>
            <a:ln w="12700">
              <a:miter lim="400000"/>
            </a:ln>
          </p:spPr>
          <p:txBody>
            <a:bodyPr lIns="50800" tIns="50800" rIns="50800" bIns="50800" anchor="ctr"/>
            <a:lstStyle/>
            <a:p>
              <a:endParaRPr lang="en-US" sz="1662" dirty="0"/>
            </a:p>
          </p:txBody>
        </p:sp>
        <p:sp>
          <p:nvSpPr>
            <p:cNvPr id="27" name="Rectangle"/>
            <p:cNvSpPr/>
            <p:nvPr userDrawn="1"/>
          </p:nvSpPr>
          <p:spPr>
            <a:xfrm>
              <a:off x="160238" y="1184572"/>
              <a:ext cx="1300907" cy="4539854"/>
            </a:xfrm>
            <a:prstGeom prst="rect">
              <a:avLst/>
            </a:prstGeom>
            <a:solidFill>
              <a:srgbClr val="73A600"/>
            </a:solidFill>
            <a:ln w="12700">
              <a:miter lim="400000"/>
            </a:ln>
          </p:spPr>
          <p:txBody>
            <a:bodyPr lIns="50800" tIns="50800" rIns="50800" bIns="50800" anchor="ctr"/>
            <a:lstStyle/>
            <a:p>
              <a:endParaRPr lang="en-US" sz="1662" dirty="0"/>
            </a:p>
          </p:txBody>
        </p:sp>
        <p:sp>
          <p:nvSpPr>
            <p:cNvPr id="28" name="Rectangle"/>
            <p:cNvSpPr/>
            <p:nvPr userDrawn="1"/>
          </p:nvSpPr>
          <p:spPr>
            <a:xfrm>
              <a:off x="160238" y="154880"/>
              <a:ext cx="1300907" cy="216298"/>
            </a:xfrm>
            <a:prstGeom prst="rect">
              <a:avLst/>
            </a:prstGeom>
            <a:solidFill>
              <a:srgbClr val="94B301"/>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4177302784"/>
      </p:ext>
    </p:extLst>
  </p:cSld>
  <p:clrMapOvr>
    <a:masterClrMapping/>
  </p:clrMapOvr>
</p:sldLayout>
</file>

<file path=ppt/slideLayouts/slideLayout326.xml><?xml version="1.0" encoding="utf-8"?>
<p:sldLayout xmlns:a="http://schemas.openxmlformats.org/drawingml/2006/main" xmlns:r="http://schemas.openxmlformats.org/officeDocument/2006/relationships" xmlns:p="http://schemas.openxmlformats.org/presentationml/2006/main" showMasterSp="0" preserve="1" userDrawn="1">
  <p:cSld name="Divider 5">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852290"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70147B"/>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8B4093"/>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63006C"/>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15939" y="99934"/>
            <a:ext cx="1113675" cy="6105588"/>
            <a:chOff x="1081465" y="114688"/>
            <a:chExt cx="1300907" cy="8777933"/>
          </a:xfrm>
        </p:grpSpPr>
        <p:sp>
          <p:nvSpPr>
            <p:cNvPr id="22" name="Rectangle"/>
            <p:cNvSpPr/>
            <p:nvPr userDrawn="1"/>
          </p:nvSpPr>
          <p:spPr>
            <a:xfrm>
              <a:off x="1081465" y="8358179"/>
              <a:ext cx="1300907" cy="534442"/>
            </a:xfrm>
            <a:prstGeom prst="rect">
              <a:avLst/>
            </a:prstGeom>
            <a:solidFill>
              <a:srgbClr val="8C4395"/>
            </a:solidFill>
            <a:ln w="12700">
              <a:miter lim="400000"/>
            </a:ln>
          </p:spPr>
          <p:txBody>
            <a:bodyPr lIns="50800" tIns="50800" rIns="50800" bIns="50800" anchor="ctr"/>
            <a:lstStyle/>
            <a:p>
              <a:endParaRPr lang="en-US" sz="1662" dirty="0"/>
            </a:p>
          </p:txBody>
        </p:sp>
        <p:sp>
          <p:nvSpPr>
            <p:cNvPr id="23" name="Rectangle"/>
            <p:cNvSpPr/>
            <p:nvPr userDrawn="1"/>
          </p:nvSpPr>
          <p:spPr>
            <a:xfrm>
              <a:off x="1081465" y="8143172"/>
              <a:ext cx="1300907" cy="215008"/>
            </a:xfrm>
            <a:prstGeom prst="rect">
              <a:avLst/>
            </a:prstGeom>
            <a:solidFill>
              <a:srgbClr val="A469AB"/>
            </a:solidFill>
            <a:ln w="12700">
              <a:miter lim="400000"/>
            </a:ln>
          </p:spPr>
          <p:txBody>
            <a:bodyPr lIns="50800" tIns="50800" rIns="50800" bIns="50800" anchor="ctr"/>
            <a:lstStyle/>
            <a:p>
              <a:endParaRPr lang="en-US" sz="1662" dirty="0"/>
            </a:p>
          </p:txBody>
        </p:sp>
        <p:sp>
          <p:nvSpPr>
            <p:cNvPr id="24" name="Rectangle"/>
            <p:cNvSpPr/>
            <p:nvPr userDrawn="1"/>
          </p:nvSpPr>
          <p:spPr>
            <a:xfrm>
              <a:off x="1081465" y="6155671"/>
              <a:ext cx="1300907" cy="1987502"/>
            </a:xfrm>
            <a:prstGeom prst="rect">
              <a:avLst/>
            </a:prstGeom>
            <a:solidFill>
              <a:srgbClr val="63006C"/>
            </a:solidFill>
            <a:ln w="12700">
              <a:miter lim="400000"/>
            </a:ln>
          </p:spPr>
          <p:txBody>
            <a:bodyPr lIns="50800" tIns="50800" rIns="50800" bIns="50800" anchor="ctr"/>
            <a:lstStyle/>
            <a:p>
              <a:endParaRPr lang="en-US" sz="1662" dirty="0"/>
            </a:p>
          </p:txBody>
        </p:sp>
        <p:sp>
          <p:nvSpPr>
            <p:cNvPr id="25" name="Rectangle"/>
            <p:cNvSpPr/>
            <p:nvPr userDrawn="1"/>
          </p:nvSpPr>
          <p:spPr>
            <a:xfrm>
              <a:off x="1081465" y="5684233"/>
              <a:ext cx="1300907" cy="471439"/>
            </a:xfrm>
            <a:prstGeom prst="rect">
              <a:avLst/>
            </a:prstGeom>
            <a:solidFill>
              <a:srgbClr val="8B4193"/>
            </a:solidFill>
            <a:ln w="12700">
              <a:miter lim="400000"/>
            </a:ln>
          </p:spPr>
          <p:txBody>
            <a:bodyPr lIns="50800" tIns="50800" rIns="50800" bIns="50800" anchor="ctr"/>
            <a:lstStyle/>
            <a:p>
              <a:endParaRPr lang="en-US" sz="1662" dirty="0"/>
            </a:p>
          </p:txBody>
        </p:sp>
        <p:sp>
          <p:nvSpPr>
            <p:cNvPr id="26" name="Rectangle"/>
            <p:cNvSpPr/>
            <p:nvPr userDrawn="1"/>
          </p:nvSpPr>
          <p:spPr>
            <a:xfrm>
              <a:off x="1081465" y="330985"/>
              <a:ext cx="1300907" cy="813396"/>
            </a:xfrm>
            <a:prstGeom prst="rect">
              <a:avLst/>
            </a:prstGeom>
            <a:solidFill>
              <a:srgbClr val="8C4395"/>
            </a:solidFill>
            <a:ln w="12700">
              <a:miter lim="400000"/>
            </a:ln>
          </p:spPr>
          <p:txBody>
            <a:bodyPr lIns="50800" tIns="50800" rIns="50800" bIns="50800" anchor="ctr"/>
            <a:lstStyle/>
            <a:p>
              <a:endParaRPr lang="en-US" sz="1662" dirty="0"/>
            </a:p>
          </p:txBody>
        </p:sp>
        <p:sp>
          <p:nvSpPr>
            <p:cNvPr id="27" name="Rectangle"/>
            <p:cNvSpPr/>
            <p:nvPr userDrawn="1"/>
          </p:nvSpPr>
          <p:spPr>
            <a:xfrm>
              <a:off x="1081465" y="1144380"/>
              <a:ext cx="1300907" cy="4539854"/>
            </a:xfrm>
            <a:prstGeom prst="rect">
              <a:avLst/>
            </a:prstGeom>
            <a:solidFill>
              <a:srgbClr val="70147B"/>
            </a:solidFill>
            <a:ln w="12700">
              <a:miter lim="400000"/>
            </a:ln>
          </p:spPr>
          <p:txBody>
            <a:bodyPr lIns="50800" tIns="50800" rIns="50800" bIns="50800" anchor="ctr"/>
            <a:lstStyle/>
            <a:p>
              <a:endParaRPr lang="en-US" sz="1662" dirty="0"/>
            </a:p>
          </p:txBody>
        </p:sp>
        <p:sp>
          <p:nvSpPr>
            <p:cNvPr id="28" name="Rectangle"/>
            <p:cNvSpPr/>
            <p:nvPr userDrawn="1"/>
          </p:nvSpPr>
          <p:spPr>
            <a:xfrm>
              <a:off x="1081465" y="114688"/>
              <a:ext cx="1300907" cy="216298"/>
            </a:xfrm>
            <a:prstGeom prst="rect">
              <a:avLst/>
            </a:prstGeom>
            <a:solidFill>
              <a:srgbClr val="70147B"/>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3380673618"/>
      </p:ext>
    </p:extLst>
  </p:cSld>
  <p:clrMapOvr>
    <a:masterClrMapping/>
  </p:clrMapOvr>
</p:sldLayout>
</file>

<file path=ppt/slideLayouts/slideLayout327.xml><?xml version="1.0" encoding="utf-8"?>
<p:sldLayout xmlns:a="http://schemas.openxmlformats.org/drawingml/2006/main" xmlns:r="http://schemas.openxmlformats.org/officeDocument/2006/relationships" xmlns:p="http://schemas.openxmlformats.org/presentationml/2006/main" showMasterSp="0" preserve="1" userDrawn="1">
  <p:cSld name="Divider 6">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853314"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016AA1"/>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104D6A"/>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2591C0"/>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09179" y="98854"/>
            <a:ext cx="1111928" cy="6096000"/>
            <a:chOff x="160238" y="154880"/>
            <a:chExt cx="1300907" cy="8777933"/>
          </a:xfrm>
        </p:grpSpPr>
        <p:sp>
          <p:nvSpPr>
            <p:cNvPr id="22" name="Rectangle"/>
            <p:cNvSpPr/>
            <p:nvPr userDrawn="1"/>
          </p:nvSpPr>
          <p:spPr>
            <a:xfrm>
              <a:off x="160238" y="8398371"/>
              <a:ext cx="1300907" cy="534442"/>
            </a:xfrm>
            <a:prstGeom prst="rect">
              <a:avLst/>
            </a:prstGeom>
            <a:solidFill>
              <a:srgbClr val="85CDD9"/>
            </a:solidFill>
            <a:ln w="12700">
              <a:miter lim="400000"/>
            </a:ln>
          </p:spPr>
          <p:txBody>
            <a:bodyPr lIns="50800" tIns="50800" rIns="50800" bIns="50800" anchor="ctr"/>
            <a:lstStyle/>
            <a:p>
              <a:endParaRPr lang="en-US" sz="1662" dirty="0"/>
            </a:p>
          </p:txBody>
        </p:sp>
        <p:sp>
          <p:nvSpPr>
            <p:cNvPr id="23" name="Rectangle"/>
            <p:cNvSpPr/>
            <p:nvPr userDrawn="1"/>
          </p:nvSpPr>
          <p:spPr>
            <a:xfrm>
              <a:off x="160238" y="8183364"/>
              <a:ext cx="1300907" cy="215008"/>
            </a:xfrm>
            <a:prstGeom prst="rect">
              <a:avLst/>
            </a:prstGeom>
            <a:solidFill>
              <a:srgbClr val="4D89AD"/>
            </a:solidFill>
            <a:ln w="12700">
              <a:miter lim="400000"/>
            </a:ln>
          </p:spPr>
          <p:txBody>
            <a:bodyPr lIns="50800" tIns="50800" rIns="50800" bIns="50800" anchor="ctr"/>
            <a:lstStyle/>
            <a:p>
              <a:endParaRPr lang="en-US" sz="1662" dirty="0"/>
            </a:p>
          </p:txBody>
        </p:sp>
        <p:sp>
          <p:nvSpPr>
            <p:cNvPr id="24" name="Rectangle"/>
            <p:cNvSpPr/>
            <p:nvPr userDrawn="1"/>
          </p:nvSpPr>
          <p:spPr>
            <a:xfrm>
              <a:off x="160238" y="6195863"/>
              <a:ext cx="1300907" cy="1987502"/>
            </a:xfrm>
            <a:prstGeom prst="rect">
              <a:avLst/>
            </a:prstGeom>
            <a:solidFill>
              <a:srgbClr val="2591C0"/>
            </a:solidFill>
            <a:ln w="12700">
              <a:miter lim="400000"/>
            </a:ln>
          </p:spPr>
          <p:txBody>
            <a:bodyPr lIns="50800" tIns="50800" rIns="50800" bIns="50800" anchor="ctr"/>
            <a:lstStyle/>
            <a:p>
              <a:endParaRPr lang="en-US" sz="1662" dirty="0"/>
            </a:p>
          </p:txBody>
        </p:sp>
        <p:sp>
          <p:nvSpPr>
            <p:cNvPr id="25" name="Rectangle"/>
            <p:cNvSpPr/>
            <p:nvPr userDrawn="1"/>
          </p:nvSpPr>
          <p:spPr>
            <a:xfrm>
              <a:off x="160238" y="5724425"/>
              <a:ext cx="1300907" cy="471439"/>
            </a:xfrm>
            <a:prstGeom prst="rect">
              <a:avLst/>
            </a:prstGeom>
            <a:solidFill>
              <a:srgbClr val="104D6A"/>
            </a:solidFill>
            <a:ln w="12700">
              <a:miter lim="400000"/>
            </a:ln>
          </p:spPr>
          <p:txBody>
            <a:bodyPr lIns="50800" tIns="50800" rIns="50800" bIns="50800" anchor="ctr"/>
            <a:lstStyle/>
            <a:p>
              <a:endParaRPr lang="en-US" sz="1662" dirty="0"/>
            </a:p>
          </p:txBody>
        </p:sp>
        <p:sp>
          <p:nvSpPr>
            <p:cNvPr id="26" name="Rectangle"/>
            <p:cNvSpPr/>
            <p:nvPr userDrawn="1"/>
          </p:nvSpPr>
          <p:spPr>
            <a:xfrm>
              <a:off x="160238" y="371177"/>
              <a:ext cx="1300907" cy="813396"/>
            </a:xfrm>
            <a:prstGeom prst="rect">
              <a:avLst/>
            </a:prstGeom>
            <a:solidFill>
              <a:srgbClr val="095B88"/>
            </a:solidFill>
            <a:ln w="12700">
              <a:miter lim="400000"/>
            </a:ln>
          </p:spPr>
          <p:txBody>
            <a:bodyPr lIns="50800" tIns="50800" rIns="50800" bIns="50800" anchor="ctr"/>
            <a:lstStyle/>
            <a:p>
              <a:endParaRPr lang="en-US" sz="1662" dirty="0"/>
            </a:p>
          </p:txBody>
        </p:sp>
        <p:sp>
          <p:nvSpPr>
            <p:cNvPr id="27" name="Rectangle"/>
            <p:cNvSpPr/>
            <p:nvPr userDrawn="1"/>
          </p:nvSpPr>
          <p:spPr>
            <a:xfrm>
              <a:off x="160238" y="1184572"/>
              <a:ext cx="1300907" cy="4539854"/>
            </a:xfrm>
            <a:prstGeom prst="rect">
              <a:avLst/>
            </a:prstGeom>
            <a:solidFill>
              <a:srgbClr val="016AA1"/>
            </a:solidFill>
            <a:ln w="12700">
              <a:miter lim="400000"/>
            </a:ln>
          </p:spPr>
          <p:txBody>
            <a:bodyPr lIns="50800" tIns="50800" rIns="50800" bIns="50800" anchor="ctr"/>
            <a:lstStyle/>
            <a:p>
              <a:endParaRPr lang="en-US" sz="1662" dirty="0"/>
            </a:p>
          </p:txBody>
        </p:sp>
        <p:sp>
          <p:nvSpPr>
            <p:cNvPr id="28" name="Rectangle"/>
            <p:cNvSpPr/>
            <p:nvPr userDrawn="1"/>
          </p:nvSpPr>
          <p:spPr>
            <a:xfrm>
              <a:off x="160238" y="154880"/>
              <a:ext cx="1300907" cy="216298"/>
            </a:xfrm>
            <a:prstGeom prst="rect">
              <a:avLst/>
            </a:prstGeom>
            <a:solidFill>
              <a:srgbClr val="85CDD9"/>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3880800578"/>
      </p:ext>
    </p:extLst>
  </p:cSld>
  <p:clrMapOvr>
    <a:masterClrMapping/>
  </p:clrMapOvr>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854338"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562709" y="162000"/>
            <a:ext cx="11068060" cy="704087"/>
          </a:xfrm>
        </p:spPr>
        <p:txBody>
          <a:bodyPr anchor="t"/>
          <a:lstStyle>
            <a:lvl1pPr>
              <a:defRPr>
                <a:latin typeface="Arial"/>
                <a:sym typeface="Arial"/>
              </a:defRPr>
            </a:lvl1pPr>
          </a:lstStyle>
          <a:p>
            <a:endParaRPr lang="en-US" dirty="0"/>
          </a:p>
        </p:txBody>
      </p:sp>
      <p:sp>
        <p:nvSpPr>
          <p:cNvPr id="4" name="Text Placeholder 3"/>
          <p:cNvSpPr>
            <a:spLocks noGrp="1"/>
          </p:cNvSpPr>
          <p:nvPr>
            <p:ph type="body" sz="quarter" idx="10"/>
          </p:nvPr>
        </p:nvSpPr>
        <p:spPr>
          <a:xfrm>
            <a:off x="562709" y="1508760"/>
            <a:ext cx="11068060" cy="3997304"/>
          </a:xfrm>
        </p:spPr>
        <p:txBody>
          <a:bodyPr lIns="0" tIns="0" rIns="0" bIns="0"/>
          <a:lstStyle>
            <a:lvl1pPr>
              <a:spcBef>
                <a:spcPts val="354"/>
              </a:spcBef>
              <a:defRPr>
                <a:latin typeface="Arial"/>
                <a:sym typeface="Arial"/>
              </a:defRPr>
            </a:lvl1pPr>
            <a:lvl2pPr marL="422041" indent="-212682">
              <a:spcBef>
                <a:spcPts val="354"/>
              </a:spcBef>
              <a:defRPr>
                <a:latin typeface="Arial"/>
                <a:sym typeface="Arial"/>
              </a:defRPr>
            </a:lvl2pPr>
            <a:lvl3pPr marL="844083" indent="-212682">
              <a:spcBef>
                <a:spcPts val="354"/>
              </a:spcBef>
              <a:defRPr>
                <a:latin typeface="Arial"/>
                <a:sym typeface="Arial"/>
              </a:defRPr>
            </a:lvl3pPr>
            <a:lvl4pPr marL="1269447" indent="-216005">
              <a:spcBef>
                <a:spcPts val="354"/>
              </a:spcBef>
              <a:defRPr>
                <a:latin typeface="Arial"/>
                <a:sym typeface="Arial"/>
              </a:defRPr>
            </a:lvl4pPr>
            <a:lvl5pPr marL="1900848" indent="-212682">
              <a:spcBef>
                <a:spcPts val="354"/>
              </a:spcBef>
              <a:defRPr>
                <a:latin typeface="Arial"/>
                <a:sym typeface="Aria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6"/>
          <p:cNvSpPr>
            <a:spLocks noGrp="1"/>
          </p:cNvSpPr>
          <p:nvPr>
            <p:ph type="body" sz="quarter" idx="11"/>
          </p:nvPr>
        </p:nvSpPr>
        <p:spPr>
          <a:xfrm>
            <a:off x="562709" y="863601"/>
            <a:ext cx="11068060" cy="320359"/>
          </a:xfrm>
        </p:spPr>
        <p:txBody>
          <a:bodyPr anchor="t">
            <a:normAutofit/>
          </a:bodyPr>
          <a:lstStyle>
            <a:lvl1pPr>
              <a:defRPr sz="1385" b="0">
                <a:solidFill>
                  <a:srgbClr val="73C4EF"/>
                </a:solidFill>
              </a:defRPr>
            </a:lvl1pPr>
          </a:lstStyle>
          <a:p>
            <a:pPr lvl="0"/>
            <a:endParaRPr lang="en-US" dirty="0"/>
          </a:p>
        </p:txBody>
      </p:sp>
    </p:spTree>
    <p:extLst>
      <p:ext uri="{BB962C8B-B14F-4D97-AF65-F5344CB8AC3E}">
        <p14:creationId xmlns:p14="http://schemas.microsoft.com/office/powerpoint/2010/main" val="2050960612"/>
      </p:ext>
    </p:extLst>
  </p:cSld>
  <p:clrMapOvr>
    <a:masterClrMapping/>
  </p:clrMapOvr>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userDrawn="1">
  <p:cSld name="Text with bullets">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855362" name="think-cell Slide" r:id="rId4" imgW="270" imgH="270" progId="TCLayout.ActiveDocument.1">
                  <p:embed/>
                </p:oleObj>
              </mc:Choice>
              <mc:Fallback>
                <p:oleObj name="think-cell Slide" r:id="rId4" imgW="270" imgH="270" progId="TCLayout.ActiveDocument.1">
                  <p:embed/>
                  <p:pic>
                    <p:nvPicPr>
                      <p:cNvPr id="6" name="Object 5"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ext Placeholder 7"/>
          <p:cNvSpPr>
            <a:spLocks noGrp="1"/>
          </p:cNvSpPr>
          <p:nvPr userDrawn="1">
            <p:ph type="body" sz="quarter" idx="13"/>
          </p:nvPr>
        </p:nvSpPr>
        <p:spPr>
          <a:xfrm>
            <a:off x="562709" y="1508400"/>
            <a:ext cx="11068060" cy="3997304"/>
          </a:xfrm>
          <a:prstGeom prst="rect">
            <a:avLst/>
          </a:prstGeom>
        </p:spPr>
        <p:txBody>
          <a:bodyPr lIns="0" tIns="0" rIns="0" bIns="0"/>
          <a:lstStyle>
            <a:lvl1pPr marL="159512" indent="-159512">
              <a:spcBef>
                <a:spcPts val="354"/>
              </a:spcBef>
              <a:buClr>
                <a:srgbClr val="002D72"/>
              </a:buClr>
              <a:buFont typeface="Arial" pitchFamily="34" charset="0"/>
              <a:buChar char="•"/>
              <a:tabLst/>
              <a:defRPr b="0">
                <a:latin typeface="Arial"/>
                <a:sym typeface="Arial"/>
              </a:defRPr>
            </a:lvl1pPr>
            <a:lvl2pPr marL="581553" indent="-212682">
              <a:spcBef>
                <a:spcPts val="354"/>
              </a:spcBef>
              <a:buFont typeface="Arial" pitchFamily="34" charset="0"/>
              <a:buChar char="–"/>
              <a:defRPr>
                <a:latin typeface="Arial"/>
                <a:sym typeface="Arial"/>
              </a:defRPr>
            </a:lvl2pPr>
            <a:lvl3pPr marL="993625" indent="-212682">
              <a:spcBef>
                <a:spcPts val="354"/>
              </a:spcBef>
              <a:defRPr>
                <a:latin typeface="Arial"/>
                <a:sym typeface="Arial"/>
              </a:defRPr>
            </a:lvl3pPr>
            <a:lvl4pPr marL="1425636" indent="-212682">
              <a:spcBef>
                <a:spcPts val="354"/>
              </a:spcBef>
              <a:defRPr>
                <a:latin typeface="Arial"/>
                <a:sym typeface="Arial"/>
              </a:defRPr>
            </a:lvl4pPr>
            <a:lvl5pPr marL="1900848" indent="-212682">
              <a:spcBef>
                <a:spcPts val="354"/>
              </a:spcBef>
              <a:defRPr>
                <a:latin typeface="Arial"/>
                <a:sym typeface="Aria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itle 1"/>
          <p:cNvSpPr>
            <a:spLocks noGrp="1"/>
          </p:cNvSpPr>
          <p:nvPr>
            <p:ph type="title"/>
          </p:nvPr>
        </p:nvSpPr>
        <p:spPr>
          <a:xfrm>
            <a:off x="562709" y="162000"/>
            <a:ext cx="11068060" cy="704087"/>
          </a:xfrm>
        </p:spPr>
        <p:txBody>
          <a:bodyPr anchor="t"/>
          <a:lstStyle>
            <a:lvl1pPr>
              <a:defRPr>
                <a:latin typeface="Arial"/>
                <a:sym typeface="Arial"/>
              </a:defRPr>
            </a:lvl1pPr>
          </a:lstStyle>
          <a:p>
            <a:endParaRPr lang="en-US" dirty="0"/>
          </a:p>
        </p:txBody>
      </p:sp>
      <p:sp>
        <p:nvSpPr>
          <p:cNvPr id="8" name="Text Placeholder 6"/>
          <p:cNvSpPr>
            <a:spLocks noGrp="1"/>
          </p:cNvSpPr>
          <p:nvPr>
            <p:ph type="body" sz="quarter" idx="11"/>
          </p:nvPr>
        </p:nvSpPr>
        <p:spPr>
          <a:xfrm>
            <a:off x="562709" y="863601"/>
            <a:ext cx="11068060" cy="320359"/>
          </a:xfrm>
        </p:spPr>
        <p:txBody>
          <a:bodyPr anchor="t">
            <a:normAutofit/>
          </a:bodyPr>
          <a:lstStyle>
            <a:lvl1pPr>
              <a:defRPr sz="1385" b="0">
                <a:solidFill>
                  <a:srgbClr val="73C4EF"/>
                </a:solidFill>
              </a:defRPr>
            </a:lvl1pPr>
          </a:lstStyle>
          <a:p>
            <a:pPr lvl="0"/>
            <a:endParaRPr lang="en-US" dirty="0"/>
          </a:p>
        </p:txBody>
      </p:sp>
    </p:spTree>
    <p:extLst>
      <p:ext uri="{BB962C8B-B14F-4D97-AF65-F5344CB8AC3E}">
        <p14:creationId xmlns:p14="http://schemas.microsoft.com/office/powerpoint/2010/main" val="843118118"/>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Cover page">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6" y="1592"/>
          <a:ext cx="1953" cy="1587"/>
        </p:xfrm>
        <a:graphic>
          <a:graphicData uri="http://schemas.openxmlformats.org/presentationml/2006/ole">
            <mc:AlternateContent xmlns:mc="http://schemas.openxmlformats.org/markup-compatibility/2006">
              <mc:Choice xmlns:v="urn:schemas-microsoft-com:vml" Requires="v">
                <p:oleObj spid="_x0000_s2489032"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6" y="1592"/>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3" descr="Picture 3"/>
          <p:cNvPicPr>
            <a:picLocks noChangeAspect="1"/>
          </p:cNvPicPr>
          <p:nvPr userDrawn="1"/>
        </p:nvPicPr>
        <p:blipFill>
          <a:blip r:embed="rId6" cstate="print"/>
          <a:srcRect r="91525"/>
          <a:stretch>
            <a:fillRect/>
          </a:stretch>
        </p:blipFill>
        <p:spPr>
          <a:xfrm>
            <a:off x="0" y="0"/>
            <a:ext cx="1376613" cy="6858000"/>
          </a:xfrm>
          <a:prstGeom prst="rect">
            <a:avLst/>
          </a:prstGeom>
          <a:ln w="12700">
            <a:miter lim="400000"/>
          </a:ln>
        </p:spPr>
      </p:pic>
      <p:sp>
        <p:nvSpPr>
          <p:cNvPr id="18" name="Text Placeholder 17"/>
          <p:cNvSpPr>
            <a:spLocks noGrp="1"/>
          </p:cNvSpPr>
          <p:nvPr>
            <p:ph type="body" sz="quarter" idx="10" hasCustomPrompt="1"/>
          </p:nvPr>
        </p:nvSpPr>
        <p:spPr>
          <a:xfrm>
            <a:off x="1744393" y="722376"/>
            <a:ext cx="8924544" cy="649224"/>
          </a:xfrm>
        </p:spPr>
        <p:txBody>
          <a:bodyPr lIns="36576" tIns="45720" rIns="36576" bIns="45720" anchor="ctr">
            <a:noAutofit/>
          </a:bodyPr>
          <a:lstStyle>
            <a:lvl1pPr>
              <a:defRPr sz="4000" b="0" baseline="0">
                <a:solidFill>
                  <a:srgbClr val="86CBD8"/>
                </a:solidFill>
              </a:defRPr>
            </a:lvl1pPr>
          </a:lstStyle>
          <a:p>
            <a:pPr lvl="0"/>
            <a:r>
              <a:rPr lang="en-US" sz="4000" dirty="0" err="1">
                <a:solidFill>
                  <a:srgbClr val="86CBD8"/>
                </a:solidFill>
              </a:rPr>
              <a:t>Título</a:t>
            </a:r>
            <a:r>
              <a:rPr lang="en-US" sz="4000" dirty="0">
                <a:solidFill>
                  <a:srgbClr val="86CBD8"/>
                </a:solidFill>
              </a:rPr>
              <a:t> </a:t>
            </a:r>
            <a:r>
              <a:rPr lang="en-US" sz="4000" dirty="0" err="1">
                <a:solidFill>
                  <a:srgbClr val="86CBD8"/>
                </a:solidFill>
              </a:rPr>
              <a:t>Presentación</a:t>
            </a:r>
            <a:endParaRPr lang="en-US" dirty="0"/>
          </a:p>
        </p:txBody>
      </p:sp>
      <p:sp>
        <p:nvSpPr>
          <p:cNvPr id="20" name="Text Placeholder 19"/>
          <p:cNvSpPr>
            <a:spLocks noGrp="1"/>
          </p:cNvSpPr>
          <p:nvPr>
            <p:ph type="body" sz="quarter" idx="11" hasCustomPrompt="1"/>
          </p:nvPr>
        </p:nvSpPr>
        <p:spPr>
          <a:xfrm>
            <a:off x="1789411" y="2221992"/>
            <a:ext cx="10016197" cy="365760"/>
          </a:xfrm>
        </p:spPr>
        <p:txBody>
          <a:bodyPr lIns="36576" tIns="45720" rIns="36576" bIns="45720">
            <a:noAutofit/>
          </a:bodyPr>
          <a:lstStyle>
            <a:lvl1pPr>
              <a:defRPr sz="1800" b="1" baseline="0">
                <a:solidFill>
                  <a:srgbClr val="016AA1"/>
                </a:solidFill>
              </a:defRPr>
            </a:lvl1pPr>
          </a:lstStyle>
          <a:p>
            <a:pPr lvl="0"/>
            <a:r>
              <a:rPr lang="en-US" dirty="0" err="1"/>
              <a:t>Subtitulo</a:t>
            </a:r>
            <a:endParaRPr lang="en-US" dirty="0"/>
          </a:p>
        </p:txBody>
      </p:sp>
      <p:sp>
        <p:nvSpPr>
          <p:cNvPr id="22" name="Text Placeholder 21"/>
          <p:cNvSpPr>
            <a:spLocks noGrp="1"/>
          </p:cNvSpPr>
          <p:nvPr>
            <p:ph type="body" sz="quarter" idx="12" hasCustomPrompt="1"/>
          </p:nvPr>
        </p:nvSpPr>
        <p:spPr>
          <a:xfrm>
            <a:off x="1789413" y="4983480"/>
            <a:ext cx="9340948" cy="365760"/>
          </a:xfrm>
        </p:spPr>
        <p:txBody>
          <a:bodyPr lIns="36576" tIns="45720" rIns="36576" bIns="45720">
            <a:noAutofit/>
          </a:bodyPr>
          <a:lstStyle>
            <a:lvl1pPr>
              <a:defRPr sz="1800" b="0" baseline="0">
                <a:solidFill>
                  <a:srgbClr val="7C1A4F"/>
                </a:solidFill>
              </a:defRPr>
            </a:lvl1pPr>
          </a:lstStyle>
          <a:p>
            <a:pPr lvl="0"/>
            <a:r>
              <a:rPr lang="en-US" dirty="0" err="1"/>
              <a:t>Fecha</a:t>
            </a:r>
            <a:endParaRPr lang="en-US" dirty="0"/>
          </a:p>
        </p:txBody>
      </p:sp>
      <p:pic>
        <p:nvPicPr>
          <p:cNvPr id="9" name="footer-13.jpg" descr="footer-13.jpg"/>
          <p:cNvPicPr>
            <a:picLocks noChangeAspect="1"/>
          </p:cNvPicPr>
          <p:nvPr userDrawn="1"/>
        </p:nvPicPr>
        <p:blipFill>
          <a:blip r:embed="rId7" cstate="print"/>
          <a:stretch>
            <a:fillRect/>
          </a:stretch>
        </p:blipFill>
        <p:spPr>
          <a:xfrm>
            <a:off x="0" y="6221395"/>
            <a:ext cx="12192000" cy="574391"/>
          </a:xfrm>
          <a:prstGeom prst="rect">
            <a:avLst/>
          </a:prstGeom>
          <a:ln w="12700">
            <a:miter lim="400000"/>
          </a:ln>
        </p:spPr>
      </p:pic>
    </p:spTree>
    <p:extLst>
      <p:ext uri="{BB962C8B-B14F-4D97-AF65-F5344CB8AC3E}">
        <p14:creationId xmlns:p14="http://schemas.microsoft.com/office/powerpoint/2010/main" val="1325540725"/>
      </p:ext>
    </p:extLst>
  </p:cSld>
  <p:clrMapOvr>
    <a:masterClrMapping/>
  </p:clrMapOvr>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856386" name="think-cell Slide" r:id="rId4" imgW="270" imgH="270" progId="TCLayout.ActiveDocument.1">
                  <p:embed/>
                </p:oleObj>
              </mc:Choice>
              <mc:Fallback>
                <p:oleObj name="think-cell Slide" r:id="rId4" imgW="270" imgH="270" progId="TCLayout.ActiveDocument.1">
                  <p:embed/>
                  <p:pic>
                    <p:nvPicPr>
                      <p:cNvPr id="7" name="Object 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le 1"/>
          <p:cNvSpPr>
            <a:spLocks noGrp="1"/>
          </p:cNvSpPr>
          <p:nvPr>
            <p:ph type="title"/>
          </p:nvPr>
        </p:nvSpPr>
        <p:spPr>
          <a:xfrm>
            <a:off x="562709" y="162000"/>
            <a:ext cx="11068060" cy="704087"/>
          </a:xfrm>
        </p:spPr>
        <p:txBody>
          <a:bodyPr anchor="t"/>
          <a:lstStyle>
            <a:lvl1pPr>
              <a:defRPr>
                <a:latin typeface="Arial"/>
                <a:sym typeface="Arial"/>
              </a:defRPr>
            </a:lvl1pPr>
          </a:lstStyle>
          <a:p>
            <a:endParaRPr lang="en-US" dirty="0"/>
          </a:p>
        </p:txBody>
      </p:sp>
      <p:sp>
        <p:nvSpPr>
          <p:cNvPr id="6" name="Text Placeholder 6"/>
          <p:cNvSpPr>
            <a:spLocks noGrp="1"/>
          </p:cNvSpPr>
          <p:nvPr>
            <p:ph type="body" sz="quarter" idx="11"/>
          </p:nvPr>
        </p:nvSpPr>
        <p:spPr>
          <a:xfrm>
            <a:off x="562709" y="863601"/>
            <a:ext cx="11068060" cy="320359"/>
          </a:xfrm>
        </p:spPr>
        <p:txBody>
          <a:bodyPr anchor="t">
            <a:normAutofit/>
          </a:bodyPr>
          <a:lstStyle>
            <a:lvl1pPr>
              <a:defRPr sz="1385" b="0">
                <a:solidFill>
                  <a:srgbClr val="73C4EF"/>
                </a:solidFill>
              </a:defRPr>
            </a:lvl1pPr>
          </a:lstStyle>
          <a:p>
            <a:pPr lvl="0"/>
            <a:endParaRPr lang="en-US" dirty="0"/>
          </a:p>
        </p:txBody>
      </p:sp>
    </p:spTree>
    <p:extLst>
      <p:ext uri="{BB962C8B-B14F-4D97-AF65-F5344CB8AC3E}">
        <p14:creationId xmlns:p14="http://schemas.microsoft.com/office/powerpoint/2010/main" val="1469015614"/>
      </p:ext>
    </p:extLst>
  </p:cSld>
  <p:clrMapOvr>
    <a:masterClrMapping/>
  </p:clrMapOvr>
</p:sldLayout>
</file>

<file path=ppt/slideLayouts/slideLayout33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857410" name="think-cell Slide" r:id="rId4" imgW="270" imgH="270" progId="TCLayout.ActiveDocument.1">
                  <p:embed/>
                </p:oleObj>
              </mc:Choice>
              <mc:Fallback>
                <p:oleObj name="think-cell Slide" r:id="rId4" imgW="270" imgH="270" progId="TCLayout.ActiveDocument.1">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1586622801"/>
      </p:ext>
    </p:extLst>
  </p:cSld>
  <p:clrMapOvr>
    <a:masterClrMapping/>
  </p:clrMapOvr>
</p:sldLayout>
</file>

<file path=ppt/slideLayouts/slideLayout332.xml><?xml version="1.0" encoding="utf-8"?>
<p:sldLayout xmlns:a="http://schemas.openxmlformats.org/drawingml/2006/main" xmlns:r="http://schemas.openxmlformats.org/officeDocument/2006/relationships" xmlns:p="http://schemas.openxmlformats.org/presentationml/2006/main" type="titleOnly">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1810982654"/>
      </p:ext>
    </p:extLst>
  </p:cSld>
  <p:clrMapOvr>
    <a:masterClrMapping/>
  </p:clrMapOvr>
</p:sldLayout>
</file>

<file path=ppt/slideLayouts/slideLayout333.xml><?xml version="1.0" encoding="utf-8"?>
<p:sldLayout xmlns:a="http://schemas.openxmlformats.org/drawingml/2006/main" xmlns:r="http://schemas.openxmlformats.org/officeDocument/2006/relationships" xmlns:p="http://schemas.openxmlformats.org/presentationml/2006/main" userDrawn="1">
  <p:cSld name="4_Custom Layout">
    <p:spTree>
      <p:nvGrpSpPr>
        <p:cNvPr id="1" name=""/>
        <p:cNvGrpSpPr/>
        <p:nvPr/>
      </p:nvGrpSpPr>
      <p:grpSpPr>
        <a:xfrm>
          <a:off x="0" y="0"/>
          <a:ext cx="0" cy="0"/>
          <a:chOff x="0" y="0"/>
          <a:chExt cx="0" cy="0"/>
        </a:xfrm>
      </p:grpSpPr>
      <p:sp>
        <p:nvSpPr>
          <p:cNvPr id="14" name="Rectangle 13"/>
          <p:cNvSpPr/>
          <p:nvPr userDrawn="1"/>
        </p:nvSpPr>
        <p:spPr>
          <a:xfrm>
            <a:off x="226611" y="6608"/>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grpSp>
        <p:nvGrpSpPr>
          <p:cNvPr id="15" name="Group 14"/>
          <p:cNvGrpSpPr/>
          <p:nvPr userDrawn="1"/>
        </p:nvGrpSpPr>
        <p:grpSpPr>
          <a:xfrm flipH="1">
            <a:off x="226609" y="98856"/>
            <a:ext cx="1203763" cy="6096001"/>
            <a:chOff x="160238" y="148877"/>
            <a:chExt cx="1300907" cy="8783936"/>
          </a:xfrm>
        </p:grpSpPr>
        <p:sp>
          <p:nvSpPr>
            <p:cNvPr id="16" name="Rectangle"/>
            <p:cNvSpPr/>
            <p:nvPr userDrawn="1"/>
          </p:nvSpPr>
          <p:spPr>
            <a:xfrm>
              <a:off x="160238" y="7811988"/>
              <a:ext cx="1300907" cy="1120825"/>
            </a:xfrm>
            <a:prstGeom prst="rect">
              <a:avLst/>
            </a:prstGeom>
            <a:solidFill>
              <a:srgbClr val="C4297F"/>
            </a:solidFill>
            <a:ln w="12700">
              <a:miter lim="400000"/>
            </a:ln>
          </p:spPr>
          <p:txBody>
            <a:bodyPr lIns="50800" tIns="50800" rIns="50800" bIns="50800" anchor="ctr"/>
            <a:lstStyle/>
            <a:p>
              <a:endParaRPr sz="1800">
                <a:solidFill>
                  <a:prstClr val="black"/>
                </a:solidFill>
              </a:endParaRPr>
            </a:p>
          </p:txBody>
        </p:sp>
        <p:sp>
          <p:nvSpPr>
            <p:cNvPr id="17" name="Rectangle"/>
            <p:cNvSpPr/>
            <p:nvPr userDrawn="1"/>
          </p:nvSpPr>
          <p:spPr>
            <a:xfrm>
              <a:off x="160238" y="7090072"/>
              <a:ext cx="1300907" cy="721917"/>
            </a:xfrm>
            <a:prstGeom prst="rect">
              <a:avLst/>
            </a:prstGeom>
            <a:solidFill>
              <a:srgbClr val="7C1A4F"/>
            </a:solidFill>
            <a:ln w="12700">
              <a:miter lim="400000"/>
            </a:ln>
          </p:spPr>
          <p:txBody>
            <a:bodyPr lIns="50800" tIns="50800" rIns="50800" bIns="50800" anchor="ctr"/>
            <a:lstStyle/>
            <a:p>
              <a:endParaRPr sz="1800">
                <a:solidFill>
                  <a:prstClr val="black"/>
                </a:solidFill>
              </a:endParaRPr>
            </a:p>
          </p:txBody>
        </p:sp>
        <p:sp>
          <p:nvSpPr>
            <p:cNvPr id="18" name="Rectangle"/>
            <p:cNvSpPr/>
            <p:nvPr userDrawn="1"/>
          </p:nvSpPr>
          <p:spPr>
            <a:xfrm>
              <a:off x="160238" y="6877694"/>
              <a:ext cx="1300907" cy="212379"/>
            </a:xfrm>
            <a:prstGeom prst="rect">
              <a:avLst/>
            </a:prstGeom>
            <a:solidFill>
              <a:srgbClr val="F79824"/>
            </a:solidFill>
            <a:ln w="12700">
              <a:miter lim="400000"/>
            </a:ln>
          </p:spPr>
          <p:txBody>
            <a:bodyPr lIns="50800" tIns="50800" rIns="50800" bIns="50800" anchor="ctr"/>
            <a:lstStyle/>
            <a:p>
              <a:endParaRPr sz="1800">
                <a:solidFill>
                  <a:prstClr val="black"/>
                </a:solidFill>
              </a:endParaRPr>
            </a:p>
          </p:txBody>
        </p:sp>
        <p:sp>
          <p:nvSpPr>
            <p:cNvPr id="19" name="Rectangle"/>
            <p:cNvSpPr/>
            <p:nvPr userDrawn="1"/>
          </p:nvSpPr>
          <p:spPr>
            <a:xfrm>
              <a:off x="160238" y="5875535"/>
              <a:ext cx="1300907" cy="1002160"/>
            </a:xfrm>
            <a:prstGeom prst="rect">
              <a:avLst/>
            </a:prstGeom>
            <a:solidFill>
              <a:srgbClr val="EE4329"/>
            </a:solidFill>
            <a:ln w="12700">
              <a:miter lim="400000"/>
            </a:ln>
          </p:spPr>
          <p:txBody>
            <a:bodyPr lIns="50800" tIns="50800" rIns="50800" bIns="50800" anchor="ctr"/>
            <a:lstStyle/>
            <a:p>
              <a:endParaRPr sz="1800">
                <a:solidFill>
                  <a:prstClr val="black"/>
                </a:solidFill>
              </a:endParaRPr>
            </a:p>
          </p:txBody>
        </p:sp>
        <p:sp>
          <p:nvSpPr>
            <p:cNvPr id="20" name="Rectangle"/>
            <p:cNvSpPr/>
            <p:nvPr userDrawn="1"/>
          </p:nvSpPr>
          <p:spPr>
            <a:xfrm>
              <a:off x="160238" y="3874095"/>
              <a:ext cx="1300907" cy="2001441"/>
            </a:xfrm>
            <a:prstGeom prst="rect">
              <a:avLst/>
            </a:prstGeom>
            <a:solidFill>
              <a:srgbClr val="F36F26"/>
            </a:solidFill>
            <a:ln w="12700">
              <a:miter lim="400000"/>
            </a:ln>
          </p:spPr>
          <p:txBody>
            <a:bodyPr lIns="50800" tIns="50800" rIns="50800" bIns="50800" anchor="ctr"/>
            <a:lstStyle/>
            <a:p>
              <a:endParaRPr sz="1800">
                <a:solidFill>
                  <a:prstClr val="black"/>
                </a:solidFill>
              </a:endParaRPr>
            </a:p>
          </p:txBody>
        </p:sp>
        <p:sp>
          <p:nvSpPr>
            <p:cNvPr id="21" name="Rectangle"/>
            <p:cNvSpPr/>
            <p:nvPr userDrawn="1"/>
          </p:nvSpPr>
          <p:spPr>
            <a:xfrm>
              <a:off x="160238" y="3154213"/>
              <a:ext cx="1300907" cy="721867"/>
            </a:xfrm>
            <a:prstGeom prst="rect">
              <a:avLst/>
            </a:prstGeom>
            <a:solidFill>
              <a:srgbClr val="016AA1"/>
            </a:solidFill>
            <a:ln w="12700">
              <a:miter lim="400000"/>
            </a:ln>
          </p:spPr>
          <p:txBody>
            <a:bodyPr lIns="50800" tIns="50800" rIns="50800" bIns="50800" anchor="ctr"/>
            <a:lstStyle/>
            <a:p>
              <a:endParaRPr sz="1800">
                <a:solidFill>
                  <a:prstClr val="black"/>
                </a:solidFill>
              </a:endParaRPr>
            </a:p>
          </p:txBody>
        </p:sp>
        <p:sp>
          <p:nvSpPr>
            <p:cNvPr id="22" name="Rectangle"/>
            <p:cNvSpPr/>
            <p:nvPr userDrawn="1"/>
          </p:nvSpPr>
          <p:spPr>
            <a:xfrm>
              <a:off x="160238" y="148877"/>
              <a:ext cx="1300907" cy="3005337"/>
            </a:xfrm>
            <a:prstGeom prst="rect">
              <a:avLst/>
            </a:prstGeom>
            <a:solidFill>
              <a:srgbClr val="86CBD8"/>
            </a:solidFill>
            <a:ln w="12700">
              <a:miter lim="400000"/>
            </a:ln>
          </p:spPr>
          <p:txBody>
            <a:bodyPr lIns="50800" tIns="50800" rIns="50800" bIns="50800" anchor="ctr"/>
            <a:lstStyle/>
            <a:p>
              <a:endParaRPr sz="1800">
                <a:solidFill>
                  <a:prstClr val="black"/>
                </a:solidFill>
              </a:endParaRPr>
            </a:p>
          </p:txBody>
        </p:sp>
      </p:grpSp>
    </p:spTree>
    <p:extLst>
      <p:ext uri="{BB962C8B-B14F-4D97-AF65-F5344CB8AC3E}">
        <p14:creationId xmlns:p14="http://schemas.microsoft.com/office/powerpoint/2010/main" val="2200841545"/>
      </p:ext>
    </p:extLst>
  </p:cSld>
  <p:clrMapOvr>
    <a:masterClrMapping/>
  </p:clrMapOvr>
</p:sldLayout>
</file>

<file path=ppt/slideLayouts/slideLayout334.xml><?xml version="1.0" encoding="utf-8"?>
<p:sldLayout xmlns:a="http://schemas.openxmlformats.org/drawingml/2006/main" xmlns:r="http://schemas.openxmlformats.org/officeDocument/2006/relationships" xmlns:p="http://schemas.openxmlformats.org/presentationml/2006/main" userDrawn="1">
  <p:cSld name="Separador1">
    <p:spTree>
      <p:nvGrpSpPr>
        <p:cNvPr id="1" name=""/>
        <p:cNvGrpSpPr/>
        <p:nvPr/>
      </p:nvGrpSpPr>
      <p:grpSpPr>
        <a:xfrm>
          <a:off x="0" y="0"/>
          <a:ext cx="0" cy="0"/>
          <a:chOff x="0" y="0"/>
          <a:chExt cx="0" cy="0"/>
        </a:xfrm>
      </p:grpSpPr>
      <p:sp>
        <p:nvSpPr>
          <p:cNvPr id="11" name="Rectangle 10"/>
          <p:cNvSpPr/>
          <p:nvPr userDrawn="1"/>
        </p:nvSpPr>
        <p:spPr>
          <a:xfrm>
            <a:off x="226611" y="6608"/>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grpSp>
        <p:nvGrpSpPr>
          <p:cNvPr id="19" name="Group 18"/>
          <p:cNvGrpSpPr/>
          <p:nvPr userDrawn="1"/>
        </p:nvGrpSpPr>
        <p:grpSpPr>
          <a:xfrm>
            <a:off x="226614" y="98854"/>
            <a:ext cx="1204588" cy="6096000"/>
            <a:chOff x="160238" y="154880"/>
            <a:chExt cx="1300907" cy="8777933"/>
          </a:xfrm>
        </p:grpSpPr>
        <p:sp>
          <p:nvSpPr>
            <p:cNvPr id="12" name="Rectangle"/>
            <p:cNvSpPr/>
            <p:nvPr userDrawn="1"/>
          </p:nvSpPr>
          <p:spPr>
            <a:xfrm>
              <a:off x="160238" y="8398371"/>
              <a:ext cx="1300907" cy="534442"/>
            </a:xfrm>
            <a:prstGeom prst="rect">
              <a:avLst/>
            </a:prstGeom>
            <a:solidFill>
              <a:srgbClr val="85CDD9"/>
            </a:solidFill>
            <a:ln w="12700">
              <a:miter lim="400000"/>
            </a:ln>
          </p:spPr>
          <p:txBody>
            <a:bodyPr lIns="50800" tIns="50800" rIns="50800" bIns="50800" anchor="ctr"/>
            <a:lstStyle/>
            <a:p>
              <a:endParaRPr sz="1800">
                <a:solidFill>
                  <a:prstClr val="black"/>
                </a:solidFill>
              </a:endParaRPr>
            </a:p>
          </p:txBody>
        </p:sp>
        <p:sp>
          <p:nvSpPr>
            <p:cNvPr id="13" name="Rectangle"/>
            <p:cNvSpPr/>
            <p:nvPr userDrawn="1"/>
          </p:nvSpPr>
          <p:spPr>
            <a:xfrm>
              <a:off x="160238" y="8183364"/>
              <a:ext cx="1300907" cy="215008"/>
            </a:xfrm>
            <a:prstGeom prst="rect">
              <a:avLst/>
            </a:prstGeom>
            <a:solidFill>
              <a:srgbClr val="4D89AD"/>
            </a:solidFill>
            <a:ln w="12700">
              <a:miter lim="400000"/>
            </a:ln>
          </p:spPr>
          <p:txBody>
            <a:bodyPr lIns="50800" tIns="50800" rIns="50800" bIns="50800" anchor="ctr"/>
            <a:lstStyle/>
            <a:p>
              <a:endParaRPr sz="1800">
                <a:solidFill>
                  <a:prstClr val="black"/>
                </a:solidFill>
              </a:endParaRPr>
            </a:p>
          </p:txBody>
        </p:sp>
        <p:sp>
          <p:nvSpPr>
            <p:cNvPr id="14" name="Rectangle"/>
            <p:cNvSpPr/>
            <p:nvPr userDrawn="1"/>
          </p:nvSpPr>
          <p:spPr>
            <a:xfrm>
              <a:off x="160238" y="6195863"/>
              <a:ext cx="1300907" cy="1987502"/>
            </a:xfrm>
            <a:prstGeom prst="rect">
              <a:avLst/>
            </a:prstGeom>
            <a:solidFill>
              <a:srgbClr val="2591C0"/>
            </a:solidFill>
            <a:ln w="12700">
              <a:miter lim="400000"/>
            </a:ln>
          </p:spPr>
          <p:txBody>
            <a:bodyPr lIns="50800" tIns="50800" rIns="50800" bIns="50800" anchor="ctr"/>
            <a:lstStyle/>
            <a:p>
              <a:endParaRPr sz="1800">
                <a:solidFill>
                  <a:prstClr val="black"/>
                </a:solidFill>
              </a:endParaRPr>
            </a:p>
          </p:txBody>
        </p:sp>
        <p:sp>
          <p:nvSpPr>
            <p:cNvPr id="15" name="Rectangle"/>
            <p:cNvSpPr/>
            <p:nvPr userDrawn="1"/>
          </p:nvSpPr>
          <p:spPr>
            <a:xfrm>
              <a:off x="160238" y="5724425"/>
              <a:ext cx="1300907" cy="471439"/>
            </a:xfrm>
            <a:prstGeom prst="rect">
              <a:avLst/>
            </a:prstGeom>
            <a:solidFill>
              <a:srgbClr val="104D6A"/>
            </a:solidFill>
            <a:ln w="12700">
              <a:miter lim="400000"/>
            </a:ln>
          </p:spPr>
          <p:txBody>
            <a:bodyPr lIns="50800" tIns="50800" rIns="50800" bIns="50800" anchor="ctr"/>
            <a:lstStyle/>
            <a:p>
              <a:endParaRPr sz="1800">
                <a:solidFill>
                  <a:prstClr val="black"/>
                </a:solidFill>
              </a:endParaRPr>
            </a:p>
          </p:txBody>
        </p:sp>
        <p:sp>
          <p:nvSpPr>
            <p:cNvPr id="16" name="Rectangle"/>
            <p:cNvSpPr/>
            <p:nvPr userDrawn="1"/>
          </p:nvSpPr>
          <p:spPr>
            <a:xfrm>
              <a:off x="160238" y="371177"/>
              <a:ext cx="1300907" cy="813396"/>
            </a:xfrm>
            <a:prstGeom prst="rect">
              <a:avLst/>
            </a:prstGeom>
            <a:solidFill>
              <a:srgbClr val="095B88"/>
            </a:solidFill>
            <a:ln w="12700">
              <a:miter lim="400000"/>
            </a:ln>
          </p:spPr>
          <p:txBody>
            <a:bodyPr lIns="50800" tIns="50800" rIns="50800" bIns="50800" anchor="ctr"/>
            <a:lstStyle/>
            <a:p>
              <a:endParaRPr sz="1800">
                <a:solidFill>
                  <a:prstClr val="black"/>
                </a:solidFill>
              </a:endParaRPr>
            </a:p>
          </p:txBody>
        </p:sp>
        <p:sp>
          <p:nvSpPr>
            <p:cNvPr id="17" name="Rectangle"/>
            <p:cNvSpPr/>
            <p:nvPr userDrawn="1"/>
          </p:nvSpPr>
          <p:spPr>
            <a:xfrm>
              <a:off x="160238" y="1184572"/>
              <a:ext cx="1300907" cy="4539854"/>
            </a:xfrm>
            <a:prstGeom prst="rect">
              <a:avLst/>
            </a:prstGeom>
            <a:solidFill>
              <a:srgbClr val="016AA1"/>
            </a:solidFill>
            <a:ln w="12700">
              <a:miter lim="400000"/>
            </a:ln>
          </p:spPr>
          <p:txBody>
            <a:bodyPr lIns="50800" tIns="50800" rIns="50800" bIns="50800" anchor="ctr"/>
            <a:lstStyle/>
            <a:p>
              <a:endParaRPr sz="1800">
                <a:solidFill>
                  <a:prstClr val="black"/>
                </a:solidFill>
              </a:endParaRPr>
            </a:p>
          </p:txBody>
        </p:sp>
        <p:sp>
          <p:nvSpPr>
            <p:cNvPr id="18" name="Rectangle"/>
            <p:cNvSpPr/>
            <p:nvPr userDrawn="1"/>
          </p:nvSpPr>
          <p:spPr>
            <a:xfrm>
              <a:off x="160238" y="154880"/>
              <a:ext cx="1300907" cy="216298"/>
            </a:xfrm>
            <a:prstGeom prst="rect">
              <a:avLst/>
            </a:prstGeom>
            <a:solidFill>
              <a:srgbClr val="85CDD9"/>
            </a:solidFill>
            <a:ln w="12700">
              <a:miter lim="400000"/>
            </a:ln>
          </p:spPr>
          <p:txBody>
            <a:bodyPr lIns="50800" tIns="50800" rIns="50800" bIns="50800" anchor="ctr"/>
            <a:lstStyle/>
            <a:p>
              <a:endParaRPr sz="1800">
                <a:solidFill>
                  <a:prstClr val="black"/>
                </a:solidFill>
              </a:endParaRPr>
            </a:p>
          </p:txBody>
        </p:sp>
      </p:grpSp>
    </p:spTree>
    <p:extLst>
      <p:ext uri="{BB962C8B-B14F-4D97-AF65-F5344CB8AC3E}">
        <p14:creationId xmlns:p14="http://schemas.microsoft.com/office/powerpoint/2010/main" val="1311442052"/>
      </p:ext>
    </p:extLst>
  </p:cSld>
  <p:clrMapOvr>
    <a:masterClrMapping/>
  </p:clrMapOvr>
</p:sldLayout>
</file>

<file path=ppt/slideLayouts/slideLayout335.xml><?xml version="1.0" encoding="utf-8"?>
<p:sldLayout xmlns:a="http://schemas.openxmlformats.org/drawingml/2006/main" xmlns:r="http://schemas.openxmlformats.org/officeDocument/2006/relationships" xmlns:p="http://schemas.openxmlformats.org/presentationml/2006/main" showMasterSp="0" preserve="1" userDrawn="1">
  <p:cSld name="Cover page">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883782"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3" descr="Picture 3"/>
          <p:cNvPicPr>
            <a:picLocks noChangeAspect="1"/>
          </p:cNvPicPr>
          <p:nvPr userDrawn="1"/>
        </p:nvPicPr>
        <p:blipFill>
          <a:blip r:embed="rId6" cstate="print"/>
          <a:srcRect r="91525"/>
          <a:stretch>
            <a:fillRect/>
          </a:stretch>
        </p:blipFill>
        <p:spPr>
          <a:xfrm>
            <a:off x="0" y="0"/>
            <a:ext cx="1376613" cy="6858000"/>
          </a:xfrm>
          <a:prstGeom prst="rect">
            <a:avLst/>
          </a:prstGeom>
          <a:ln w="12700">
            <a:miter lim="400000"/>
          </a:ln>
        </p:spPr>
      </p:pic>
      <p:sp>
        <p:nvSpPr>
          <p:cNvPr id="18" name="Text Placeholder 17"/>
          <p:cNvSpPr>
            <a:spLocks noGrp="1"/>
          </p:cNvSpPr>
          <p:nvPr>
            <p:ph type="body" sz="quarter" idx="10" hasCustomPrompt="1"/>
          </p:nvPr>
        </p:nvSpPr>
        <p:spPr>
          <a:xfrm>
            <a:off x="1744393" y="722376"/>
            <a:ext cx="8924544" cy="649224"/>
          </a:xfrm>
        </p:spPr>
        <p:txBody>
          <a:bodyPr lIns="36576" tIns="45720" rIns="36576" bIns="45720" anchor="ctr">
            <a:noAutofit/>
          </a:bodyPr>
          <a:lstStyle>
            <a:lvl1pPr>
              <a:defRPr sz="3692" b="0" baseline="0">
                <a:solidFill>
                  <a:srgbClr val="86CBD8"/>
                </a:solidFill>
              </a:defRPr>
            </a:lvl1pPr>
          </a:lstStyle>
          <a:p>
            <a:pPr lvl="0"/>
            <a:r>
              <a:rPr lang="en-US" sz="3692" dirty="0" err="1">
                <a:solidFill>
                  <a:srgbClr val="86CBD8"/>
                </a:solidFill>
              </a:rPr>
              <a:t>Título</a:t>
            </a:r>
            <a:r>
              <a:rPr lang="en-US" sz="3692" dirty="0">
                <a:solidFill>
                  <a:srgbClr val="86CBD8"/>
                </a:solidFill>
              </a:rPr>
              <a:t> </a:t>
            </a:r>
            <a:r>
              <a:rPr lang="en-US" sz="3692" dirty="0" err="1">
                <a:solidFill>
                  <a:srgbClr val="86CBD8"/>
                </a:solidFill>
              </a:rPr>
              <a:t>Presentación</a:t>
            </a:r>
            <a:endParaRPr lang="en-US" dirty="0"/>
          </a:p>
        </p:txBody>
      </p:sp>
      <p:sp>
        <p:nvSpPr>
          <p:cNvPr id="20" name="Text Placeholder 19"/>
          <p:cNvSpPr>
            <a:spLocks noGrp="1"/>
          </p:cNvSpPr>
          <p:nvPr>
            <p:ph type="body" sz="quarter" idx="11" hasCustomPrompt="1"/>
          </p:nvPr>
        </p:nvSpPr>
        <p:spPr>
          <a:xfrm>
            <a:off x="1789411" y="2221992"/>
            <a:ext cx="10016197" cy="365760"/>
          </a:xfrm>
        </p:spPr>
        <p:txBody>
          <a:bodyPr lIns="36576" tIns="45720" rIns="36576" bIns="45720">
            <a:noAutofit/>
          </a:bodyPr>
          <a:lstStyle>
            <a:lvl1pPr>
              <a:defRPr sz="1662" b="1" baseline="0">
                <a:solidFill>
                  <a:srgbClr val="016AA1"/>
                </a:solidFill>
              </a:defRPr>
            </a:lvl1pPr>
          </a:lstStyle>
          <a:p>
            <a:pPr lvl="0"/>
            <a:r>
              <a:rPr lang="en-US" dirty="0" err="1"/>
              <a:t>Subtitulo</a:t>
            </a:r>
            <a:endParaRPr lang="en-US" dirty="0"/>
          </a:p>
        </p:txBody>
      </p:sp>
      <p:sp>
        <p:nvSpPr>
          <p:cNvPr id="22" name="Text Placeholder 21"/>
          <p:cNvSpPr>
            <a:spLocks noGrp="1"/>
          </p:cNvSpPr>
          <p:nvPr>
            <p:ph type="body" sz="quarter" idx="12" hasCustomPrompt="1"/>
          </p:nvPr>
        </p:nvSpPr>
        <p:spPr>
          <a:xfrm>
            <a:off x="1789411" y="4983480"/>
            <a:ext cx="9340948" cy="365760"/>
          </a:xfrm>
        </p:spPr>
        <p:txBody>
          <a:bodyPr lIns="36576" tIns="45720" rIns="36576" bIns="45720">
            <a:noAutofit/>
          </a:bodyPr>
          <a:lstStyle>
            <a:lvl1pPr>
              <a:defRPr sz="1662" b="0" baseline="0">
                <a:solidFill>
                  <a:srgbClr val="7C1A4F"/>
                </a:solidFill>
              </a:defRPr>
            </a:lvl1pPr>
          </a:lstStyle>
          <a:p>
            <a:pPr lvl="0"/>
            <a:r>
              <a:rPr lang="en-US" dirty="0" err="1"/>
              <a:t>Fecha</a:t>
            </a:r>
            <a:endParaRPr lang="en-US" dirty="0"/>
          </a:p>
        </p:txBody>
      </p:sp>
      <p:pic>
        <p:nvPicPr>
          <p:cNvPr id="9" name="footer-13.jpg" descr="footer-13.jpg"/>
          <p:cNvPicPr>
            <a:picLocks noChangeAspect="1"/>
          </p:cNvPicPr>
          <p:nvPr userDrawn="1"/>
        </p:nvPicPr>
        <p:blipFill>
          <a:blip r:embed="rId7" cstate="print"/>
          <a:stretch>
            <a:fillRect/>
          </a:stretch>
        </p:blipFill>
        <p:spPr>
          <a:xfrm>
            <a:off x="0" y="6221393"/>
            <a:ext cx="12192000" cy="574391"/>
          </a:xfrm>
          <a:prstGeom prst="rect">
            <a:avLst/>
          </a:prstGeom>
          <a:ln w="12700">
            <a:miter lim="400000"/>
          </a:ln>
        </p:spPr>
      </p:pic>
    </p:spTree>
    <p:extLst>
      <p:ext uri="{BB962C8B-B14F-4D97-AF65-F5344CB8AC3E}">
        <p14:creationId xmlns:p14="http://schemas.microsoft.com/office/powerpoint/2010/main" val="1406233820"/>
      </p:ext>
    </p:extLst>
  </p:cSld>
  <p:clrMapOvr>
    <a:masterClrMapping/>
  </p:clrMapOvr>
</p:sldLayout>
</file>

<file path=ppt/slideLayouts/slideLayout336.xml><?xml version="1.0" encoding="utf-8"?>
<p:sldLayout xmlns:a="http://schemas.openxmlformats.org/drawingml/2006/main" xmlns:r="http://schemas.openxmlformats.org/officeDocument/2006/relationships" xmlns:p="http://schemas.openxmlformats.org/presentationml/2006/main" showMasterSp="0" preserve="1" userDrawn="1">
  <p:cSld name="Divider 1">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884806"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822455"/>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DA2B57"/>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7C194F"/>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grpSp>
        <p:nvGrpSpPr>
          <p:cNvPr id="8" name="Group 7"/>
          <p:cNvGrpSpPr/>
          <p:nvPr userDrawn="1"/>
        </p:nvGrpSpPr>
        <p:grpSpPr>
          <a:xfrm>
            <a:off x="213691" y="98855"/>
            <a:ext cx="1113676" cy="6105595"/>
            <a:chOff x="160238" y="154880"/>
            <a:chExt cx="1300907" cy="8777933"/>
          </a:xfrm>
        </p:grpSpPr>
        <p:sp>
          <p:nvSpPr>
            <p:cNvPr id="9" name="Rectangle"/>
            <p:cNvSpPr/>
            <p:nvPr userDrawn="1"/>
          </p:nvSpPr>
          <p:spPr>
            <a:xfrm>
              <a:off x="160238" y="8398371"/>
              <a:ext cx="1300907" cy="534442"/>
            </a:xfrm>
            <a:prstGeom prst="rect">
              <a:avLst/>
            </a:prstGeom>
            <a:solidFill>
              <a:srgbClr val="ED207D"/>
            </a:solidFill>
            <a:ln w="12700">
              <a:miter lim="400000"/>
            </a:ln>
          </p:spPr>
          <p:txBody>
            <a:bodyPr lIns="50800" tIns="50800" rIns="50800" bIns="50800" anchor="ctr"/>
            <a:lstStyle/>
            <a:p>
              <a:endParaRPr lang="en-US" sz="1662" dirty="0"/>
            </a:p>
          </p:txBody>
        </p:sp>
        <p:sp>
          <p:nvSpPr>
            <p:cNvPr id="10" name="Rectangle"/>
            <p:cNvSpPr/>
            <p:nvPr userDrawn="1"/>
          </p:nvSpPr>
          <p:spPr>
            <a:xfrm>
              <a:off x="160238" y="8183364"/>
              <a:ext cx="1300907" cy="215008"/>
            </a:xfrm>
            <a:prstGeom prst="rect">
              <a:avLst/>
            </a:prstGeom>
            <a:solidFill>
              <a:srgbClr val="BF1D7F"/>
            </a:solidFill>
            <a:ln w="12700">
              <a:miter lim="400000"/>
            </a:ln>
          </p:spPr>
          <p:txBody>
            <a:bodyPr lIns="50800" tIns="50800" rIns="50800" bIns="50800" anchor="ctr"/>
            <a:lstStyle/>
            <a:p>
              <a:endParaRPr lang="en-US" sz="1662" dirty="0"/>
            </a:p>
          </p:txBody>
        </p:sp>
        <p:sp>
          <p:nvSpPr>
            <p:cNvPr id="11" name="Rectangle"/>
            <p:cNvSpPr/>
            <p:nvPr userDrawn="1"/>
          </p:nvSpPr>
          <p:spPr>
            <a:xfrm>
              <a:off x="160238" y="6195863"/>
              <a:ext cx="1300907" cy="1987502"/>
            </a:xfrm>
            <a:prstGeom prst="rect">
              <a:avLst/>
            </a:prstGeom>
            <a:solidFill>
              <a:srgbClr val="7C1A4F"/>
            </a:solidFill>
            <a:ln w="12700">
              <a:miter lim="400000"/>
            </a:ln>
          </p:spPr>
          <p:txBody>
            <a:bodyPr lIns="50800" tIns="50800" rIns="50800" bIns="50800" anchor="ctr"/>
            <a:lstStyle/>
            <a:p>
              <a:endParaRPr lang="en-US" sz="1662" dirty="0"/>
            </a:p>
          </p:txBody>
        </p:sp>
        <p:sp>
          <p:nvSpPr>
            <p:cNvPr id="12" name="Rectangle"/>
            <p:cNvSpPr/>
            <p:nvPr userDrawn="1"/>
          </p:nvSpPr>
          <p:spPr>
            <a:xfrm>
              <a:off x="160238" y="5724425"/>
              <a:ext cx="1300907" cy="471439"/>
            </a:xfrm>
            <a:prstGeom prst="rect">
              <a:avLst/>
            </a:prstGeom>
            <a:solidFill>
              <a:srgbClr val="DA2C57"/>
            </a:solidFill>
            <a:ln w="12700">
              <a:miter lim="400000"/>
            </a:ln>
          </p:spPr>
          <p:txBody>
            <a:bodyPr lIns="50800" tIns="50800" rIns="50800" bIns="50800" anchor="ctr"/>
            <a:lstStyle/>
            <a:p>
              <a:endParaRPr lang="en-US" sz="1662" dirty="0"/>
            </a:p>
          </p:txBody>
        </p:sp>
        <p:sp>
          <p:nvSpPr>
            <p:cNvPr id="14" name="Rectangle"/>
            <p:cNvSpPr/>
            <p:nvPr userDrawn="1"/>
          </p:nvSpPr>
          <p:spPr>
            <a:xfrm>
              <a:off x="160238" y="371177"/>
              <a:ext cx="1300907" cy="813396"/>
            </a:xfrm>
            <a:prstGeom prst="rect">
              <a:avLst/>
            </a:prstGeom>
            <a:solidFill>
              <a:srgbClr val="C4297F"/>
            </a:solidFill>
            <a:ln w="12700">
              <a:miter lim="400000"/>
            </a:ln>
          </p:spPr>
          <p:txBody>
            <a:bodyPr lIns="50800" tIns="50800" rIns="50800" bIns="50800" anchor="ctr"/>
            <a:lstStyle/>
            <a:p>
              <a:endParaRPr lang="en-US" sz="1662" dirty="0"/>
            </a:p>
          </p:txBody>
        </p:sp>
        <p:sp>
          <p:nvSpPr>
            <p:cNvPr id="17" name="Rectangle"/>
            <p:cNvSpPr/>
            <p:nvPr userDrawn="1"/>
          </p:nvSpPr>
          <p:spPr>
            <a:xfrm>
              <a:off x="160238" y="1184572"/>
              <a:ext cx="1300907" cy="4539854"/>
            </a:xfrm>
            <a:prstGeom prst="rect">
              <a:avLst/>
            </a:prstGeom>
            <a:solidFill>
              <a:srgbClr val="822455"/>
            </a:solidFill>
            <a:ln w="12700">
              <a:miter lim="400000"/>
            </a:ln>
          </p:spPr>
          <p:txBody>
            <a:bodyPr lIns="50800" tIns="50800" rIns="50800" bIns="50800" anchor="ctr"/>
            <a:lstStyle/>
            <a:p>
              <a:endParaRPr lang="en-US" sz="1662" dirty="0"/>
            </a:p>
          </p:txBody>
        </p:sp>
        <p:sp>
          <p:nvSpPr>
            <p:cNvPr id="19" name="Rectangle"/>
            <p:cNvSpPr/>
            <p:nvPr userDrawn="1"/>
          </p:nvSpPr>
          <p:spPr>
            <a:xfrm>
              <a:off x="160238" y="154880"/>
              <a:ext cx="1300907" cy="216298"/>
            </a:xfrm>
            <a:prstGeom prst="rect">
              <a:avLst/>
            </a:prstGeom>
            <a:solidFill>
              <a:srgbClr val="DA2C57"/>
            </a:solidFill>
            <a:ln w="12700">
              <a:miter lim="400000"/>
            </a:ln>
          </p:spPr>
          <p:txBody>
            <a:bodyPr lIns="50800" tIns="50800" rIns="50800" bIns="50800" anchor="ctr"/>
            <a:lstStyle/>
            <a:p>
              <a:endParaRPr lang="en-US" sz="1662" dirty="0"/>
            </a:p>
          </p:txBody>
        </p:sp>
      </p:gr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spTree>
    <p:extLst>
      <p:ext uri="{BB962C8B-B14F-4D97-AF65-F5344CB8AC3E}">
        <p14:creationId xmlns:p14="http://schemas.microsoft.com/office/powerpoint/2010/main" val="1988664778"/>
      </p:ext>
    </p:extLst>
  </p:cSld>
  <p:clrMapOvr>
    <a:masterClrMapping/>
  </p:clrMapOvr>
</p:sldLayout>
</file>

<file path=ppt/slideLayouts/slideLayout337.xml><?xml version="1.0" encoding="utf-8"?>
<p:sldLayout xmlns:a="http://schemas.openxmlformats.org/drawingml/2006/main" xmlns:r="http://schemas.openxmlformats.org/officeDocument/2006/relationships" xmlns:p="http://schemas.openxmlformats.org/presentationml/2006/main" showMasterSp="0" preserve="1" userDrawn="1">
  <p:cSld name="Divider 2">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885830"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EE4228"/>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F69427"/>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FCBA1A"/>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13691" y="98854"/>
            <a:ext cx="1113676" cy="6105595"/>
            <a:chOff x="160238" y="162796"/>
            <a:chExt cx="1300907" cy="8777933"/>
          </a:xfrm>
        </p:grpSpPr>
        <p:sp>
          <p:nvSpPr>
            <p:cNvPr id="22" name="Rectangle"/>
            <p:cNvSpPr/>
            <p:nvPr userDrawn="1"/>
          </p:nvSpPr>
          <p:spPr>
            <a:xfrm>
              <a:off x="160238" y="8406287"/>
              <a:ext cx="1300907" cy="534442"/>
            </a:xfrm>
            <a:prstGeom prst="rect">
              <a:avLst/>
            </a:prstGeom>
            <a:solidFill>
              <a:srgbClr val="D91F27"/>
            </a:solidFill>
            <a:ln w="12700">
              <a:miter lim="400000"/>
            </a:ln>
          </p:spPr>
          <p:txBody>
            <a:bodyPr lIns="50800" tIns="50800" rIns="50800" bIns="50800" anchor="ctr"/>
            <a:lstStyle/>
            <a:p>
              <a:endParaRPr lang="en-US" sz="1662" dirty="0"/>
            </a:p>
          </p:txBody>
        </p:sp>
        <p:sp>
          <p:nvSpPr>
            <p:cNvPr id="23" name="Rectangle"/>
            <p:cNvSpPr/>
            <p:nvPr userDrawn="1"/>
          </p:nvSpPr>
          <p:spPr>
            <a:xfrm>
              <a:off x="160238" y="8191280"/>
              <a:ext cx="1300907" cy="215008"/>
            </a:xfrm>
            <a:prstGeom prst="rect">
              <a:avLst/>
            </a:prstGeom>
            <a:solidFill>
              <a:srgbClr val="F36F26"/>
            </a:solidFill>
            <a:ln w="12700">
              <a:miter lim="400000"/>
            </a:ln>
          </p:spPr>
          <p:txBody>
            <a:bodyPr lIns="50800" tIns="50800" rIns="50800" bIns="50800" anchor="ctr"/>
            <a:lstStyle/>
            <a:p>
              <a:endParaRPr lang="en-US" sz="1662" dirty="0"/>
            </a:p>
          </p:txBody>
        </p:sp>
        <p:sp>
          <p:nvSpPr>
            <p:cNvPr id="24" name="Rectangle"/>
            <p:cNvSpPr/>
            <p:nvPr userDrawn="1"/>
          </p:nvSpPr>
          <p:spPr>
            <a:xfrm>
              <a:off x="160238" y="6203779"/>
              <a:ext cx="1300907" cy="1987502"/>
            </a:xfrm>
            <a:prstGeom prst="rect">
              <a:avLst/>
            </a:prstGeom>
            <a:solidFill>
              <a:srgbClr val="FBB91A"/>
            </a:solidFill>
            <a:ln w="12700">
              <a:miter lim="400000"/>
            </a:ln>
          </p:spPr>
          <p:txBody>
            <a:bodyPr lIns="50800" tIns="50800" rIns="50800" bIns="50800" anchor="ctr"/>
            <a:lstStyle/>
            <a:p>
              <a:endParaRPr lang="en-US" sz="1662" dirty="0"/>
            </a:p>
          </p:txBody>
        </p:sp>
        <p:sp>
          <p:nvSpPr>
            <p:cNvPr id="25" name="Rectangle"/>
            <p:cNvSpPr/>
            <p:nvPr userDrawn="1"/>
          </p:nvSpPr>
          <p:spPr>
            <a:xfrm>
              <a:off x="160238" y="5732341"/>
              <a:ext cx="1300907" cy="471439"/>
            </a:xfrm>
            <a:prstGeom prst="rect">
              <a:avLst/>
            </a:prstGeom>
            <a:solidFill>
              <a:srgbClr val="F69427"/>
            </a:solidFill>
            <a:ln w="12700">
              <a:miter lim="400000"/>
            </a:ln>
          </p:spPr>
          <p:txBody>
            <a:bodyPr lIns="50800" tIns="50800" rIns="50800" bIns="50800" anchor="ctr"/>
            <a:lstStyle/>
            <a:p>
              <a:endParaRPr lang="en-US" sz="1662" dirty="0"/>
            </a:p>
          </p:txBody>
        </p:sp>
        <p:sp>
          <p:nvSpPr>
            <p:cNvPr id="26" name="Rectangle"/>
            <p:cNvSpPr/>
            <p:nvPr userDrawn="1"/>
          </p:nvSpPr>
          <p:spPr>
            <a:xfrm>
              <a:off x="160238" y="379093"/>
              <a:ext cx="1300907" cy="813396"/>
            </a:xfrm>
            <a:prstGeom prst="rect">
              <a:avLst/>
            </a:prstGeom>
            <a:solidFill>
              <a:srgbClr val="F79824"/>
            </a:solidFill>
            <a:ln w="12700">
              <a:miter lim="400000"/>
            </a:ln>
          </p:spPr>
          <p:txBody>
            <a:bodyPr lIns="50800" tIns="50800" rIns="50800" bIns="50800" anchor="ctr"/>
            <a:lstStyle/>
            <a:p>
              <a:endParaRPr lang="en-US" sz="1662" dirty="0"/>
            </a:p>
          </p:txBody>
        </p:sp>
        <p:sp>
          <p:nvSpPr>
            <p:cNvPr id="27" name="Rectangle"/>
            <p:cNvSpPr/>
            <p:nvPr userDrawn="1"/>
          </p:nvSpPr>
          <p:spPr>
            <a:xfrm>
              <a:off x="160238" y="1192488"/>
              <a:ext cx="1300907" cy="4539854"/>
            </a:xfrm>
            <a:prstGeom prst="rect">
              <a:avLst/>
            </a:prstGeom>
            <a:solidFill>
              <a:srgbClr val="EE4329"/>
            </a:solidFill>
            <a:ln w="12700">
              <a:miter lim="400000"/>
            </a:ln>
          </p:spPr>
          <p:txBody>
            <a:bodyPr lIns="50800" tIns="50800" rIns="50800" bIns="50800" anchor="ctr"/>
            <a:lstStyle/>
            <a:p>
              <a:endParaRPr lang="en-US" sz="1662" dirty="0"/>
            </a:p>
          </p:txBody>
        </p:sp>
        <p:sp>
          <p:nvSpPr>
            <p:cNvPr id="28" name="Rectangle"/>
            <p:cNvSpPr/>
            <p:nvPr userDrawn="1"/>
          </p:nvSpPr>
          <p:spPr>
            <a:xfrm>
              <a:off x="160238" y="162796"/>
              <a:ext cx="1300907" cy="216298"/>
            </a:xfrm>
            <a:prstGeom prst="rect">
              <a:avLst/>
            </a:prstGeom>
            <a:solidFill>
              <a:srgbClr val="BF2126"/>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3411104854"/>
      </p:ext>
    </p:extLst>
  </p:cSld>
  <p:clrMapOvr>
    <a:masterClrMapping/>
  </p:clrMapOvr>
</p:sldLayout>
</file>

<file path=ppt/slideLayouts/slideLayout338.xml><?xml version="1.0" encoding="utf-8"?>
<p:sldLayout xmlns:a="http://schemas.openxmlformats.org/drawingml/2006/main" xmlns:r="http://schemas.openxmlformats.org/officeDocument/2006/relationships" xmlns:p="http://schemas.openxmlformats.org/presentationml/2006/main" showMasterSp="0" preserve="1" userDrawn="1">
  <p:cSld name="Divider 3">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886854"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007272"/>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00C0B6"/>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00A6AB"/>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13691" y="99934"/>
            <a:ext cx="1113676" cy="6105588"/>
            <a:chOff x="90616" y="113613"/>
            <a:chExt cx="1300907" cy="8777933"/>
          </a:xfrm>
        </p:grpSpPr>
        <p:sp>
          <p:nvSpPr>
            <p:cNvPr id="22" name="Rectangle"/>
            <p:cNvSpPr/>
            <p:nvPr userDrawn="1"/>
          </p:nvSpPr>
          <p:spPr>
            <a:xfrm>
              <a:off x="90616" y="8357104"/>
              <a:ext cx="1300907" cy="534442"/>
            </a:xfrm>
            <a:prstGeom prst="rect">
              <a:avLst/>
            </a:prstGeom>
            <a:solidFill>
              <a:srgbClr val="00C0B6"/>
            </a:solidFill>
            <a:ln w="12700">
              <a:miter lim="400000"/>
            </a:ln>
          </p:spPr>
          <p:txBody>
            <a:bodyPr lIns="50800" tIns="50800" rIns="50800" bIns="50800" anchor="ctr"/>
            <a:lstStyle/>
            <a:p>
              <a:endParaRPr lang="en-US" sz="1662" dirty="0"/>
            </a:p>
          </p:txBody>
        </p:sp>
        <p:sp>
          <p:nvSpPr>
            <p:cNvPr id="23" name="Rectangle"/>
            <p:cNvSpPr/>
            <p:nvPr userDrawn="1"/>
          </p:nvSpPr>
          <p:spPr>
            <a:xfrm>
              <a:off x="90616" y="8142097"/>
              <a:ext cx="1300907" cy="215008"/>
            </a:xfrm>
            <a:prstGeom prst="rect">
              <a:avLst/>
            </a:prstGeom>
            <a:solidFill>
              <a:srgbClr val="007272"/>
            </a:solidFill>
            <a:ln w="12700">
              <a:miter lim="400000"/>
            </a:ln>
          </p:spPr>
          <p:txBody>
            <a:bodyPr lIns="50800" tIns="50800" rIns="50800" bIns="50800" anchor="ctr"/>
            <a:lstStyle/>
            <a:p>
              <a:endParaRPr lang="en-US" sz="1662" dirty="0"/>
            </a:p>
          </p:txBody>
        </p:sp>
        <p:sp>
          <p:nvSpPr>
            <p:cNvPr id="24" name="Rectangle"/>
            <p:cNvSpPr/>
            <p:nvPr userDrawn="1"/>
          </p:nvSpPr>
          <p:spPr>
            <a:xfrm>
              <a:off x="90616" y="6154596"/>
              <a:ext cx="1300907" cy="1987502"/>
            </a:xfrm>
            <a:prstGeom prst="rect">
              <a:avLst/>
            </a:prstGeom>
            <a:solidFill>
              <a:srgbClr val="00A6AB"/>
            </a:solidFill>
            <a:ln w="12700">
              <a:miter lim="400000"/>
            </a:ln>
          </p:spPr>
          <p:txBody>
            <a:bodyPr lIns="50800" tIns="50800" rIns="50800" bIns="50800" anchor="ctr"/>
            <a:lstStyle/>
            <a:p>
              <a:endParaRPr lang="en-US" sz="1662" dirty="0"/>
            </a:p>
          </p:txBody>
        </p:sp>
        <p:sp>
          <p:nvSpPr>
            <p:cNvPr id="25" name="Rectangle"/>
            <p:cNvSpPr/>
            <p:nvPr userDrawn="1"/>
          </p:nvSpPr>
          <p:spPr>
            <a:xfrm>
              <a:off x="90616" y="5683158"/>
              <a:ext cx="1300907" cy="471439"/>
            </a:xfrm>
            <a:prstGeom prst="rect">
              <a:avLst/>
            </a:prstGeom>
            <a:solidFill>
              <a:srgbClr val="00C0B6"/>
            </a:solidFill>
            <a:ln w="12700">
              <a:miter lim="400000"/>
            </a:ln>
          </p:spPr>
          <p:txBody>
            <a:bodyPr lIns="50800" tIns="50800" rIns="50800" bIns="50800" anchor="ctr"/>
            <a:lstStyle/>
            <a:p>
              <a:endParaRPr lang="en-US" sz="1662" dirty="0"/>
            </a:p>
          </p:txBody>
        </p:sp>
        <p:sp>
          <p:nvSpPr>
            <p:cNvPr id="26" name="Rectangle"/>
            <p:cNvSpPr/>
            <p:nvPr userDrawn="1"/>
          </p:nvSpPr>
          <p:spPr>
            <a:xfrm>
              <a:off x="90616" y="329910"/>
              <a:ext cx="1300907" cy="813396"/>
            </a:xfrm>
            <a:prstGeom prst="rect">
              <a:avLst/>
            </a:prstGeom>
            <a:solidFill>
              <a:srgbClr val="00C0B6"/>
            </a:solidFill>
            <a:ln w="12700">
              <a:miter lim="400000"/>
            </a:ln>
          </p:spPr>
          <p:txBody>
            <a:bodyPr lIns="50800" tIns="50800" rIns="50800" bIns="50800" anchor="ctr"/>
            <a:lstStyle/>
            <a:p>
              <a:endParaRPr lang="en-US" sz="1662" dirty="0"/>
            </a:p>
          </p:txBody>
        </p:sp>
        <p:sp>
          <p:nvSpPr>
            <p:cNvPr id="27" name="Rectangle"/>
            <p:cNvSpPr/>
            <p:nvPr userDrawn="1"/>
          </p:nvSpPr>
          <p:spPr>
            <a:xfrm>
              <a:off x="90616" y="1143305"/>
              <a:ext cx="1300907" cy="4539854"/>
            </a:xfrm>
            <a:prstGeom prst="rect">
              <a:avLst/>
            </a:prstGeom>
            <a:solidFill>
              <a:srgbClr val="007272"/>
            </a:solidFill>
            <a:ln w="12700">
              <a:miter lim="400000"/>
            </a:ln>
          </p:spPr>
          <p:txBody>
            <a:bodyPr lIns="50800" tIns="50800" rIns="50800" bIns="50800" anchor="ctr"/>
            <a:lstStyle/>
            <a:p>
              <a:endParaRPr lang="en-US" sz="1662" dirty="0"/>
            </a:p>
          </p:txBody>
        </p:sp>
        <p:sp>
          <p:nvSpPr>
            <p:cNvPr id="28" name="Rectangle"/>
            <p:cNvSpPr/>
            <p:nvPr userDrawn="1"/>
          </p:nvSpPr>
          <p:spPr>
            <a:xfrm>
              <a:off x="90616" y="113613"/>
              <a:ext cx="1300907" cy="216298"/>
            </a:xfrm>
            <a:prstGeom prst="rect">
              <a:avLst/>
            </a:prstGeom>
            <a:solidFill>
              <a:srgbClr val="00A6AB"/>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796831289"/>
      </p:ext>
    </p:extLst>
  </p:cSld>
  <p:clrMapOvr>
    <a:masterClrMapping/>
  </p:clrMapOvr>
</p:sldLayout>
</file>

<file path=ppt/slideLayouts/slideLayout339.xml><?xml version="1.0" encoding="utf-8"?>
<p:sldLayout xmlns:a="http://schemas.openxmlformats.org/drawingml/2006/main" xmlns:r="http://schemas.openxmlformats.org/officeDocument/2006/relationships" xmlns:p="http://schemas.openxmlformats.org/presentationml/2006/main" showMasterSp="0" preserve="1" userDrawn="1">
  <p:cSld name="Divider 4">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887878"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73A600"/>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AABA35"/>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94B301"/>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15939" y="99934"/>
            <a:ext cx="1113675" cy="6105588"/>
            <a:chOff x="160238" y="154880"/>
            <a:chExt cx="1300907" cy="8777933"/>
          </a:xfrm>
        </p:grpSpPr>
        <p:sp>
          <p:nvSpPr>
            <p:cNvPr id="22" name="Rectangle"/>
            <p:cNvSpPr/>
            <p:nvPr userDrawn="1"/>
          </p:nvSpPr>
          <p:spPr>
            <a:xfrm>
              <a:off x="160238" y="8398371"/>
              <a:ext cx="1300907" cy="534442"/>
            </a:xfrm>
            <a:prstGeom prst="rect">
              <a:avLst/>
            </a:prstGeom>
            <a:solidFill>
              <a:srgbClr val="AABA36"/>
            </a:solidFill>
            <a:ln w="12700">
              <a:miter lim="400000"/>
            </a:ln>
          </p:spPr>
          <p:txBody>
            <a:bodyPr lIns="50800" tIns="50800" rIns="50800" bIns="50800" anchor="ctr"/>
            <a:lstStyle/>
            <a:p>
              <a:endParaRPr lang="en-US" sz="1662" dirty="0"/>
            </a:p>
          </p:txBody>
        </p:sp>
        <p:sp>
          <p:nvSpPr>
            <p:cNvPr id="23" name="Rectangle"/>
            <p:cNvSpPr/>
            <p:nvPr userDrawn="1"/>
          </p:nvSpPr>
          <p:spPr>
            <a:xfrm>
              <a:off x="160238" y="8183364"/>
              <a:ext cx="1300907" cy="215008"/>
            </a:xfrm>
            <a:prstGeom prst="rect">
              <a:avLst/>
            </a:prstGeom>
            <a:solidFill>
              <a:srgbClr val="CEDD01"/>
            </a:solidFill>
            <a:ln w="12700">
              <a:miter lim="400000"/>
            </a:ln>
          </p:spPr>
          <p:txBody>
            <a:bodyPr lIns="50800" tIns="50800" rIns="50800" bIns="50800" anchor="ctr"/>
            <a:lstStyle/>
            <a:p>
              <a:endParaRPr lang="en-US" sz="1662" dirty="0"/>
            </a:p>
          </p:txBody>
        </p:sp>
        <p:sp>
          <p:nvSpPr>
            <p:cNvPr id="24" name="Rectangle"/>
            <p:cNvSpPr/>
            <p:nvPr userDrawn="1"/>
          </p:nvSpPr>
          <p:spPr>
            <a:xfrm>
              <a:off x="160238" y="6195863"/>
              <a:ext cx="1300907" cy="1987502"/>
            </a:xfrm>
            <a:prstGeom prst="rect">
              <a:avLst/>
            </a:prstGeom>
            <a:solidFill>
              <a:srgbClr val="94B301"/>
            </a:solidFill>
            <a:ln w="12700">
              <a:miter lim="400000"/>
            </a:ln>
          </p:spPr>
          <p:txBody>
            <a:bodyPr lIns="50800" tIns="50800" rIns="50800" bIns="50800" anchor="ctr"/>
            <a:lstStyle/>
            <a:p>
              <a:endParaRPr lang="en-US" sz="1662" dirty="0"/>
            </a:p>
          </p:txBody>
        </p:sp>
        <p:sp>
          <p:nvSpPr>
            <p:cNvPr id="25" name="Rectangle"/>
            <p:cNvSpPr/>
            <p:nvPr userDrawn="1"/>
          </p:nvSpPr>
          <p:spPr>
            <a:xfrm>
              <a:off x="160238" y="5724425"/>
              <a:ext cx="1300907" cy="471439"/>
            </a:xfrm>
            <a:prstGeom prst="rect">
              <a:avLst/>
            </a:prstGeom>
            <a:solidFill>
              <a:srgbClr val="AABA36"/>
            </a:solidFill>
            <a:ln w="12700">
              <a:miter lim="400000"/>
            </a:ln>
          </p:spPr>
          <p:txBody>
            <a:bodyPr lIns="50800" tIns="50800" rIns="50800" bIns="50800" anchor="ctr"/>
            <a:lstStyle/>
            <a:p>
              <a:endParaRPr lang="en-US" sz="1662" dirty="0"/>
            </a:p>
          </p:txBody>
        </p:sp>
        <p:sp>
          <p:nvSpPr>
            <p:cNvPr id="26" name="Rectangle"/>
            <p:cNvSpPr/>
            <p:nvPr userDrawn="1"/>
          </p:nvSpPr>
          <p:spPr>
            <a:xfrm>
              <a:off x="160238" y="371177"/>
              <a:ext cx="1300907" cy="813396"/>
            </a:xfrm>
            <a:prstGeom prst="rect">
              <a:avLst/>
            </a:prstGeom>
            <a:solidFill>
              <a:srgbClr val="CEDD01"/>
            </a:solidFill>
            <a:ln w="12700">
              <a:miter lim="400000"/>
            </a:ln>
          </p:spPr>
          <p:txBody>
            <a:bodyPr lIns="50800" tIns="50800" rIns="50800" bIns="50800" anchor="ctr"/>
            <a:lstStyle/>
            <a:p>
              <a:endParaRPr lang="en-US" sz="1662" dirty="0"/>
            </a:p>
          </p:txBody>
        </p:sp>
        <p:sp>
          <p:nvSpPr>
            <p:cNvPr id="27" name="Rectangle"/>
            <p:cNvSpPr/>
            <p:nvPr userDrawn="1"/>
          </p:nvSpPr>
          <p:spPr>
            <a:xfrm>
              <a:off x="160238" y="1184572"/>
              <a:ext cx="1300907" cy="4539854"/>
            </a:xfrm>
            <a:prstGeom prst="rect">
              <a:avLst/>
            </a:prstGeom>
            <a:solidFill>
              <a:srgbClr val="73A600"/>
            </a:solidFill>
            <a:ln w="12700">
              <a:miter lim="400000"/>
            </a:ln>
          </p:spPr>
          <p:txBody>
            <a:bodyPr lIns="50800" tIns="50800" rIns="50800" bIns="50800" anchor="ctr"/>
            <a:lstStyle/>
            <a:p>
              <a:endParaRPr lang="en-US" sz="1662" dirty="0"/>
            </a:p>
          </p:txBody>
        </p:sp>
        <p:sp>
          <p:nvSpPr>
            <p:cNvPr id="28" name="Rectangle"/>
            <p:cNvSpPr/>
            <p:nvPr userDrawn="1"/>
          </p:nvSpPr>
          <p:spPr>
            <a:xfrm>
              <a:off x="160238" y="154880"/>
              <a:ext cx="1300907" cy="216298"/>
            </a:xfrm>
            <a:prstGeom prst="rect">
              <a:avLst/>
            </a:prstGeom>
            <a:solidFill>
              <a:srgbClr val="94B301"/>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88002303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Divider 1">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6" y="1592"/>
          <a:ext cx="1953" cy="1587"/>
        </p:xfrm>
        <a:graphic>
          <a:graphicData uri="http://schemas.openxmlformats.org/presentationml/2006/ole">
            <mc:AlternateContent xmlns:mc="http://schemas.openxmlformats.org/markup-compatibility/2006">
              <mc:Choice xmlns:v="urn:schemas-microsoft-com:vml" Requires="v">
                <p:oleObj spid="_x0000_s2490056"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6" y="1592"/>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4000" b="0" baseline="0">
                <a:solidFill>
                  <a:srgbClr val="822455"/>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500" b="0">
                <a:solidFill>
                  <a:srgbClr val="DA2B57"/>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400" b="0">
                <a:solidFill>
                  <a:srgbClr val="7C194F"/>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grpSp>
        <p:nvGrpSpPr>
          <p:cNvPr id="8" name="Group 7"/>
          <p:cNvGrpSpPr/>
          <p:nvPr userDrawn="1"/>
        </p:nvGrpSpPr>
        <p:grpSpPr>
          <a:xfrm>
            <a:off x="213691" y="98855"/>
            <a:ext cx="1113676" cy="6105595"/>
            <a:chOff x="160238" y="154880"/>
            <a:chExt cx="1300907" cy="8777933"/>
          </a:xfrm>
        </p:grpSpPr>
        <p:sp>
          <p:nvSpPr>
            <p:cNvPr id="9" name="Rectangle"/>
            <p:cNvSpPr/>
            <p:nvPr userDrawn="1"/>
          </p:nvSpPr>
          <p:spPr>
            <a:xfrm>
              <a:off x="160238" y="8398371"/>
              <a:ext cx="1300907" cy="534442"/>
            </a:xfrm>
            <a:prstGeom prst="rect">
              <a:avLst/>
            </a:prstGeom>
            <a:solidFill>
              <a:srgbClr val="ED207D"/>
            </a:solidFill>
            <a:ln w="12700">
              <a:miter lim="400000"/>
            </a:ln>
          </p:spPr>
          <p:txBody>
            <a:bodyPr lIns="50800" tIns="50800" rIns="50800" bIns="50800" anchor="ctr"/>
            <a:lstStyle/>
            <a:p>
              <a:pPr defTabSz="914400"/>
              <a:endParaRPr lang="en-US" sz="1800" dirty="0">
                <a:solidFill>
                  <a:srgbClr val="002D72"/>
                </a:solidFill>
              </a:endParaRPr>
            </a:p>
          </p:txBody>
        </p:sp>
        <p:sp>
          <p:nvSpPr>
            <p:cNvPr id="10" name="Rectangle"/>
            <p:cNvSpPr/>
            <p:nvPr userDrawn="1"/>
          </p:nvSpPr>
          <p:spPr>
            <a:xfrm>
              <a:off x="160238" y="8183364"/>
              <a:ext cx="1300907" cy="215008"/>
            </a:xfrm>
            <a:prstGeom prst="rect">
              <a:avLst/>
            </a:prstGeom>
            <a:solidFill>
              <a:srgbClr val="BF1D7F"/>
            </a:solidFill>
            <a:ln w="12700">
              <a:miter lim="400000"/>
            </a:ln>
          </p:spPr>
          <p:txBody>
            <a:bodyPr lIns="50800" tIns="50800" rIns="50800" bIns="50800" anchor="ctr"/>
            <a:lstStyle/>
            <a:p>
              <a:pPr defTabSz="914400"/>
              <a:endParaRPr lang="en-US" sz="1800" dirty="0">
                <a:solidFill>
                  <a:srgbClr val="002D72"/>
                </a:solidFill>
              </a:endParaRPr>
            </a:p>
          </p:txBody>
        </p:sp>
        <p:sp>
          <p:nvSpPr>
            <p:cNvPr id="11" name="Rectangle"/>
            <p:cNvSpPr/>
            <p:nvPr userDrawn="1"/>
          </p:nvSpPr>
          <p:spPr>
            <a:xfrm>
              <a:off x="160238" y="6195863"/>
              <a:ext cx="1300907" cy="1987502"/>
            </a:xfrm>
            <a:prstGeom prst="rect">
              <a:avLst/>
            </a:prstGeom>
            <a:solidFill>
              <a:srgbClr val="7C1A4F"/>
            </a:solidFill>
            <a:ln w="12700">
              <a:miter lim="400000"/>
            </a:ln>
          </p:spPr>
          <p:txBody>
            <a:bodyPr lIns="50800" tIns="50800" rIns="50800" bIns="50800" anchor="ctr"/>
            <a:lstStyle/>
            <a:p>
              <a:pPr defTabSz="914400"/>
              <a:endParaRPr lang="en-US" sz="1800" dirty="0">
                <a:solidFill>
                  <a:srgbClr val="002D72"/>
                </a:solidFill>
              </a:endParaRPr>
            </a:p>
          </p:txBody>
        </p:sp>
        <p:sp>
          <p:nvSpPr>
            <p:cNvPr id="12" name="Rectangle"/>
            <p:cNvSpPr/>
            <p:nvPr userDrawn="1"/>
          </p:nvSpPr>
          <p:spPr>
            <a:xfrm>
              <a:off x="160238" y="5724425"/>
              <a:ext cx="1300907" cy="471439"/>
            </a:xfrm>
            <a:prstGeom prst="rect">
              <a:avLst/>
            </a:prstGeom>
            <a:solidFill>
              <a:srgbClr val="DA2C57"/>
            </a:solidFill>
            <a:ln w="12700">
              <a:miter lim="400000"/>
            </a:ln>
          </p:spPr>
          <p:txBody>
            <a:bodyPr lIns="50800" tIns="50800" rIns="50800" bIns="50800" anchor="ctr"/>
            <a:lstStyle/>
            <a:p>
              <a:pPr defTabSz="914400"/>
              <a:endParaRPr lang="en-US" sz="1800" dirty="0">
                <a:solidFill>
                  <a:srgbClr val="002D72"/>
                </a:solidFill>
              </a:endParaRPr>
            </a:p>
          </p:txBody>
        </p:sp>
        <p:sp>
          <p:nvSpPr>
            <p:cNvPr id="14" name="Rectangle"/>
            <p:cNvSpPr/>
            <p:nvPr userDrawn="1"/>
          </p:nvSpPr>
          <p:spPr>
            <a:xfrm>
              <a:off x="160238" y="371177"/>
              <a:ext cx="1300907" cy="813396"/>
            </a:xfrm>
            <a:prstGeom prst="rect">
              <a:avLst/>
            </a:prstGeom>
            <a:solidFill>
              <a:srgbClr val="C4297F"/>
            </a:solidFill>
            <a:ln w="12700">
              <a:miter lim="400000"/>
            </a:ln>
          </p:spPr>
          <p:txBody>
            <a:bodyPr lIns="50800" tIns="50800" rIns="50800" bIns="50800" anchor="ctr"/>
            <a:lstStyle/>
            <a:p>
              <a:pPr defTabSz="914400"/>
              <a:endParaRPr lang="en-US" sz="1800" dirty="0">
                <a:solidFill>
                  <a:srgbClr val="002D72"/>
                </a:solidFill>
              </a:endParaRPr>
            </a:p>
          </p:txBody>
        </p:sp>
        <p:sp>
          <p:nvSpPr>
            <p:cNvPr id="17" name="Rectangle"/>
            <p:cNvSpPr/>
            <p:nvPr userDrawn="1"/>
          </p:nvSpPr>
          <p:spPr>
            <a:xfrm>
              <a:off x="160238" y="1184572"/>
              <a:ext cx="1300907" cy="4539854"/>
            </a:xfrm>
            <a:prstGeom prst="rect">
              <a:avLst/>
            </a:prstGeom>
            <a:solidFill>
              <a:srgbClr val="822455"/>
            </a:solidFill>
            <a:ln w="12700">
              <a:miter lim="400000"/>
            </a:ln>
          </p:spPr>
          <p:txBody>
            <a:bodyPr lIns="50800" tIns="50800" rIns="50800" bIns="50800" anchor="ctr"/>
            <a:lstStyle/>
            <a:p>
              <a:pPr defTabSz="914400"/>
              <a:endParaRPr lang="en-US" sz="1800" dirty="0">
                <a:solidFill>
                  <a:srgbClr val="002D72"/>
                </a:solidFill>
              </a:endParaRPr>
            </a:p>
          </p:txBody>
        </p:sp>
        <p:sp>
          <p:nvSpPr>
            <p:cNvPr id="19" name="Rectangle"/>
            <p:cNvSpPr/>
            <p:nvPr userDrawn="1"/>
          </p:nvSpPr>
          <p:spPr>
            <a:xfrm>
              <a:off x="160238" y="154880"/>
              <a:ext cx="1300907" cy="216298"/>
            </a:xfrm>
            <a:prstGeom prst="rect">
              <a:avLst/>
            </a:prstGeom>
            <a:solidFill>
              <a:srgbClr val="DA2C57"/>
            </a:solidFill>
            <a:ln w="12700">
              <a:miter lim="400000"/>
            </a:ln>
          </p:spPr>
          <p:txBody>
            <a:bodyPr lIns="50800" tIns="50800" rIns="50800" bIns="50800" anchor="ctr"/>
            <a:lstStyle/>
            <a:p>
              <a:pPr defTabSz="914400"/>
              <a:endParaRPr lang="en-US" sz="1800" dirty="0">
                <a:solidFill>
                  <a:srgbClr val="002D72"/>
                </a:solidFill>
              </a:endParaRPr>
            </a:p>
          </p:txBody>
        </p:sp>
      </p:grpSp>
      <p:pic>
        <p:nvPicPr>
          <p:cNvPr id="20" name="footer-13.jpg" descr="footer-13.jpg"/>
          <p:cNvPicPr>
            <a:picLocks noChangeAspect="1"/>
          </p:cNvPicPr>
          <p:nvPr userDrawn="1"/>
        </p:nvPicPr>
        <p:blipFill>
          <a:blip r:embed="rId6" cstate="print"/>
          <a:stretch>
            <a:fillRect/>
          </a:stretch>
        </p:blipFill>
        <p:spPr>
          <a:xfrm>
            <a:off x="71483" y="6221395"/>
            <a:ext cx="12120517" cy="574391"/>
          </a:xfrm>
          <a:prstGeom prst="rect">
            <a:avLst/>
          </a:prstGeom>
          <a:ln w="12700">
            <a:miter lim="400000"/>
          </a:ln>
        </p:spPr>
      </p:pic>
    </p:spTree>
    <p:extLst>
      <p:ext uri="{BB962C8B-B14F-4D97-AF65-F5344CB8AC3E}">
        <p14:creationId xmlns:p14="http://schemas.microsoft.com/office/powerpoint/2010/main" val="1461955913"/>
      </p:ext>
    </p:extLst>
  </p:cSld>
  <p:clrMapOvr>
    <a:masterClrMapping/>
  </p:clrMapOvr>
</p:sldLayout>
</file>

<file path=ppt/slideLayouts/slideLayout340.xml><?xml version="1.0" encoding="utf-8"?>
<p:sldLayout xmlns:a="http://schemas.openxmlformats.org/drawingml/2006/main" xmlns:r="http://schemas.openxmlformats.org/officeDocument/2006/relationships" xmlns:p="http://schemas.openxmlformats.org/presentationml/2006/main" showMasterSp="0" preserve="1" userDrawn="1">
  <p:cSld name="Divider 5">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888902"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70147B"/>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8B4093"/>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63006C"/>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15939" y="99934"/>
            <a:ext cx="1113675" cy="6105588"/>
            <a:chOff x="1081465" y="114688"/>
            <a:chExt cx="1300907" cy="8777933"/>
          </a:xfrm>
        </p:grpSpPr>
        <p:sp>
          <p:nvSpPr>
            <p:cNvPr id="22" name="Rectangle"/>
            <p:cNvSpPr/>
            <p:nvPr userDrawn="1"/>
          </p:nvSpPr>
          <p:spPr>
            <a:xfrm>
              <a:off x="1081465" y="8358179"/>
              <a:ext cx="1300907" cy="534442"/>
            </a:xfrm>
            <a:prstGeom prst="rect">
              <a:avLst/>
            </a:prstGeom>
            <a:solidFill>
              <a:srgbClr val="8C4395"/>
            </a:solidFill>
            <a:ln w="12700">
              <a:miter lim="400000"/>
            </a:ln>
          </p:spPr>
          <p:txBody>
            <a:bodyPr lIns="50800" tIns="50800" rIns="50800" bIns="50800" anchor="ctr"/>
            <a:lstStyle/>
            <a:p>
              <a:endParaRPr lang="en-US" sz="1662" dirty="0"/>
            </a:p>
          </p:txBody>
        </p:sp>
        <p:sp>
          <p:nvSpPr>
            <p:cNvPr id="23" name="Rectangle"/>
            <p:cNvSpPr/>
            <p:nvPr userDrawn="1"/>
          </p:nvSpPr>
          <p:spPr>
            <a:xfrm>
              <a:off x="1081465" y="8143172"/>
              <a:ext cx="1300907" cy="215008"/>
            </a:xfrm>
            <a:prstGeom prst="rect">
              <a:avLst/>
            </a:prstGeom>
            <a:solidFill>
              <a:srgbClr val="A469AB"/>
            </a:solidFill>
            <a:ln w="12700">
              <a:miter lim="400000"/>
            </a:ln>
          </p:spPr>
          <p:txBody>
            <a:bodyPr lIns="50800" tIns="50800" rIns="50800" bIns="50800" anchor="ctr"/>
            <a:lstStyle/>
            <a:p>
              <a:endParaRPr lang="en-US" sz="1662" dirty="0"/>
            </a:p>
          </p:txBody>
        </p:sp>
        <p:sp>
          <p:nvSpPr>
            <p:cNvPr id="24" name="Rectangle"/>
            <p:cNvSpPr/>
            <p:nvPr userDrawn="1"/>
          </p:nvSpPr>
          <p:spPr>
            <a:xfrm>
              <a:off x="1081465" y="6155671"/>
              <a:ext cx="1300907" cy="1987502"/>
            </a:xfrm>
            <a:prstGeom prst="rect">
              <a:avLst/>
            </a:prstGeom>
            <a:solidFill>
              <a:srgbClr val="63006C"/>
            </a:solidFill>
            <a:ln w="12700">
              <a:miter lim="400000"/>
            </a:ln>
          </p:spPr>
          <p:txBody>
            <a:bodyPr lIns="50800" tIns="50800" rIns="50800" bIns="50800" anchor="ctr"/>
            <a:lstStyle/>
            <a:p>
              <a:endParaRPr lang="en-US" sz="1662" dirty="0"/>
            </a:p>
          </p:txBody>
        </p:sp>
        <p:sp>
          <p:nvSpPr>
            <p:cNvPr id="25" name="Rectangle"/>
            <p:cNvSpPr/>
            <p:nvPr userDrawn="1"/>
          </p:nvSpPr>
          <p:spPr>
            <a:xfrm>
              <a:off x="1081465" y="5684233"/>
              <a:ext cx="1300907" cy="471439"/>
            </a:xfrm>
            <a:prstGeom prst="rect">
              <a:avLst/>
            </a:prstGeom>
            <a:solidFill>
              <a:srgbClr val="8B4193"/>
            </a:solidFill>
            <a:ln w="12700">
              <a:miter lim="400000"/>
            </a:ln>
          </p:spPr>
          <p:txBody>
            <a:bodyPr lIns="50800" tIns="50800" rIns="50800" bIns="50800" anchor="ctr"/>
            <a:lstStyle/>
            <a:p>
              <a:endParaRPr lang="en-US" sz="1662" dirty="0"/>
            </a:p>
          </p:txBody>
        </p:sp>
        <p:sp>
          <p:nvSpPr>
            <p:cNvPr id="26" name="Rectangle"/>
            <p:cNvSpPr/>
            <p:nvPr userDrawn="1"/>
          </p:nvSpPr>
          <p:spPr>
            <a:xfrm>
              <a:off x="1081465" y="330985"/>
              <a:ext cx="1300907" cy="813396"/>
            </a:xfrm>
            <a:prstGeom prst="rect">
              <a:avLst/>
            </a:prstGeom>
            <a:solidFill>
              <a:srgbClr val="8C4395"/>
            </a:solidFill>
            <a:ln w="12700">
              <a:miter lim="400000"/>
            </a:ln>
          </p:spPr>
          <p:txBody>
            <a:bodyPr lIns="50800" tIns="50800" rIns="50800" bIns="50800" anchor="ctr"/>
            <a:lstStyle/>
            <a:p>
              <a:endParaRPr lang="en-US" sz="1662" dirty="0"/>
            </a:p>
          </p:txBody>
        </p:sp>
        <p:sp>
          <p:nvSpPr>
            <p:cNvPr id="27" name="Rectangle"/>
            <p:cNvSpPr/>
            <p:nvPr userDrawn="1"/>
          </p:nvSpPr>
          <p:spPr>
            <a:xfrm>
              <a:off x="1081465" y="1144380"/>
              <a:ext cx="1300907" cy="4539854"/>
            </a:xfrm>
            <a:prstGeom prst="rect">
              <a:avLst/>
            </a:prstGeom>
            <a:solidFill>
              <a:srgbClr val="70147B"/>
            </a:solidFill>
            <a:ln w="12700">
              <a:miter lim="400000"/>
            </a:ln>
          </p:spPr>
          <p:txBody>
            <a:bodyPr lIns="50800" tIns="50800" rIns="50800" bIns="50800" anchor="ctr"/>
            <a:lstStyle/>
            <a:p>
              <a:endParaRPr lang="en-US" sz="1662" dirty="0"/>
            </a:p>
          </p:txBody>
        </p:sp>
        <p:sp>
          <p:nvSpPr>
            <p:cNvPr id="28" name="Rectangle"/>
            <p:cNvSpPr/>
            <p:nvPr userDrawn="1"/>
          </p:nvSpPr>
          <p:spPr>
            <a:xfrm>
              <a:off x="1081465" y="114688"/>
              <a:ext cx="1300907" cy="216298"/>
            </a:xfrm>
            <a:prstGeom prst="rect">
              <a:avLst/>
            </a:prstGeom>
            <a:solidFill>
              <a:srgbClr val="70147B"/>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941576596"/>
      </p:ext>
    </p:extLst>
  </p:cSld>
  <p:clrMapOvr>
    <a:masterClrMapping/>
  </p:clrMapOvr>
</p:sldLayout>
</file>

<file path=ppt/slideLayouts/slideLayout341.xml><?xml version="1.0" encoding="utf-8"?>
<p:sldLayout xmlns:a="http://schemas.openxmlformats.org/drawingml/2006/main" xmlns:r="http://schemas.openxmlformats.org/officeDocument/2006/relationships" xmlns:p="http://schemas.openxmlformats.org/presentationml/2006/main" showMasterSp="0" preserve="1" userDrawn="1">
  <p:cSld name="Divider 6">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889926"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016AA1"/>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104D6A"/>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2591C0"/>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09179" y="98854"/>
            <a:ext cx="1111928" cy="6096000"/>
            <a:chOff x="160238" y="154880"/>
            <a:chExt cx="1300907" cy="8777933"/>
          </a:xfrm>
        </p:grpSpPr>
        <p:sp>
          <p:nvSpPr>
            <p:cNvPr id="22" name="Rectangle"/>
            <p:cNvSpPr/>
            <p:nvPr userDrawn="1"/>
          </p:nvSpPr>
          <p:spPr>
            <a:xfrm>
              <a:off x="160238" y="8398371"/>
              <a:ext cx="1300907" cy="534442"/>
            </a:xfrm>
            <a:prstGeom prst="rect">
              <a:avLst/>
            </a:prstGeom>
            <a:solidFill>
              <a:srgbClr val="85CDD9"/>
            </a:solidFill>
            <a:ln w="12700">
              <a:miter lim="400000"/>
            </a:ln>
          </p:spPr>
          <p:txBody>
            <a:bodyPr lIns="50800" tIns="50800" rIns="50800" bIns="50800" anchor="ctr"/>
            <a:lstStyle/>
            <a:p>
              <a:endParaRPr lang="en-US" sz="1662" dirty="0"/>
            </a:p>
          </p:txBody>
        </p:sp>
        <p:sp>
          <p:nvSpPr>
            <p:cNvPr id="23" name="Rectangle"/>
            <p:cNvSpPr/>
            <p:nvPr userDrawn="1"/>
          </p:nvSpPr>
          <p:spPr>
            <a:xfrm>
              <a:off x="160238" y="8183364"/>
              <a:ext cx="1300907" cy="215008"/>
            </a:xfrm>
            <a:prstGeom prst="rect">
              <a:avLst/>
            </a:prstGeom>
            <a:solidFill>
              <a:srgbClr val="4D89AD"/>
            </a:solidFill>
            <a:ln w="12700">
              <a:miter lim="400000"/>
            </a:ln>
          </p:spPr>
          <p:txBody>
            <a:bodyPr lIns="50800" tIns="50800" rIns="50800" bIns="50800" anchor="ctr"/>
            <a:lstStyle/>
            <a:p>
              <a:endParaRPr lang="en-US" sz="1662" dirty="0"/>
            </a:p>
          </p:txBody>
        </p:sp>
        <p:sp>
          <p:nvSpPr>
            <p:cNvPr id="24" name="Rectangle"/>
            <p:cNvSpPr/>
            <p:nvPr userDrawn="1"/>
          </p:nvSpPr>
          <p:spPr>
            <a:xfrm>
              <a:off x="160238" y="6195863"/>
              <a:ext cx="1300907" cy="1987502"/>
            </a:xfrm>
            <a:prstGeom prst="rect">
              <a:avLst/>
            </a:prstGeom>
            <a:solidFill>
              <a:srgbClr val="2591C0"/>
            </a:solidFill>
            <a:ln w="12700">
              <a:miter lim="400000"/>
            </a:ln>
          </p:spPr>
          <p:txBody>
            <a:bodyPr lIns="50800" tIns="50800" rIns="50800" bIns="50800" anchor="ctr"/>
            <a:lstStyle/>
            <a:p>
              <a:endParaRPr lang="en-US" sz="1662" dirty="0"/>
            </a:p>
          </p:txBody>
        </p:sp>
        <p:sp>
          <p:nvSpPr>
            <p:cNvPr id="25" name="Rectangle"/>
            <p:cNvSpPr/>
            <p:nvPr userDrawn="1"/>
          </p:nvSpPr>
          <p:spPr>
            <a:xfrm>
              <a:off x="160238" y="5724425"/>
              <a:ext cx="1300907" cy="471439"/>
            </a:xfrm>
            <a:prstGeom prst="rect">
              <a:avLst/>
            </a:prstGeom>
            <a:solidFill>
              <a:srgbClr val="104D6A"/>
            </a:solidFill>
            <a:ln w="12700">
              <a:miter lim="400000"/>
            </a:ln>
          </p:spPr>
          <p:txBody>
            <a:bodyPr lIns="50800" tIns="50800" rIns="50800" bIns="50800" anchor="ctr"/>
            <a:lstStyle/>
            <a:p>
              <a:endParaRPr lang="en-US" sz="1662" dirty="0"/>
            </a:p>
          </p:txBody>
        </p:sp>
        <p:sp>
          <p:nvSpPr>
            <p:cNvPr id="26" name="Rectangle"/>
            <p:cNvSpPr/>
            <p:nvPr userDrawn="1"/>
          </p:nvSpPr>
          <p:spPr>
            <a:xfrm>
              <a:off x="160238" y="371177"/>
              <a:ext cx="1300907" cy="813396"/>
            </a:xfrm>
            <a:prstGeom prst="rect">
              <a:avLst/>
            </a:prstGeom>
            <a:solidFill>
              <a:srgbClr val="095B88"/>
            </a:solidFill>
            <a:ln w="12700">
              <a:miter lim="400000"/>
            </a:ln>
          </p:spPr>
          <p:txBody>
            <a:bodyPr lIns="50800" tIns="50800" rIns="50800" bIns="50800" anchor="ctr"/>
            <a:lstStyle/>
            <a:p>
              <a:endParaRPr lang="en-US" sz="1662" dirty="0"/>
            </a:p>
          </p:txBody>
        </p:sp>
        <p:sp>
          <p:nvSpPr>
            <p:cNvPr id="27" name="Rectangle"/>
            <p:cNvSpPr/>
            <p:nvPr userDrawn="1"/>
          </p:nvSpPr>
          <p:spPr>
            <a:xfrm>
              <a:off x="160238" y="1184572"/>
              <a:ext cx="1300907" cy="4539854"/>
            </a:xfrm>
            <a:prstGeom prst="rect">
              <a:avLst/>
            </a:prstGeom>
            <a:solidFill>
              <a:srgbClr val="016AA1"/>
            </a:solidFill>
            <a:ln w="12700">
              <a:miter lim="400000"/>
            </a:ln>
          </p:spPr>
          <p:txBody>
            <a:bodyPr lIns="50800" tIns="50800" rIns="50800" bIns="50800" anchor="ctr"/>
            <a:lstStyle/>
            <a:p>
              <a:endParaRPr lang="en-US" sz="1662" dirty="0"/>
            </a:p>
          </p:txBody>
        </p:sp>
        <p:sp>
          <p:nvSpPr>
            <p:cNvPr id="28" name="Rectangle"/>
            <p:cNvSpPr/>
            <p:nvPr userDrawn="1"/>
          </p:nvSpPr>
          <p:spPr>
            <a:xfrm>
              <a:off x="160238" y="154880"/>
              <a:ext cx="1300907" cy="216298"/>
            </a:xfrm>
            <a:prstGeom prst="rect">
              <a:avLst/>
            </a:prstGeom>
            <a:solidFill>
              <a:srgbClr val="85CDD9"/>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686722913"/>
      </p:ext>
    </p:extLst>
  </p:cSld>
  <p:clrMapOvr>
    <a:masterClrMapping/>
  </p:clrMapOvr>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890950"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562709" y="162000"/>
            <a:ext cx="11068060" cy="704087"/>
          </a:xfrm>
        </p:spPr>
        <p:txBody>
          <a:bodyPr anchor="t"/>
          <a:lstStyle>
            <a:lvl1pPr>
              <a:defRPr>
                <a:latin typeface="Arial"/>
                <a:sym typeface="Arial"/>
              </a:defRPr>
            </a:lvl1pPr>
          </a:lstStyle>
          <a:p>
            <a:endParaRPr lang="en-US" dirty="0"/>
          </a:p>
        </p:txBody>
      </p:sp>
      <p:sp>
        <p:nvSpPr>
          <p:cNvPr id="4" name="Text Placeholder 3"/>
          <p:cNvSpPr>
            <a:spLocks noGrp="1"/>
          </p:cNvSpPr>
          <p:nvPr>
            <p:ph type="body" sz="quarter" idx="10"/>
          </p:nvPr>
        </p:nvSpPr>
        <p:spPr>
          <a:xfrm>
            <a:off x="562709" y="1508760"/>
            <a:ext cx="11068060" cy="3997304"/>
          </a:xfrm>
        </p:spPr>
        <p:txBody>
          <a:bodyPr lIns="0" tIns="0" rIns="0" bIns="0"/>
          <a:lstStyle>
            <a:lvl1pPr>
              <a:spcBef>
                <a:spcPts val="354"/>
              </a:spcBef>
              <a:defRPr>
                <a:latin typeface="Arial"/>
                <a:sym typeface="Arial"/>
              </a:defRPr>
            </a:lvl1pPr>
            <a:lvl2pPr marL="422041" indent="-212682">
              <a:spcBef>
                <a:spcPts val="354"/>
              </a:spcBef>
              <a:defRPr>
                <a:latin typeface="Arial"/>
                <a:sym typeface="Arial"/>
              </a:defRPr>
            </a:lvl2pPr>
            <a:lvl3pPr marL="844083" indent="-212682">
              <a:spcBef>
                <a:spcPts val="354"/>
              </a:spcBef>
              <a:defRPr>
                <a:latin typeface="Arial"/>
                <a:sym typeface="Arial"/>
              </a:defRPr>
            </a:lvl3pPr>
            <a:lvl4pPr marL="1269447" indent="-216005">
              <a:spcBef>
                <a:spcPts val="354"/>
              </a:spcBef>
              <a:defRPr>
                <a:latin typeface="Arial"/>
                <a:sym typeface="Arial"/>
              </a:defRPr>
            </a:lvl4pPr>
            <a:lvl5pPr marL="1900848" indent="-212682">
              <a:spcBef>
                <a:spcPts val="354"/>
              </a:spcBef>
              <a:defRPr>
                <a:latin typeface="Arial"/>
                <a:sym typeface="Aria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6"/>
          <p:cNvSpPr>
            <a:spLocks noGrp="1"/>
          </p:cNvSpPr>
          <p:nvPr>
            <p:ph type="body" sz="quarter" idx="11"/>
          </p:nvPr>
        </p:nvSpPr>
        <p:spPr>
          <a:xfrm>
            <a:off x="562709" y="863601"/>
            <a:ext cx="11068060" cy="320359"/>
          </a:xfrm>
        </p:spPr>
        <p:txBody>
          <a:bodyPr anchor="t">
            <a:normAutofit/>
          </a:bodyPr>
          <a:lstStyle>
            <a:lvl1pPr>
              <a:defRPr sz="1385" b="0">
                <a:solidFill>
                  <a:srgbClr val="73C4EF"/>
                </a:solidFill>
              </a:defRPr>
            </a:lvl1pPr>
          </a:lstStyle>
          <a:p>
            <a:pPr lvl="0"/>
            <a:endParaRPr lang="en-US" dirty="0"/>
          </a:p>
        </p:txBody>
      </p:sp>
    </p:spTree>
    <p:extLst>
      <p:ext uri="{BB962C8B-B14F-4D97-AF65-F5344CB8AC3E}">
        <p14:creationId xmlns:p14="http://schemas.microsoft.com/office/powerpoint/2010/main" val="2019795133"/>
      </p:ext>
    </p:extLst>
  </p:cSld>
  <p:clrMapOvr>
    <a:masterClrMapping/>
  </p:clrMapOvr>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userDrawn="1">
  <p:cSld name="Text with bullets">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891974" name="think-cell Slide" r:id="rId4" imgW="270" imgH="270" progId="TCLayout.ActiveDocument.1">
                  <p:embed/>
                </p:oleObj>
              </mc:Choice>
              <mc:Fallback>
                <p:oleObj name="think-cell Slide" r:id="rId4" imgW="270" imgH="270" progId="TCLayout.ActiveDocument.1">
                  <p:embed/>
                  <p:pic>
                    <p:nvPicPr>
                      <p:cNvPr id="6" name="Object 5"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ext Placeholder 7"/>
          <p:cNvSpPr>
            <a:spLocks noGrp="1"/>
          </p:cNvSpPr>
          <p:nvPr userDrawn="1">
            <p:ph type="body" sz="quarter" idx="13"/>
          </p:nvPr>
        </p:nvSpPr>
        <p:spPr>
          <a:xfrm>
            <a:off x="562709" y="1508400"/>
            <a:ext cx="11068060" cy="3997304"/>
          </a:xfrm>
          <a:prstGeom prst="rect">
            <a:avLst/>
          </a:prstGeom>
        </p:spPr>
        <p:txBody>
          <a:bodyPr lIns="0" tIns="0" rIns="0" bIns="0"/>
          <a:lstStyle>
            <a:lvl1pPr marL="159512" indent="-159512">
              <a:spcBef>
                <a:spcPts val="354"/>
              </a:spcBef>
              <a:buClr>
                <a:srgbClr val="002D72"/>
              </a:buClr>
              <a:buFont typeface="Arial" pitchFamily="34" charset="0"/>
              <a:buChar char="•"/>
              <a:tabLst/>
              <a:defRPr b="0">
                <a:latin typeface="Arial"/>
                <a:sym typeface="Arial"/>
              </a:defRPr>
            </a:lvl1pPr>
            <a:lvl2pPr marL="581553" indent="-212682">
              <a:spcBef>
                <a:spcPts val="354"/>
              </a:spcBef>
              <a:buFont typeface="Arial" pitchFamily="34" charset="0"/>
              <a:buChar char="–"/>
              <a:defRPr>
                <a:latin typeface="Arial"/>
                <a:sym typeface="Arial"/>
              </a:defRPr>
            </a:lvl2pPr>
            <a:lvl3pPr marL="993625" indent="-212682">
              <a:spcBef>
                <a:spcPts val="354"/>
              </a:spcBef>
              <a:defRPr>
                <a:latin typeface="Arial"/>
                <a:sym typeface="Arial"/>
              </a:defRPr>
            </a:lvl3pPr>
            <a:lvl4pPr marL="1425636" indent="-212682">
              <a:spcBef>
                <a:spcPts val="354"/>
              </a:spcBef>
              <a:defRPr>
                <a:latin typeface="Arial"/>
                <a:sym typeface="Arial"/>
              </a:defRPr>
            </a:lvl4pPr>
            <a:lvl5pPr marL="1900848" indent="-212682">
              <a:spcBef>
                <a:spcPts val="354"/>
              </a:spcBef>
              <a:defRPr>
                <a:latin typeface="Arial"/>
                <a:sym typeface="Aria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itle 1"/>
          <p:cNvSpPr>
            <a:spLocks noGrp="1"/>
          </p:cNvSpPr>
          <p:nvPr>
            <p:ph type="title"/>
          </p:nvPr>
        </p:nvSpPr>
        <p:spPr>
          <a:xfrm>
            <a:off x="562709" y="162000"/>
            <a:ext cx="11068060" cy="704087"/>
          </a:xfrm>
        </p:spPr>
        <p:txBody>
          <a:bodyPr anchor="t"/>
          <a:lstStyle>
            <a:lvl1pPr>
              <a:defRPr>
                <a:latin typeface="Arial"/>
                <a:sym typeface="Arial"/>
              </a:defRPr>
            </a:lvl1pPr>
          </a:lstStyle>
          <a:p>
            <a:endParaRPr lang="en-US" dirty="0"/>
          </a:p>
        </p:txBody>
      </p:sp>
      <p:sp>
        <p:nvSpPr>
          <p:cNvPr id="8" name="Text Placeholder 6"/>
          <p:cNvSpPr>
            <a:spLocks noGrp="1"/>
          </p:cNvSpPr>
          <p:nvPr>
            <p:ph type="body" sz="quarter" idx="11"/>
          </p:nvPr>
        </p:nvSpPr>
        <p:spPr>
          <a:xfrm>
            <a:off x="562709" y="863601"/>
            <a:ext cx="11068060" cy="320359"/>
          </a:xfrm>
        </p:spPr>
        <p:txBody>
          <a:bodyPr anchor="t">
            <a:normAutofit/>
          </a:bodyPr>
          <a:lstStyle>
            <a:lvl1pPr>
              <a:defRPr sz="1385" b="0">
                <a:solidFill>
                  <a:srgbClr val="73C4EF"/>
                </a:solidFill>
              </a:defRPr>
            </a:lvl1pPr>
          </a:lstStyle>
          <a:p>
            <a:pPr lvl="0"/>
            <a:endParaRPr lang="en-US" dirty="0"/>
          </a:p>
        </p:txBody>
      </p:sp>
    </p:spTree>
    <p:extLst>
      <p:ext uri="{BB962C8B-B14F-4D97-AF65-F5344CB8AC3E}">
        <p14:creationId xmlns:p14="http://schemas.microsoft.com/office/powerpoint/2010/main" val="762526579"/>
      </p:ext>
    </p:extLst>
  </p:cSld>
  <p:clrMapOvr>
    <a:masterClrMapping/>
  </p:clrMapOvr>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892998" name="think-cell Slide" r:id="rId4" imgW="270" imgH="270" progId="TCLayout.ActiveDocument.1">
                  <p:embed/>
                </p:oleObj>
              </mc:Choice>
              <mc:Fallback>
                <p:oleObj name="think-cell Slide" r:id="rId4" imgW="270" imgH="270" progId="TCLayout.ActiveDocument.1">
                  <p:embed/>
                  <p:pic>
                    <p:nvPicPr>
                      <p:cNvPr id="7" name="Object 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le 1"/>
          <p:cNvSpPr>
            <a:spLocks noGrp="1"/>
          </p:cNvSpPr>
          <p:nvPr>
            <p:ph type="title"/>
          </p:nvPr>
        </p:nvSpPr>
        <p:spPr>
          <a:xfrm>
            <a:off x="562709" y="162000"/>
            <a:ext cx="11068060" cy="704087"/>
          </a:xfrm>
        </p:spPr>
        <p:txBody>
          <a:bodyPr anchor="t"/>
          <a:lstStyle>
            <a:lvl1pPr>
              <a:defRPr>
                <a:latin typeface="Arial"/>
                <a:sym typeface="Arial"/>
              </a:defRPr>
            </a:lvl1pPr>
          </a:lstStyle>
          <a:p>
            <a:endParaRPr lang="en-US" dirty="0"/>
          </a:p>
        </p:txBody>
      </p:sp>
      <p:sp>
        <p:nvSpPr>
          <p:cNvPr id="6" name="Text Placeholder 6"/>
          <p:cNvSpPr>
            <a:spLocks noGrp="1"/>
          </p:cNvSpPr>
          <p:nvPr>
            <p:ph type="body" sz="quarter" idx="11"/>
          </p:nvPr>
        </p:nvSpPr>
        <p:spPr>
          <a:xfrm>
            <a:off x="562709" y="863601"/>
            <a:ext cx="11068060" cy="320359"/>
          </a:xfrm>
        </p:spPr>
        <p:txBody>
          <a:bodyPr anchor="t">
            <a:normAutofit/>
          </a:bodyPr>
          <a:lstStyle>
            <a:lvl1pPr>
              <a:defRPr sz="1385" b="0">
                <a:solidFill>
                  <a:srgbClr val="73C4EF"/>
                </a:solidFill>
              </a:defRPr>
            </a:lvl1pPr>
          </a:lstStyle>
          <a:p>
            <a:pPr lvl="0"/>
            <a:endParaRPr lang="en-US" dirty="0"/>
          </a:p>
        </p:txBody>
      </p:sp>
    </p:spTree>
    <p:extLst>
      <p:ext uri="{BB962C8B-B14F-4D97-AF65-F5344CB8AC3E}">
        <p14:creationId xmlns:p14="http://schemas.microsoft.com/office/powerpoint/2010/main" val="4186726749"/>
      </p:ext>
    </p:extLst>
  </p:cSld>
  <p:clrMapOvr>
    <a:masterClrMapping/>
  </p:clrMapOvr>
</p:sldLayout>
</file>

<file path=ppt/slideLayouts/slideLayout34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894022" name="think-cell Slide" r:id="rId4" imgW="270" imgH="270" progId="TCLayout.ActiveDocument.1">
                  <p:embed/>
                </p:oleObj>
              </mc:Choice>
              <mc:Fallback>
                <p:oleObj name="think-cell Slide" r:id="rId4" imgW="270" imgH="270" progId="TCLayout.ActiveDocument.1">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1532054628"/>
      </p:ext>
    </p:extLst>
  </p:cSld>
  <p:clrMapOvr>
    <a:masterClrMapping/>
  </p:clrMapOvr>
</p:sldLayout>
</file>

<file path=ppt/slideLayouts/slideLayout346.xml><?xml version="1.0" encoding="utf-8"?>
<p:sldLayout xmlns:a="http://schemas.openxmlformats.org/drawingml/2006/main" xmlns:r="http://schemas.openxmlformats.org/officeDocument/2006/relationships" xmlns:p="http://schemas.openxmlformats.org/presentationml/2006/main" userDrawn="1">
  <p:cSld name="4_Custom Layout">
    <p:spTree>
      <p:nvGrpSpPr>
        <p:cNvPr id="1" name=""/>
        <p:cNvGrpSpPr/>
        <p:nvPr/>
      </p:nvGrpSpPr>
      <p:grpSpPr>
        <a:xfrm>
          <a:off x="0" y="0"/>
          <a:ext cx="0" cy="0"/>
          <a:chOff x="0" y="0"/>
          <a:chExt cx="0" cy="0"/>
        </a:xfrm>
      </p:grpSpPr>
      <p:sp>
        <p:nvSpPr>
          <p:cNvPr id="14" name="Rectangle 13"/>
          <p:cNvSpPr/>
          <p:nvPr userDrawn="1"/>
        </p:nvSpPr>
        <p:spPr>
          <a:xfrm>
            <a:off x="226611" y="6608"/>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grpSp>
        <p:nvGrpSpPr>
          <p:cNvPr id="15" name="Group 14"/>
          <p:cNvGrpSpPr/>
          <p:nvPr userDrawn="1"/>
        </p:nvGrpSpPr>
        <p:grpSpPr>
          <a:xfrm flipH="1">
            <a:off x="226609" y="98856"/>
            <a:ext cx="1203763" cy="6096001"/>
            <a:chOff x="160238" y="148877"/>
            <a:chExt cx="1300907" cy="8783936"/>
          </a:xfrm>
        </p:grpSpPr>
        <p:sp>
          <p:nvSpPr>
            <p:cNvPr id="16" name="Rectangle"/>
            <p:cNvSpPr/>
            <p:nvPr userDrawn="1"/>
          </p:nvSpPr>
          <p:spPr>
            <a:xfrm>
              <a:off x="160238" y="7811988"/>
              <a:ext cx="1300907" cy="1120825"/>
            </a:xfrm>
            <a:prstGeom prst="rect">
              <a:avLst/>
            </a:prstGeom>
            <a:solidFill>
              <a:srgbClr val="C4297F"/>
            </a:solidFill>
            <a:ln w="12700">
              <a:miter lim="400000"/>
            </a:ln>
          </p:spPr>
          <p:txBody>
            <a:bodyPr lIns="50800" tIns="50800" rIns="50800" bIns="50800" anchor="ctr"/>
            <a:lstStyle/>
            <a:p>
              <a:endParaRPr sz="1800">
                <a:solidFill>
                  <a:prstClr val="black"/>
                </a:solidFill>
              </a:endParaRPr>
            </a:p>
          </p:txBody>
        </p:sp>
        <p:sp>
          <p:nvSpPr>
            <p:cNvPr id="17" name="Rectangle"/>
            <p:cNvSpPr/>
            <p:nvPr userDrawn="1"/>
          </p:nvSpPr>
          <p:spPr>
            <a:xfrm>
              <a:off x="160238" y="7090072"/>
              <a:ext cx="1300907" cy="721917"/>
            </a:xfrm>
            <a:prstGeom prst="rect">
              <a:avLst/>
            </a:prstGeom>
            <a:solidFill>
              <a:srgbClr val="7C1A4F"/>
            </a:solidFill>
            <a:ln w="12700">
              <a:miter lim="400000"/>
            </a:ln>
          </p:spPr>
          <p:txBody>
            <a:bodyPr lIns="50800" tIns="50800" rIns="50800" bIns="50800" anchor="ctr"/>
            <a:lstStyle/>
            <a:p>
              <a:endParaRPr sz="1800">
                <a:solidFill>
                  <a:prstClr val="black"/>
                </a:solidFill>
              </a:endParaRPr>
            </a:p>
          </p:txBody>
        </p:sp>
        <p:sp>
          <p:nvSpPr>
            <p:cNvPr id="18" name="Rectangle"/>
            <p:cNvSpPr/>
            <p:nvPr userDrawn="1"/>
          </p:nvSpPr>
          <p:spPr>
            <a:xfrm>
              <a:off x="160238" y="6877694"/>
              <a:ext cx="1300907" cy="212379"/>
            </a:xfrm>
            <a:prstGeom prst="rect">
              <a:avLst/>
            </a:prstGeom>
            <a:solidFill>
              <a:srgbClr val="F79824"/>
            </a:solidFill>
            <a:ln w="12700">
              <a:miter lim="400000"/>
            </a:ln>
          </p:spPr>
          <p:txBody>
            <a:bodyPr lIns="50800" tIns="50800" rIns="50800" bIns="50800" anchor="ctr"/>
            <a:lstStyle/>
            <a:p>
              <a:endParaRPr sz="1800">
                <a:solidFill>
                  <a:prstClr val="black"/>
                </a:solidFill>
              </a:endParaRPr>
            </a:p>
          </p:txBody>
        </p:sp>
        <p:sp>
          <p:nvSpPr>
            <p:cNvPr id="19" name="Rectangle"/>
            <p:cNvSpPr/>
            <p:nvPr userDrawn="1"/>
          </p:nvSpPr>
          <p:spPr>
            <a:xfrm>
              <a:off x="160238" y="5875535"/>
              <a:ext cx="1300907" cy="1002160"/>
            </a:xfrm>
            <a:prstGeom prst="rect">
              <a:avLst/>
            </a:prstGeom>
            <a:solidFill>
              <a:srgbClr val="EE4329"/>
            </a:solidFill>
            <a:ln w="12700">
              <a:miter lim="400000"/>
            </a:ln>
          </p:spPr>
          <p:txBody>
            <a:bodyPr lIns="50800" tIns="50800" rIns="50800" bIns="50800" anchor="ctr"/>
            <a:lstStyle/>
            <a:p>
              <a:endParaRPr sz="1800">
                <a:solidFill>
                  <a:prstClr val="black"/>
                </a:solidFill>
              </a:endParaRPr>
            </a:p>
          </p:txBody>
        </p:sp>
        <p:sp>
          <p:nvSpPr>
            <p:cNvPr id="20" name="Rectangle"/>
            <p:cNvSpPr/>
            <p:nvPr userDrawn="1"/>
          </p:nvSpPr>
          <p:spPr>
            <a:xfrm>
              <a:off x="160238" y="3874095"/>
              <a:ext cx="1300907" cy="2001441"/>
            </a:xfrm>
            <a:prstGeom prst="rect">
              <a:avLst/>
            </a:prstGeom>
            <a:solidFill>
              <a:srgbClr val="F36F26"/>
            </a:solidFill>
            <a:ln w="12700">
              <a:miter lim="400000"/>
            </a:ln>
          </p:spPr>
          <p:txBody>
            <a:bodyPr lIns="50800" tIns="50800" rIns="50800" bIns="50800" anchor="ctr"/>
            <a:lstStyle/>
            <a:p>
              <a:endParaRPr sz="1800">
                <a:solidFill>
                  <a:prstClr val="black"/>
                </a:solidFill>
              </a:endParaRPr>
            </a:p>
          </p:txBody>
        </p:sp>
        <p:sp>
          <p:nvSpPr>
            <p:cNvPr id="21" name="Rectangle"/>
            <p:cNvSpPr/>
            <p:nvPr userDrawn="1"/>
          </p:nvSpPr>
          <p:spPr>
            <a:xfrm>
              <a:off x="160238" y="3154213"/>
              <a:ext cx="1300907" cy="721867"/>
            </a:xfrm>
            <a:prstGeom prst="rect">
              <a:avLst/>
            </a:prstGeom>
            <a:solidFill>
              <a:srgbClr val="016AA1"/>
            </a:solidFill>
            <a:ln w="12700">
              <a:miter lim="400000"/>
            </a:ln>
          </p:spPr>
          <p:txBody>
            <a:bodyPr lIns="50800" tIns="50800" rIns="50800" bIns="50800" anchor="ctr"/>
            <a:lstStyle/>
            <a:p>
              <a:endParaRPr sz="1800">
                <a:solidFill>
                  <a:prstClr val="black"/>
                </a:solidFill>
              </a:endParaRPr>
            </a:p>
          </p:txBody>
        </p:sp>
        <p:sp>
          <p:nvSpPr>
            <p:cNvPr id="22" name="Rectangle"/>
            <p:cNvSpPr/>
            <p:nvPr userDrawn="1"/>
          </p:nvSpPr>
          <p:spPr>
            <a:xfrm>
              <a:off x="160238" y="148877"/>
              <a:ext cx="1300907" cy="3005337"/>
            </a:xfrm>
            <a:prstGeom prst="rect">
              <a:avLst/>
            </a:prstGeom>
            <a:solidFill>
              <a:srgbClr val="86CBD8"/>
            </a:solidFill>
            <a:ln w="12700">
              <a:miter lim="400000"/>
            </a:ln>
          </p:spPr>
          <p:txBody>
            <a:bodyPr lIns="50800" tIns="50800" rIns="50800" bIns="50800" anchor="ctr"/>
            <a:lstStyle/>
            <a:p>
              <a:endParaRPr sz="1800">
                <a:solidFill>
                  <a:prstClr val="black"/>
                </a:solidFill>
              </a:endParaRPr>
            </a:p>
          </p:txBody>
        </p:sp>
      </p:grpSp>
    </p:spTree>
    <p:extLst>
      <p:ext uri="{BB962C8B-B14F-4D97-AF65-F5344CB8AC3E}">
        <p14:creationId xmlns:p14="http://schemas.microsoft.com/office/powerpoint/2010/main" val="143108358"/>
      </p:ext>
    </p:extLst>
  </p:cSld>
  <p:clrMapOvr>
    <a:masterClrMapping/>
  </p:clrMapOvr>
</p:sldLayout>
</file>

<file path=ppt/slideLayouts/slideLayout347.xml><?xml version="1.0" encoding="utf-8"?>
<p:sldLayout xmlns:a="http://schemas.openxmlformats.org/drawingml/2006/main" xmlns:r="http://schemas.openxmlformats.org/officeDocument/2006/relationships" xmlns:p="http://schemas.openxmlformats.org/presentationml/2006/main" userDrawn="1">
  <p:cSld name="Separador1">
    <p:spTree>
      <p:nvGrpSpPr>
        <p:cNvPr id="1" name=""/>
        <p:cNvGrpSpPr/>
        <p:nvPr/>
      </p:nvGrpSpPr>
      <p:grpSpPr>
        <a:xfrm>
          <a:off x="0" y="0"/>
          <a:ext cx="0" cy="0"/>
          <a:chOff x="0" y="0"/>
          <a:chExt cx="0" cy="0"/>
        </a:xfrm>
      </p:grpSpPr>
      <p:sp>
        <p:nvSpPr>
          <p:cNvPr id="11" name="Rectangle 10"/>
          <p:cNvSpPr/>
          <p:nvPr userDrawn="1"/>
        </p:nvSpPr>
        <p:spPr>
          <a:xfrm>
            <a:off x="226611" y="6608"/>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grpSp>
        <p:nvGrpSpPr>
          <p:cNvPr id="19" name="Group 18"/>
          <p:cNvGrpSpPr/>
          <p:nvPr userDrawn="1"/>
        </p:nvGrpSpPr>
        <p:grpSpPr>
          <a:xfrm>
            <a:off x="226614" y="98854"/>
            <a:ext cx="1204588" cy="6096000"/>
            <a:chOff x="160238" y="154880"/>
            <a:chExt cx="1300907" cy="8777933"/>
          </a:xfrm>
        </p:grpSpPr>
        <p:sp>
          <p:nvSpPr>
            <p:cNvPr id="12" name="Rectangle"/>
            <p:cNvSpPr/>
            <p:nvPr userDrawn="1"/>
          </p:nvSpPr>
          <p:spPr>
            <a:xfrm>
              <a:off x="160238" y="8398371"/>
              <a:ext cx="1300907" cy="534442"/>
            </a:xfrm>
            <a:prstGeom prst="rect">
              <a:avLst/>
            </a:prstGeom>
            <a:solidFill>
              <a:srgbClr val="85CDD9"/>
            </a:solidFill>
            <a:ln w="12700">
              <a:miter lim="400000"/>
            </a:ln>
          </p:spPr>
          <p:txBody>
            <a:bodyPr lIns="50800" tIns="50800" rIns="50800" bIns="50800" anchor="ctr"/>
            <a:lstStyle/>
            <a:p>
              <a:endParaRPr sz="1800">
                <a:solidFill>
                  <a:prstClr val="black"/>
                </a:solidFill>
              </a:endParaRPr>
            </a:p>
          </p:txBody>
        </p:sp>
        <p:sp>
          <p:nvSpPr>
            <p:cNvPr id="13" name="Rectangle"/>
            <p:cNvSpPr/>
            <p:nvPr userDrawn="1"/>
          </p:nvSpPr>
          <p:spPr>
            <a:xfrm>
              <a:off x="160238" y="8183364"/>
              <a:ext cx="1300907" cy="215008"/>
            </a:xfrm>
            <a:prstGeom prst="rect">
              <a:avLst/>
            </a:prstGeom>
            <a:solidFill>
              <a:srgbClr val="4D89AD"/>
            </a:solidFill>
            <a:ln w="12700">
              <a:miter lim="400000"/>
            </a:ln>
          </p:spPr>
          <p:txBody>
            <a:bodyPr lIns="50800" tIns="50800" rIns="50800" bIns="50800" anchor="ctr"/>
            <a:lstStyle/>
            <a:p>
              <a:endParaRPr sz="1800">
                <a:solidFill>
                  <a:prstClr val="black"/>
                </a:solidFill>
              </a:endParaRPr>
            </a:p>
          </p:txBody>
        </p:sp>
        <p:sp>
          <p:nvSpPr>
            <p:cNvPr id="14" name="Rectangle"/>
            <p:cNvSpPr/>
            <p:nvPr userDrawn="1"/>
          </p:nvSpPr>
          <p:spPr>
            <a:xfrm>
              <a:off x="160238" y="6195863"/>
              <a:ext cx="1300907" cy="1987502"/>
            </a:xfrm>
            <a:prstGeom prst="rect">
              <a:avLst/>
            </a:prstGeom>
            <a:solidFill>
              <a:srgbClr val="2591C0"/>
            </a:solidFill>
            <a:ln w="12700">
              <a:miter lim="400000"/>
            </a:ln>
          </p:spPr>
          <p:txBody>
            <a:bodyPr lIns="50800" tIns="50800" rIns="50800" bIns="50800" anchor="ctr"/>
            <a:lstStyle/>
            <a:p>
              <a:endParaRPr sz="1800">
                <a:solidFill>
                  <a:prstClr val="black"/>
                </a:solidFill>
              </a:endParaRPr>
            </a:p>
          </p:txBody>
        </p:sp>
        <p:sp>
          <p:nvSpPr>
            <p:cNvPr id="15" name="Rectangle"/>
            <p:cNvSpPr/>
            <p:nvPr userDrawn="1"/>
          </p:nvSpPr>
          <p:spPr>
            <a:xfrm>
              <a:off x="160238" y="5724425"/>
              <a:ext cx="1300907" cy="471439"/>
            </a:xfrm>
            <a:prstGeom prst="rect">
              <a:avLst/>
            </a:prstGeom>
            <a:solidFill>
              <a:srgbClr val="104D6A"/>
            </a:solidFill>
            <a:ln w="12700">
              <a:miter lim="400000"/>
            </a:ln>
          </p:spPr>
          <p:txBody>
            <a:bodyPr lIns="50800" tIns="50800" rIns="50800" bIns="50800" anchor="ctr"/>
            <a:lstStyle/>
            <a:p>
              <a:endParaRPr sz="1800">
                <a:solidFill>
                  <a:prstClr val="black"/>
                </a:solidFill>
              </a:endParaRPr>
            </a:p>
          </p:txBody>
        </p:sp>
        <p:sp>
          <p:nvSpPr>
            <p:cNvPr id="16" name="Rectangle"/>
            <p:cNvSpPr/>
            <p:nvPr userDrawn="1"/>
          </p:nvSpPr>
          <p:spPr>
            <a:xfrm>
              <a:off x="160238" y="371177"/>
              <a:ext cx="1300907" cy="813396"/>
            </a:xfrm>
            <a:prstGeom prst="rect">
              <a:avLst/>
            </a:prstGeom>
            <a:solidFill>
              <a:srgbClr val="095B88"/>
            </a:solidFill>
            <a:ln w="12700">
              <a:miter lim="400000"/>
            </a:ln>
          </p:spPr>
          <p:txBody>
            <a:bodyPr lIns="50800" tIns="50800" rIns="50800" bIns="50800" anchor="ctr"/>
            <a:lstStyle/>
            <a:p>
              <a:endParaRPr sz="1800">
                <a:solidFill>
                  <a:prstClr val="black"/>
                </a:solidFill>
              </a:endParaRPr>
            </a:p>
          </p:txBody>
        </p:sp>
        <p:sp>
          <p:nvSpPr>
            <p:cNvPr id="17" name="Rectangle"/>
            <p:cNvSpPr/>
            <p:nvPr userDrawn="1"/>
          </p:nvSpPr>
          <p:spPr>
            <a:xfrm>
              <a:off x="160238" y="1184572"/>
              <a:ext cx="1300907" cy="4539854"/>
            </a:xfrm>
            <a:prstGeom prst="rect">
              <a:avLst/>
            </a:prstGeom>
            <a:solidFill>
              <a:srgbClr val="016AA1"/>
            </a:solidFill>
            <a:ln w="12700">
              <a:miter lim="400000"/>
            </a:ln>
          </p:spPr>
          <p:txBody>
            <a:bodyPr lIns="50800" tIns="50800" rIns="50800" bIns="50800" anchor="ctr"/>
            <a:lstStyle/>
            <a:p>
              <a:endParaRPr sz="1800">
                <a:solidFill>
                  <a:prstClr val="black"/>
                </a:solidFill>
              </a:endParaRPr>
            </a:p>
          </p:txBody>
        </p:sp>
        <p:sp>
          <p:nvSpPr>
            <p:cNvPr id="18" name="Rectangle"/>
            <p:cNvSpPr/>
            <p:nvPr userDrawn="1"/>
          </p:nvSpPr>
          <p:spPr>
            <a:xfrm>
              <a:off x="160238" y="154880"/>
              <a:ext cx="1300907" cy="216298"/>
            </a:xfrm>
            <a:prstGeom prst="rect">
              <a:avLst/>
            </a:prstGeom>
            <a:solidFill>
              <a:srgbClr val="85CDD9"/>
            </a:solidFill>
            <a:ln w="12700">
              <a:miter lim="400000"/>
            </a:ln>
          </p:spPr>
          <p:txBody>
            <a:bodyPr lIns="50800" tIns="50800" rIns="50800" bIns="50800" anchor="ctr"/>
            <a:lstStyle/>
            <a:p>
              <a:endParaRPr sz="1800">
                <a:solidFill>
                  <a:prstClr val="black"/>
                </a:solidFill>
              </a:endParaRPr>
            </a:p>
          </p:txBody>
        </p:sp>
      </p:grpSp>
    </p:spTree>
    <p:extLst>
      <p:ext uri="{BB962C8B-B14F-4D97-AF65-F5344CB8AC3E}">
        <p14:creationId xmlns:p14="http://schemas.microsoft.com/office/powerpoint/2010/main" val="1552904332"/>
      </p:ext>
    </p:extLst>
  </p:cSld>
  <p:clrMapOvr>
    <a:masterClrMapping/>
  </p:clrMapOvr>
</p:sldLayout>
</file>

<file path=ppt/slideLayouts/slideLayout348.xml><?xml version="1.0" encoding="utf-8"?>
<p:sldLayout xmlns:a="http://schemas.openxmlformats.org/drawingml/2006/main" xmlns:r="http://schemas.openxmlformats.org/officeDocument/2006/relationships" xmlns:p="http://schemas.openxmlformats.org/presentationml/2006/main" showMasterSp="0" preserve="1" userDrawn="1">
  <p:cSld name="Cover page">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908316"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3" descr="Picture 3"/>
          <p:cNvPicPr>
            <a:picLocks noChangeAspect="1"/>
          </p:cNvPicPr>
          <p:nvPr userDrawn="1"/>
        </p:nvPicPr>
        <p:blipFill>
          <a:blip r:embed="rId6" cstate="print"/>
          <a:srcRect r="91525"/>
          <a:stretch>
            <a:fillRect/>
          </a:stretch>
        </p:blipFill>
        <p:spPr>
          <a:xfrm>
            <a:off x="0" y="0"/>
            <a:ext cx="1376613" cy="6858000"/>
          </a:xfrm>
          <a:prstGeom prst="rect">
            <a:avLst/>
          </a:prstGeom>
          <a:ln w="12700">
            <a:miter lim="400000"/>
          </a:ln>
        </p:spPr>
      </p:pic>
      <p:sp>
        <p:nvSpPr>
          <p:cNvPr id="18" name="Text Placeholder 17"/>
          <p:cNvSpPr>
            <a:spLocks noGrp="1"/>
          </p:cNvSpPr>
          <p:nvPr>
            <p:ph type="body" sz="quarter" idx="10" hasCustomPrompt="1"/>
          </p:nvPr>
        </p:nvSpPr>
        <p:spPr>
          <a:xfrm>
            <a:off x="1744393" y="722376"/>
            <a:ext cx="8924544" cy="649224"/>
          </a:xfrm>
        </p:spPr>
        <p:txBody>
          <a:bodyPr lIns="36576" tIns="45720" rIns="36576" bIns="45720" anchor="ctr">
            <a:noAutofit/>
          </a:bodyPr>
          <a:lstStyle>
            <a:lvl1pPr>
              <a:defRPr sz="3692" b="0" baseline="0">
                <a:solidFill>
                  <a:srgbClr val="86CBD8"/>
                </a:solidFill>
              </a:defRPr>
            </a:lvl1pPr>
          </a:lstStyle>
          <a:p>
            <a:pPr lvl="0"/>
            <a:r>
              <a:rPr lang="en-US" sz="3692" dirty="0" err="1">
                <a:solidFill>
                  <a:srgbClr val="86CBD8"/>
                </a:solidFill>
              </a:rPr>
              <a:t>Título</a:t>
            </a:r>
            <a:r>
              <a:rPr lang="en-US" sz="3692" dirty="0">
                <a:solidFill>
                  <a:srgbClr val="86CBD8"/>
                </a:solidFill>
              </a:rPr>
              <a:t> </a:t>
            </a:r>
            <a:r>
              <a:rPr lang="en-US" sz="3692" dirty="0" err="1">
                <a:solidFill>
                  <a:srgbClr val="86CBD8"/>
                </a:solidFill>
              </a:rPr>
              <a:t>Presentación</a:t>
            </a:r>
            <a:endParaRPr lang="en-US" dirty="0"/>
          </a:p>
        </p:txBody>
      </p:sp>
      <p:sp>
        <p:nvSpPr>
          <p:cNvPr id="20" name="Text Placeholder 19"/>
          <p:cNvSpPr>
            <a:spLocks noGrp="1"/>
          </p:cNvSpPr>
          <p:nvPr>
            <p:ph type="body" sz="quarter" idx="11" hasCustomPrompt="1"/>
          </p:nvPr>
        </p:nvSpPr>
        <p:spPr>
          <a:xfrm>
            <a:off x="1789411" y="2221992"/>
            <a:ext cx="10016197" cy="365760"/>
          </a:xfrm>
        </p:spPr>
        <p:txBody>
          <a:bodyPr lIns="36576" tIns="45720" rIns="36576" bIns="45720">
            <a:noAutofit/>
          </a:bodyPr>
          <a:lstStyle>
            <a:lvl1pPr>
              <a:defRPr sz="1662" b="1" baseline="0">
                <a:solidFill>
                  <a:srgbClr val="016AA1"/>
                </a:solidFill>
              </a:defRPr>
            </a:lvl1pPr>
          </a:lstStyle>
          <a:p>
            <a:pPr lvl="0"/>
            <a:r>
              <a:rPr lang="en-US" dirty="0" err="1"/>
              <a:t>Subtitulo</a:t>
            </a:r>
            <a:endParaRPr lang="en-US" dirty="0"/>
          </a:p>
        </p:txBody>
      </p:sp>
      <p:sp>
        <p:nvSpPr>
          <p:cNvPr id="22" name="Text Placeholder 21"/>
          <p:cNvSpPr>
            <a:spLocks noGrp="1"/>
          </p:cNvSpPr>
          <p:nvPr>
            <p:ph type="body" sz="quarter" idx="12" hasCustomPrompt="1"/>
          </p:nvPr>
        </p:nvSpPr>
        <p:spPr>
          <a:xfrm>
            <a:off x="1789411" y="4983480"/>
            <a:ext cx="9340948" cy="365760"/>
          </a:xfrm>
        </p:spPr>
        <p:txBody>
          <a:bodyPr lIns="36576" tIns="45720" rIns="36576" bIns="45720">
            <a:noAutofit/>
          </a:bodyPr>
          <a:lstStyle>
            <a:lvl1pPr>
              <a:defRPr sz="1662" b="0" baseline="0">
                <a:solidFill>
                  <a:srgbClr val="7C1A4F"/>
                </a:solidFill>
              </a:defRPr>
            </a:lvl1pPr>
          </a:lstStyle>
          <a:p>
            <a:pPr lvl="0"/>
            <a:r>
              <a:rPr lang="en-US" dirty="0" err="1"/>
              <a:t>Fecha</a:t>
            </a:r>
            <a:endParaRPr lang="en-US" dirty="0"/>
          </a:p>
        </p:txBody>
      </p:sp>
      <p:pic>
        <p:nvPicPr>
          <p:cNvPr id="9" name="footer-13.jpg" descr="footer-13.jpg"/>
          <p:cNvPicPr>
            <a:picLocks noChangeAspect="1"/>
          </p:cNvPicPr>
          <p:nvPr userDrawn="1"/>
        </p:nvPicPr>
        <p:blipFill>
          <a:blip r:embed="rId7" cstate="print"/>
          <a:stretch>
            <a:fillRect/>
          </a:stretch>
        </p:blipFill>
        <p:spPr>
          <a:xfrm>
            <a:off x="0" y="6221393"/>
            <a:ext cx="12192000" cy="574391"/>
          </a:xfrm>
          <a:prstGeom prst="rect">
            <a:avLst/>
          </a:prstGeom>
          <a:ln w="12700">
            <a:miter lim="400000"/>
          </a:ln>
        </p:spPr>
      </p:pic>
    </p:spTree>
    <p:extLst>
      <p:ext uri="{BB962C8B-B14F-4D97-AF65-F5344CB8AC3E}">
        <p14:creationId xmlns:p14="http://schemas.microsoft.com/office/powerpoint/2010/main" val="2517807170"/>
      </p:ext>
    </p:extLst>
  </p:cSld>
  <p:clrMapOvr>
    <a:masterClrMapping/>
  </p:clrMapOvr>
</p:sldLayout>
</file>

<file path=ppt/slideLayouts/slideLayout349.xml><?xml version="1.0" encoding="utf-8"?>
<p:sldLayout xmlns:a="http://schemas.openxmlformats.org/drawingml/2006/main" xmlns:r="http://schemas.openxmlformats.org/officeDocument/2006/relationships" xmlns:p="http://schemas.openxmlformats.org/presentationml/2006/main" showMasterSp="0" preserve="1" userDrawn="1">
  <p:cSld name="Divider 1">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909340"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822455"/>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DA2B57"/>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7C194F"/>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grpSp>
        <p:nvGrpSpPr>
          <p:cNvPr id="8" name="Group 7"/>
          <p:cNvGrpSpPr/>
          <p:nvPr userDrawn="1"/>
        </p:nvGrpSpPr>
        <p:grpSpPr>
          <a:xfrm>
            <a:off x="213691" y="98855"/>
            <a:ext cx="1113676" cy="6105595"/>
            <a:chOff x="160238" y="154880"/>
            <a:chExt cx="1300907" cy="8777933"/>
          </a:xfrm>
        </p:grpSpPr>
        <p:sp>
          <p:nvSpPr>
            <p:cNvPr id="9" name="Rectangle"/>
            <p:cNvSpPr/>
            <p:nvPr userDrawn="1"/>
          </p:nvSpPr>
          <p:spPr>
            <a:xfrm>
              <a:off x="160238" y="8398371"/>
              <a:ext cx="1300907" cy="534442"/>
            </a:xfrm>
            <a:prstGeom prst="rect">
              <a:avLst/>
            </a:prstGeom>
            <a:solidFill>
              <a:srgbClr val="ED207D"/>
            </a:solidFill>
            <a:ln w="12700">
              <a:miter lim="400000"/>
            </a:ln>
          </p:spPr>
          <p:txBody>
            <a:bodyPr lIns="50800" tIns="50800" rIns="50800" bIns="50800" anchor="ctr"/>
            <a:lstStyle/>
            <a:p>
              <a:endParaRPr lang="en-US" sz="1662" dirty="0"/>
            </a:p>
          </p:txBody>
        </p:sp>
        <p:sp>
          <p:nvSpPr>
            <p:cNvPr id="10" name="Rectangle"/>
            <p:cNvSpPr/>
            <p:nvPr userDrawn="1"/>
          </p:nvSpPr>
          <p:spPr>
            <a:xfrm>
              <a:off x="160238" y="8183364"/>
              <a:ext cx="1300907" cy="215008"/>
            </a:xfrm>
            <a:prstGeom prst="rect">
              <a:avLst/>
            </a:prstGeom>
            <a:solidFill>
              <a:srgbClr val="BF1D7F"/>
            </a:solidFill>
            <a:ln w="12700">
              <a:miter lim="400000"/>
            </a:ln>
          </p:spPr>
          <p:txBody>
            <a:bodyPr lIns="50800" tIns="50800" rIns="50800" bIns="50800" anchor="ctr"/>
            <a:lstStyle/>
            <a:p>
              <a:endParaRPr lang="en-US" sz="1662" dirty="0"/>
            </a:p>
          </p:txBody>
        </p:sp>
        <p:sp>
          <p:nvSpPr>
            <p:cNvPr id="11" name="Rectangle"/>
            <p:cNvSpPr/>
            <p:nvPr userDrawn="1"/>
          </p:nvSpPr>
          <p:spPr>
            <a:xfrm>
              <a:off x="160238" y="6195863"/>
              <a:ext cx="1300907" cy="1987502"/>
            </a:xfrm>
            <a:prstGeom prst="rect">
              <a:avLst/>
            </a:prstGeom>
            <a:solidFill>
              <a:srgbClr val="7C1A4F"/>
            </a:solidFill>
            <a:ln w="12700">
              <a:miter lim="400000"/>
            </a:ln>
          </p:spPr>
          <p:txBody>
            <a:bodyPr lIns="50800" tIns="50800" rIns="50800" bIns="50800" anchor="ctr"/>
            <a:lstStyle/>
            <a:p>
              <a:endParaRPr lang="en-US" sz="1662" dirty="0"/>
            </a:p>
          </p:txBody>
        </p:sp>
        <p:sp>
          <p:nvSpPr>
            <p:cNvPr id="12" name="Rectangle"/>
            <p:cNvSpPr/>
            <p:nvPr userDrawn="1"/>
          </p:nvSpPr>
          <p:spPr>
            <a:xfrm>
              <a:off x="160238" y="5724425"/>
              <a:ext cx="1300907" cy="471439"/>
            </a:xfrm>
            <a:prstGeom prst="rect">
              <a:avLst/>
            </a:prstGeom>
            <a:solidFill>
              <a:srgbClr val="DA2C57"/>
            </a:solidFill>
            <a:ln w="12700">
              <a:miter lim="400000"/>
            </a:ln>
          </p:spPr>
          <p:txBody>
            <a:bodyPr lIns="50800" tIns="50800" rIns="50800" bIns="50800" anchor="ctr"/>
            <a:lstStyle/>
            <a:p>
              <a:endParaRPr lang="en-US" sz="1662" dirty="0"/>
            </a:p>
          </p:txBody>
        </p:sp>
        <p:sp>
          <p:nvSpPr>
            <p:cNvPr id="14" name="Rectangle"/>
            <p:cNvSpPr/>
            <p:nvPr userDrawn="1"/>
          </p:nvSpPr>
          <p:spPr>
            <a:xfrm>
              <a:off x="160238" y="371177"/>
              <a:ext cx="1300907" cy="813396"/>
            </a:xfrm>
            <a:prstGeom prst="rect">
              <a:avLst/>
            </a:prstGeom>
            <a:solidFill>
              <a:srgbClr val="C4297F"/>
            </a:solidFill>
            <a:ln w="12700">
              <a:miter lim="400000"/>
            </a:ln>
          </p:spPr>
          <p:txBody>
            <a:bodyPr lIns="50800" tIns="50800" rIns="50800" bIns="50800" anchor="ctr"/>
            <a:lstStyle/>
            <a:p>
              <a:endParaRPr lang="en-US" sz="1662" dirty="0"/>
            </a:p>
          </p:txBody>
        </p:sp>
        <p:sp>
          <p:nvSpPr>
            <p:cNvPr id="17" name="Rectangle"/>
            <p:cNvSpPr/>
            <p:nvPr userDrawn="1"/>
          </p:nvSpPr>
          <p:spPr>
            <a:xfrm>
              <a:off x="160238" y="1184572"/>
              <a:ext cx="1300907" cy="4539854"/>
            </a:xfrm>
            <a:prstGeom prst="rect">
              <a:avLst/>
            </a:prstGeom>
            <a:solidFill>
              <a:srgbClr val="822455"/>
            </a:solidFill>
            <a:ln w="12700">
              <a:miter lim="400000"/>
            </a:ln>
          </p:spPr>
          <p:txBody>
            <a:bodyPr lIns="50800" tIns="50800" rIns="50800" bIns="50800" anchor="ctr"/>
            <a:lstStyle/>
            <a:p>
              <a:endParaRPr lang="en-US" sz="1662" dirty="0"/>
            </a:p>
          </p:txBody>
        </p:sp>
        <p:sp>
          <p:nvSpPr>
            <p:cNvPr id="19" name="Rectangle"/>
            <p:cNvSpPr/>
            <p:nvPr userDrawn="1"/>
          </p:nvSpPr>
          <p:spPr>
            <a:xfrm>
              <a:off x="160238" y="154880"/>
              <a:ext cx="1300907" cy="216298"/>
            </a:xfrm>
            <a:prstGeom prst="rect">
              <a:avLst/>
            </a:prstGeom>
            <a:solidFill>
              <a:srgbClr val="DA2C57"/>
            </a:solidFill>
            <a:ln w="12700">
              <a:miter lim="400000"/>
            </a:ln>
          </p:spPr>
          <p:txBody>
            <a:bodyPr lIns="50800" tIns="50800" rIns="50800" bIns="50800" anchor="ctr"/>
            <a:lstStyle/>
            <a:p>
              <a:endParaRPr lang="en-US" sz="1662" dirty="0"/>
            </a:p>
          </p:txBody>
        </p:sp>
      </p:gr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spTree>
    <p:extLst>
      <p:ext uri="{BB962C8B-B14F-4D97-AF65-F5344CB8AC3E}">
        <p14:creationId xmlns:p14="http://schemas.microsoft.com/office/powerpoint/2010/main" val="2102287262"/>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Divider 2">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6" y="1592"/>
          <a:ext cx="1953" cy="1587"/>
        </p:xfrm>
        <a:graphic>
          <a:graphicData uri="http://schemas.openxmlformats.org/presentationml/2006/ole">
            <mc:AlternateContent xmlns:mc="http://schemas.openxmlformats.org/markup-compatibility/2006">
              <mc:Choice xmlns:v="urn:schemas-microsoft-com:vml" Requires="v">
                <p:oleObj spid="_x0000_s2491080"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6" y="1592"/>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4000" b="0" baseline="0">
                <a:solidFill>
                  <a:srgbClr val="EE4228"/>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500" b="0">
                <a:solidFill>
                  <a:srgbClr val="F69427"/>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400" b="0">
                <a:solidFill>
                  <a:srgbClr val="FCBA1A"/>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5"/>
            <a:ext cx="12120517" cy="574391"/>
          </a:xfrm>
          <a:prstGeom prst="rect">
            <a:avLst/>
          </a:prstGeom>
          <a:ln w="12700">
            <a:miter lim="400000"/>
          </a:ln>
        </p:spPr>
      </p:pic>
      <p:grpSp>
        <p:nvGrpSpPr>
          <p:cNvPr id="21" name="Group 20"/>
          <p:cNvGrpSpPr/>
          <p:nvPr userDrawn="1"/>
        </p:nvGrpSpPr>
        <p:grpSpPr>
          <a:xfrm>
            <a:off x="213691" y="98855"/>
            <a:ext cx="1113676" cy="6105595"/>
            <a:chOff x="160238" y="162796"/>
            <a:chExt cx="1300907" cy="8777933"/>
          </a:xfrm>
        </p:grpSpPr>
        <p:sp>
          <p:nvSpPr>
            <p:cNvPr id="22" name="Rectangle"/>
            <p:cNvSpPr/>
            <p:nvPr userDrawn="1"/>
          </p:nvSpPr>
          <p:spPr>
            <a:xfrm>
              <a:off x="160238" y="8406287"/>
              <a:ext cx="1300907" cy="534442"/>
            </a:xfrm>
            <a:prstGeom prst="rect">
              <a:avLst/>
            </a:prstGeom>
            <a:solidFill>
              <a:srgbClr val="D91F27"/>
            </a:solidFill>
            <a:ln w="12700">
              <a:miter lim="400000"/>
            </a:ln>
          </p:spPr>
          <p:txBody>
            <a:bodyPr lIns="50800" tIns="50800" rIns="50800" bIns="50800" anchor="ctr"/>
            <a:lstStyle/>
            <a:p>
              <a:pPr defTabSz="914400"/>
              <a:endParaRPr lang="en-US" sz="1800" dirty="0">
                <a:solidFill>
                  <a:srgbClr val="002D72"/>
                </a:solidFill>
              </a:endParaRPr>
            </a:p>
          </p:txBody>
        </p:sp>
        <p:sp>
          <p:nvSpPr>
            <p:cNvPr id="23" name="Rectangle"/>
            <p:cNvSpPr/>
            <p:nvPr userDrawn="1"/>
          </p:nvSpPr>
          <p:spPr>
            <a:xfrm>
              <a:off x="160238" y="8191280"/>
              <a:ext cx="1300907" cy="215008"/>
            </a:xfrm>
            <a:prstGeom prst="rect">
              <a:avLst/>
            </a:prstGeom>
            <a:solidFill>
              <a:srgbClr val="F36F26"/>
            </a:solidFill>
            <a:ln w="12700">
              <a:miter lim="400000"/>
            </a:ln>
          </p:spPr>
          <p:txBody>
            <a:bodyPr lIns="50800" tIns="50800" rIns="50800" bIns="50800" anchor="ctr"/>
            <a:lstStyle/>
            <a:p>
              <a:pPr defTabSz="914400"/>
              <a:endParaRPr lang="en-US" sz="1800" dirty="0">
                <a:solidFill>
                  <a:srgbClr val="002D72"/>
                </a:solidFill>
              </a:endParaRPr>
            </a:p>
          </p:txBody>
        </p:sp>
        <p:sp>
          <p:nvSpPr>
            <p:cNvPr id="24" name="Rectangle"/>
            <p:cNvSpPr/>
            <p:nvPr userDrawn="1"/>
          </p:nvSpPr>
          <p:spPr>
            <a:xfrm>
              <a:off x="160238" y="6203779"/>
              <a:ext cx="1300907" cy="1987502"/>
            </a:xfrm>
            <a:prstGeom prst="rect">
              <a:avLst/>
            </a:prstGeom>
            <a:solidFill>
              <a:srgbClr val="FBB91A"/>
            </a:solidFill>
            <a:ln w="12700">
              <a:miter lim="400000"/>
            </a:ln>
          </p:spPr>
          <p:txBody>
            <a:bodyPr lIns="50800" tIns="50800" rIns="50800" bIns="50800" anchor="ctr"/>
            <a:lstStyle/>
            <a:p>
              <a:pPr defTabSz="914400"/>
              <a:endParaRPr lang="en-US" sz="1800" dirty="0">
                <a:solidFill>
                  <a:srgbClr val="002D72"/>
                </a:solidFill>
              </a:endParaRPr>
            </a:p>
          </p:txBody>
        </p:sp>
        <p:sp>
          <p:nvSpPr>
            <p:cNvPr id="25" name="Rectangle"/>
            <p:cNvSpPr/>
            <p:nvPr userDrawn="1"/>
          </p:nvSpPr>
          <p:spPr>
            <a:xfrm>
              <a:off x="160238" y="5732341"/>
              <a:ext cx="1300907" cy="471439"/>
            </a:xfrm>
            <a:prstGeom prst="rect">
              <a:avLst/>
            </a:prstGeom>
            <a:solidFill>
              <a:srgbClr val="F69427"/>
            </a:solidFill>
            <a:ln w="12700">
              <a:miter lim="400000"/>
            </a:ln>
          </p:spPr>
          <p:txBody>
            <a:bodyPr lIns="50800" tIns="50800" rIns="50800" bIns="50800" anchor="ctr"/>
            <a:lstStyle/>
            <a:p>
              <a:pPr defTabSz="914400"/>
              <a:endParaRPr lang="en-US" sz="1800" dirty="0">
                <a:solidFill>
                  <a:srgbClr val="002D72"/>
                </a:solidFill>
              </a:endParaRPr>
            </a:p>
          </p:txBody>
        </p:sp>
        <p:sp>
          <p:nvSpPr>
            <p:cNvPr id="26" name="Rectangle"/>
            <p:cNvSpPr/>
            <p:nvPr userDrawn="1"/>
          </p:nvSpPr>
          <p:spPr>
            <a:xfrm>
              <a:off x="160238" y="379093"/>
              <a:ext cx="1300907" cy="813396"/>
            </a:xfrm>
            <a:prstGeom prst="rect">
              <a:avLst/>
            </a:prstGeom>
            <a:solidFill>
              <a:srgbClr val="F79824"/>
            </a:solidFill>
            <a:ln w="12700">
              <a:miter lim="400000"/>
            </a:ln>
          </p:spPr>
          <p:txBody>
            <a:bodyPr lIns="50800" tIns="50800" rIns="50800" bIns="50800" anchor="ctr"/>
            <a:lstStyle/>
            <a:p>
              <a:pPr defTabSz="914400"/>
              <a:endParaRPr lang="en-US" sz="1800" dirty="0">
                <a:solidFill>
                  <a:srgbClr val="002D72"/>
                </a:solidFill>
              </a:endParaRPr>
            </a:p>
          </p:txBody>
        </p:sp>
        <p:sp>
          <p:nvSpPr>
            <p:cNvPr id="27" name="Rectangle"/>
            <p:cNvSpPr/>
            <p:nvPr userDrawn="1"/>
          </p:nvSpPr>
          <p:spPr>
            <a:xfrm>
              <a:off x="160238" y="1192488"/>
              <a:ext cx="1300907" cy="4539854"/>
            </a:xfrm>
            <a:prstGeom prst="rect">
              <a:avLst/>
            </a:prstGeom>
            <a:solidFill>
              <a:srgbClr val="EE4329"/>
            </a:solidFill>
            <a:ln w="12700">
              <a:miter lim="400000"/>
            </a:ln>
          </p:spPr>
          <p:txBody>
            <a:bodyPr lIns="50800" tIns="50800" rIns="50800" bIns="50800" anchor="ctr"/>
            <a:lstStyle/>
            <a:p>
              <a:pPr defTabSz="914400"/>
              <a:endParaRPr lang="en-US" sz="1800" dirty="0">
                <a:solidFill>
                  <a:srgbClr val="002D72"/>
                </a:solidFill>
              </a:endParaRPr>
            </a:p>
          </p:txBody>
        </p:sp>
        <p:sp>
          <p:nvSpPr>
            <p:cNvPr id="28" name="Rectangle"/>
            <p:cNvSpPr/>
            <p:nvPr userDrawn="1"/>
          </p:nvSpPr>
          <p:spPr>
            <a:xfrm>
              <a:off x="160238" y="162796"/>
              <a:ext cx="1300907" cy="216298"/>
            </a:xfrm>
            <a:prstGeom prst="rect">
              <a:avLst/>
            </a:prstGeom>
            <a:solidFill>
              <a:srgbClr val="BF2126"/>
            </a:solidFill>
            <a:ln w="12700">
              <a:miter lim="400000"/>
            </a:ln>
          </p:spPr>
          <p:txBody>
            <a:bodyPr lIns="50800" tIns="50800" rIns="50800" bIns="50800" anchor="ctr"/>
            <a:lstStyle/>
            <a:p>
              <a:pPr defTabSz="914400"/>
              <a:endParaRPr lang="en-US" sz="1800" dirty="0">
                <a:solidFill>
                  <a:srgbClr val="002D72"/>
                </a:solidFill>
              </a:endParaRPr>
            </a:p>
          </p:txBody>
        </p:sp>
      </p:grpSp>
    </p:spTree>
    <p:extLst>
      <p:ext uri="{BB962C8B-B14F-4D97-AF65-F5344CB8AC3E}">
        <p14:creationId xmlns:p14="http://schemas.microsoft.com/office/powerpoint/2010/main" val="2522312350"/>
      </p:ext>
    </p:extLst>
  </p:cSld>
  <p:clrMapOvr>
    <a:masterClrMapping/>
  </p:clrMapOvr>
</p:sldLayout>
</file>

<file path=ppt/slideLayouts/slideLayout350.xml><?xml version="1.0" encoding="utf-8"?>
<p:sldLayout xmlns:a="http://schemas.openxmlformats.org/drawingml/2006/main" xmlns:r="http://schemas.openxmlformats.org/officeDocument/2006/relationships" xmlns:p="http://schemas.openxmlformats.org/presentationml/2006/main" showMasterSp="0" preserve="1" userDrawn="1">
  <p:cSld name="Divider 2">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910364"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EE4228"/>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F69427"/>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FCBA1A"/>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13691" y="98854"/>
            <a:ext cx="1113676" cy="6105595"/>
            <a:chOff x="160238" y="162796"/>
            <a:chExt cx="1300907" cy="8777933"/>
          </a:xfrm>
        </p:grpSpPr>
        <p:sp>
          <p:nvSpPr>
            <p:cNvPr id="22" name="Rectangle"/>
            <p:cNvSpPr/>
            <p:nvPr userDrawn="1"/>
          </p:nvSpPr>
          <p:spPr>
            <a:xfrm>
              <a:off x="160238" y="8406287"/>
              <a:ext cx="1300907" cy="534442"/>
            </a:xfrm>
            <a:prstGeom prst="rect">
              <a:avLst/>
            </a:prstGeom>
            <a:solidFill>
              <a:srgbClr val="D91F27"/>
            </a:solidFill>
            <a:ln w="12700">
              <a:miter lim="400000"/>
            </a:ln>
          </p:spPr>
          <p:txBody>
            <a:bodyPr lIns="50800" tIns="50800" rIns="50800" bIns="50800" anchor="ctr"/>
            <a:lstStyle/>
            <a:p>
              <a:endParaRPr lang="en-US" sz="1662" dirty="0"/>
            </a:p>
          </p:txBody>
        </p:sp>
        <p:sp>
          <p:nvSpPr>
            <p:cNvPr id="23" name="Rectangle"/>
            <p:cNvSpPr/>
            <p:nvPr userDrawn="1"/>
          </p:nvSpPr>
          <p:spPr>
            <a:xfrm>
              <a:off x="160238" y="8191280"/>
              <a:ext cx="1300907" cy="215008"/>
            </a:xfrm>
            <a:prstGeom prst="rect">
              <a:avLst/>
            </a:prstGeom>
            <a:solidFill>
              <a:srgbClr val="F36F26"/>
            </a:solidFill>
            <a:ln w="12700">
              <a:miter lim="400000"/>
            </a:ln>
          </p:spPr>
          <p:txBody>
            <a:bodyPr lIns="50800" tIns="50800" rIns="50800" bIns="50800" anchor="ctr"/>
            <a:lstStyle/>
            <a:p>
              <a:endParaRPr lang="en-US" sz="1662" dirty="0"/>
            </a:p>
          </p:txBody>
        </p:sp>
        <p:sp>
          <p:nvSpPr>
            <p:cNvPr id="24" name="Rectangle"/>
            <p:cNvSpPr/>
            <p:nvPr userDrawn="1"/>
          </p:nvSpPr>
          <p:spPr>
            <a:xfrm>
              <a:off x="160238" y="6203779"/>
              <a:ext cx="1300907" cy="1987502"/>
            </a:xfrm>
            <a:prstGeom prst="rect">
              <a:avLst/>
            </a:prstGeom>
            <a:solidFill>
              <a:srgbClr val="FBB91A"/>
            </a:solidFill>
            <a:ln w="12700">
              <a:miter lim="400000"/>
            </a:ln>
          </p:spPr>
          <p:txBody>
            <a:bodyPr lIns="50800" tIns="50800" rIns="50800" bIns="50800" anchor="ctr"/>
            <a:lstStyle/>
            <a:p>
              <a:endParaRPr lang="en-US" sz="1662" dirty="0"/>
            </a:p>
          </p:txBody>
        </p:sp>
        <p:sp>
          <p:nvSpPr>
            <p:cNvPr id="25" name="Rectangle"/>
            <p:cNvSpPr/>
            <p:nvPr userDrawn="1"/>
          </p:nvSpPr>
          <p:spPr>
            <a:xfrm>
              <a:off x="160238" y="5732341"/>
              <a:ext cx="1300907" cy="471439"/>
            </a:xfrm>
            <a:prstGeom prst="rect">
              <a:avLst/>
            </a:prstGeom>
            <a:solidFill>
              <a:srgbClr val="F69427"/>
            </a:solidFill>
            <a:ln w="12700">
              <a:miter lim="400000"/>
            </a:ln>
          </p:spPr>
          <p:txBody>
            <a:bodyPr lIns="50800" tIns="50800" rIns="50800" bIns="50800" anchor="ctr"/>
            <a:lstStyle/>
            <a:p>
              <a:endParaRPr lang="en-US" sz="1662" dirty="0"/>
            </a:p>
          </p:txBody>
        </p:sp>
        <p:sp>
          <p:nvSpPr>
            <p:cNvPr id="26" name="Rectangle"/>
            <p:cNvSpPr/>
            <p:nvPr userDrawn="1"/>
          </p:nvSpPr>
          <p:spPr>
            <a:xfrm>
              <a:off x="160238" y="379093"/>
              <a:ext cx="1300907" cy="813396"/>
            </a:xfrm>
            <a:prstGeom prst="rect">
              <a:avLst/>
            </a:prstGeom>
            <a:solidFill>
              <a:srgbClr val="F79824"/>
            </a:solidFill>
            <a:ln w="12700">
              <a:miter lim="400000"/>
            </a:ln>
          </p:spPr>
          <p:txBody>
            <a:bodyPr lIns="50800" tIns="50800" rIns="50800" bIns="50800" anchor="ctr"/>
            <a:lstStyle/>
            <a:p>
              <a:endParaRPr lang="en-US" sz="1662" dirty="0"/>
            </a:p>
          </p:txBody>
        </p:sp>
        <p:sp>
          <p:nvSpPr>
            <p:cNvPr id="27" name="Rectangle"/>
            <p:cNvSpPr/>
            <p:nvPr userDrawn="1"/>
          </p:nvSpPr>
          <p:spPr>
            <a:xfrm>
              <a:off x="160238" y="1192488"/>
              <a:ext cx="1300907" cy="4539854"/>
            </a:xfrm>
            <a:prstGeom prst="rect">
              <a:avLst/>
            </a:prstGeom>
            <a:solidFill>
              <a:srgbClr val="EE4329"/>
            </a:solidFill>
            <a:ln w="12700">
              <a:miter lim="400000"/>
            </a:ln>
          </p:spPr>
          <p:txBody>
            <a:bodyPr lIns="50800" tIns="50800" rIns="50800" bIns="50800" anchor="ctr"/>
            <a:lstStyle/>
            <a:p>
              <a:endParaRPr lang="en-US" sz="1662" dirty="0"/>
            </a:p>
          </p:txBody>
        </p:sp>
        <p:sp>
          <p:nvSpPr>
            <p:cNvPr id="28" name="Rectangle"/>
            <p:cNvSpPr/>
            <p:nvPr userDrawn="1"/>
          </p:nvSpPr>
          <p:spPr>
            <a:xfrm>
              <a:off x="160238" y="162796"/>
              <a:ext cx="1300907" cy="216298"/>
            </a:xfrm>
            <a:prstGeom prst="rect">
              <a:avLst/>
            </a:prstGeom>
            <a:solidFill>
              <a:srgbClr val="BF2126"/>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385604029"/>
      </p:ext>
    </p:extLst>
  </p:cSld>
  <p:clrMapOvr>
    <a:masterClrMapping/>
  </p:clrMapOvr>
</p:sldLayout>
</file>

<file path=ppt/slideLayouts/slideLayout351.xml><?xml version="1.0" encoding="utf-8"?>
<p:sldLayout xmlns:a="http://schemas.openxmlformats.org/drawingml/2006/main" xmlns:r="http://schemas.openxmlformats.org/officeDocument/2006/relationships" xmlns:p="http://schemas.openxmlformats.org/presentationml/2006/main" showMasterSp="0" preserve="1" userDrawn="1">
  <p:cSld name="Divider 3">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911388"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007272"/>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00C0B6"/>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00A6AB"/>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13691" y="99934"/>
            <a:ext cx="1113676" cy="6105588"/>
            <a:chOff x="90616" y="113613"/>
            <a:chExt cx="1300907" cy="8777933"/>
          </a:xfrm>
        </p:grpSpPr>
        <p:sp>
          <p:nvSpPr>
            <p:cNvPr id="22" name="Rectangle"/>
            <p:cNvSpPr/>
            <p:nvPr userDrawn="1"/>
          </p:nvSpPr>
          <p:spPr>
            <a:xfrm>
              <a:off x="90616" y="8357104"/>
              <a:ext cx="1300907" cy="534442"/>
            </a:xfrm>
            <a:prstGeom prst="rect">
              <a:avLst/>
            </a:prstGeom>
            <a:solidFill>
              <a:srgbClr val="00C0B6"/>
            </a:solidFill>
            <a:ln w="12700">
              <a:miter lim="400000"/>
            </a:ln>
          </p:spPr>
          <p:txBody>
            <a:bodyPr lIns="50800" tIns="50800" rIns="50800" bIns="50800" anchor="ctr"/>
            <a:lstStyle/>
            <a:p>
              <a:endParaRPr lang="en-US" sz="1662" dirty="0"/>
            </a:p>
          </p:txBody>
        </p:sp>
        <p:sp>
          <p:nvSpPr>
            <p:cNvPr id="23" name="Rectangle"/>
            <p:cNvSpPr/>
            <p:nvPr userDrawn="1"/>
          </p:nvSpPr>
          <p:spPr>
            <a:xfrm>
              <a:off x="90616" y="8142097"/>
              <a:ext cx="1300907" cy="215008"/>
            </a:xfrm>
            <a:prstGeom prst="rect">
              <a:avLst/>
            </a:prstGeom>
            <a:solidFill>
              <a:srgbClr val="007272"/>
            </a:solidFill>
            <a:ln w="12700">
              <a:miter lim="400000"/>
            </a:ln>
          </p:spPr>
          <p:txBody>
            <a:bodyPr lIns="50800" tIns="50800" rIns="50800" bIns="50800" anchor="ctr"/>
            <a:lstStyle/>
            <a:p>
              <a:endParaRPr lang="en-US" sz="1662" dirty="0"/>
            </a:p>
          </p:txBody>
        </p:sp>
        <p:sp>
          <p:nvSpPr>
            <p:cNvPr id="24" name="Rectangle"/>
            <p:cNvSpPr/>
            <p:nvPr userDrawn="1"/>
          </p:nvSpPr>
          <p:spPr>
            <a:xfrm>
              <a:off x="90616" y="6154596"/>
              <a:ext cx="1300907" cy="1987502"/>
            </a:xfrm>
            <a:prstGeom prst="rect">
              <a:avLst/>
            </a:prstGeom>
            <a:solidFill>
              <a:srgbClr val="00A6AB"/>
            </a:solidFill>
            <a:ln w="12700">
              <a:miter lim="400000"/>
            </a:ln>
          </p:spPr>
          <p:txBody>
            <a:bodyPr lIns="50800" tIns="50800" rIns="50800" bIns="50800" anchor="ctr"/>
            <a:lstStyle/>
            <a:p>
              <a:endParaRPr lang="en-US" sz="1662" dirty="0"/>
            </a:p>
          </p:txBody>
        </p:sp>
        <p:sp>
          <p:nvSpPr>
            <p:cNvPr id="25" name="Rectangle"/>
            <p:cNvSpPr/>
            <p:nvPr userDrawn="1"/>
          </p:nvSpPr>
          <p:spPr>
            <a:xfrm>
              <a:off x="90616" y="5683158"/>
              <a:ext cx="1300907" cy="471439"/>
            </a:xfrm>
            <a:prstGeom prst="rect">
              <a:avLst/>
            </a:prstGeom>
            <a:solidFill>
              <a:srgbClr val="00C0B6"/>
            </a:solidFill>
            <a:ln w="12700">
              <a:miter lim="400000"/>
            </a:ln>
          </p:spPr>
          <p:txBody>
            <a:bodyPr lIns="50800" tIns="50800" rIns="50800" bIns="50800" anchor="ctr"/>
            <a:lstStyle/>
            <a:p>
              <a:endParaRPr lang="en-US" sz="1662" dirty="0"/>
            </a:p>
          </p:txBody>
        </p:sp>
        <p:sp>
          <p:nvSpPr>
            <p:cNvPr id="26" name="Rectangle"/>
            <p:cNvSpPr/>
            <p:nvPr userDrawn="1"/>
          </p:nvSpPr>
          <p:spPr>
            <a:xfrm>
              <a:off x="90616" y="329910"/>
              <a:ext cx="1300907" cy="813396"/>
            </a:xfrm>
            <a:prstGeom prst="rect">
              <a:avLst/>
            </a:prstGeom>
            <a:solidFill>
              <a:srgbClr val="00C0B6"/>
            </a:solidFill>
            <a:ln w="12700">
              <a:miter lim="400000"/>
            </a:ln>
          </p:spPr>
          <p:txBody>
            <a:bodyPr lIns="50800" tIns="50800" rIns="50800" bIns="50800" anchor="ctr"/>
            <a:lstStyle/>
            <a:p>
              <a:endParaRPr lang="en-US" sz="1662" dirty="0"/>
            </a:p>
          </p:txBody>
        </p:sp>
        <p:sp>
          <p:nvSpPr>
            <p:cNvPr id="27" name="Rectangle"/>
            <p:cNvSpPr/>
            <p:nvPr userDrawn="1"/>
          </p:nvSpPr>
          <p:spPr>
            <a:xfrm>
              <a:off x="90616" y="1143305"/>
              <a:ext cx="1300907" cy="4539854"/>
            </a:xfrm>
            <a:prstGeom prst="rect">
              <a:avLst/>
            </a:prstGeom>
            <a:solidFill>
              <a:srgbClr val="007272"/>
            </a:solidFill>
            <a:ln w="12700">
              <a:miter lim="400000"/>
            </a:ln>
          </p:spPr>
          <p:txBody>
            <a:bodyPr lIns="50800" tIns="50800" rIns="50800" bIns="50800" anchor="ctr"/>
            <a:lstStyle/>
            <a:p>
              <a:endParaRPr lang="en-US" sz="1662" dirty="0"/>
            </a:p>
          </p:txBody>
        </p:sp>
        <p:sp>
          <p:nvSpPr>
            <p:cNvPr id="28" name="Rectangle"/>
            <p:cNvSpPr/>
            <p:nvPr userDrawn="1"/>
          </p:nvSpPr>
          <p:spPr>
            <a:xfrm>
              <a:off x="90616" y="113613"/>
              <a:ext cx="1300907" cy="216298"/>
            </a:xfrm>
            <a:prstGeom prst="rect">
              <a:avLst/>
            </a:prstGeom>
            <a:solidFill>
              <a:srgbClr val="00A6AB"/>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1839353202"/>
      </p:ext>
    </p:extLst>
  </p:cSld>
  <p:clrMapOvr>
    <a:masterClrMapping/>
  </p:clrMapOvr>
</p:sldLayout>
</file>

<file path=ppt/slideLayouts/slideLayout352.xml><?xml version="1.0" encoding="utf-8"?>
<p:sldLayout xmlns:a="http://schemas.openxmlformats.org/drawingml/2006/main" xmlns:r="http://schemas.openxmlformats.org/officeDocument/2006/relationships" xmlns:p="http://schemas.openxmlformats.org/presentationml/2006/main" showMasterSp="0" preserve="1" userDrawn="1">
  <p:cSld name="Divider 4">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912412"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73A600"/>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AABA35"/>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94B301"/>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15939" y="99934"/>
            <a:ext cx="1113675" cy="6105588"/>
            <a:chOff x="160238" y="154880"/>
            <a:chExt cx="1300907" cy="8777933"/>
          </a:xfrm>
        </p:grpSpPr>
        <p:sp>
          <p:nvSpPr>
            <p:cNvPr id="22" name="Rectangle"/>
            <p:cNvSpPr/>
            <p:nvPr userDrawn="1"/>
          </p:nvSpPr>
          <p:spPr>
            <a:xfrm>
              <a:off x="160238" y="8398371"/>
              <a:ext cx="1300907" cy="534442"/>
            </a:xfrm>
            <a:prstGeom prst="rect">
              <a:avLst/>
            </a:prstGeom>
            <a:solidFill>
              <a:srgbClr val="AABA36"/>
            </a:solidFill>
            <a:ln w="12700">
              <a:miter lim="400000"/>
            </a:ln>
          </p:spPr>
          <p:txBody>
            <a:bodyPr lIns="50800" tIns="50800" rIns="50800" bIns="50800" anchor="ctr"/>
            <a:lstStyle/>
            <a:p>
              <a:endParaRPr lang="en-US" sz="1662" dirty="0"/>
            </a:p>
          </p:txBody>
        </p:sp>
        <p:sp>
          <p:nvSpPr>
            <p:cNvPr id="23" name="Rectangle"/>
            <p:cNvSpPr/>
            <p:nvPr userDrawn="1"/>
          </p:nvSpPr>
          <p:spPr>
            <a:xfrm>
              <a:off x="160238" y="8183364"/>
              <a:ext cx="1300907" cy="215008"/>
            </a:xfrm>
            <a:prstGeom prst="rect">
              <a:avLst/>
            </a:prstGeom>
            <a:solidFill>
              <a:srgbClr val="CEDD01"/>
            </a:solidFill>
            <a:ln w="12700">
              <a:miter lim="400000"/>
            </a:ln>
          </p:spPr>
          <p:txBody>
            <a:bodyPr lIns="50800" tIns="50800" rIns="50800" bIns="50800" anchor="ctr"/>
            <a:lstStyle/>
            <a:p>
              <a:endParaRPr lang="en-US" sz="1662" dirty="0"/>
            </a:p>
          </p:txBody>
        </p:sp>
        <p:sp>
          <p:nvSpPr>
            <p:cNvPr id="24" name="Rectangle"/>
            <p:cNvSpPr/>
            <p:nvPr userDrawn="1"/>
          </p:nvSpPr>
          <p:spPr>
            <a:xfrm>
              <a:off x="160238" y="6195863"/>
              <a:ext cx="1300907" cy="1987502"/>
            </a:xfrm>
            <a:prstGeom prst="rect">
              <a:avLst/>
            </a:prstGeom>
            <a:solidFill>
              <a:srgbClr val="94B301"/>
            </a:solidFill>
            <a:ln w="12700">
              <a:miter lim="400000"/>
            </a:ln>
          </p:spPr>
          <p:txBody>
            <a:bodyPr lIns="50800" tIns="50800" rIns="50800" bIns="50800" anchor="ctr"/>
            <a:lstStyle/>
            <a:p>
              <a:endParaRPr lang="en-US" sz="1662" dirty="0"/>
            </a:p>
          </p:txBody>
        </p:sp>
        <p:sp>
          <p:nvSpPr>
            <p:cNvPr id="25" name="Rectangle"/>
            <p:cNvSpPr/>
            <p:nvPr userDrawn="1"/>
          </p:nvSpPr>
          <p:spPr>
            <a:xfrm>
              <a:off x="160238" y="5724425"/>
              <a:ext cx="1300907" cy="471439"/>
            </a:xfrm>
            <a:prstGeom prst="rect">
              <a:avLst/>
            </a:prstGeom>
            <a:solidFill>
              <a:srgbClr val="AABA36"/>
            </a:solidFill>
            <a:ln w="12700">
              <a:miter lim="400000"/>
            </a:ln>
          </p:spPr>
          <p:txBody>
            <a:bodyPr lIns="50800" tIns="50800" rIns="50800" bIns="50800" anchor="ctr"/>
            <a:lstStyle/>
            <a:p>
              <a:endParaRPr lang="en-US" sz="1662" dirty="0"/>
            </a:p>
          </p:txBody>
        </p:sp>
        <p:sp>
          <p:nvSpPr>
            <p:cNvPr id="26" name="Rectangle"/>
            <p:cNvSpPr/>
            <p:nvPr userDrawn="1"/>
          </p:nvSpPr>
          <p:spPr>
            <a:xfrm>
              <a:off x="160238" y="371177"/>
              <a:ext cx="1300907" cy="813396"/>
            </a:xfrm>
            <a:prstGeom prst="rect">
              <a:avLst/>
            </a:prstGeom>
            <a:solidFill>
              <a:srgbClr val="CEDD01"/>
            </a:solidFill>
            <a:ln w="12700">
              <a:miter lim="400000"/>
            </a:ln>
          </p:spPr>
          <p:txBody>
            <a:bodyPr lIns="50800" tIns="50800" rIns="50800" bIns="50800" anchor="ctr"/>
            <a:lstStyle/>
            <a:p>
              <a:endParaRPr lang="en-US" sz="1662" dirty="0"/>
            </a:p>
          </p:txBody>
        </p:sp>
        <p:sp>
          <p:nvSpPr>
            <p:cNvPr id="27" name="Rectangle"/>
            <p:cNvSpPr/>
            <p:nvPr userDrawn="1"/>
          </p:nvSpPr>
          <p:spPr>
            <a:xfrm>
              <a:off x="160238" y="1184572"/>
              <a:ext cx="1300907" cy="4539854"/>
            </a:xfrm>
            <a:prstGeom prst="rect">
              <a:avLst/>
            </a:prstGeom>
            <a:solidFill>
              <a:srgbClr val="73A600"/>
            </a:solidFill>
            <a:ln w="12700">
              <a:miter lim="400000"/>
            </a:ln>
          </p:spPr>
          <p:txBody>
            <a:bodyPr lIns="50800" tIns="50800" rIns="50800" bIns="50800" anchor="ctr"/>
            <a:lstStyle/>
            <a:p>
              <a:endParaRPr lang="en-US" sz="1662" dirty="0"/>
            </a:p>
          </p:txBody>
        </p:sp>
        <p:sp>
          <p:nvSpPr>
            <p:cNvPr id="28" name="Rectangle"/>
            <p:cNvSpPr/>
            <p:nvPr userDrawn="1"/>
          </p:nvSpPr>
          <p:spPr>
            <a:xfrm>
              <a:off x="160238" y="154880"/>
              <a:ext cx="1300907" cy="216298"/>
            </a:xfrm>
            <a:prstGeom prst="rect">
              <a:avLst/>
            </a:prstGeom>
            <a:solidFill>
              <a:srgbClr val="94B301"/>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1477025151"/>
      </p:ext>
    </p:extLst>
  </p:cSld>
  <p:clrMapOvr>
    <a:masterClrMapping/>
  </p:clrMapOvr>
</p:sldLayout>
</file>

<file path=ppt/slideLayouts/slideLayout353.xml><?xml version="1.0" encoding="utf-8"?>
<p:sldLayout xmlns:a="http://schemas.openxmlformats.org/drawingml/2006/main" xmlns:r="http://schemas.openxmlformats.org/officeDocument/2006/relationships" xmlns:p="http://schemas.openxmlformats.org/presentationml/2006/main" showMasterSp="0" preserve="1" userDrawn="1">
  <p:cSld name="Divider 5">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913436"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70147B"/>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8B4093"/>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63006C"/>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15939" y="99934"/>
            <a:ext cx="1113675" cy="6105588"/>
            <a:chOff x="1081465" y="114688"/>
            <a:chExt cx="1300907" cy="8777933"/>
          </a:xfrm>
        </p:grpSpPr>
        <p:sp>
          <p:nvSpPr>
            <p:cNvPr id="22" name="Rectangle"/>
            <p:cNvSpPr/>
            <p:nvPr userDrawn="1"/>
          </p:nvSpPr>
          <p:spPr>
            <a:xfrm>
              <a:off x="1081465" y="8358179"/>
              <a:ext cx="1300907" cy="534442"/>
            </a:xfrm>
            <a:prstGeom prst="rect">
              <a:avLst/>
            </a:prstGeom>
            <a:solidFill>
              <a:srgbClr val="8C4395"/>
            </a:solidFill>
            <a:ln w="12700">
              <a:miter lim="400000"/>
            </a:ln>
          </p:spPr>
          <p:txBody>
            <a:bodyPr lIns="50800" tIns="50800" rIns="50800" bIns="50800" anchor="ctr"/>
            <a:lstStyle/>
            <a:p>
              <a:endParaRPr lang="en-US" sz="1662" dirty="0"/>
            </a:p>
          </p:txBody>
        </p:sp>
        <p:sp>
          <p:nvSpPr>
            <p:cNvPr id="23" name="Rectangle"/>
            <p:cNvSpPr/>
            <p:nvPr userDrawn="1"/>
          </p:nvSpPr>
          <p:spPr>
            <a:xfrm>
              <a:off x="1081465" y="8143172"/>
              <a:ext cx="1300907" cy="215008"/>
            </a:xfrm>
            <a:prstGeom prst="rect">
              <a:avLst/>
            </a:prstGeom>
            <a:solidFill>
              <a:srgbClr val="A469AB"/>
            </a:solidFill>
            <a:ln w="12700">
              <a:miter lim="400000"/>
            </a:ln>
          </p:spPr>
          <p:txBody>
            <a:bodyPr lIns="50800" tIns="50800" rIns="50800" bIns="50800" anchor="ctr"/>
            <a:lstStyle/>
            <a:p>
              <a:endParaRPr lang="en-US" sz="1662" dirty="0"/>
            </a:p>
          </p:txBody>
        </p:sp>
        <p:sp>
          <p:nvSpPr>
            <p:cNvPr id="24" name="Rectangle"/>
            <p:cNvSpPr/>
            <p:nvPr userDrawn="1"/>
          </p:nvSpPr>
          <p:spPr>
            <a:xfrm>
              <a:off x="1081465" y="6155671"/>
              <a:ext cx="1300907" cy="1987502"/>
            </a:xfrm>
            <a:prstGeom prst="rect">
              <a:avLst/>
            </a:prstGeom>
            <a:solidFill>
              <a:srgbClr val="63006C"/>
            </a:solidFill>
            <a:ln w="12700">
              <a:miter lim="400000"/>
            </a:ln>
          </p:spPr>
          <p:txBody>
            <a:bodyPr lIns="50800" tIns="50800" rIns="50800" bIns="50800" anchor="ctr"/>
            <a:lstStyle/>
            <a:p>
              <a:endParaRPr lang="en-US" sz="1662" dirty="0"/>
            </a:p>
          </p:txBody>
        </p:sp>
        <p:sp>
          <p:nvSpPr>
            <p:cNvPr id="25" name="Rectangle"/>
            <p:cNvSpPr/>
            <p:nvPr userDrawn="1"/>
          </p:nvSpPr>
          <p:spPr>
            <a:xfrm>
              <a:off x="1081465" y="5684233"/>
              <a:ext cx="1300907" cy="471439"/>
            </a:xfrm>
            <a:prstGeom prst="rect">
              <a:avLst/>
            </a:prstGeom>
            <a:solidFill>
              <a:srgbClr val="8B4193"/>
            </a:solidFill>
            <a:ln w="12700">
              <a:miter lim="400000"/>
            </a:ln>
          </p:spPr>
          <p:txBody>
            <a:bodyPr lIns="50800" tIns="50800" rIns="50800" bIns="50800" anchor="ctr"/>
            <a:lstStyle/>
            <a:p>
              <a:endParaRPr lang="en-US" sz="1662" dirty="0"/>
            </a:p>
          </p:txBody>
        </p:sp>
        <p:sp>
          <p:nvSpPr>
            <p:cNvPr id="26" name="Rectangle"/>
            <p:cNvSpPr/>
            <p:nvPr userDrawn="1"/>
          </p:nvSpPr>
          <p:spPr>
            <a:xfrm>
              <a:off x="1081465" y="330985"/>
              <a:ext cx="1300907" cy="813396"/>
            </a:xfrm>
            <a:prstGeom prst="rect">
              <a:avLst/>
            </a:prstGeom>
            <a:solidFill>
              <a:srgbClr val="8C4395"/>
            </a:solidFill>
            <a:ln w="12700">
              <a:miter lim="400000"/>
            </a:ln>
          </p:spPr>
          <p:txBody>
            <a:bodyPr lIns="50800" tIns="50800" rIns="50800" bIns="50800" anchor="ctr"/>
            <a:lstStyle/>
            <a:p>
              <a:endParaRPr lang="en-US" sz="1662" dirty="0"/>
            </a:p>
          </p:txBody>
        </p:sp>
        <p:sp>
          <p:nvSpPr>
            <p:cNvPr id="27" name="Rectangle"/>
            <p:cNvSpPr/>
            <p:nvPr userDrawn="1"/>
          </p:nvSpPr>
          <p:spPr>
            <a:xfrm>
              <a:off x="1081465" y="1144380"/>
              <a:ext cx="1300907" cy="4539854"/>
            </a:xfrm>
            <a:prstGeom prst="rect">
              <a:avLst/>
            </a:prstGeom>
            <a:solidFill>
              <a:srgbClr val="70147B"/>
            </a:solidFill>
            <a:ln w="12700">
              <a:miter lim="400000"/>
            </a:ln>
          </p:spPr>
          <p:txBody>
            <a:bodyPr lIns="50800" tIns="50800" rIns="50800" bIns="50800" anchor="ctr"/>
            <a:lstStyle/>
            <a:p>
              <a:endParaRPr lang="en-US" sz="1662" dirty="0"/>
            </a:p>
          </p:txBody>
        </p:sp>
        <p:sp>
          <p:nvSpPr>
            <p:cNvPr id="28" name="Rectangle"/>
            <p:cNvSpPr/>
            <p:nvPr userDrawn="1"/>
          </p:nvSpPr>
          <p:spPr>
            <a:xfrm>
              <a:off x="1081465" y="114688"/>
              <a:ext cx="1300907" cy="216298"/>
            </a:xfrm>
            <a:prstGeom prst="rect">
              <a:avLst/>
            </a:prstGeom>
            <a:solidFill>
              <a:srgbClr val="70147B"/>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80239235"/>
      </p:ext>
    </p:extLst>
  </p:cSld>
  <p:clrMapOvr>
    <a:masterClrMapping/>
  </p:clrMapOvr>
</p:sldLayout>
</file>

<file path=ppt/slideLayouts/slideLayout354.xml><?xml version="1.0" encoding="utf-8"?>
<p:sldLayout xmlns:a="http://schemas.openxmlformats.org/drawingml/2006/main" xmlns:r="http://schemas.openxmlformats.org/officeDocument/2006/relationships" xmlns:p="http://schemas.openxmlformats.org/presentationml/2006/main" showMasterSp="0" preserve="1" userDrawn="1">
  <p:cSld name="Divider 6">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914460"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016AA1"/>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104D6A"/>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2591C0"/>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09179" y="98854"/>
            <a:ext cx="1111928" cy="6096000"/>
            <a:chOff x="160238" y="154880"/>
            <a:chExt cx="1300907" cy="8777933"/>
          </a:xfrm>
        </p:grpSpPr>
        <p:sp>
          <p:nvSpPr>
            <p:cNvPr id="22" name="Rectangle"/>
            <p:cNvSpPr/>
            <p:nvPr userDrawn="1"/>
          </p:nvSpPr>
          <p:spPr>
            <a:xfrm>
              <a:off x="160238" y="8398371"/>
              <a:ext cx="1300907" cy="534442"/>
            </a:xfrm>
            <a:prstGeom prst="rect">
              <a:avLst/>
            </a:prstGeom>
            <a:solidFill>
              <a:srgbClr val="85CDD9"/>
            </a:solidFill>
            <a:ln w="12700">
              <a:miter lim="400000"/>
            </a:ln>
          </p:spPr>
          <p:txBody>
            <a:bodyPr lIns="50800" tIns="50800" rIns="50800" bIns="50800" anchor="ctr"/>
            <a:lstStyle/>
            <a:p>
              <a:endParaRPr lang="en-US" sz="1662" dirty="0"/>
            </a:p>
          </p:txBody>
        </p:sp>
        <p:sp>
          <p:nvSpPr>
            <p:cNvPr id="23" name="Rectangle"/>
            <p:cNvSpPr/>
            <p:nvPr userDrawn="1"/>
          </p:nvSpPr>
          <p:spPr>
            <a:xfrm>
              <a:off x="160238" y="8183364"/>
              <a:ext cx="1300907" cy="215008"/>
            </a:xfrm>
            <a:prstGeom prst="rect">
              <a:avLst/>
            </a:prstGeom>
            <a:solidFill>
              <a:srgbClr val="4D89AD"/>
            </a:solidFill>
            <a:ln w="12700">
              <a:miter lim="400000"/>
            </a:ln>
          </p:spPr>
          <p:txBody>
            <a:bodyPr lIns="50800" tIns="50800" rIns="50800" bIns="50800" anchor="ctr"/>
            <a:lstStyle/>
            <a:p>
              <a:endParaRPr lang="en-US" sz="1662" dirty="0"/>
            </a:p>
          </p:txBody>
        </p:sp>
        <p:sp>
          <p:nvSpPr>
            <p:cNvPr id="24" name="Rectangle"/>
            <p:cNvSpPr/>
            <p:nvPr userDrawn="1"/>
          </p:nvSpPr>
          <p:spPr>
            <a:xfrm>
              <a:off x="160238" y="6195863"/>
              <a:ext cx="1300907" cy="1987502"/>
            </a:xfrm>
            <a:prstGeom prst="rect">
              <a:avLst/>
            </a:prstGeom>
            <a:solidFill>
              <a:srgbClr val="2591C0"/>
            </a:solidFill>
            <a:ln w="12700">
              <a:miter lim="400000"/>
            </a:ln>
          </p:spPr>
          <p:txBody>
            <a:bodyPr lIns="50800" tIns="50800" rIns="50800" bIns="50800" anchor="ctr"/>
            <a:lstStyle/>
            <a:p>
              <a:endParaRPr lang="en-US" sz="1662" dirty="0"/>
            </a:p>
          </p:txBody>
        </p:sp>
        <p:sp>
          <p:nvSpPr>
            <p:cNvPr id="25" name="Rectangle"/>
            <p:cNvSpPr/>
            <p:nvPr userDrawn="1"/>
          </p:nvSpPr>
          <p:spPr>
            <a:xfrm>
              <a:off x="160238" y="5724425"/>
              <a:ext cx="1300907" cy="471439"/>
            </a:xfrm>
            <a:prstGeom prst="rect">
              <a:avLst/>
            </a:prstGeom>
            <a:solidFill>
              <a:srgbClr val="104D6A"/>
            </a:solidFill>
            <a:ln w="12700">
              <a:miter lim="400000"/>
            </a:ln>
          </p:spPr>
          <p:txBody>
            <a:bodyPr lIns="50800" tIns="50800" rIns="50800" bIns="50800" anchor="ctr"/>
            <a:lstStyle/>
            <a:p>
              <a:endParaRPr lang="en-US" sz="1662" dirty="0"/>
            </a:p>
          </p:txBody>
        </p:sp>
        <p:sp>
          <p:nvSpPr>
            <p:cNvPr id="26" name="Rectangle"/>
            <p:cNvSpPr/>
            <p:nvPr userDrawn="1"/>
          </p:nvSpPr>
          <p:spPr>
            <a:xfrm>
              <a:off x="160238" y="371177"/>
              <a:ext cx="1300907" cy="813396"/>
            </a:xfrm>
            <a:prstGeom prst="rect">
              <a:avLst/>
            </a:prstGeom>
            <a:solidFill>
              <a:srgbClr val="095B88"/>
            </a:solidFill>
            <a:ln w="12700">
              <a:miter lim="400000"/>
            </a:ln>
          </p:spPr>
          <p:txBody>
            <a:bodyPr lIns="50800" tIns="50800" rIns="50800" bIns="50800" anchor="ctr"/>
            <a:lstStyle/>
            <a:p>
              <a:endParaRPr lang="en-US" sz="1662" dirty="0"/>
            </a:p>
          </p:txBody>
        </p:sp>
        <p:sp>
          <p:nvSpPr>
            <p:cNvPr id="27" name="Rectangle"/>
            <p:cNvSpPr/>
            <p:nvPr userDrawn="1"/>
          </p:nvSpPr>
          <p:spPr>
            <a:xfrm>
              <a:off x="160238" y="1184572"/>
              <a:ext cx="1300907" cy="4539854"/>
            </a:xfrm>
            <a:prstGeom prst="rect">
              <a:avLst/>
            </a:prstGeom>
            <a:solidFill>
              <a:srgbClr val="016AA1"/>
            </a:solidFill>
            <a:ln w="12700">
              <a:miter lim="400000"/>
            </a:ln>
          </p:spPr>
          <p:txBody>
            <a:bodyPr lIns="50800" tIns="50800" rIns="50800" bIns="50800" anchor="ctr"/>
            <a:lstStyle/>
            <a:p>
              <a:endParaRPr lang="en-US" sz="1662" dirty="0"/>
            </a:p>
          </p:txBody>
        </p:sp>
        <p:sp>
          <p:nvSpPr>
            <p:cNvPr id="28" name="Rectangle"/>
            <p:cNvSpPr/>
            <p:nvPr userDrawn="1"/>
          </p:nvSpPr>
          <p:spPr>
            <a:xfrm>
              <a:off x="160238" y="154880"/>
              <a:ext cx="1300907" cy="216298"/>
            </a:xfrm>
            <a:prstGeom prst="rect">
              <a:avLst/>
            </a:prstGeom>
            <a:solidFill>
              <a:srgbClr val="85CDD9"/>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272215077"/>
      </p:ext>
    </p:extLst>
  </p:cSld>
  <p:clrMapOvr>
    <a:masterClrMapping/>
  </p:clrMapOvr>
</p:sldLayout>
</file>

<file path=ppt/slideLayouts/slideLayout355.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915484"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562709" y="162000"/>
            <a:ext cx="11068060" cy="704087"/>
          </a:xfrm>
        </p:spPr>
        <p:txBody>
          <a:bodyPr anchor="t"/>
          <a:lstStyle>
            <a:lvl1pPr>
              <a:defRPr>
                <a:latin typeface="Arial"/>
                <a:sym typeface="Arial"/>
              </a:defRPr>
            </a:lvl1pPr>
          </a:lstStyle>
          <a:p>
            <a:endParaRPr lang="en-US" dirty="0"/>
          </a:p>
        </p:txBody>
      </p:sp>
      <p:sp>
        <p:nvSpPr>
          <p:cNvPr id="4" name="Text Placeholder 3"/>
          <p:cNvSpPr>
            <a:spLocks noGrp="1"/>
          </p:cNvSpPr>
          <p:nvPr>
            <p:ph type="body" sz="quarter" idx="10"/>
          </p:nvPr>
        </p:nvSpPr>
        <p:spPr>
          <a:xfrm>
            <a:off x="562709" y="1508760"/>
            <a:ext cx="11068060" cy="3997304"/>
          </a:xfrm>
        </p:spPr>
        <p:txBody>
          <a:bodyPr lIns="0" tIns="0" rIns="0" bIns="0"/>
          <a:lstStyle>
            <a:lvl1pPr>
              <a:spcBef>
                <a:spcPts val="354"/>
              </a:spcBef>
              <a:defRPr>
                <a:latin typeface="Arial"/>
                <a:sym typeface="Arial"/>
              </a:defRPr>
            </a:lvl1pPr>
            <a:lvl2pPr marL="422041" indent="-212682">
              <a:spcBef>
                <a:spcPts val="354"/>
              </a:spcBef>
              <a:defRPr>
                <a:latin typeface="Arial"/>
                <a:sym typeface="Arial"/>
              </a:defRPr>
            </a:lvl2pPr>
            <a:lvl3pPr marL="844083" indent="-212682">
              <a:spcBef>
                <a:spcPts val="354"/>
              </a:spcBef>
              <a:defRPr>
                <a:latin typeface="Arial"/>
                <a:sym typeface="Arial"/>
              </a:defRPr>
            </a:lvl3pPr>
            <a:lvl4pPr marL="1269447" indent="-216005">
              <a:spcBef>
                <a:spcPts val="354"/>
              </a:spcBef>
              <a:defRPr>
                <a:latin typeface="Arial"/>
                <a:sym typeface="Arial"/>
              </a:defRPr>
            </a:lvl4pPr>
            <a:lvl5pPr marL="1900848" indent="-212682">
              <a:spcBef>
                <a:spcPts val="354"/>
              </a:spcBef>
              <a:defRPr>
                <a:latin typeface="Arial"/>
                <a:sym typeface="Aria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6"/>
          <p:cNvSpPr>
            <a:spLocks noGrp="1"/>
          </p:cNvSpPr>
          <p:nvPr>
            <p:ph type="body" sz="quarter" idx="11"/>
          </p:nvPr>
        </p:nvSpPr>
        <p:spPr>
          <a:xfrm>
            <a:off x="562709" y="863601"/>
            <a:ext cx="11068060" cy="320359"/>
          </a:xfrm>
        </p:spPr>
        <p:txBody>
          <a:bodyPr anchor="t">
            <a:normAutofit/>
          </a:bodyPr>
          <a:lstStyle>
            <a:lvl1pPr>
              <a:defRPr sz="1385" b="0">
                <a:solidFill>
                  <a:srgbClr val="73C4EF"/>
                </a:solidFill>
              </a:defRPr>
            </a:lvl1pPr>
          </a:lstStyle>
          <a:p>
            <a:pPr lvl="0"/>
            <a:endParaRPr lang="en-US" dirty="0"/>
          </a:p>
        </p:txBody>
      </p:sp>
    </p:spTree>
    <p:extLst>
      <p:ext uri="{BB962C8B-B14F-4D97-AF65-F5344CB8AC3E}">
        <p14:creationId xmlns:p14="http://schemas.microsoft.com/office/powerpoint/2010/main" val="3025185794"/>
      </p:ext>
    </p:extLst>
  </p:cSld>
  <p:clrMapOvr>
    <a:masterClrMapping/>
  </p:clrMapOvr>
</p:sldLayout>
</file>

<file path=ppt/slideLayouts/slideLayout356.xml><?xml version="1.0" encoding="utf-8"?>
<p:sldLayout xmlns:a="http://schemas.openxmlformats.org/drawingml/2006/main" xmlns:r="http://schemas.openxmlformats.org/officeDocument/2006/relationships" xmlns:p="http://schemas.openxmlformats.org/presentationml/2006/main" preserve="1" userDrawn="1">
  <p:cSld name="Text with bullets">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916508" name="think-cell Slide" r:id="rId4" imgW="270" imgH="270" progId="TCLayout.ActiveDocument.1">
                  <p:embed/>
                </p:oleObj>
              </mc:Choice>
              <mc:Fallback>
                <p:oleObj name="think-cell Slide" r:id="rId4" imgW="270" imgH="270" progId="TCLayout.ActiveDocument.1">
                  <p:embed/>
                  <p:pic>
                    <p:nvPicPr>
                      <p:cNvPr id="6" name="Object 5"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ext Placeholder 7"/>
          <p:cNvSpPr>
            <a:spLocks noGrp="1"/>
          </p:cNvSpPr>
          <p:nvPr userDrawn="1">
            <p:ph type="body" sz="quarter" idx="13"/>
          </p:nvPr>
        </p:nvSpPr>
        <p:spPr>
          <a:xfrm>
            <a:off x="562709" y="1508400"/>
            <a:ext cx="11068060" cy="3997304"/>
          </a:xfrm>
          <a:prstGeom prst="rect">
            <a:avLst/>
          </a:prstGeom>
        </p:spPr>
        <p:txBody>
          <a:bodyPr lIns="0" tIns="0" rIns="0" bIns="0"/>
          <a:lstStyle>
            <a:lvl1pPr marL="159512" indent="-159512">
              <a:spcBef>
                <a:spcPts val="354"/>
              </a:spcBef>
              <a:buClr>
                <a:srgbClr val="002D72"/>
              </a:buClr>
              <a:buFont typeface="Arial" pitchFamily="34" charset="0"/>
              <a:buChar char="•"/>
              <a:tabLst/>
              <a:defRPr b="0">
                <a:latin typeface="Arial"/>
                <a:sym typeface="Arial"/>
              </a:defRPr>
            </a:lvl1pPr>
            <a:lvl2pPr marL="581553" indent="-212682">
              <a:spcBef>
                <a:spcPts val="354"/>
              </a:spcBef>
              <a:buFont typeface="Arial" pitchFamily="34" charset="0"/>
              <a:buChar char="–"/>
              <a:defRPr>
                <a:latin typeface="Arial"/>
                <a:sym typeface="Arial"/>
              </a:defRPr>
            </a:lvl2pPr>
            <a:lvl3pPr marL="993625" indent="-212682">
              <a:spcBef>
                <a:spcPts val="354"/>
              </a:spcBef>
              <a:defRPr>
                <a:latin typeface="Arial"/>
                <a:sym typeface="Arial"/>
              </a:defRPr>
            </a:lvl3pPr>
            <a:lvl4pPr marL="1425636" indent="-212682">
              <a:spcBef>
                <a:spcPts val="354"/>
              </a:spcBef>
              <a:defRPr>
                <a:latin typeface="Arial"/>
                <a:sym typeface="Arial"/>
              </a:defRPr>
            </a:lvl4pPr>
            <a:lvl5pPr marL="1900848" indent="-212682">
              <a:spcBef>
                <a:spcPts val="354"/>
              </a:spcBef>
              <a:defRPr>
                <a:latin typeface="Arial"/>
                <a:sym typeface="Aria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itle 1"/>
          <p:cNvSpPr>
            <a:spLocks noGrp="1"/>
          </p:cNvSpPr>
          <p:nvPr>
            <p:ph type="title"/>
          </p:nvPr>
        </p:nvSpPr>
        <p:spPr>
          <a:xfrm>
            <a:off x="562709" y="162000"/>
            <a:ext cx="11068060" cy="704087"/>
          </a:xfrm>
        </p:spPr>
        <p:txBody>
          <a:bodyPr anchor="t"/>
          <a:lstStyle>
            <a:lvl1pPr>
              <a:defRPr>
                <a:latin typeface="Arial"/>
                <a:sym typeface="Arial"/>
              </a:defRPr>
            </a:lvl1pPr>
          </a:lstStyle>
          <a:p>
            <a:endParaRPr lang="en-US" dirty="0"/>
          </a:p>
        </p:txBody>
      </p:sp>
      <p:sp>
        <p:nvSpPr>
          <p:cNvPr id="8" name="Text Placeholder 6"/>
          <p:cNvSpPr>
            <a:spLocks noGrp="1"/>
          </p:cNvSpPr>
          <p:nvPr>
            <p:ph type="body" sz="quarter" idx="11"/>
          </p:nvPr>
        </p:nvSpPr>
        <p:spPr>
          <a:xfrm>
            <a:off x="562709" y="863601"/>
            <a:ext cx="11068060" cy="320359"/>
          </a:xfrm>
        </p:spPr>
        <p:txBody>
          <a:bodyPr anchor="t">
            <a:normAutofit/>
          </a:bodyPr>
          <a:lstStyle>
            <a:lvl1pPr>
              <a:defRPr sz="1385" b="0">
                <a:solidFill>
                  <a:srgbClr val="73C4EF"/>
                </a:solidFill>
              </a:defRPr>
            </a:lvl1pPr>
          </a:lstStyle>
          <a:p>
            <a:pPr lvl="0"/>
            <a:endParaRPr lang="en-US" dirty="0"/>
          </a:p>
        </p:txBody>
      </p:sp>
    </p:spTree>
    <p:extLst>
      <p:ext uri="{BB962C8B-B14F-4D97-AF65-F5344CB8AC3E}">
        <p14:creationId xmlns:p14="http://schemas.microsoft.com/office/powerpoint/2010/main" val="3597205475"/>
      </p:ext>
    </p:extLst>
  </p:cSld>
  <p:clrMapOvr>
    <a:masterClrMapping/>
  </p:clrMapOvr>
</p:sldLayout>
</file>

<file path=ppt/slideLayouts/slideLayout35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917532" name="think-cell Slide" r:id="rId4" imgW="270" imgH="270" progId="TCLayout.ActiveDocument.1">
                  <p:embed/>
                </p:oleObj>
              </mc:Choice>
              <mc:Fallback>
                <p:oleObj name="think-cell Slide" r:id="rId4" imgW="270" imgH="270" progId="TCLayout.ActiveDocument.1">
                  <p:embed/>
                  <p:pic>
                    <p:nvPicPr>
                      <p:cNvPr id="7" name="Object 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le 1"/>
          <p:cNvSpPr>
            <a:spLocks noGrp="1"/>
          </p:cNvSpPr>
          <p:nvPr>
            <p:ph type="title"/>
          </p:nvPr>
        </p:nvSpPr>
        <p:spPr>
          <a:xfrm>
            <a:off x="562709" y="162000"/>
            <a:ext cx="11068060" cy="704087"/>
          </a:xfrm>
        </p:spPr>
        <p:txBody>
          <a:bodyPr anchor="t"/>
          <a:lstStyle>
            <a:lvl1pPr>
              <a:defRPr>
                <a:latin typeface="Arial"/>
                <a:sym typeface="Arial"/>
              </a:defRPr>
            </a:lvl1pPr>
          </a:lstStyle>
          <a:p>
            <a:endParaRPr lang="en-US" dirty="0"/>
          </a:p>
        </p:txBody>
      </p:sp>
      <p:sp>
        <p:nvSpPr>
          <p:cNvPr id="6" name="Text Placeholder 6"/>
          <p:cNvSpPr>
            <a:spLocks noGrp="1"/>
          </p:cNvSpPr>
          <p:nvPr>
            <p:ph type="body" sz="quarter" idx="11"/>
          </p:nvPr>
        </p:nvSpPr>
        <p:spPr>
          <a:xfrm>
            <a:off x="562709" y="863601"/>
            <a:ext cx="11068060" cy="320359"/>
          </a:xfrm>
        </p:spPr>
        <p:txBody>
          <a:bodyPr anchor="t">
            <a:normAutofit/>
          </a:bodyPr>
          <a:lstStyle>
            <a:lvl1pPr>
              <a:defRPr sz="1385" b="0">
                <a:solidFill>
                  <a:srgbClr val="73C4EF"/>
                </a:solidFill>
              </a:defRPr>
            </a:lvl1pPr>
          </a:lstStyle>
          <a:p>
            <a:pPr lvl="0"/>
            <a:endParaRPr lang="en-US" dirty="0"/>
          </a:p>
        </p:txBody>
      </p:sp>
    </p:spTree>
    <p:extLst>
      <p:ext uri="{BB962C8B-B14F-4D97-AF65-F5344CB8AC3E}">
        <p14:creationId xmlns:p14="http://schemas.microsoft.com/office/powerpoint/2010/main" val="4277924375"/>
      </p:ext>
    </p:extLst>
  </p:cSld>
  <p:clrMapOvr>
    <a:masterClrMapping/>
  </p:clrMapOvr>
</p:sldLayout>
</file>

<file path=ppt/slideLayouts/slideLayout35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918556" name="think-cell Slide" r:id="rId4" imgW="270" imgH="270" progId="TCLayout.ActiveDocument.1">
                  <p:embed/>
                </p:oleObj>
              </mc:Choice>
              <mc:Fallback>
                <p:oleObj name="think-cell Slide" r:id="rId4" imgW="270" imgH="270" progId="TCLayout.ActiveDocument.1">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383014762"/>
      </p:ext>
    </p:extLst>
  </p:cSld>
  <p:clrMapOvr>
    <a:masterClrMapping/>
  </p:clrMapOvr>
</p:sldLayout>
</file>

<file path=ppt/slideLayouts/slideLayout359.xml><?xml version="1.0" encoding="utf-8"?>
<p:sldLayout xmlns:a="http://schemas.openxmlformats.org/drawingml/2006/main" xmlns:r="http://schemas.openxmlformats.org/officeDocument/2006/relationships" xmlns:p="http://schemas.openxmlformats.org/presentationml/2006/main" userDrawn="1">
  <p:cSld name="4_Custom Layout">
    <p:spTree>
      <p:nvGrpSpPr>
        <p:cNvPr id="1" name=""/>
        <p:cNvGrpSpPr/>
        <p:nvPr/>
      </p:nvGrpSpPr>
      <p:grpSpPr>
        <a:xfrm>
          <a:off x="0" y="0"/>
          <a:ext cx="0" cy="0"/>
          <a:chOff x="0" y="0"/>
          <a:chExt cx="0" cy="0"/>
        </a:xfrm>
      </p:grpSpPr>
      <p:sp>
        <p:nvSpPr>
          <p:cNvPr id="14" name="Rectangle 13"/>
          <p:cNvSpPr/>
          <p:nvPr userDrawn="1"/>
        </p:nvSpPr>
        <p:spPr>
          <a:xfrm>
            <a:off x="226611" y="6608"/>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grpSp>
        <p:nvGrpSpPr>
          <p:cNvPr id="15" name="Group 14"/>
          <p:cNvGrpSpPr/>
          <p:nvPr userDrawn="1"/>
        </p:nvGrpSpPr>
        <p:grpSpPr>
          <a:xfrm flipH="1">
            <a:off x="226609" y="98856"/>
            <a:ext cx="1203763" cy="6096001"/>
            <a:chOff x="160238" y="148877"/>
            <a:chExt cx="1300907" cy="8783936"/>
          </a:xfrm>
        </p:grpSpPr>
        <p:sp>
          <p:nvSpPr>
            <p:cNvPr id="16" name="Rectangle"/>
            <p:cNvSpPr/>
            <p:nvPr userDrawn="1"/>
          </p:nvSpPr>
          <p:spPr>
            <a:xfrm>
              <a:off x="160238" y="7811988"/>
              <a:ext cx="1300907" cy="1120825"/>
            </a:xfrm>
            <a:prstGeom prst="rect">
              <a:avLst/>
            </a:prstGeom>
            <a:solidFill>
              <a:srgbClr val="C4297F"/>
            </a:solidFill>
            <a:ln w="12700">
              <a:miter lim="400000"/>
            </a:ln>
          </p:spPr>
          <p:txBody>
            <a:bodyPr lIns="50800" tIns="50800" rIns="50800" bIns="50800" anchor="ctr"/>
            <a:lstStyle/>
            <a:p>
              <a:endParaRPr sz="1800">
                <a:solidFill>
                  <a:prstClr val="black"/>
                </a:solidFill>
              </a:endParaRPr>
            </a:p>
          </p:txBody>
        </p:sp>
        <p:sp>
          <p:nvSpPr>
            <p:cNvPr id="17" name="Rectangle"/>
            <p:cNvSpPr/>
            <p:nvPr userDrawn="1"/>
          </p:nvSpPr>
          <p:spPr>
            <a:xfrm>
              <a:off x="160238" y="7090072"/>
              <a:ext cx="1300907" cy="721917"/>
            </a:xfrm>
            <a:prstGeom prst="rect">
              <a:avLst/>
            </a:prstGeom>
            <a:solidFill>
              <a:srgbClr val="7C1A4F"/>
            </a:solidFill>
            <a:ln w="12700">
              <a:miter lim="400000"/>
            </a:ln>
          </p:spPr>
          <p:txBody>
            <a:bodyPr lIns="50800" tIns="50800" rIns="50800" bIns="50800" anchor="ctr"/>
            <a:lstStyle/>
            <a:p>
              <a:endParaRPr sz="1800">
                <a:solidFill>
                  <a:prstClr val="black"/>
                </a:solidFill>
              </a:endParaRPr>
            </a:p>
          </p:txBody>
        </p:sp>
        <p:sp>
          <p:nvSpPr>
            <p:cNvPr id="18" name="Rectangle"/>
            <p:cNvSpPr/>
            <p:nvPr userDrawn="1"/>
          </p:nvSpPr>
          <p:spPr>
            <a:xfrm>
              <a:off x="160238" y="6877694"/>
              <a:ext cx="1300907" cy="212379"/>
            </a:xfrm>
            <a:prstGeom prst="rect">
              <a:avLst/>
            </a:prstGeom>
            <a:solidFill>
              <a:srgbClr val="F79824"/>
            </a:solidFill>
            <a:ln w="12700">
              <a:miter lim="400000"/>
            </a:ln>
          </p:spPr>
          <p:txBody>
            <a:bodyPr lIns="50800" tIns="50800" rIns="50800" bIns="50800" anchor="ctr"/>
            <a:lstStyle/>
            <a:p>
              <a:endParaRPr sz="1800">
                <a:solidFill>
                  <a:prstClr val="black"/>
                </a:solidFill>
              </a:endParaRPr>
            </a:p>
          </p:txBody>
        </p:sp>
        <p:sp>
          <p:nvSpPr>
            <p:cNvPr id="19" name="Rectangle"/>
            <p:cNvSpPr/>
            <p:nvPr userDrawn="1"/>
          </p:nvSpPr>
          <p:spPr>
            <a:xfrm>
              <a:off x="160238" y="5875535"/>
              <a:ext cx="1300907" cy="1002160"/>
            </a:xfrm>
            <a:prstGeom prst="rect">
              <a:avLst/>
            </a:prstGeom>
            <a:solidFill>
              <a:srgbClr val="EE4329"/>
            </a:solidFill>
            <a:ln w="12700">
              <a:miter lim="400000"/>
            </a:ln>
          </p:spPr>
          <p:txBody>
            <a:bodyPr lIns="50800" tIns="50800" rIns="50800" bIns="50800" anchor="ctr"/>
            <a:lstStyle/>
            <a:p>
              <a:endParaRPr sz="1800">
                <a:solidFill>
                  <a:prstClr val="black"/>
                </a:solidFill>
              </a:endParaRPr>
            </a:p>
          </p:txBody>
        </p:sp>
        <p:sp>
          <p:nvSpPr>
            <p:cNvPr id="20" name="Rectangle"/>
            <p:cNvSpPr/>
            <p:nvPr userDrawn="1"/>
          </p:nvSpPr>
          <p:spPr>
            <a:xfrm>
              <a:off x="160238" y="3874095"/>
              <a:ext cx="1300907" cy="2001441"/>
            </a:xfrm>
            <a:prstGeom prst="rect">
              <a:avLst/>
            </a:prstGeom>
            <a:solidFill>
              <a:srgbClr val="F36F26"/>
            </a:solidFill>
            <a:ln w="12700">
              <a:miter lim="400000"/>
            </a:ln>
          </p:spPr>
          <p:txBody>
            <a:bodyPr lIns="50800" tIns="50800" rIns="50800" bIns="50800" anchor="ctr"/>
            <a:lstStyle/>
            <a:p>
              <a:endParaRPr sz="1800">
                <a:solidFill>
                  <a:prstClr val="black"/>
                </a:solidFill>
              </a:endParaRPr>
            </a:p>
          </p:txBody>
        </p:sp>
        <p:sp>
          <p:nvSpPr>
            <p:cNvPr id="21" name="Rectangle"/>
            <p:cNvSpPr/>
            <p:nvPr userDrawn="1"/>
          </p:nvSpPr>
          <p:spPr>
            <a:xfrm>
              <a:off x="160238" y="3154213"/>
              <a:ext cx="1300907" cy="721867"/>
            </a:xfrm>
            <a:prstGeom prst="rect">
              <a:avLst/>
            </a:prstGeom>
            <a:solidFill>
              <a:srgbClr val="016AA1"/>
            </a:solidFill>
            <a:ln w="12700">
              <a:miter lim="400000"/>
            </a:ln>
          </p:spPr>
          <p:txBody>
            <a:bodyPr lIns="50800" tIns="50800" rIns="50800" bIns="50800" anchor="ctr"/>
            <a:lstStyle/>
            <a:p>
              <a:endParaRPr sz="1800">
                <a:solidFill>
                  <a:prstClr val="black"/>
                </a:solidFill>
              </a:endParaRPr>
            </a:p>
          </p:txBody>
        </p:sp>
        <p:sp>
          <p:nvSpPr>
            <p:cNvPr id="22" name="Rectangle"/>
            <p:cNvSpPr/>
            <p:nvPr userDrawn="1"/>
          </p:nvSpPr>
          <p:spPr>
            <a:xfrm>
              <a:off x="160238" y="148877"/>
              <a:ext cx="1300907" cy="3005337"/>
            </a:xfrm>
            <a:prstGeom prst="rect">
              <a:avLst/>
            </a:prstGeom>
            <a:solidFill>
              <a:srgbClr val="86CBD8"/>
            </a:solidFill>
            <a:ln w="12700">
              <a:miter lim="400000"/>
            </a:ln>
          </p:spPr>
          <p:txBody>
            <a:bodyPr lIns="50800" tIns="50800" rIns="50800" bIns="50800" anchor="ctr"/>
            <a:lstStyle/>
            <a:p>
              <a:endParaRPr sz="1800">
                <a:solidFill>
                  <a:prstClr val="black"/>
                </a:solidFill>
              </a:endParaRPr>
            </a:p>
          </p:txBody>
        </p:sp>
      </p:grpSp>
    </p:spTree>
    <p:extLst>
      <p:ext uri="{BB962C8B-B14F-4D97-AF65-F5344CB8AC3E}">
        <p14:creationId xmlns:p14="http://schemas.microsoft.com/office/powerpoint/2010/main" val="3555734000"/>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Divider 3">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6" y="1592"/>
          <a:ext cx="1953" cy="1587"/>
        </p:xfrm>
        <a:graphic>
          <a:graphicData uri="http://schemas.openxmlformats.org/presentationml/2006/ole">
            <mc:AlternateContent xmlns:mc="http://schemas.openxmlformats.org/markup-compatibility/2006">
              <mc:Choice xmlns:v="urn:schemas-microsoft-com:vml" Requires="v">
                <p:oleObj spid="_x0000_s2492104"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6" y="1592"/>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4000" b="0" baseline="0">
                <a:solidFill>
                  <a:srgbClr val="007272"/>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500" b="0">
                <a:solidFill>
                  <a:srgbClr val="00C0B6"/>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400" b="0">
                <a:solidFill>
                  <a:srgbClr val="00A6AB"/>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5"/>
            <a:ext cx="12120517" cy="574391"/>
          </a:xfrm>
          <a:prstGeom prst="rect">
            <a:avLst/>
          </a:prstGeom>
          <a:ln w="12700">
            <a:miter lim="400000"/>
          </a:ln>
        </p:spPr>
      </p:pic>
      <p:grpSp>
        <p:nvGrpSpPr>
          <p:cNvPr id="21" name="Group 20"/>
          <p:cNvGrpSpPr/>
          <p:nvPr userDrawn="1"/>
        </p:nvGrpSpPr>
        <p:grpSpPr>
          <a:xfrm>
            <a:off x="213691" y="99934"/>
            <a:ext cx="1113676" cy="6105588"/>
            <a:chOff x="90616" y="113613"/>
            <a:chExt cx="1300907" cy="8777933"/>
          </a:xfrm>
        </p:grpSpPr>
        <p:sp>
          <p:nvSpPr>
            <p:cNvPr id="22" name="Rectangle"/>
            <p:cNvSpPr/>
            <p:nvPr userDrawn="1"/>
          </p:nvSpPr>
          <p:spPr>
            <a:xfrm>
              <a:off x="90616" y="8357104"/>
              <a:ext cx="1300907" cy="534442"/>
            </a:xfrm>
            <a:prstGeom prst="rect">
              <a:avLst/>
            </a:prstGeom>
            <a:solidFill>
              <a:srgbClr val="00C0B6"/>
            </a:solidFill>
            <a:ln w="12700">
              <a:miter lim="400000"/>
            </a:ln>
          </p:spPr>
          <p:txBody>
            <a:bodyPr lIns="50800" tIns="50800" rIns="50800" bIns="50800" anchor="ctr"/>
            <a:lstStyle/>
            <a:p>
              <a:pPr defTabSz="914400"/>
              <a:endParaRPr lang="en-US" sz="1800" dirty="0">
                <a:solidFill>
                  <a:srgbClr val="002D72"/>
                </a:solidFill>
              </a:endParaRPr>
            </a:p>
          </p:txBody>
        </p:sp>
        <p:sp>
          <p:nvSpPr>
            <p:cNvPr id="23" name="Rectangle"/>
            <p:cNvSpPr/>
            <p:nvPr userDrawn="1"/>
          </p:nvSpPr>
          <p:spPr>
            <a:xfrm>
              <a:off x="90616" y="8142097"/>
              <a:ext cx="1300907" cy="215008"/>
            </a:xfrm>
            <a:prstGeom prst="rect">
              <a:avLst/>
            </a:prstGeom>
            <a:solidFill>
              <a:srgbClr val="007272"/>
            </a:solidFill>
            <a:ln w="12700">
              <a:miter lim="400000"/>
            </a:ln>
          </p:spPr>
          <p:txBody>
            <a:bodyPr lIns="50800" tIns="50800" rIns="50800" bIns="50800" anchor="ctr"/>
            <a:lstStyle/>
            <a:p>
              <a:pPr defTabSz="914400"/>
              <a:endParaRPr lang="en-US" sz="1800" dirty="0">
                <a:solidFill>
                  <a:srgbClr val="002D72"/>
                </a:solidFill>
              </a:endParaRPr>
            </a:p>
          </p:txBody>
        </p:sp>
        <p:sp>
          <p:nvSpPr>
            <p:cNvPr id="24" name="Rectangle"/>
            <p:cNvSpPr/>
            <p:nvPr userDrawn="1"/>
          </p:nvSpPr>
          <p:spPr>
            <a:xfrm>
              <a:off x="90616" y="6154596"/>
              <a:ext cx="1300907" cy="1987502"/>
            </a:xfrm>
            <a:prstGeom prst="rect">
              <a:avLst/>
            </a:prstGeom>
            <a:solidFill>
              <a:srgbClr val="00A6AB"/>
            </a:solidFill>
            <a:ln w="12700">
              <a:miter lim="400000"/>
            </a:ln>
          </p:spPr>
          <p:txBody>
            <a:bodyPr lIns="50800" tIns="50800" rIns="50800" bIns="50800" anchor="ctr"/>
            <a:lstStyle/>
            <a:p>
              <a:pPr defTabSz="914400"/>
              <a:endParaRPr lang="en-US" sz="1800" dirty="0">
                <a:solidFill>
                  <a:srgbClr val="002D72"/>
                </a:solidFill>
              </a:endParaRPr>
            </a:p>
          </p:txBody>
        </p:sp>
        <p:sp>
          <p:nvSpPr>
            <p:cNvPr id="25" name="Rectangle"/>
            <p:cNvSpPr/>
            <p:nvPr userDrawn="1"/>
          </p:nvSpPr>
          <p:spPr>
            <a:xfrm>
              <a:off x="90616" y="5683158"/>
              <a:ext cx="1300907" cy="471439"/>
            </a:xfrm>
            <a:prstGeom prst="rect">
              <a:avLst/>
            </a:prstGeom>
            <a:solidFill>
              <a:srgbClr val="00C0B6"/>
            </a:solidFill>
            <a:ln w="12700">
              <a:miter lim="400000"/>
            </a:ln>
          </p:spPr>
          <p:txBody>
            <a:bodyPr lIns="50800" tIns="50800" rIns="50800" bIns="50800" anchor="ctr"/>
            <a:lstStyle/>
            <a:p>
              <a:pPr defTabSz="914400"/>
              <a:endParaRPr lang="en-US" sz="1800" dirty="0">
                <a:solidFill>
                  <a:srgbClr val="002D72"/>
                </a:solidFill>
              </a:endParaRPr>
            </a:p>
          </p:txBody>
        </p:sp>
        <p:sp>
          <p:nvSpPr>
            <p:cNvPr id="26" name="Rectangle"/>
            <p:cNvSpPr/>
            <p:nvPr userDrawn="1"/>
          </p:nvSpPr>
          <p:spPr>
            <a:xfrm>
              <a:off x="90616" y="329910"/>
              <a:ext cx="1300907" cy="813396"/>
            </a:xfrm>
            <a:prstGeom prst="rect">
              <a:avLst/>
            </a:prstGeom>
            <a:solidFill>
              <a:srgbClr val="00C0B6"/>
            </a:solidFill>
            <a:ln w="12700">
              <a:miter lim="400000"/>
            </a:ln>
          </p:spPr>
          <p:txBody>
            <a:bodyPr lIns="50800" tIns="50800" rIns="50800" bIns="50800" anchor="ctr"/>
            <a:lstStyle/>
            <a:p>
              <a:pPr defTabSz="914400"/>
              <a:endParaRPr lang="en-US" sz="1800" dirty="0">
                <a:solidFill>
                  <a:srgbClr val="002D72"/>
                </a:solidFill>
              </a:endParaRPr>
            </a:p>
          </p:txBody>
        </p:sp>
        <p:sp>
          <p:nvSpPr>
            <p:cNvPr id="27" name="Rectangle"/>
            <p:cNvSpPr/>
            <p:nvPr userDrawn="1"/>
          </p:nvSpPr>
          <p:spPr>
            <a:xfrm>
              <a:off x="90616" y="1143305"/>
              <a:ext cx="1300907" cy="4539854"/>
            </a:xfrm>
            <a:prstGeom prst="rect">
              <a:avLst/>
            </a:prstGeom>
            <a:solidFill>
              <a:srgbClr val="007272"/>
            </a:solidFill>
            <a:ln w="12700">
              <a:miter lim="400000"/>
            </a:ln>
          </p:spPr>
          <p:txBody>
            <a:bodyPr lIns="50800" tIns="50800" rIns="50800" bIns="50800" anchor="ctr"/>
            <a:lstStyle/>
            <a:p>
              <a:pPr defTabSz="914400"/>
              <a:endParaRPr lang="en-US" sz="1800" dirty="0">
                <a:solidFill>
                  <a:srgbClr val="002D72"/>
                </a:solidFill>
              </a:endParaRPr>
            </a:p>
          </p:txBody>
        </p:sp>
        <p:sp>
          <p:nvSpPr>
            <p:cNvPr id="28" name="Rectangle"/>
            <p:cNvSpPr/>
            <p:nvPr userDrawn="1"/>
          </p:nvSpPr>
          <p:spPr>
            <a:xfrm>
              <a:off x="90616" y="113613"/>
              <a:ext cx="1300907" cy="216298"/>
            </a:xfrm>
            <a:prstGeom prst="rect">
              <a:avLst/>
            </a:prstGeom>
            <a:solidFill>
              <a:srgbClr val="00A6AB"/>
            </a:solidFill>
            <a:ln w="12700">
              <a:miter lim="400000"/>
            </a:ln>
          </p:spPr>
          <p:txBody>
            <a:bodyPr lIns="50800" tIns="50800" rIns="50800" bIns="50800" anchor="ctr"/>
            <a:lstStyle/>
            <a:p>
              <a:pPr defTabSz="914400"/>
              <a:endParaRPr lang="en-US" sz="1800" dirty="0">
                <a:solidFill>
                  <a:srgbClr val="002D72"/>
                </a:solidFill>
              </a:endParaRPr>
            </a:p>
          </p:txBody>
        </p:sp>
      </p:grpSp>
    </p:spTree>
    <p:extLst>
      <p:ext uri="{BB962C8B-B14F-4D97-AF65-F5344CB8AC3E}">
        <p14:creationId xmlns:p14="http://schemas.microsoft.com/office/powerpoint/2010/main" val="95965984"/>
      </p:ext>
    </p:extLst>
  </p:cSld>
  <p:clrMapOvr>
    <a:masterClrMapping/>
  </p:clrMapOvr>
</p:sldLayout>
</file>

<file path=ppt/slideLayouts/slideLayout360.xml><?xml version="1.0" encoding="utf-8"?>
<p:sldLayout xmlns:a="http://schemas.openxmlformats.org/drawingml/2006/main" xmlns:r="http://schemas.openxmlformats.org/officeDocument/2006/relationships" xmlns:p="http://schemas.openxmlformats.org/presentationml/2006/main" userDrawn="1">
  <p:cSld name="Separador1">
    <p:spTree>
      <p:nvGrpSpPr>
        <p:cNvPr id="1" name=""/>
        <p:cNvGrpSpPr/>
        <p:nvPr/>
      </p:nvGrpSpPr>
      <p:grpSpPr>
        <a:xfrm>
          <a:off x="0" y="0"/>
          <a:ext cx="0" cy="0"/>
          <a:chOff x="0" y="0"/>
          <a:chExt cx="0" cy="0"/>
        </a:xfrm>
      </p:grpSpPr>
      <p:sp>
        <p:nvSpPr>
          <p:cNvPr id="11" name="Rectangle 10"/>
          <p:cNvSpPr/>
          <p:nvPr userDrawn="1"/>
        </p:nvSpPr>
        <p:spPr>
          <a:xfrm>
            <a:off x="226611" y="6608"/>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grpSp>
        <p:nvGrpSpPr>
          <p:cNvPr id="19" name="Group 18"/>
          <p:cNvGrpSpPr/>
          <p:nvPr userDrawn="1"/>
        </p:nvGrpSpPr>
        <p:grpSpPr>
          <a:xfrm>
            <a:off x="226614" y="98854"/>
            <a:ext cx="1204588" cy="6096000"/>
            <a:chOff x="160238" y="154880"/>
            <a:chExt cx="1300907" cy="8777933"/>
          </a:xfrm>
        </p:grpSpPr>
        <p:sp>
          <p:nvSpPr>
            <p:cNvPr id="12" name="Rectangle"/>
            <p:cNvSpPr/>
            <p:nvPr userDrawn="1"/>
          </p:nvSpPr>
          <p:spPr>
            <a:xfrm>
              <a:off x="160238" y="8398371"/>
              <a:ext cx="1300907" cy="534442"/>
            </a:xfrm>
            <a:prstGeom prst="rect">
              <a:avLst/>
            </a:prstGeom>
            <a:solidFill>
              <a:srgbClr val="85CDD9"/>
            </a:solidFill>
            <a:ln w="12700">
              <a:miter lim="400000"/>
            </a:ln>
          </p:spPr>
          <p:txBody>
            <a:bodyPr lIns="50800" tIns="50800" rIns="50800" bIns="50800" anchor="ctr"/>
            <a:lstStyle/>
            <a:p>
              <a:endParaRPr sz="1800">
                <a:solidFill>
                  <a:prstClr val="black"/>
                </a:solidFill>
              </a:endParaRPr>
            </a:p>
          </p:txBody>
        </p:sp>
        <p:sp>
          <p:nvSpPr>
            <p:cNvPr id="13" name="Rectangle"/>
            <p:cNvSpPr/>
            <p:nvPr userDrawn="1"/>
          </p:nvSpPr>
          <p:spPr>
            <a:xfrm>
              <a:off x="160238" y="8183364"/>
              <a:ext cx="1300907" cy="215008"/>
            </a:xfrm>
            <a:prstGeom prst="rect">
              <a:avLst/>
            </a:prstGeom>
            <a:solidFill>
              <a:srgbClr val="4D89AD"/>
            </a:solidFill>
            <a:ln w="12700">
              <a:miter lim="400000"/>
            </a:ln>
          </p:spPr>
          <p:txBody>
            <a:bodyPr lIns="50800" tIns="50800" rIns="50800" bIns="50800" anchor="ctr"/>
            <a:lstStyle/>
            <a:p>
              <a:endParaRPr sz="1800">
                <a:solidFill>
                  <a:prstClr val="black"/>
                </a:solidFill>
              </a:endParaRPr>
            </a:p>
          </p:txBody>
        </p:sp>
        <p:sp>
          <p:nvSpPr>
            <p:cNvPr id="14" name="Rectangle"/>
            <p:cNvSpPr/>
            <p:nvPr userDrawn="1"/>
          </p:nvSpPr>
          <p:spPr>
            <a:xfrm>
              <a:off x="160238" y="6195863"/>
              <a:ext cx="1300907" cy="1987502"/>
            </a:xfrm>
            <a:prstGeom prst="rect">
              <a:avLst/>
            </a:prstGeom>
            <a:solidFill>
              <a:srgbClr val="2591C0"/>
            </a:solidFill>
            <a:ln w="12700">
              <a:miter lim="400000"/>
            </a:ln>
          </p:spPr>
          <p:txBody>
            <a:bodyPr lIns="50800" tIns="50800" rIns="50800" bIns="50800" anchor="ctr"/>
            <a:lstStyle/>
            <a:p>
              <a:endParaRPr sz="1800">
                <a:solidFill>
                  <a:prstClr val="black"/>
                </a:solidFill>
              </a:endParaRPr>
            </a:p>
          </p:txBody>
        </p:sp>
        <p:sp>
          <p:nvSpPr>
            <p:cNvPr id="15" name="Rectangle"/>
            <p:cNvSpPr/>
            <p:nvPr userDrawn="1"/>
          </p:nvSpPr>
          <p:spPr>
            <a:xfrm>
              <a:off x="160238" y="5724425"/>
              <a:ext cx="1300907" cy="471439"/>
            </a:xfrm>
            <a:prstGeom prst="rect">
              <a:avLst/>
            </a:prstGeom>
            <a:solidFill>
              <a:srgbClr val="104D6A"/>
            </a:solidFill>
            <a:ln w="12700">
              <a:miter lim="400000"/>
            </a:ln>
          </p:spPr>
          <p:txBody>
            <a:bodyPr lIns="50800" tIns="50800" rIns="50800" bIns="50800" anchor="ctr"/>
            <a:lstStyle/>
            <a:p>
              <a:endParaRPr sz="1800">
                <a:solidFill>
                  <a:prstClr val="black"/>
                </a:solidFill>
              </a:endParaRPr>
            </a:p>
          </p:txBody>
        </p:sp>
        <p:sp>
          <p:nvSpPr>
            <p:cNvPr id="16" name="Rectangle"/>
            <p:cNvSpPr/>
            <p:nvPr userDrawn="1"/>
          </p:nvSpPr>
          <p:spPr>
            <a:xfrm>
              <a:off x="160238" y="371177"/>
              <a:ext cx="1300907" cy="813396"/>
            </a:xfrm>
            <a:prstGeom prst="rect">
              <a:avLst/>
            </a:prstGeom>
            <a:solidFill>
              <a:srgbClr val="095B88"/>
            </a:solidFill>
            <a:ln w="12700">
              <a:miter lim="400000"/>
            </a:ln>
          </p:spPr>
          <p:txBody>
            <a:bodyPr lIns="50800" tIns="50800" rIns="50800" bIns="50800" anchor="ctr"/>
            <a:lstStyle/>
            <a:p>
              <a:endParaRPr sz="1800">
                <a:solidFill>
                  <a:prstClr val="black"/>
                </a:solidFill>
              </a:endParaRPr>
            </a:p>
          </p:txBody>
        </p:sp>
        <p:sp>
          <p:nvSpPr>
            <p:cNvPr id="17" name="Rectangle"/>
            <p:cNvSpPr/>
            <p:nvPr userDrawn="1"/>
          </p:nvSpPr>
          <p:spPr>
            <a:xfrm>
              <a:off x="160238" y="1184572"/>
              <a:ext cx="1300907" cy="4539854"/>
            </a:xfrm>
            <a:prstGeom prst="rect">
              <a:avLst/>
            </a:prstGeom>
            <a:solidFill>
              <a:srgbClr val="016AA1"/>
            </a:solidFill>
            <a:ln w="12700">
              <a:miter lim="400000"/>
            </a:ln>
          </p:spPr>
          <p:txBody>
            <a:bodyPr lIns="50800" tIns="50800" rIns="50800" bIns="50800" anchor="ctr"/>
            <a:lstStyle/>
            <a:p>
              <a:endParaRPr sz="1800">
                <a:solidFill>
                  <a:prstClr val="black"/>
                </a:solidFill>
              </a:endParaRPr>
            </a:p>
          </p:txBody>
        </p:sp>
        <p:sp>
          <p:nvSpPr>
            <p:cNvPr id="18" name="Rectangle"/>
            <p:cNvSpPr/>
            <p:nvPr userDrawn="1"/>
          </p:nvSpPr>
          <p:spPr>
            <a:xfrm>
              <a:off x="160238" y="154880"/>
              <a:ext cx="1300907" cy="216298"/>
            </a:xfrm>
            <a:prstGeom prst="rect">
              <a:avLst/>
            </a:prstGeom>
            <a:solidFill>
              <a:srgbClr val="85CDD9"/>
            </a:solidFill>
            <a:ln w="12700">
              <a:miter lim="400000"/>
            </a:ln>
          </p:spPr>
          <p:txBody>
            <a:bodyPr lIns="50800" tIns="50800" rIns="50800" bIns="50800" anchor="ctr"/>
            <a:lstStyle/>
            <a:p>
              <a:endParaRPr sz="1800">
                <a:solidFill>
                  <a:prstClr val="black"/>
                </a:solidFill>
              </a:endParaRPr>
            </a:p>
          </p:txBody>
        </p:sp>
      </p:grpSp>
    </p:spTree>
    <p:extLst>
      <p:ext uri="{BB962C8B-B14F-4D97-AF65-F5344CB8AC3E}">
        <p14:creationId xmlns:p14="http://schemas.microsoft.com/office/powerpoint/2010/main" val="1110217660"/>
      </p:ext>
    </p:extLst>
  </p:cSld>
  <p:clrMapOvr>
    <a:masterClrMapping/>
  </p:clrMapOvr>
</p:sldLayout>
</file>

<file path=ppt/slideLayouts/slideLayout361.xml><?xml version="1.0" encoding="utf-8"?>
<p:sldLayout xmlns:a="http://schemas.openxmlformats.org/drawingml/2006/main" xmlns:r="http://schemas.openxmlformats.org/officeDocument/2006/relationships" xmlns:p="http://schemas.openxmlformats.org/presentationml/2006/main" userDrawn="1">
  <p:cSld name="5_Custom Layout">
    <p:spTree>
      <p:nvGrpSpPr>
        <p:cNvPr id="1" name=""/>
        <p:cNvGrpSpPr/>
        <p:nvPr/>
      </p:nvGrpSpPr>
      <p:grpSpPr>
        <a:xfrm>
          <a:off x="0" y="0"/>
          <a:ext cx="0" cy="0"/>
          <a:chOff x="0" y="0"/>
          <a:chExt cx="0" cy="0"/>
        </a:xfrm>
      </p:grpSpPr>
      <p:sp>
        <p:nvSpPr>
          <p:cNvPr id="6" name="Rectangle 5"/>
          <p:cNvSpPr/>
          <p:nvPr userDrawn="1"/>
        </p:nvSpPr>
        <p:spPr>
          <a:xfrm>
            <a:off x="4" y="0"/>
            <a:ext cx="12093145"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sp>
        <p:nvSpPr>
          <p:cNvPr id="7" name="Slide Number Placeholder 5"/>
          <p:cNvSpPr txBox="1">
            <a:spLocks/>
          </p:cNvSpPr>
          <p:nvPr userDrawn="1"/>
        </p:nvSpPr>
        <p:spPr>
          <a:xfrm>
            <a:off x="3057376" y="6356356"/>
            <a:ext cx="3319272" cy="365125"/>
          </a:xfrm>
          <a:prstGeom prst="rect">
            <a:avLst/>
          </a:prstGeom>
        </p:spPr>
        <p:txBody>
          <a:bodyPr vert="horz" lIns="91426" tIns="45712" rIns="91426" bIns="45712"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FC7F43E-2420-6848-A2B2-B5C9DEF3CEAA}" type="slidenum">
              <a:rPr lang="en-US" sz="1200" smtClean="0">
                <a:solidFill>
                  <a:prstClr val="black">
                    <a:tint val="75000"/>
                  </a:prstClr>
                </a:solidFill>
              </a:rPr>
              <a:pPr/>
              <a:t>‹#›</a:t>
            </a:fld>
            <a:endParaRPr lang="en-US" sz="1200" dirty="0">
              <a:solidFill>
                <a:prstClr val="black">
                  <a:tint val="75000"/>
                </a:prstClr>
              </a:solidFill>
            </a:endParaRPr>
          </a:p>
        </p:txBody>
      </p:sp>
      <p:pic>
        <p:nvPicPr>
          <p:cNvPr id="9" name="pasted-image.pdf" descr="pasted-image.pdf"/>
          <p:cNvPicPr>
            <a:picLocks noChangeAspect="1"/>
          </p:cNvPicPr>
          <p:nvPr userDrawn="1"/>
        </p:nvPicPr>
        <p:blipFill>
          <a:blip r:embed="rId2"/>
          <a:stretch>
            <a:fillRect/>
          </a:stretch>
        </p:blipFill>
        <p:spPr>
          <a:xfrm>
            <a:off x="393794" y="6356356"/>
            <a:ext cx="736953" cy="365125"/>
          </a:xfrm>
          <a:prstGeom prst="rect">
            <a:avLst/>
          </a:prstGeom>
          <a:ln w="12700">
            <a:miter lim="400000"/>
          </a:ln>
        </p:spPr>
      </p:pic>
      <p:pic>
        <p:nvPicPr>
          <p:cNvPr id="2" name="Picture 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411014" y="6480627"/>
            <a:ext cx="1561852" cy="204993"/>
          </a:xfrm>
          <a:prstGeom prst="rect">
            <a:avLst/>
          </a:prstGeom>
        </p:spPr>
      </p:pic>
    </p:spTree>
    <p:extLst>
      <p:ext uri="{BB962C8B-B14F-4D97-AF65-F5344CB8AC3E}">
        <p14:creationId xmlns:p14="http://schemas.microsoft.com/office/powerpoint/2010/main" val="182664182"/>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Divider 4">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6" y="1592"/>
          <a:ext cx="1953" cy="1587"/>
        </p:xfrm>
        <a:graphic>
          <a:graphicData uri="http://schemas.openxmlformats.org/presentationml/2006/ole">
            <mc:AlternateContent xmlns:mc="http://schemas.openxmlformats.org/markup-compatibility/2006">
              <mc:Choice xmlns:v="urn:schemas-microsoft-com:vml" Requires="v">
                <p:oleObj spid="_x0000_s2493128"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6" y="1592"/>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4000" b="0" baseline="0">
                <a:solidFill>
                  <a:srgbClr val="73A600"/>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500" b="0">
                <a:solidFill>
                  <a:srgbClr val="AABA35"/>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400" b="0">
                <a:solidFill>
                  <a:srgbClr val="94B301"/>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5"/>
            <a:ext cx="12120517" cy="574391"/>
          </a:xfrm>
          <a:prstGeom prst="rect">
            <a:avLst/>
          </a:prstGeom>
          <a:ln w="12700">
            <a:miter lim="400000"/>
          </a:ln>
        </p:spPr>
      </p:pic>
      <p:grpSp>
        <p:nvGrpSpPr>
          <p:cNvPr id="21" name="Group 20"/>
          <p:cNvGrpSpPr/>
          <p:nvPr userDrawn="1"/>
        </p:nvGrpSpPr>
        <p:grpSpPr>
          <a:xfrm>
            <a:off x="215939" y="99934"/>
            <a:ext cx="1113675" cy="6105588"/>
            <a:chOff x="160238" y="154880"/>
            <a:chExt cx="1300907" cy="8777933"/>
          </a:xfrm>
        </p:grpSpPr>
        <p:sp>
          <p:nvSpPr>
            <p:cNvPr id="22" name="Rectangle"/>
            <p:cNvSpPr/>
            <p:nvPr userDrawn="1"/>
          </p:nvSpPr>
          <p:spPr>
            <a:xfrm>
              <a:off x="160238" y="8398371"/>
              <a:ext cx="1300907" cy="534442"/>
            </a:xfrm>
            <a:prstGeom prst="rect">
              <a:avLst/>
            </a:prstGeom>
            <a:solidFill>
              <a:srgbClr val="AABA36"/>
            </a:solidFill>
            <a:ln w="12700">
              <a:miter lim="400000"/>
            </a:ln>
          </p:spPr>
          <p:txBody>
            <a:bodyPr lIns="50800" tIns="50800" rIns="50800" bIns="50800" anchor="ctr"/>
            <a:lstStyle/>
            <a:p>
              <a:pPr defTabSz="914400"/>
              <a:endParaRPr lang="en-US" sz="1800" dirty="0">
                <a:solidFill>
                  <a:srgbClr val="002D72"/>
                </a:solidFill>
              </a:endParaRPr>
            </a:p>
          </p:txBody>
        </p:sp>
        <p:sp>
          <p:nvSpPr>
            <p:cNvPr id="23" name="Rectangle"/>
            <p:cNvSpPr/>
            <p:nvPr userDrawn="1"/>
          </p:nvSpPr>
          <p:spPr>
            <a:xfrm>
              <a:off x="160238" y="8183364"/>
              <a:ext cx="1300907" cy="215008"/>
            </a:xfrm>
            <a:prstGeom prst="rect">
              <a:avLst/>
            </a:prstGeom>
            <a:solidFill>
              <a:srgbClr val="CEDD01"/>
            </a:solidFill>
            <a:ln w="12700">
              <a:miter lim="400000"/>
            </a:ln>
          </p:spPr>
          <p:txBody>
            <a:bodyPr lIns="50800" tIns="50800" rIns="50800" bIns="50800" anchor="ctr"/>
            <a:lstStyle/>
            <a:p>
              <a:pPr defTabSz="914400"/>
              <a:endParaRPr lang="en-US" sz="1800" dirty="0">
                <a:solidFill>
                  <a:srgbClr val="002D72"/>
                </a:solidFill>
              </a:endParaRPr>
            </a:p>
          </p:txBody>
        </p:sp>
        <p:sp>
          <p:nvSpPr>
            <p:cNvPr id="24" name="Rectangle"/>
            <p:cNvSpPr/>
            <p:nvPr userDrawn="1"/>
          </p:nvSpPr>
          <p:spPr>
            <a:xfrm>
              <a:off x="160238" y="6195863"/>
              <a:ext cx="1300907" cy="1987502"/>
            </a:xfrm>
            <a:prstGeom prst="rect">
              <a:avLst/>
            </a:prstGeom>
            <a:solidFill>
              <a:srgbClr val="94B301"/>
            </a:solidFill>
            <a:ln w="12700">
              <a:miter lim="400000"/>
            </a:ln>
          </p:spPr>
          <p:txBody>
            <a:bodyPr lIns="50800" tIns="50800" rIns="50800" bIns="50800" anchor="ctr"/>
            <a:lstStyle/>
            <a:p>
              <a:pPr defTabSz="914400"/>
              <a:endParaRPr lang="en-US" sz="1800" dirty="0">
                <a:solidFill>
                  <a:srgbClr val="002D72"/>
                </a:solidFill>
              </a:endParaRPr>
            </a:p>
          </p:txBody>
        </p:sp>
        <p:sp>
          <p:nvSpPr>
            <p:cNvPr id="25" name="Rectangle"/>
            <p:cNvSpPr/>
            <p:nvPr userDrawn="1"/>
          </p:nvSpPr>
          <p:spPr>
            <a:xfrm>
              <a:off x="160238" y="5724425"/>
              <a:ext cx="1300907" cy="471439"/>
            </a:xfrm>
            <a:prstGeom prst="rect">
              <a:avLst/>
            </a:prstGeom>
            <a:solidFill>
              <a:srgbClr val="AABA36"/>
            </a:solidFill>
            <a:ln w="12700">
              <a:miter lim="400000"/>
            </a:ln>
          </p:spPr>
          <p:txBody>
            <a:bodyPr lIns="50800" tIns="50800" rIns="50800" bIns="50800" anchor="ctr"/>
            <a:lstStyle/>
            <a:p>
              <a:pPr defTabSz="914400"/>
              <a:endParaRPr lang="en-US" sz="1800" dirty="0">
                <a:solidFill>
                  <a:srgbClr val="002D72"/>
                </a:solidFill>
              </a:endParaRPr>
            </a:p>
          </p:txBody>
        </p:sp>
        <p:sp>
          <p:nvSpPr>
            <p:cNvPr id="26" name="Rectangle"/>
            <p:cNvSpPr/>
            <p:nvPr userDrawn="1"/>
          </p:nvSpPr>
          <p:spPr>
            <a:xfrm>
              <a:off x="160238" y="371177"/>
              <a:ext cx="1300907" cy="813396"/>
            </a:xfrm>
            <a:prstGeom prst="rect">
              <a:avLst/>
            </a:prstGeom>
            <a:solidFill>
              <a:srgbClr val="CEDD01"/>
            </a:solidFill>
            <a:ln w="12700">
              <a:miter lim="400000"/>
            </a:ln>
          </p:spPr>
          <p:txBody>
            <a:bodyPr lIns="50800" tIns="50800" rIns="50800" bIns="50800" anchor="ctr"/>
            <a:lstStyle/>
            <a:p>
              <a:pPr defTabSz="914400"/>
              <a:endParaRPr lang="en-US" sz="1800" dirty="0">
                <a:solidFill>
                  <a:srgbClr val="002D72"/>
                </a:solidFill>
              </a:endParaRPr>
            </a:p>
          </p:txBody>
        </p:sp>
        <p:sp>
          <p:nvSpPr>
            <p:cNvPr id="27" name="Rectangle"/>
            <p:cNvSpPr/>
            <p:nvPr userDrawn="1"/>
          </p:nvSpPr>
          <p:spPr>
            <a:xfrm>
              <a:off x="160238" y="1184572"/>
              <a:ext cx="1300907" cy="4539854"/>
            </a:xfrm>
            <a:prstGeom prst="rect">
              <a:avLst/>
            </a:prstGeom>
            <a:solidFill>
              <a:srgbClr val="73A600"/>
            </a:solidFill>
            <a:ln w="12700">
              <a:miter lim="400000"/>
            </a:ln>
          </p:spPr>
          <p:txBody>
            <a:bodyPr lIns="50800" tIns="50800" rIns="50800" bIns="50800" anchor="ctr"/>
            <a:lstStyle/>
            <a:p>
              <a:pPr defTabSz="914400"/>
              <a:endParaRPr lang="en-US" sz="1800" dirty="0">
                <a:solidFill>
                  <a:srgbClr val="002D72"/>
                </a:solidFill>
              </a:endParaRPr>
            </a:p>
          </p:txBody>
        </p:sp>
        <p:sp>
          <p:nvSpPr>
            <p:cNvPr id="28" name="Rectangle"/>
            <p:cNvSpPr/>
            <p:nvPr userDrawn="1"/>
          </p:nvSpPr>
          <p:spPr>
            <a:xfrm>
              <a:off x="160238" y="154880"/>
              <a:ext cx="1300907" cy="216298"/>
            </a:xfrm>
            <a:prstGeom prst="rect">
              <a:avLst/>
            </a:prstGeom>
            <a:solidFill>
              <a:srgbClr val="94B301"/>
            </a:solidFill>
            <a:ln w="12700">
              <a:miter lim="400000"/>
            </a:ln>
          </p:spPr>
          <p:txBody>
            <a:bodyPr lIns="50800" tIns="50800" rIns="50800" bIns="50800" anchor="ctr"/>
            <a:lstStyle/>
            <a:p>
              <a:pPr defTabSz="914400"/>
              <a:endParaRPr lang="en-US" sz="1800" dirty="0">
                <a:solidFill>
                  <a:srgbClr val="002D72"/>
                </a:solidFill>
              </a:endParaRPr>
            </a:p>
          </p:txBody>
        </p:sp>
      </p:grpSp>
    </p:spTree>
    <p:extLst>
      <p:ext uri="{BB962C8B-B14F-4D97-AF65-F5344CB8AC3E}">
        <p14:creationId xmlns:p14="http://schemas.microsoft.com/office/powerpoint/2010/main" val="64911697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Divider 5">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6" y="1592"/>
          <a:ext cx="1953" cy="1587"/>
        </p:xfrm>
        <a:graphic>
          <a:graphicData uri="http://schemas.openxmlformats.org/presentationml/2006/ole">
            <mc:AlternateContent xmlns:mc="http://schemas.openxmlformats.org/markup-compatibility/2006">
              <mc:Choice xmlns:v="urn:schemas-microsoft-com:vml" Requires="v">
                <p:oleObj spid="_x0000_s2494152"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6" y="1592"/>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4000" b="0" baseline="0">
                <a:solidFill>
                  <a:srgbClr val="70147B"/>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500" b="0">
                <a:solidFill>
                  <a:srgbClr val="8B4093"/>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400" b="0">
                <a:solidFill>
                  <a:srgbClr val="63006C"/>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5"/>
            <a:ext cx="12120517" cy="574391"/>
          </a:xfrm>
          <a:prstGeom prst="rect">
            <a:avLst/>
          </a:prstGeom>
          <a:ln w="12700">
            <a:miter lim="400000"/>
          </a:ln>
        </p:spPr>
      </p:pic>
      <p:grpSp>
        <p:nvGrpSpPr>
          <p:cNvPr id="21" name="Group 20"/>
          <p:cNvGrpSpPr/>
          <p:nvPr userDrawn="1"/>
        </p:nvGrpSpPr>
        <p:grpSpPr>
          <a:xfrm>
            <a:off x="215939" y="99934"/>
            <a:ext cx="1113675" cy="6105588"/>
            <a:chOff x="1081465" y="114688"/>
            <a:chExt cx="1300907" cy="8777933"/>
          </a:xfrm>
        </p:grpSpPr>
        <p:sp>
          <p:nvSpPr>
            <p:cNvPr id="22" name="Rectangle"/>
            <p:cNvSpPr/>
            <p:nvPr userDrawn="1"/>
          </p:nvSpPr>
          <p:spPr>
            <a:xfrm>
              <a:off x="1081465" y="8358179"/>
              <a:ext cx="1300907" cy="534442"/>
            </a:xfrm>
            <a:prstGeom prst="rect">
              <a:avLst/>
            </a:prstGeom>
            <a:solidFill>
              <a:srgbClr val="8C4395"/>
            </a:solidFill>
            <a:ln w="12700">
              <a:miter lim="400000"/>
            </a:ln>
          </p:spPr>
          <p:txBody>
            <a:bodyPr lIns="50800" tIns="50800" rIns="50800" bIns="50800" anchor="ctr"/>
            <a:lstStyle/>
            <a:p>
              <a:pPr defTabSz="914400"/>
              <a:endParaRPr lang="en-US" sz="1800" dirty="0">
                <a:solidFill>
                  <a:srgbClr val="002D72"/>
                </a:solidFill>
              </a:endParaRPr>
            </a:p>
          </p:txBody>
        </p:sp>
        <p:sp>
          <p:nvSpPr>
            <p:cNvPr id="23" name="Rectangle"/>
            <p:cNvSpPr/>
            <p:nvPr userDrawn="1"/>
          </p:nvSpPr>
          <p:spPr>
            <a:xfrm>
              <a:off x="1081465" y="8143172"/>
              <a:ext cx="1300907" cy="215008"/>
            </a:xfrm>
            <a:prstGeom prst="rect">
              <a:avLst/>
            </a:prstGeom>
            <a:solidFill>
              <a:srgbClr val="A469AB"/>
            </a:solidFill>
            <a:ln w="12700">
              <a:miter lim="400000"/>
            </a:ln>
          </p:spPr>
          <p:txBody>
            <a:bodyPr lIns="50800" tIns="50800" rIns="50800" bIns="50800" anchor="ctr"/>
            <a:lstStyle/>
            <a:p>
              <a:pPr defTabSz="914400"/>
              <a:endParaRPr lang="en-US" sz="1800" dirty="0">
                <a:solidFill>
                  <a:srgbClr val="002D72"/>
                </a:solidFill>
              </a:endParaRPr>
            </a:p>
          </p:txBody>
        </p:sp>
        <p:sp>
          <p:nvSpPr>
            <p:cNvPr id="24" name="Rectangle"/>
            <p:cNvSpPr/>
            <p:nvPr userDrawn="1"/>
          </p:nvSpPr>
          <p:spPr>
            <a:xfrm>
              <a:off x="1081465" y="6155671"/>
              <a:ext cx="1300907" cy="1987502"/>
            </a:xfrm>
            <a:prstGeom prst="rect">
              <a:avLst/>
            </a:prstGeom>
            <a:solidFill>
              <a:srgbClr val="63006C"/>
            </a:solidFill>
            <a:ln w="12700">
              <a:miter lim="400000"/>
            </a:ln>
          </p:spPr>
          <p:txBody>
            <a:bodyPr lIns="50800" tIns="50800" rIns="50800" bIns="50800" anchor="ctr"/>
            <a:lstStyle/>
            <a:p>
              <a:pPr defTabSz="914400"/>
              <a:endParaRPr lang="en-US" sz="1800" dirty="0">
                <a:solidFill>
                  <a:srgbClr val="002D72"/>
                </a:solidFill>
              </a:endParaRPr>
            </a:p>
          </p:txBody>
        </p:sp>
        <p:sp>
          <p:nvSpPr>
            <p:cNvPr id="25" name="Rectangle"/>
            <p:cNvSpPr/>
            <p:nvPr userDrawn="1"/>
          </p:nvSpPr>
          <p:spPr>
            <a:xfrm>
              <a:off x="1081465" y="5684233"/>
              <a:ext cx="1300907" cy="471439"/>
            </a:xfrm>
            <a:prstGeom prst="rect">
              <a:avLst/>
            </a:prstGeom>
            <a:solidFill>
              <a:srgbClr val="8B4193"/>
            </a:solidFill>
            <a:ln w="12700">
              <a:miter lim="400000"/>
            </a:ln>
          </p:spPr>
          <p:txBody>
            <a:bodyPr lIns="50800" tIns="50800" rIns="50800" bIns="50800" anchor="ctr"/>
            <a:lstStyle/>
            <a:p>
              <a:pPr defTabSz="914400"/>
              <a:endParaRPr lang="en-US" sz="1800" dirty="0">
                <a:solidFill>
                  <a:srgbClr val="002D72"/>
                </a:solidFill>
              </a:endParaRPr>
            </a:p>
          </p:txBody>
        </p:sp>
        <p:sp>
          <p:nvSpPr>
            <p:cNvPr id="26" name="Rectangle"/>
            <p:cNvSpPr/>
            <p:nvPr userDrawn="1"/>
          </p:nvSpPr>
          <p:spPr>
            <a:xfrm>
              <a:off x="1081465" y="330985"/>
              <a:ext cx="1300907" cy="813396"/>
            </a:xfrm>
            <a:prstGeom prst="rect">
              <a:avLst/>
            </a:prstGeom>
            <a:solidFill>
              <a:srgbClr val="8C4395"/>
            </a:solidFill>
            <a:ln w="12700">
              <a:miter lim="400000"/>
            </a:ln>
          </p:spPr>
          <p:txBody>
            <a:bodyPr lIns="50800" tIns="50800" rIns="50800" bIns="50800" anchor="ctr"/>
            <a:lstStyle/>
            <a:p>
              <a:pPr defTabSz="914400"/>
              <a:endParaRPr lang="en-US" sz="1800" dirty="0">
                <a:solidFill>
                  <a:srgbClr val="002D72"/>
                </a:solidFill>
              </a:endParaRPr>
            </a:p>
          </p:txBody>
        </p:sp>
        <p:sp>
          <p:nvSpPr>
            <p:cNvPr id="27" name="Rectangle"/>
            <p:cNvSpPr/>
            <p:nvPr userDrawn="1"/>
          </p:nvSpPr>
          <p:spPr>
            <a:xfrm>
              <a:off x="1081465" y="1144380"/>
              <a:ext cx="1300907" cy="4539854"/>
            </a:xfrm>
            <a:prstGeom prst="rect">
              <a:avLst/>
            </a:prstGeom>
            <a:solidFill>
              <a:srgbClr val="70147B"/>
            </a:solidFill>
            <a:ln w="12700">
              <a:miter lim="400000"/>
            </a:ln>
          </p:spPr>
          <p:txBody>
            <a:bodyPr lIns="50800" tIns="50800" rIns="50800" bIns="50800" anchor="ctr"/>
            <a:lstStyle/>
            <a:p>
              <a:pPr defTabSz="914400"/>
              <a:endParaRPr lang="en-US" sz="1800" dirty="0">
                <a:solidFill>
                  <a:srgbClr val="002D72"/>
                </a:solidFill>
              </a:endParaRPr>
            </a:p>
          </p:txBody>
        </p:sp>
        <p:sp>
          <p:nvSpPr>
            <p:cNvPr id="28" name="Rectangle"/>
            <p:cNvSpPr/>
            <p:nvPr userDrawn="1"/>
          </p:nvSpPr>
          <p:spPr>
            <a:xfrm>
              <a:off x="1081465" y="114688"/>
              <a:ext cx="1300907" cy="216298"/>
            </a:xfrm>
            <a:prstGeom prst="rect">
              <a:avLst/>
            </a:prstGeom>
            <a:solidFill>
              <a:srgbClr val="70147B"/>
            </a:solidFill>
            <a:ln w="12700">
              <a:miter lim="400000"/>
            </a:ln>
          </p:spPr>
          <p:txBody>
            <a:bodyPr lIns="50800" tIns="50800" rIns="50800" bIns="50800" anchor="ctr"/>
            <a:lstStyle/>
            <a:p>
              <a:pPr defTabSz="914400"/>
              <a:endParaRPr lang="en-US" sz="1800" dirty="0">
                <a:solidFill>
                  <a:srgbClr val="002D72"/>
                </a:solidFill>
              </a:endParaRPr>
            </a:p>
          </p:txBody>
        </p:sp>
      </p:grpSp>
    </p:spTree>
    <p:extLst>
      <p:ext uri="{BB962C8B-B14F-4D97-AF65-F5344CB8AC3E}">
        <p14:creationId xmlns:p14="http://schemas.microsoft.com/office/powerpoint/2010/main" val="1574944001"/>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Divider 6">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6" y="1592"/>
          <a:ext cx="1953" cy="1587"/>
        </p:xfrm>
        <a:graphic>
          <a:graphicData uri="http://schemas.openxmlformats.org/presentationml/2006/ole">
            <mc:AlternateContent xmlns:mc="http://schemas.openxmlformats.org/markup-compatibility/2006">
              <mc:Choice xmlns:v="urn:schemas-microsoft-com:vml" Requires="v">
                <p:oleObj spid="_x0000_s2495176"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6" y="1592"/>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4000" b="0" baseline="0">
                <a:solidFill>
                  <a:srgbClr val="016AA1"/>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500" b="0">
                <a:solidFill>
                  <a:srgbClr val="104D6A"/>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400" b="0">
                <a:solidFill>
                  <a:srgbClr val="2591C0"/>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5"/>
            <a:ext cx="12120517" cy="574391"/>
          </a:xfrm>
          <a:prstGeom prst="rect">
            <a:avLst/>
          </a:prstGeom>
          <a:ln w="12700">
            <a:miter lim="400000"/>
          </a:ln>
        </p:spPr>
      </p:pic>
      <p:grpSp>
        <p:nvGrpSpPr>
          <p:cNvPr id="21" name="Group 20"/>
          <p:cNvGrpSpPr/>
          <p:nvPr userDrawn="1"/>
        </p:nvGrpSpPr>
        <p:grpSpPr>
          <a:xfrm>
            <a:off x="209179" y="98854"/>
            <a:ext cx="1111928" cy="6096000"/>
            <a:chOff x="160238" y="154880"/>
            <a:chExt cx="1300907" cy="8777933"/>
          </a:xfrm>
        </p:grpSpPr>
        <p:sp>
          <p:nvSpPr>
            <p:cNvPr id="22" name="Rectangle"/>
            <p:cNvSpPr/>
            <p:nvPr userDrawn="1"/>
          </p:nvSpPr>
          <p:spPr>
            <a:xfrm>
              <a:off x="160238" y="8398371"/>
              <a:ext cx="1300907" cy="534442"/>
            </a:xfrm>
            <a:prstGeom prst="rect">
              <a:avLst/>
            </a:prstGeom>
            <a:solidFill>
              <a:srgbClr val="85CDD9"/>
            </a:solidFill>
            <a:ln w="12700">
              <a:miter lim="400000"/>
            </a:ln>
          </p:spPr>
          <p:txBody>
            <a:bodyPr lIns="50800" tIns="50800" rIns="50800" bIns="50800" anchor="ctr"/>
            <a:lstStyle/>
            <a:p>
              <a:pPr defTabSz="914400"/>
              <a:endParaRPr lang="en-US" sz="1800" dirty="0">
                <a:solidFill>
                  <a:srgbClr val="002D72"/>
                </a:solidFill>
              </a:endParaRPr>
            </a:p>
          </p:txBody>
        </p:sp>
        <p:sp>
          <p:nvSpPr>
            <p:cNvPr id="23" name="Rectangle"/>
            <p:cNvSpPr/>
            <p:nvPr userDrawn="1"/>
          </p:nvSpPr>
          <p:spPr>
            <a:xfrm>
              <a:off x="160238" y="8183364"/>
              <a:ext cx="1300907" cy="215008"/>
            </a:xfrm>
            <a:prstGeom prst="rect">
              <a:avLst/>
            </a:prstGeom>
            <a:solidFill>
              <a:srgbClr val="4D89AD"/>
            </a:solidFill>
            <a:ln w="12700">
              <a:miter lim="400000"/>
            </a:ln>
          </p:spPr>
          <p:txBody>
            <a:bodyPr lIns="50800" tIns="50800" rIns="50800" bIns="50800" anchor="ctr"/>
            <a:lstStyle/>
            <a:p>
              <a:pPr defTabSz="914400"/>
              <a:endParaRPr lang="en-US" sz="1800" dirty="0">
                <a:solidFill>
                  <a:srgbClr val="002D72"/>
                </a:solidFill>
              </a:endParaRPr>
            </a:p>
          </p:txBody>
        </p:sp>
        <p:sp>
          <p:nvSpPr>
            <p:cNvPr id="24" name="Rectangle"/>
            <p:cNvSpPr/>
            <p:nvPr userDrawn="1"/>
          </p:nvSpPr>
          <p:spPr>
            <a:xfrm>
              <a:off x="160238" y="6195863"/>
              <a:ext cx="1300907" cy="1987502"/>
            </a:xfrm>
            <a:prstGeom prst="rect">
              <a:avLst/>
            </a:prstGeom>
            <a:solidFill>
              <a:srgbClr val="2591C0"/>
            </a:solidFill>
            <a:ln w="12700">
              <a:miter lim="400000"/>
            </a:ln>
          </p:spPr>
          <p:txBody>
            <a:bodyPr lIns="50800" tIns="50800" rIns="50800" bIns="50800" anchor="ctr"/>
            <a:lstStyle/>
            <a:p>
              <a:pPr defTabSz="914400"/>
              <a:endParaRPr lang="en-US" sz="1800" dirty="0">
                <a:solidFill>
                  <a:srgbClr val="002D72"/>
                </a:solidFill>
              </a:endParaRPr>
            </a:p>
          </p:txBody>
        </p:sp>
        <p:sp>
          <p:nvSpPr>
            <p:cNvPr id="25" name="Rectangle"/>
            <p:cNvSpPr/>
            <p:nvPr userDrawn="1"/>
          </p:nvSpPr>
          <p:spPr>
            <a:xfrm>
              <a:off x="160238" y="5724425"/>
              <a:ext cx="1300907" cy="471439"/>
            </a:xfrm>
            <a:prstGeom prst="rect">
              <a:avLst/>
            </a:prstGeom>
            <a:solidFill>
              <a:srgbClr val="104D6A"/>
            </a:solidFill>
            <a:ln w="12700">
              <a:miter lim="400000"/>
            </a:ln>
          </p:spPr>
          <p:txBody>
            <a:bodyPr lIns="50800" tIns="50800" rIns="50800" bIns="50800" anchor="ctr"/>
            <a:lstStyle/>
            <a:p>
              <a:pPr defTabSz="914400"/>
              <a:endParaRPr lang="en-US" sz="1800" dirty="0">
                <a:solidFill>
                  <a:srgbClr val="002D72"/>
                </a:solidFill>
              </a:endParaRPr>
            </a:p>
          </p:txBody>
        </p:sp>
        <p:sp>
          <p:nvSpPr>
            <p:cNvPr id="26" name="Rectangle"/>
            <p:cNvSpPr/>
            <p:nvPr userDrawn="1"/>
          </p:nvSpPr>
          <p:spPr>
            <a:xfrm>
              <a:off x="160238" y="371177"/>
              <a:ext cx="1300907" cy="813396"/>
            </a:xfrm>
            <a:prstGeom prst="rect">
              <a:avLst/>
            </a:prstGeom>
            <a:solidFill>
              <a:srgbClr val="095B88"/>
            </a:solidFill>
            <a:ln w="12700">
              <a:miter lim="400000"/>
            </a:ln>
          </p:spPr>
          <p:txBody>
            <a:bodyPr lIns="50800" tIns="50800" rIns="50800" bIns="50800" anchor="ctr"/>
            <a:lstStyle/>
            <a:p>
              <a:pPr defTabSz="914400"/>
              <a:endParaRPr lang="en-US" sz="1800" dirty="0">
                <a:solidFill>
                  <a:srgbClr val="002D72"/>
                </a:solidFill>
              </a:endParaRPr>
            </a:p>
          </p:txBody>
        </p:sp>
        <p:sp>
          <p:nvSpPr>
            <p:cNvPr id="27" name="Rectangle"/>
            <p:cNvSpPr/>
            <p:nvPr userDrawn="1"/>
          </p:nvSpPr>
          <p:spPr>
            <a:xfrm>
              <a:off x="160238" y="1184572"/>
              <a:ext cx="1300907" cy="4539854"/>
            </a:xfrm>
            <a:prstGeom prst="rect">
              <a:avLst/>
            </a:prstGeom>
            <a:solidFill>
              <a:srgbClr val="016AA1"/>
            </a:solidFill>
            <a:ln w="12700">
              <a:miter lim="400000"/>
            </a:ln>
          </p:spPr>
          <p:txBody>
            <a:bodyPr lIns="50800" tIns="50800" rIns="50800" bIns="50800" anchor="ctr"/>
            <a:lstStyle/>
            <a:p>
              <a:pPr defTabSz="914400"/>
              <a:endParaRPr lang="en-US" sz="1800" dirty="0">
                <a:solidFill>
                  <a:srgbClr val="002D72"/>
                </a:solidFill>
              </a:endParaRPr>
            </a:p>
          </p:txBody>
        </p:sp>
        <p:sp>
          <p:nvSpPr>
            <p:cNvPr id="28" name="Rectangle"/>
            <p:cNvSpPr/>
            <p:nvPr userDrawn="1"/>
          </p:nvSpPr>
          <p:spPr>
            <a:xfrm>
              <a:off x="160238" y="154880"/>
              <a:ext cx="1300907" cy="216298"/>
            </a:xfrm>
            <a:prstGeom prst="rect">
              <a:avLst/>
            </a:prstGeom>
            <a:solidFill>
              <a:srgbClr val="85CDD9"/>
            </a:solidFill>
            <a:ln w="12700">
              <a:miter lim="400000"/>
            </a:ln>
          </p:spPr>
          <p:txBody>
            <a:bodyPr lIns="50800" tIns="50800" rIns="50800" bIns="50800" anchor="ctr"/>
            <a:lstStyle/>
            <a:p>
              <a:pPr defTabSz="914400"/>
              <a:endParaRPr lang="en-US" sz="1800" dirty="0">
                <a:solidFill>
                  <a:srgbClr val="002D72"/>
                </a:solidFill>
              </a:endParaRPr>
            </a:p>
          </p:txBody>
        </p:sp>
      </p:grpSp>
    </p:spTree>
    <p:extLst>
      <p:ext uri="{BB962C8B-B14F-4D97-AF65-F5344CB8AC3E}">
        <p14:creationId xmlns:p14="http://schemas.microsoft.com/office/powerpoint/2010/main" val="143398034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UB PORTADA BW">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stretch>
            <a:fillRect/>
          </a:stretch>
        </p:blipFill>
        <p:spPr>
          <a:xfrm>
            <a:off x="0" y="-89376"/>
            <a:ext cx="12283621" cy="6962249"/>
          </a:xfrm>
          <a:prstGeom prst="rect">
            <a:avLst/>
          </a:prstGeom>
        </p:spPr>
      </p:pic>
      <p:sp>
        <p:nvSpPr>
          <p:cNvPr id="6" name="Title 1"/>
          <p:cNvSpPr>
            <a:spLocks noGrp="1"/>
          </p:cNvSpPr>
          <p:nvPr>
            <p:ph type="ctrTitle" idx="4294967295"/>
          </p:nvPr>
        </p:nvSpPr>
        <p:spPr>
          <a:xfrm>
            <a:off x="819153" y="3311525"/>
            <a:ext cx="10947400" cy="517525"/>
          </a:xfrm>
        </p:spPr>
        <p:txBody>
          <a:bodyPr/>
          <a:lstStyle/>
          <a:p>
            <a:pPr>
              <a:defRPr/>
            </a:pPr>
            <a:r>
              <a:rPr lang="es-ES_tradnl" sz="3200" dirty="0">
                <a:solidFill>
                  <a:schemeClr val="bg1"/>
                </a:solidFill>
              </a:rPr>
              <a:t>T</a:t>
            </a:r>
            <a:r>
              <a:rPr lang="en-US" sz="3200" dirty="0" err="1">
                <a:solidFill>
                  <a:schemeClr val="bg1"/>
                </a:solidFill>
              </a:rPr>
              <a:t>í</a:t>
            </a:r>
            <a:r>
              <a:rPr lang="es-ES_tradnl" sz="3200" dirty="0" err="1">
                <a:solidFill>
                  <a:schemeClr val="bg1"/>
                </a:solidFill>
              </a:rPr>
              <a:t>tulo</a:t>
            </a:r>
            <a:r>
              <a:rPr lang="es-ES_tradnl" sz="3200" dirty="0">
                <a:solidFill>
                  <a:schemeClr val="bg1"/>
                </a:solidFill>
              </a:rPr>
              <a:t> va aquí</a:t>
            </a:r>
            <a:endParaRPr lang="en-US" sz="3200" dirty="0">
              <a:solidFill>
                <a:schemeClr val="bg1"/>
              </a:solidFill>
            </a:endParaRPr>
          </a:p>
        </p:txBody>
      </p:sp>
      <p:sp>
        <p:nvSpPr>
          <p:cNvPr id="7" name="Subtitle 2"/>
          <p:cNvSpPr>
            <a:spLocks noGrp="1"/>
          </p:cNvSpPr>
          <p:nvPr>
            <p:ph type="subTitle" sz="quarter" idx="4294967295"/>
          </p:nvPr>
        </p:nvSpPr>
        <p:spPr>
          <a:xfrm>
            <a:off x="823384" y="3829052"/>
            <a:ext cx="10962216" cy="1014413"/>
          </a:xfrm>
          <a:extLst>
            <a:ext uri="{91240B29-F687-4F45-9708-019B960494DF}">
              <a14:hiddenLine xmlns:a14="http://schemas.microsoft.com/office/drawing/2010/main" w="9525">
                <a:solidFill>
                  <a:schemeClr val="tx1"/>
                </a:solidFill>
                <a:miter lim="800000"/>
                <a:headEnd/>
                <a:tailEnd/>
              </a14:hiddenLine>
            </a:ext>
          </a:extLst>
        </p:spPr>
        <p:txBody>
          <a:bodyPr tIns="0" rIns="0" bIns="0"/>
          <a:lstStyle>
            <a:lvl1pPr marL="0" indent="0">
              <a:lnSpc>
                <a:spcPct val="100000"/>
              </a:lnSpc>
              <a:spcBef>
                <a:spcPct val="0"/>
              </a:spcBef>
              <a:spcAft>
                <a:spcPct val="0"/>
              </a:spcAft>
              <a:buFontTx/>
              <a:buNone/>
              <a:defRPr/>
            </a:lvl1pPr>
          </a:lstStyle>
          <a:p>
            <a:pPr marL="0" indent="0">
              <a:lnSpc>
                <a:spcPct val="100000"/>
              </a:lnSpc>
              <a:spcBef>
                <a:spcPct val="0"/>
              </a:spcBef>
              <a:spcAft>
                <a:spcPct val="0"/>
              </a:spcAft>
              <a:buFontTx/>
              <a:buNone/>
              <a:defRPr/>
            </a:pPr>
            <a:r>
              <a:rPr lang="es-ES_tradnl" sz="3200" dirty="0">
                <a:solidFill>
                  <a:srgbClr val="00BDF2"/>
                </a:solidFill>
              </a:rPr>
              <a:t>Subtitulo va aquí</a:t>
            </a:r>
          </a:p>
        </p:txBody>
      </p:sp>
      <p:pic>
        <p:nvPicPr>
          <p:cNvPr id="9" name="Picture 8"/>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305360" y="4843463"/>
            <a:ext cx="4754651" cy="2307404"/>
          </a:xfrm>
          <a:prstGeom prst="rect">
            <a:avLst/>
          </a:prstGeom>
        </p:spPr>
      </p:pic>
    </p:spTree>
    <p:extLst>
      <p:ext uri="{BB962C8B-B14F-4D97-AF65-F5344CB8AC3E}">
        <p14:creationId xmlns:p14="http://schemas.microsoft.com/office/powerpoint/2010/main" val="1955162961"/>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956" y="1592"/>
          <a:ext cx="1953" cy="1587"/>
        </p:xfrm>
        <a:graphic>
          <a:graphicData uri="http://schemas.openxmlformats.org/presentationml/2006/ole">
            <mc:AlternateContent xmlns:mc="http://schemas.openxmlformats.org/markup-compatibility/2006">
              <mc:Choice xmlns:v="urn:schemas-microsoft-com:vml" Requires="v">
                <p:oleObj spid="_x0000_s2496200"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6" y="1592"/>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562710" y="162000"/>
            <a:ext cx="11068060" cy="704087"/>
          </a:xfrm>
        </p:spPr>
        <p:txBody>
          <a:bodyPr anchor="t"/>
          <a:lstStyle>
            <a:lvl1pPr>
              <a:defRPr>
                <a:latin typeface="Arial"/>
                <a:sym typeface="Arial"/>
              </a:defRPr>
            </a:lvl1pPr>
          </a:lstStyle>
          <a:p>
            <a:endParaRPr lang="en-US" dirty="0"/>
          </a:p>
        </p:txBody>
      </p:sp>
      <p:sp>
        <p:nvSpPr>
          <p:cNvPr id="4" name="Text Placeholder 3"/>
          <p:cNvSpPr>
            <a:spLocks noGrp="1"/>
          </p:cNvSpPr>
          <p:nvPr>
            <p:ph type="body" sz="quarter" idx="10"/>
          </p:nvPr>
        </p:nvSpPr>
        <p:spPr>
          <a:xfrm>
            <a:off x="562710" y="1508760"/>
            <a:ext cx="11068060" cy="3997304"/>
          </a:xfrm>
        </p:spPr>
        <p:txBody>
          <a:bodyPr lIns="0" tIns="0" rIns="0" bIns="0"/>
          <a:lstStyle>
            <a:lvl1pPr>
              <a:spcBef>
                <a:spcPts val="384"/>
              </a:spcBef>
              <a:defRPr>
                <a:latin typeface="Arial"/>
                <a:sym typeface="Arial"/>
              </a:defRPr>
            </a:lvl1pPr>
            <a:lvl2pPr marL="457200" indent="-230400">
              <a:spcBef>
                <a:spcPts val="384"/>
              </a:spcBef>
              <a:defRPr>
                <a:latin typeface="Arial"/>
                <a:sym typeface="Arial"/>
              </a:defRPr>
            </a:lvl2pPr>
            <a:lvl3pPr marL="914400" indent="-230400">
              <a:spcBef>
                <a:spcPts val="384"/>
              </a:spcBef>
              <a:defRPr>
                <a:latin typeface="Arial"/>
                <a:sym typeface="Arial"/>
              </a:defRPr>
            </a:lvl3pPr>
            <a:lvl4pPr marL="1375200" indent="-234000">
              <a:spcBef>
                <a:spcPts val="384"/>
              </a:spcBef>
              <a:defRPr>
                <a:latin typeface="Arial"/>
                <a:sym typeface="Arial"/>
              </a:defRPr>
            </a:lvl4pPr>
            <a:lvl5pPr marL="2059200" indent="-230400">
              <a:spcBef>
                <a:spcPts val="384"/>
              </a:spcBef>
              <a:defRPr>
                <a:latin typeface="Arial"/>
                <a:sym typeface="Aria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6"/>
          <p:cNvSpPr>
            <a:spLocks noGrp="1"/>
          </p:cNvSpPr>
          <p:nvPr>
            <p:ph type="body" sz="quarter" idx="11"/>
          </p:nvPr>
        </p:nvSpPr>
        <p:spPr>
          <a:xfrm>
            <a:off x="562710" y="863601"/>
            <a:ext cx="11068060" cy="320359"/>
          </a:xfrm>
        </p:spPr>
        <p:txBody>
          <a:bodyPr anchor="t">
            <a:normAutofit/>
          </a:bodyPr>
          <a:lstStyle>
            <a:lvl1pPr>
              <a:defRPr sz="1500" b="0">
                <a:solidFill>
                  <a:srgbClr val="73C4EF"/>
                </a:solidFill>
              </a:defRPr>
            </a:lvl1pPr>
          </a:lstStyle>
          <a:p>
            <a:pPr lvl="0"/>
            <a:endParaRPr lang="en-US" dirty="0"/>
          </a:p>
        </p:txBody>
      </p:sp>
    </p:spTree>
    <p:extLst>
      <p:ext uri="{BB962C8B-B14F-4D97-AF65-F5344CB8AC3E}">
        <p14:creationId xmlns:p14="http://schemas.microsoft.com/office/powerpoint/2010/main" val="4122752545"/>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ext with bullets">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1956" y="1592"/>
          <a:ext cx="1953" cy="1587"/>
        </p:xfrm>
        <a:graphic>
          <a:graphicData uri="http://schemas.openxmlformats.org/presentationml/2006/ole">
            <mc:AlternateContent xmlns:mc="http://schemas.openxmlformats.org/markup-compatibility/2006">
              <mc:Choice xmlns:v="urn:schemas-microsoft-com:vml" Requires="v">
                <p:oleObj spid="_x0000_s2497224"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6" y="1592"/>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ext Placeholder 7"/>
          <p:cNvSpPr>
            <a:spLocks noGrp="1"/>
          </p:cNvSpPr>
          <p:nvPr userDrawn="1">
            <p:ph type="body" sz="quarter" idx="13"/>
          </p:nvPr>
        </p:nvSpPr>
        <p:spPr>
          <a:xfrm>
            <a:off x="562710" y="1508400"/>
            <a:ext cx="11068060" cy="3997304"/>
          </a:xfrm>
          <a:prstGeom prst="rect">
            <a:avLst/>
          </a:prstGeom>
        </p:spPr>
        <p:txBody>
          <a:bodyPr lIns="0" tIns="0" rIns="0" bIns="0"/>
          <a:lstStyle>
            <a:lvl1pPr marL="172800" indent="-172800">
              <a:spcBef>
                <a:spcPts val="384"/>
              </a:spcBef>
              <a:buClr>
                <a:srgbClr val="002D72"/>
              </a:buClr>
              <a:buFont typeface="Arial" pitchFamily="34" charset="0"/>
              <a:buChar char="•"/>
              <a:tabLst/>
              <a:defRPr b="0">
                <a:latin typeface="Arial"/>
                <a:sym typeface="Arial"/>
              </a:defRPr>
            </a:lvl1pPr>
            <a:lvl2pPr marL="630000" indent="-230400">
              <a:spcBef>
                <a:spcPts val="384"/>
              </a:spcBef>
              <a:buFont typeface="Arial" pitchFamily="34" charset="0"/>
              <a:buChar char="–"/>
              <a:defRPr>
                <a:latin typeface="Arial"/>
                <a:sym typeface="Arial"/>
              </a:defRPr>
            </a:lvl2pPr>
            <a:lvl3pPr marL="1076400" indent="-230400">
              <a:spcBef>
                <a:spcPts val="384"/>
              </a:spcBef>
              <a:defRPr>
                <a:latin typeface="Arial"/>
                <a:sym typeface="Arial"/>
              </a:defRPr>
            </a:lvl3pPr>
            <a:lvl4pPr marL="1544400" indent="-230400">
              <a:spcBef>
                <a:spcPts val="384"/>
              </a:spcBef>
              <a:defRPr>
                <a:latin typeface="Arial"/>
                <a:sym typeface="Arial"/>
              </a:defRPr>
            </a:lvl4pPr>
            <a:lvl5pPr marL="2059200" indent="-230400">
              <a:spcBef>
                <a:spcPts val="384"/>
              </a:spcBef>
              <a:defRPr>
                <a:latin typeface="Arial"/>
                <a:sym typeface="Aria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itle 1"/>
          <p:cNvSpPr>
            <a:spLocks noGrp="1"/>
          </p:cNvSpPr>
          <p:nvPr>
            <p:ph type="title"/>
          </p:nvPr>
        </p:nvSpPr>
        <p:spPr>
          <a:xfrm>
            <a:off x="562710" y="162000"/>
            <a:ext cx="11068060" cy="704087"/>
          </a:xfrm>
        </p:spPr>
        <p:txBody>
          <a:bodyPr anchor="t"/>
          <a:lstStyle>
            <a:lvl1pPr>
              <a:defRPr>
                <a:latin typeface="Arial"/>
                <a:sym typeface="Arial"/>
              </a:defRPr>
            </a:lvl1pPr>
          </a:lstStyle>
          <a:p>
            <a:endParaRPr lang="en-US" dirty="0"/>
          </a:p>
        </p:txBody>
      </p:sp>
      <p:sp>
        <p:nvSpPr>
          <p:cNvPr id="8" name="Text Placeholder 6"/>
          <p:cNvSpPr>
            <a:spLocks noGrp="1"/>
          </p:cNvSpPr>
          <p:nvPr>
            <p:ph type="body" sz="quarter" idx="11"/>
          </p:nvPr>
        </p:nvSpPr>
        <p:spPr>
          <a:xfrm>
            <a:off x="562710" y="863601"/>
            <a:ext cx="11068060" cy="320359"/>
          </a:xfrm>
        </p:spPr>
        <p:txBody>
          <a:bodyPr anchor="t">
            <a:normAutofit/>
          </a:bodyPr>
          <a:lstStyle>
            <a:lvl1pPr>
              <a:defRPr sz="1500" b="0">
                <a:solidFill>
                  <a:srgbClr val="73C4EF"/>
                </a:solidFill>
              </a:defRPr>
            </a:lvl1pPr>
          </a:lstStyle>
          <a:p>
            <a:pPr lvl="0"/>
            <a:endParaRPr lang="en-US" dirty="0"/>
          </a:p>
        </p:txBody>
      </p:sp>
    </p:spTree>
    <p:extLst>
      <p:ext uri="{BB962C8B-B14F-4D97-AF65-F5344CB8AC3E}">
        <p14:creationId xmlns:p14="http://schemas.microsoft.com/office/powerpoint/2010/main" val="3137927537"/>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956" y="1592"/>
          <a:ext cx="1953" cy="1587"/>
        </p:xfrm>
        <a:graphic>
          <a:graphicData uri="http://schemas.openxmlformats.org/presentationml/2006/ole">
            <mc:AlternateContent xmlns:mc="http://schemas.openxmlformats.org/markup-compatibility/2006">
              <mc:Choice xmlns:v="urn:schemas-microsoft-com:vml" Requires="v">
                <p:oleObj spid="_x0000_s2498248"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6" y="1592"/>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le 1"/>
          <p:cNvSpPr>
            <a:spLocks noGrp="1"/>
          </p:cNvSpPr>
          <p:nvPr>
            <p:ph type="title"/>
          </p:nvPr>
        </p:nvSpPr>
        <p:spPr>
          <a:xfrm>
            <a:off x="562710" y="162000"/>
            <a:ext cx="11068060" cy="704087"/>
          </a:xfrm>
        </p:spPr>
        <p:txBody>
          <a:bodyPr anchor="t"/>
          <a:lstStyle>
            <a:lvl1pPr>
              <a:defRPr>
                <a:latin typeface="Arial"/>
                <a:sym typeface="Arial"/>
              </a:defRPr>
            </a:lvl1pPr>
          </a:lstStyle>
          <a:p>
            <a:endParaRPr lang="en-US" dirty="0"/>
          </a:p>
        </p:txBody>
      </p:sp>
      <p:sp>
        <p:nvSpPr>
          <p:cNvPr id="6" name="Text Placeholder 6"/>
          <p:cNvSpPr>
            <a:spLocks noGrp="1"/>
          </p:cNvSpPr>
          <p:nvPr>
            <p:ph type="body" sz="quarter" idx="11"/>
          </p:nvPr>
        </p:nvSpPr>
        <p:spPr>
          <a:xfrm>
            <a:off x="562710" y="863601"/>
            <a:ext cx="11068060" cy="320359"/>
          </a:xfrm>
        </p:spPr>
        <p:txBody>
          <a:bodyPr anchor="t">
            <a:normAutofit/>
          </a:bodyPr>
          <a:lstStyle>
            <a:lvl1pPr>
              <a:defRPr sz="1500" b="0">
                <a:solidFill>
                  <a:srgbClr val="73C4EF"/>
                </a:solidFill>
              </a:defRPr>
            </a:lvl1pPr>
          </a:lstStyle>
          <a:p>
            <a:pPr lvl="0"/>
            <a:endParaRPr lang="en-US" dirty="0"/>
          </a:p>
        </p:txBody>
      </p:sp>
    </p:spTree>
    <p:extLst>
      <p:ext uri="{BB962C8B-B14F-4D97-AF65-F5344CB8AC3E}">
        <p14:creationId xmlns:p14="http://schemas.microsoft.com/office/powerpoint/2010/main" val="4081415557"/>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1956" y="1592"/>
          <a:ext cx="1953" cy="1587"/>
        </p:xfrm>
        <a:graphic>
          <a:graphicData uri="http://schemas.openxmlformats.org/presentationml/2006/ole">
            <mc:AlternateContent xmlns:mc="http://schemas.openxmlformats.org/markup-compatibility/2006">
              <mc:Choice xmlns:v="urn:schemas-microsoft-com:vml" Requires="v">
                <p:oleObj spid="_x0000_s2499272"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6" y="1592"/>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3163603174"/>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type="title" preserve="1">
  <p:cSld name="PORTADA">
    <p:spTree>
      <p:nvGrpSpPr>
        <p:cNvPr id="1" name=""/>
        <p:cNvGrpSpPr/>
        <p:nvPr/>
      </p:nvGrpSpPr>
      <p:grpSpPr>
        <a:xfrm>
          <a:off x="0" y="0"/>
          <a:ext cx="0" cy="0"/>
          <a:chOff x="0" y="0"/>
          <a:chExt cx="0" cy="0"/>
        </a:xfrm>
      </p:grpSpPr>
      <p:sp>
        <p:nvSpPr>
          <p:cNvPr id="3150" name="Rectangle 78"/>
          <p:cNvSpPr>
            <a:spLocks noGrp="1" noChangeArrowheads="1"/>
          </p:cNvSpPr>
          <p:nvPr>
            <p:ph type="ctrTitle"/>
          </p:nvPr>
        </p:nvSpPr>
        <p:spPr>
          <a:xfrm>
            <a:off x="804336" y="906466"/>
            <a:ext cx="10947400" cy="517525"/>
          </a:xfrm>
        </p:spPr>
        <p:txBody>
          <a:bodyPr/>
          <a:lstStyle>
            <a:lvl1pPr>
              <a:defRPr sz="3200"/>
            </a:lvl1pPr>
          </a:lstStyle>
          <a:p>
            <a:pPr lvl="0"/>
            <a:r>
              <a:rPr lang="en-US" noProof="0" dirty="0"/>
              <a:t>Click to edit Master title style</a:t>
            </a:r>
          </a:p>
        </p:txBody>
      </p:sp>
      <p:sp>
        <p:nvSpPr>
          <p:cNvPr id="3151" name="Rectangle 79"/>
          <p:cNvSpPr>
            <a:spLocks noGrp="1" noChangeArrowheads="1"/>
          </p:cNvSpPr>
          <p:nvPr>
            <p:ph type="subTitle" sz="quarter" idx="1"/>
          </p:nvPr>
        </p:nvSpPr>
        <p:spPr>
          <a:xfrm>
            <a:off x="804336" y="1423988"/>
            <a:ext cx="10962217" cy="1093788"/>
          </a:xfrm>
          <a:extLst>
            <a:ext uri="{91240B29-F687-4F45-9708-019B960494DF}">
              <a14:hiddenLine xmlns:a14="http://schemas.microsoft.com/office/drawing/2010/main" w="9525">
                <a:solidFill>
                  <a:schemeClr val="tx1"/>
                </a:solidFill>
                <a:miter lim="800000"/>
                <a:headEnd/>
                <a:tailEnd/>
              </a14:hiddenLine>
            </a:ext>
          </a:extLst>
        </p:spPr>
        <p:txBody>
          <a:bodyPr/>
          <a:lstStyle>
            <a:lvl1pPr marL="0" indent="0">
              <a:lnSpc>
                <a:spcPct val="100000"/>
              </a:lnSpc>
              <a:spcBef>
                <a:spcPct val="0"/>
              </a:spcBef>
              <a:spcAft>
                <a:spcPct val="0"/>
              </a:spcAft>
              <a:buFontTx/>
              <a:buNone/>
              <a:defRPr sz="3200">
                <a:solidFill>
                  <a:srgbClr val="00BDF2"/>
                </a:solidFill>
              </a:defRPr>
            </a:lvl1pPr>
          </a:lstStyle>
          <a:p>
            <a:pPr lvl="0"/>
            <a:r>
              <a:rPr lang="en-US" noProof="0"/>
              <a:t>Click to edit Master subtitle style</a:t>
            </a:r>
          </a:p>
        </p:txBody>
      </p:sp>
      <p:pic>
        <p:nvPicPr>
          <p:cNvPr id="4" name="Picture 3"/>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296213" y="4844121"/>
            <a:ext cx="4743391" cy="2301940"/>
          </a:xfrm>
          <a:prstGeom prst="rect">
            <a:avLst/>
          </a:prstGeom>
        </p:spPr>
      </p:pic>
    </p:spTree>
    <p:extLst>
      <p:ext uri="{BB962C8B-B14F-4D97-AF65-F5344CB8AC3E}">
        <p14:creationId xmlns:p14="http://schemas.microsoft.com/office/powerpoint/2010/main" val="1053735756"/>
      </p:ext>
    </p:extLst>
  </p:cSld>
  <p:clrMapOvr>
    <a:overrideClrMapping bg1="lt1" tx1="dk1" bg2="lt2" tx2="dk2" accent1="accent1" accent2="accent2" accent3="accent3" accent4="accent4" accent5="accent5" accent6="accent6" hlink="hlink" folHlink="folHlink"/>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85"/>
          <p:cNvSpPr>
            <a:spLocks noGrp="1" noChangeArrowheads="1"/>
          </p:cNvSpPr>
          <p:nvPr>
            <p:ph type="sldNum" sz="quarter" idx="10"/>
          </p:nvPr>
        </p:nvSpPr>
        <p:spPr>
          <a:ln/>
        </p:spPr>
        <p:txBody>
          <a:bodyPr/>
          <a:lstStyle>
            <a:lvl1pPr>
              <a:defRPr/>
            </a:lvl1pPr>
          </a:lstStyle>
          <a:p>
            <a:pPr>
              <a:defRPr/>
            </a:pPr>
            <a:fld id="{92C380FF-0397-644C-B316-9BC79B505A0E}" type="slidenum">
              <a:rPr lang="en-US">
                <a:solidFill>
                  <a:srgbClr val="53565A"/>
                </a:solidFill>
              </a:rPr>
              <a:pPr>
                <a:defRPr/>
              </a:pPr>
              <a:t>‹#›</a:t>
            </a:fld>
            <a:endParaRPr lang="en-US">
              <a:solidFill>
                <a:srgbClr val="53565A"/>
              </a:solidFill>
            </a:endParaRPr>
          </a:p>
        </p:txBody>
      </p:sp>
      <p:sp>
        <p:nvSpPr>
          <p:cNvPr id="6" name="Rectangle 92"/>
          <p:cNvSpPr>
            <a:spLocks noGrp="1" noChangeArrowheads="1"/>
          </p:cNvSpPr>
          <p:nvPr>
            <p:ph type="ftr" sz="quarter" idx="12"/>
          </p:nvPr>
        </p:nvSpPr>
        <p:spPr>
          <a:ln/>
        </p:spPr>
        <p:txBody>
          <a:bodyPr/>
          <a:lstStyle>
            <a:lvl1pPr>
              <a:defRPr/>
            </a:lvl1pPr>
          </a:lstStyle>
          <a:p>
            <a:pPr>
              <a:defRPr/>
            </a:pPr>
            <a:r>
              <a:rPr lang="en-US">
                <a:solidFill>
                  <a:srgbClr val="53565A"/>
                </a:solidFill>
              </a:rPr>
              <a:t>Presentation Title</a:t>
            </a:r>
          </a:p>
        </p:txBody>
      </p:sp>
    </p:spTree>
    <p:extLst>
      <p:ext uri="{BB962C8B-B14F-4D97-AF65-F5344CB8AC3E}">
        <p14:creationId xmlns:p14="http://schemas.microsoft.com/office/powerpoint/2010/main" val="2341944463"/>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Rectangle 85"/>
          <p:cNvSpPr>
            <a:spLocks noGrp="1" noChangeArrowheads="1"/>
          </p:cNvSpPr>
          <p:nvPr>
            <p:ph type="sldNum" sz="quarter" idx="10"/>
          </p:nvPr>
        </p:nvSpPr>
        <p:spPr>
          <a:ln/>
        </p:spPr>
        <p:txBody>
          <a:bodyPr/>
          <a:lstStyle>
            <a:lvl1pPr>
              <a:defRPr/>
            </a:lvl1pPr>
          </a:lstStyle>
          <a:p>
            <a:pPr>
              <a:defRPr/>
            </a:pPr>
            <a:fld id="{B53A4395-16C9-6F44-AB3C-C7A6087BA63D}" type="slidenum">
              <a:rPr lang="en-US">
                <a:solidFill>
                  <a:srgbClr val="53565A"/>
                </a:solidFill>
              </a:rPr>
              <a:pPr>
                <a:defRPr/>
              </a:pPr>
              <a:t>‹#›</a:t>
            </a:fld>
            <a:endParaRPr lang="en-US">
              <a:solidFill>
                <a:srgbClr val="53565A"/>
              </a:solidFill>
            </a:endParaRPr>
          </a:p>
        </p:txBody>
      </p:sp>
      <p:sp>
        <p:nvSpPr>
          <p:cNvPr id="4" name="Rectangle 87"/>
          <p:cNvSpPr>
            <a:spLocks noGrp="1" noChangeArrowheads="1"/>
          </p:cNvSpPr>
          <p:nvPr>
            <p:ph type="dt" sz="half" idx="11"/>
          </p:nvPr>
        </p:nvSpPr>
        <p:spPr>
          <a:ln/>
        </p:spPr>
        <p:txBody>
          <a:bodyPr/>
          <a:lstStyle>
            <a:lvl1pPr>
              <a:defRPr/>
            </a:lvl1pPr>
          </a:lstStyle>
          <a:p>
            <a:pPr>
              <a:defRPr/>
            </a:pPr>
            <a:r>
              <a:rPr lang="en-US">
                <a:solidFill>
                  <a:srgbClr val="53565A"/>
                </a:solidFill>
              </a:rPr>
              <a:t>MM.DD.YY</a:t>
            </a:r>
          </a:p>
        </p:txBody>
      </p:sp>
      <p:sp>
        <p:nvSpPr>
          <p:cNvPr id="5" name="Rectangle 92"/>
          <p:cNvSpPr>
            <a:spLocks noGrp="1" noChangeArrowheads="1"/>
          </p:cNvSpPr>
          <p:nvPr>
            <p:ph type="ftr" sz="quarter" idx="12"/>
          </p:nvPr>
        </p:nvSpPr>
        <p:spPr>
          <a:ln/>
        </p:spPr>
        <p:txBody>
          <a:bodyPr/>
          <a:lstStyle>
            <a:lvl1pPr>
              <a:defRPr/>
            </a:lvl1pPr>
          </a:lstStyle>
          <a:p>
            <a:pPr>
              <a:defRPr/>
            </a:pPr>
            <a:r>
              <a:rPr lang="en-US">
                <a:solidFill>
                  <a:srgbClr val="53565A"/>
                </a:solidFill>
              </a:rPr>
              <a:t>Presentation Title</a:t>
            </a:r>
          </a:p>
        </p:txBody>
      </p:sp>
    </p:spTree>
    <p:extLst>
      <p:ext uri="{BB962C8B-B14F-4D97-AF65-F5344CB8AC3E}">
        <p14:creationId xmlns:p14="http://schemas.microsoft.com/office/powerpoint/2010/main" val="1684727704"/>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SUB PORTADA BW">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stretch>
            <a:fillRect/>
          </a:stretch>
        </p:blipFill>
        <p:spPr>
          <a:xfrm>
            <a:off x="0" y="-89376"/>
            <a:ext cx="12283621" cy="6962249"/>
          </a:xfrm>
          <a:prstGeom prst="rect">
            <a:avLst/>
          </a:prstGeom>
        </p:spPr>
      </p:pic>
      <p:sp>
        <p:nvSpPr>
          <p:cNvPr id="6" name="Title 1"/>
          <p:cNvSpPr>
            <a:spLocks noGrp="1"/>
          </p:cNvSpPr>
          <p:nvPr>
            <p:ph type="ctrTitle" idx="4294967295"/>
          </p:nvPr>
        </p:nvSpPr>
        <p:spPr>
          <a:xfrm>
            <a:off x="819153" y="3311525"/>
            <a:ext cx="10947400" cy="517525"/>
          </a:xfrm>
        </p:spPr>
        <p:txBody>
          <a:bodyPr/>
          <a:lstStyle/>
          <a:p>
            <a:pPr>
              <a:defRPr/>
            </a:pPr>
            <a:r>
              <a:rPr lang="es-ES_tradnl" sz="3200" dirty="0">
                <a:solidFill>
                  <a:schemeClr val="bg1"/>
                </a:solidFill>
              </a:rPr>
              <a:t>T</a:t>
            </a:r>
            <a:r>
              <a:rPr lang="en-US" sz="3200" dirty="0" err="1">
                <a:solidFill>
                  <a:schemeClr val="bg1"/>
                </a:solidFill>
              </a:rPr>
              <a:t>í</a:t>
            </a:r>
            <a:r>
              <a:rPr lang="es-ES_tradnl" sz="3200" dirty="0" err="1">
                <a:solidFill>
                  <a:schemeClr val="bg1"/>
                </a:solidFill>
              </a:rPr>
              <a:t>tulo</a:t>
            </a:r>
            <a:r>
              <a:rPr lang="es-ES_tradnl" sz="3200" dirty="0">
                <a:solidFill>
                  <a:schemeClr val="bg1"/>
                </a:solidFill>
              </a:rPr>
              <a:t> va aquí</a:t>
            </a:r>
            <a:endParaRPr lang="en-US" sz="3200" dirty="0">
              <a:solidFill>
                <a:schemeClr val="bg1"/>
              </a:solidFill>
            </a:endParaRPr>
          </a:p>
        </p:txBody>
      </p:sp>
      <p:sp>
        <p:nvSpPr>
          <p:cNvPr id="7" name="Subtitle 2"/>
          <p:cNvSpPr>
            <a:spLocks noGrp="1"/>
          </p:cNvSpPr>
          <p:nvPr>
            <p:ph type="subTitle" sz="quarter" idx="4294967295"/>
          </p:nvPr>
        </p:nvSpPr>
        <p:spPr>
          <a:xfrm>
            <a:off x="823384" y="3829052"/>
            <a:ext cx="10962216" cy="1014413"/>
          </a:xfrm>
          <a:extLst>
            <a:ext uri="{91240B29-F687-4F45-9708-019B960494DF}">
              <a14:hiddenLine xmlns:a14="http://schemas.microsoft.com/office/drawing/2010/main" w="9525">
                <a:solidFill>
                  <a:schemeClr val="tx1"/>
                </a:solidFill>
                <a:miter lim="800000"/>
                <a:headEnd/>
                <a:tailEnd/>
              </a14:hiddenLine>
            </a:ext>
          </a:extLst>
        </p:spPr>
        <p:txBody>
          <a:bodyPr tIns="0" rIns="0" bIns="0"/>
          <a:lstStyle>
            <a:lvl1pPr marL="0" indent="0">
              <a:lnSpc>
                <a:spcPct val="100000"/>
              </a:lnSpc>
              <a:spcBef>
                <a:spcPct val="0"/>
              </a:spcBef>
              <a:spcAft>
                <a:spcPct val="0"/>
              </a:spcAft>
              <a:buFontTx/>
              <a:buNone/>
              <a:defRPr/>
            </a:lvl1pPr>
          </a:lstStyle>
          <a:p>
            <a:pPr marL="0" indent="0">
              <a:lnSpc>
                <a:spcPct val="100000"/>
              </a:lnSpc>
              <a:spcBef>
                <a:spcPct val="0"/>
              </a:spcBef>
              <a:spcAft>
                <a:spcPct val="0"/>
              </a:spcAft>
              <a:buFontTx/>
              <a:buNone/>
              <a:defRPr/>
            </a:pPr>
            <a:r>
              <a:rPr lang="es-ES_tradnl" sz="3200" dirty="0">
                <a:solidFill>
                  <a:srgbClr val="00BDF2"/>
                </a:solidFill>
              </a:rPr>
              <a:t>Subtitulo va aquí</a:t>
            </a:r>
          </a:p>
        </p:txBody>
      </p:sp>
      <p:pic>
        <p:nvPicPr>
          <p:cNvPr id="9" name="Picture 8"/>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305360" y="4843463"/>
            <a:ext cx="4754651" cy="2307404"/>
          </a:xfrm>
          <a:prstGeom prst="rect">
            <a:avLst/>
          </a:prstGeom>
        </p:spPr>
      </p:pic>
    </p:spTree>
    <p:extLst>
      <p:ext uri="{BB962C8B-B14F-4D97-AF65-F5344CB8AC3E}">
        <p14:creationId xmlns:p14="http://schemas.microsoft.com/office/powerpoint/2010/main" val="737934530"/>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Quote_Azul">
    <p:spTree>
      <p:nvGrpSpPr>
        <p:cNvPr id="1" name=""/>
        <p:cNvGrpSpPr/>
        <p:nvPr/>
      </p:nvGrpSpPr>
      <p:grpSpPr>
        <a:xfrm>
          <a:off x="0" y="0"/>
          <a:ext cx="0" cy="0"/>
          <a:chOff x="0" y="0"/>
          <a:chExt cx="0" cy="0"/>
        </a:xfrm>
      </p:grpSpPr>
      <p:sp>
        <p:nvSpPr>
          <p:cNvPr id="6" name="Rectangle 4"/>
          <p:cNvSpPr>
            <a:spLocks noChangeArrowheads="1"/>
          </p:cNvSpPr>
          <p:nvPr userDrawn="1"/>
        </p:nvSpPr>
        <p:spPr bwMode="auto">
          <a:xfrm>
            <a:off x="-24676" y="0"/>
            <a:ext cx="12192000" cy="6858000"/>
          </a:xfrm>
          <a:prstGeom prst="rect">
            <a:avLst/>
          </a:prstGeom>
          <a:solidFill>
            <a:srgbClr val="002D72"/>
          </a:solidFill>
          <a:ln w="12700">
            <a:solidFill>
              <a:schemeClr val="tx2"/>
            </a:solidFill>
            <a:round/>
            <a:headEnd/>
            <a:tailEnd/>
          </a:ln>
        </p:spPr>
        <p:txBody>
          <a:bodyPr wrap="none" lIns="91426" tIns="45712" rIns="91426" bIns="45712" anchor="ctr"/>
          <a:lstStyle/>
          <a:p>
            <a:pPr algn="ctr" fontAlgn="base">
              <a:spcBef>
                <a:spcPct val="0"/>
              </a:spcBef>
              <a:spcAft>
                <a:spcPct val="0"/>
              </a:spcAft>
            </a:pPr>
            <a:endParaRPr lang="es-ES_tradnl" sz="2400">
              <a:solidFill>
                <a:srgbClr val="002D72"/>
              </a:solidFill>
              <a:ea typeface="ＭＳ Ｐゴシック" charset="0"/>
            </a:endParaRPr>
          </a:p>
        </p:txBody>
      </p:sp>
      <p:grpSp>
        <p:nvGrpSpPr>
          <p:cNvPr id="7" name="Group 24"/>
          <p:cNvGrpSpPr>
            <a:grpSpLocks/>
          </p:cNvGrpSpPr>
          <p:nvPr userDrawn="1"/>
        </p:nvGrpSpPr>
        <p:grpSpPr bwMode="auto">
          <a:xfrm>
            <a:off x="490519" y="391003"/>
            <a:ext cx="1233216" cy="615424"/>
            <a:chOff x="-3315972" y="-924674"/>
            <a:chExt cx="6411831" cy="4278160"/>
          </a:xfrm>
          <a:solidFill>
            <a:schemeClr val="accent1"/>
          </a:solidFill>
        </p:grpSpPr>
        <p:sp>
          <p:nvSpPr>
            <p:cNvPr id="8" name="Trapezoid 21"/>
            <p:cNvSpPr>
              <a:spLocks/>
            </p:cNvSpPr>
            <p:nvPr/>
          </p:nvSpPr>
          <p:spPr bwMode="auto">
            <a:xfrm>
              <a:off x="-3315972"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fontAlgn="base">
                <a:spcBef>
                  <a:spcPct val="0"/>
                </a:spcBef>
                <a:spcAft>
                  <a:spcPct val="0"/>
                </a:spcAft>
                <a:defRPr/>
              </a:pPr>
              <a:endParaRPr lang="en-US" sz="2400">
                <a:solidFill>
                  <a:srgbClr val="53565A"/>
                </a:solidFill>
                <a:ea typeface="ヒラギノ角ゴ Pro W3" charset="0"/>
                <a:cs typeface="ヒラギノ角ゴ Pro W3" charset="0"/>
              </a:endParaRPr>
            </a:p>
          </p:txBody>
        </p:sp>
        <p:sp>
          <p:nvSpPr>
            <p:cNvPr id="9" name="Trapezoid 21"/>
            <p:cNvSpPr>
              <a:spLocks/>
            </p:cNvSpPr>
            <p:nvPr/>
          </p:nvSpPr>
          <p:spPr bwMode="auto">
            <a:xfrm>
              <a:off x="839130"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fontAlgn="base">
                <a:spcBef>
                  <a:spcPct val="0"/>
                </a:spcBef>
                <a:spcAft>
                  <a:spcPct val="0"/>
                </a:spcAft>
                <a:defRPr/>
              </a:pPr>
              <a:endParaRPr lang="en-US" sz="2400">
                <a:solidFill>
                  <a:srgbClr val="53565A"/>
                </a:solidFill>
                <a:ea typeface="ヒラギノ角ゴ Pro W3" charset="0"/>
                <a:cs typeface="ヒラギノ角ゴ Pro W3" charset="0"/>
              </a:endParaRPr>
            </a:p>
          </p:txBody>
        </p:sp>
      </p:grpSp>
      <p:grpSp>
        <p:nvGrpSpPr>
          <p:cNvPr id="10" name="Group 25"/>
          <p:cNvGrpSpPr>
            <a:grpSpLocks/>
          </p:cNvGrpSpPr>
          <p:nvPr userDrawn="1"/>
        </p:nvGrpSpPr>
        <p:grpSpPr bwMode="auto">
          <a:xfrm flipH="1" flipV="1">
            <a:off x="10549240" y="6005509"/>
            <a:ext cx="1233216" cy="615421"/>
            <a:chOff x="-3315972" y="-924674"/>
            <a:chExt cx="6411831" cy="4278160"/>
          </a:xfrm>
          <a:solidFill>
            <a:schemeClr val="accent1"/>
          </a:solidFill>
        </p:grpSpPr>
        <p:sp>
          <p:nvSpPr>
            <p:cNvPr id="11" name="Trapezoid 21"/>
            <p:cNvSpPr>
              <a:spLocks/>
            </p:cNvSpPr>
            <p:nvPr/>
          </p:nvSpPr>
          <p:spPr bwMode="auto">
            <a:xfrm>
              <a:off x="-3315972"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fontAlgn="base">
                <a:spcBef>
                  <a:spcPct val="0"/>
                </a:spcBef>
                <a:spcAft>
                  <a:spcPct val="0"/>
                </a:spcAft>
                <a:defRPr/>
              </a:pPr>
              <a:endParaRPr lang="en-US" sz="2400">
                <a:solidFill>
                  <a:srgbClr val="53565A"/>
                </a:solidFill>
                <a:ea typeface="ヒラギノ角ゴ Pro W3" charset="0"/>
                <a:cs typeface="ヒラギノ角ゴ Pro W3" charset="0"/>
              </a:endParaRPr>
            </a:p>
          </p:txBody>
        </p:sp>
        <p:sp>
          <p:nvSpPr>
            <p:cNvPr id="12" name="Trapezoid 21"/>
            <p:cNvSpPr>
              <a:spLocks/>
            </p:cNvSpPr>
            <p:nvPr/>
          </p:nvSpPr>
          <p:spPr bwMode="auto">
            <a:xfrm>
              <a:off x="839130"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fontAlgn="base">
                <a:spcBef>
                  <a:spcPct val="0"/>
                </a:spcBef>
                <a:spcAft>
                  <a:spcPct val="0"/>
                </a:spcAft>
                <a:defRPr/>
              </a:pPr>
              <a:endParaRPr lang="en-US" sz="2400">
                <a:solidFill>
                  <a:srgbClr val="53565A"/>
                </a:solidFill>
                <a:ea typeface="ヒラギノ角ゴ Pro W3" charset="0"/>
                <a:cs typeface="ヒラギノ角ゴ Pro W3" charset="0"/>
              </a:endParaRPr>
            </a:p>
          </p:txBody>
        </p:sp>
      </p:grpSp>
      <p:sp>
        <p:nvSpPr>
          <p:cNvPr id="24" name="Text Placeholder 23"/>
          <p:cNvSpPr>
            <a:spLocks noGrp="1"/>
          </p:cNvSpPr>
          <p:nvPr>
            <p:ph type="body" sz="quarter" idx="10"/>
          </p:nvPr>
        </p:nvSpPr>
        <p:spPr>
          <a:xfrm>
            <a:off x="2357969" y="1006427"/>
            <a:ext cx="8191273" cy="3686224"/>
          </a:xfrm>
        </p:spPr>
        <p:txBody>
          <a:bodyPr/>
          <a:lstStyle>
            <a:lvl1pPr marL="0" indent="0" algn="l">
              <a:buNone/>
              <a:defRPr sz="3600">
                <a:solidFill>
                  <a:schemeClr val="bg1"/>
                </a:solidFill>
              </a:defRPr>
            </a:lvl1pPr>
            <a:lvl2pPr marL="403160" indent="0" algn="l">
              <a:buNone/>
              <a:defRPr sz="3600">
                <a:solidFill>
                  <a:schemeClr val="bg1"/>
                </a:solidFill>
              </a:defRPr>
            </a:lvl2pPr>
            <a:lvl3pPr marL="747592" indent="0" algn="l">
              <a:buNone/>
              <a:defRPr sz="3600">
                <a:solidFill>
                  <a:schemeClr val="bg1"/>
                </a:solidFill>
              </a:defRPr>
            </a:lvl3pPr>
            <a:lvl4pPr marL="1088850" indent="0" algn="l">
              <a:buNone/>
              <a:defRPr sz="3600">
                <a:solidFill>
                  <a:schemeClr val="bg1"/>
                </a:solidFill>
              </a:defRPr>
            </a:lvl4pPr>
            <a:lvl5pPr marL="1426933" indent="0" algn="l">
              <a:buNone/>
              <a:defRPr sz="360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5" name="Text Placeholder 23"/>
          <p:cNvSpPr>
            <a:spLocks noGrp="1"/>
          </p:cNvSpPr>
          <p:nvPr>
            <p:ph type="body" sz="quarter" idx="11"/>
          </p:nvPr>
        </p:nvSpPr>
        <p:spPr>
          <a:xfrm>
            <a:off x="2357969" y="4944980"/>
            <a:ext cx="8191273" cy="1335504"/>
          </a:xfrm>
        </p:spPr>
        <p:txBody>
          <a:bodyPr/>
          <a:lstStyle>
            <a:lvl1pPr marL="0" indent="0" algn="l">
              <a:buNone/>
              <a:defRPr sz="2400">
                <a:solidFill>
                  <a:srgbClr val="00B3F0"/>
                </a:solidFill>
              </a:defRPr>
            </a:lvl1pPr>
            <a:lvl2pPr marL="403160" indent="0" algn="l">
              <a:buNone/>
              <a:defRPr sz="2400">
                <a:solidFill>
                  <a:srgbClr val="00B3F0"/>
                </a:solidFill>
              </a:defRPr>
            </a:lvl2pPr>
            <a:lvl3pPr marL="747592" indent="0" algn="l">
              <a:buNone/>
              <a:defRPr sz="2400">
                <a:solidFill>
                  <a:srgbClr val="00B3F0"/>
                </a:solidFill>
              </a:defRPr>
            </a:lvl3pPr>
            <a:lvl4pPr marL="1088850" indent="0" algn="l">
              <a:buNone/>
              <a:defRPr sz="2400">
                <a:solidFill>
                  <a:srgbClr val="00B3F0"/>
                </a:solidFill>
              </a:defRPr>
            </a:lvl4pPr>
            <a:lvl5pPr marL="1426933" indent="0" algn="l">
              <a:buNone/>
              <a:defRPr sz="2400">
                <a:solidFill>
                  <a:srgbClr val="00B3F0"/>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893412513"/>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Quote_BW">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pPr>
              <a:defRPr/>
            </a:pPr>
            <a:fld id="{410BB04A-6CB2-A14D-B6AF-586C8C166ED7}" type="slidenum">
              <a:rPr lang="en-US">
                <a:solidFill>
                  <a:srgbClr val="53565A"/>
                </a:solidFill>
              </a:rPr>
              <a:pPr>
                <a:defRPr/>
              </a:pPr>
              <a:t>‹#›</a:t>
            </a:fld>
            <a:endParaRPr lang="en-US">
              <a:solidFill>
                <a:srgbClr val="53565A"/>
              </a:solidFill>
            </a:endParaRPr>
          </a:p>
        </p:txBody>
      </p:sp>
      <p:sp>
        <p:nvSpPr>
          <p:cNvPr id="4" name="Date Placeholder 3"/>
          <p:cNvSpPr>
            <a:spLocks noGrp="1"/>
          </p:cNvSpPr>
          <p:nvPr>
            <p:ph type="dt" sz="half" idx="11"/>
          </p:nvPr>
        </p:nvSpPr>
        <p:spPr/>
        <p:txBody>
          <a:bodyPr/>
          <a:lstStyle/>
          <a:p>
            <a:pPr>
              <a:defRPr/>
            </a:pPr>
            <a:r>
              <a:rPr lang="en-US">
                <a:solidFill>
                  <a:srgbClr val="53565A"/>
                </a:solidFill>
              </a:rPr>
              <a:t>MM.DD.YY</a:t>
            </a:r>
          </a:p>
        </p:txBody>
      </p:sp>
      <p:sp>
        <p:nvSpPr>
          <p:cNvPr id="5" name="Footer Placeholder 4"/>
          <p:cNvSpPr>
            <a:spLocks noGrp="1"/>
          </p:cNvSpPr>
          <p:nvPr>
            <p:ph type="ftr" sz="quarter" idx="12"/>
          </p:nvPr>
        </p:nvSpPr>
        <p:spPr/>
        <p:txBody>
          <a:bodyPr/>
          <a:lstStyle/>
          <a:p>
            <a:pPr>
              <a:defRPr/>
            </a:pPr>
            <a:r>
              <a:rPr lang="en-US">
                <a:solidFill>
                  <a:srgbClr val="53565A"/>
                </a:solidFill>
              </a:rPr>
              <a:t>Presentation Title</a:t>
            </a:r>
          </a:p>
        </p:txBody>
      </p:sp>
      <p:sp>
        <p:nvSpPr>
          <p:cNvPr id="13" name="Rectangle 6"/>
          <p:cNvSpPr txBox="1">
            <a:spLocks noChangeArrowheads="1"/>
          </p:cNvSpPr>
          <p:nvPr userDrawn="1"/>
        </p:nvSpPr>
        <p:spPr bwMode="black">
          <a:xfrm>
            <a:off x="2399970" y="1597948"/>
            <a:ext cx="7342716" cy="440756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accent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p:spPr>
        <p:txBody>
          <a:bodyPr lIns="0" tIns="45712" rIns="91426" bIns="45712"/>
          <a:lstStyle>
            <a:lvl1pPr algn="ctr" eaLnBrk="0" hangingPunct="0">
              <a:defRPr sz="2400">
                <a:solidFill>
                  <a:schemeClr val="tx1"/>
                </a:solidFill>
                <a:latin typeface="Arial" charset="0"/>
                <a:ea typeface="ヒラギノ角ゴ Pro W3" charset="0"/>
              </a:defRPr>
            </a:lvl1pPr>
            <a:lvl2pPr marL="742950" indent="-285750" algn="ctr" eaLnBrk="0" hangingPunct="0">
              <a:defRPr sz="2400">
                <a:solidFill>
                  <a:schemeClr val="tx1"/>
                </a:solidFill>
                <a:latin typeface="Arial" charset="0"/>
                <a:ea typeface="ヒラギノ角ゴ Pro W3" charset="0"/>
              </a:defRPr>
            </a:lvl2pPr>
            <a:lvl3pPr marL="1143000" indent="-228600" algn="ctr" eaLnBrk="0" hangingPunct="0">
              <a:defRPr sz="2400">
                <a:solidFill>
                  <a:schemeClr val="tx1"/>
                </a:solidFill>
                <a:latin typeface="Arial" charset="0"/>
                <a:ea typeface="ヒラギノ角ゴ Pro W3" charset="0"/>
              </a:defRPr>
            </a:lvl3pPr>
            <a:lvl4pPr marL="1600200" indent="-228600" algn="ctr" eaLnBrk="0" hangingPunct="0">
              <a:defRPr sz="2400">
                <a:solidFill>
                  <a:schemeClr val="tx1"/>
                </a:solidFill>
                <a:latin typeface="Arial" charset="0"/>
                <a:ea typeface="ヒラギノ角ゴ Pro W3" charset="0"/>
              </a:defRPr>
            </a:lvl4pPr>
            <a:lvl5pPr marL="2057400" indent="-228600" algn="ctr" eaLnBrk="0" hangingPunct="0">
              <a:defRPr sz="2400">
                <a:solidFill>
                  <a:schemeClr val="tx1"/>
                </a:solidFill>
                <a:latin typeface="Arial" charset="0"/>
                <a:ea typeface="ヒラギノ角ゴ Pro W3" charset="0"/>
              </a:defRPr>
            </a:lvl5pPr>
            <a:lvl6pPr marL="2514600" indent="-228600" algn="ctr" eaLnBrk="0" fontAlgn="base" hangingPunct="0">
              <a:spcBef>
                <a:spcPct val="0"/>
              </a:spcBef>
              <a:spcAft>
                <a:spcPct val="0"/>
              </a:spcAft>
              <a:defRPr sz="2400">
                <a:solidFill>
                  <a:schemeClr val="tx1"/>
                </a:solidFill>
                <a:latin typeface="Arial" charset="0"/>
                <a:ea typeface="ヒラギノ角ゴ Pro W3" charset="0"/>
              </a:defRPr>
            </a:lvl6pPr>
            <a:lvl7pPr marL="2971800" indent="-228600" algn="ctr" eaLnBrk="0" fontAlgn="base" hangingPunct="0">
              <a:spcBef>
                <a:spcPct val="0"/>
              </a:spcBef>
              <a:spcAft>
                <a:spcPct val="0"/>
              </a:spcAft>
              <a:defRPr sz="2400">
                <a:solidFill>
                  <a:schemeClr val="tx1"/>
                </a:solidFill>
                <a:latin typeface="Arial" charset="0"/>
                <a:ea typeface="ヒラギノ角ゴ Pro W3" charset="0"/>
              </a:defRPr>
            </a:lvl7pPr>
            <a:lvl8pPr marL="3429000" indent="-228600" algn="ctr" eaLnBrk="0" fontAlgn="base" hangingPunct="0">
              <a:spcBef>
                <a:spcPct val="0"/>
              </a:spcBef>
              <a:spcAft>
                <a:spcPct val="0"/>
              </a:spcAft>
              <a:defRPr sz="2400">
                <a:solidFill>
                  <a:schemeClr val="tx1"/>
                </a:solidFill>
                <a:latin typeface="Arial" charset="0"/>
                <a:ea typeface="ヒラギノ角ゴ Pro W3" charset="0"/>
              </a:defRPr>
            </a:lvl8pPr>
            <a:lvl9pPr marL="3886200" indent="-228600" algn="ctr" eaLnBrk="0" fontAlgn="base" hangingPunct="0">
              <a:spcBef>
                <a:spcPct val="0"/>
              </a:spcBef>
              <a:spcAft>
                <a:spcPct val="0"/>
              </a:spcAft>
              <a:defRPr sz="2400">
                <a:solidFill>
                  <a:schemeClr val="tx1"/>
                </a:solidFill>
                <a:latin typeface="Arial" charset="0"/>
                <a:ea typeface="ヒラギノ角ゴ Pro W3" charset="0"/>
              </a:defRPr>
            </a:lvl9pPr>
          </a:lstStyle>
          <a:p>
            <a:pPr algn="l" eaLnBrk="1" fontAlgn="base" hangingPunct="1">
              <a:lnSpc>
                <a:spcPct val="95000"/>
              </a:lnSpc>
              <a:spcBef>
                <a:spcPct val="75000"/>
              </a:spcBef>
              <a:spcAft>
                <a:spcPct val="20000"/>
              </a:spcAft>
              <a:defRPr/>
            </a:pPr>
            <a:r>
              <a:rPr lang="es-ES_tradnl" sz="3600" dirty="0">
                <a:solidFill>
                  <a:srgbClr val="FFFFFF"/>
                </a:solidFill>
                <a:ea typeface="Arial" charset="0"/>
                <a:cs typeface="Geneva" charset="0"/>
              </a:rPr>
              <a:t>Una cita puede ser colocada aquí. Una gran hoja sirve de transición </a:t>
            </a:r>
            <a:br>
              <a:rPr lang="es-ES_tradnl" sz="3600" dirty="0">
                <a:solidFill>
                  <a:srgbClr val="FFFFFF"/>
                </a:solidFill>
                <a:ea typeface="Arial" charset="0"/>
                <a:cs typeface="Geneva" charset="0"/>
              </a:rPr>
            </a:br>
            <a:r>
              <a:rPr lang="es-ES_tradnl" sz="3600" dirty="0">
                <a:solidFill>
                  <a:srgbClr val="FFFFFF"/>
                </a:solidFill>
                <a:ea typeface="Arial" charset="0"/>
                <a:cs typeface="Geneva" charset="0"/>
              </a:rPr>
              <a:t>y crea una pausa para tus clientes para digerir mejor la información. </a:t>
            </a:r>
          </a:p>
          <a:p>
            <a:pPr algn="l" eaLnBrk="1" fontAlgn="base" hangingPunct="1">
              <a:lnSpc>
                <a:spcPct val="95000"/>
              </a:lnSpc>
              <a:spcBef>
                <a:spcPct val="75000"/>
              </a:spcBef>
              <a:spcAft>
                <a:spcPct val="20000"/>
              </a:spcAft>
              <a:defRPr/>
            </a:pPr>
            <a:r>
              <a:rPr lang="es-ES_tradnl" sz="2000" dirty="0">
                <a:solidFill>
                  <a:srgbClr val="00BDF2"/>
                </a:solidFill>
                <a:ea typeface="Arial" charset="0"/>
                <a:cs typeface="Geneva" charset="0"/>
              </a:rPr>
              <a:t>Aquí van los </a:t>
            </a:r>
            <a:r>
              <a:rPr lang="es-ES_tradnl" sz="2000" dirty="0" err="1">
                <a:solidFill>
                  <a:srgbClr val="00BDF2"/>
                </a:solidFill>
                <a:ea typeface="Arial" charset="0"/>
                <a:cs typeface="Geneva" charset="0"/>
              </a:rPr>
              <a:t>creditos</a:t>
            </a:r>
            <a:r>
              <a:rPr lang="es-ES_tradnl" sz="2000" dirty="0">
                <a:solidFill>
                  <a:srgbClr val="00BDF2"/>
                </a:solidFill>
                <a:ea typeface="Arial" charset="0"/>
                <a:cs typeface="Geneva" charset="0"/>
              </a:rPr>
              <a:t> de la cita; </a:t>
            </a:r>
            <a:r>
              <a:rPr lang="es-ES_tradnl" sz="2000" dirty="0" err="1">
                <a:solidFill>
                  <a:srgbClr val="00BDF2"/>
                </a:solidFill>
                <a:ea typeface="Arial" charset="0"/>
                <a:cs typeface="Geneva" charset="0"/>
              </a:rPr>
              <a:t>lorem</a:t>
            </a:r>
            <a:r>
              <a:rPr lang="es-ES_tradnl" sz="2000" dirty="0">
                <a:solidFill>
                  <a:srgbClr val="00BDF2"/>
                </a:solidFill>
                <a:ea typeface="Arial" charset="0"/>
                <a:cs typeface="Geneva" charset="0"/>
              </a:rPr>
              <a:t> </a:t>
            </a:r>
            <a:r>
              <a:rPr lang="es-ES_tradnl" sz="2000" dirty="0" err="1">
                <a:solidFill>
                  <a:srgbClr val="00BDF2"/>
                </a:solidFill>
                <a:ea typeface="Arial" charset="0"/>
                <a:cs typeface="Geneva" charset="0"/>
              </a:rPr>
              <a:t>ipsum</a:t>
            </a:r>
            <a:r>
              <a:rPr lang="es-ES_tradnl" sz="2000" dirty="0">
                <a:solidFill>
                  <a:srgbClr val="00BDF2"/>
                </a:solidFill>
                <a:ea typeface="Arial" charset="0"/>
                <a:cs typeface="Geneva" charset="0"/>
              </a:rPr>
              <a:t> dolor </a:t>
            </a:r>
            <a:r>
              <a:rPr lang="es-ES_tradnl" sz="2000" dirty="0" err="1">
                <a:solidFill>
                  <a:srgbClr val="00BDF2"/>
                </a:solidFill>
                <a:ea typeface="Arial" charset="0"/>
                <a:cs typeface="Geneva" charset="0"/>
              </a:rPr>
              <a:t>sit</a:t>
            </a:r>
            <a:r>
              <a:rPr lang="es-ES_tradnl" sz="2000" dirty="0">
                <a:solidFill>
                  <a:srgbClr val="00BDF2"/>
                </a:solidFill>
                <a:ea typeface="Arial" charset="0"/>
                <a:cs typeface="Geneva" charset="0"/>
              </a:rPr>
              <a:t> </a:t>
            </a:r>
            <a:r>
              <a:rPr lang="es-ES_tradnl" sz="2000" dirty="0" err="1">
                <a:solidFill>
                  <a:srgbClr val="00BDF2"/>
                </a:solidFill>
                <a:ea typeface="Arial" charset="0"/>
                <a:cs typeface="Geneva" charset="0"/>
              </a:rPr>
              <a:t>amet</a:t>
            </a:r>
            <a:r>
              <a:rPr lang="es-ES_tradnl" sz="2000" dirty="0">
                <a:solidFill>
                  <a:srgbClr val="00BDF2"/>
                </a:solidFill>
                <a:ea typeface="Arial" charset="0"/>
                <a:cs typeface="Geneva" charset="0"/>
              </a:rPr>
              <a:t> </a:t>
            </a:r>
            <a:r>
              <a:rPr lang="es-ES_tradnl" sz="2000" dirty="0" err="1">
                <a:solidFill>
                  <a:srgbClr val="00BDF2"/>
                </a:solidFill>
                <a:ea typeface="Arial" charset="0"/>
                <a:cs typeface="Geneva" charset="0"/>
              </a:rPr>
              <a:t>consectetur</a:t>
            </a:r>
            <a:r>
              <a:rPr lang="es-ES_tradnl" sz="2000" dirty="0">
                <a:solidFill>
                  <a:srgbClr val="00BDF2"/>
                </a:solidFill>
                <a:ea typeface="Arial" charset="0"/>
                <a:cs typeface="Geneva" charset="0"/>
              </a:rPr>
              <a:t> </a:t>
            </a:r>
            <a:r>
              <a:rPr lang="es-ES_tradnl" sz="2000" dirty="0" err="1">
                <a:solidFill>
                  <a:srgbClr val="00BDF2"/>
                </a:solidFill>
                <a:ea typeface="Arial" charset="0"/>
                <a:cs typeface="Geneva" charset="0"/>
              </a:rPr>
              <a:t>adipiscing</a:t>
            </a:r>
            <a:r>
              <a:rPr lang="es-ES_tradnl" sz="2000" dirty="0">
                <a:solidFill>
                  <a:srgbClr val="00BDF2"/>
                </a:solidFill>
                <a:ea typeface="Arial" charset="0"/>
                <a:cs typeface="Geneva" charset="0"/>
              </a:rPr>
              <a:t>.</a:t>
            </a:r>
          </a:p>
        </p:txBody>
      </p:sp>
      <p:pic>
        <p:nvPicPr>
          <p:cNvPr id="14" name="Picture 13"/>
          <p:cNvPicPr>
            <a:picLocks noChangeAspect="1"/>
          </p:cNvPicPr>
          <p:nvPr userDrawn="1"/>
        </p:nvPicPr>
        <p:blipFill>
          <a:blip r:embed="rId2"/>
          <a:stretch>
            <a:fillRect/>
          </a:stretch>
        </p:blipFill>
        <p:spPr>
          <a:xfrm>
            <a:off x="-36661" y="-37908"/>
            <a:ext cx="12304487" cy="6924341"/>
          </a:xfrm>
          <a:prstGeom prst="rect">
            <a:avLst/>
          </a:prstGeom>
        </p:spPr>
      </p:pic>
      <p:grpSp>
        <p:nvGrpSpPr>
          <p:cNvPr id="15" name="Group 24"/>
          <p:cNvGrpSpPr>
            <a:grpSpLocks/>
          </p:cNvGrpSpPr>
          <p:nvPr userDrawn="1"/>
        </p:nvGrpSpPr>
        <p:grpSpPr bwMode="auto">
          <a:xfrm>
            <a:off x="490519" y="391003"/>
            <a:ext cx="1233216" cy="615424"/>
            <a:chOff x="-3315972" y="-924674"/>
            <a:chExt cx="6411831" cy="4278160"/>
          </a:xfrm>
          <a:solidFill>
            <a:schemeClr val="bg1"/>
          </a:solidFill>
        </p:grpSpPr>
        <p:sp>
          <p:nvSpPr>
            <p:cNvPr id="16" name="Trapezoid 21"/>
            <p:cNvSpPr>
              <a:spLocks/>
            </p:cNvSpPr>
            <p:nvPr/>
          </p:nvSpPr>
          <p:spPr bwMode="auto">
            <a:xfrm>
              <a:off x="-3315972"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fontAlgn="base">
                <a:spcBef>
                  <a:spcPct val="0"/>
                </a:spcBef>
                <a:spcAft>
                  <a:spcPct val="0"/>
                </a:spcAft>
                <a:defRPr/>
              </a:pPr>
              <a:endParaRPr lang="en-US" sz="2400">
                <a:solidFill>
                  <a:srgbClr val="53565A"/>
                </a:solidFill>
                <a:ea typeface="ヒラギノ角ゴ Pro W3" charset="0"/>
                <a:cs typeface="ヒラギノ角ゴ Pro W3" charset="0"/>
              </a:endParaRPr>
            </a:p>
          </p:txBody>
        </p:sp>
        <p:sp>
          <p:nvSpPr>
            <p:cNvPr id="17" name="Trapezoid 21"/>
            <p:cNvSpPr>
              <a:spLocks/>
            </p:cNvSpPr>
            <p:nvPr/>
          </p:nvSpPr>
          <p:spPr bwMode="auto">
            <a:xfrm>
              <a:off x="839130"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fontAlgn="base">
                <a:spcBef>
                  <a:spcPct val="0"/>
                </a:spcBef>
                <a:spcAft>
                  <a:spcPct val="0"/>
                </a:spcAft>
                <a:defRPr/>
              </a:pPr>
              <a:endParaRPr lang="en-US" sz="2400">
                <a:solidFill>
                  <a:srgbClr val="53565A"/>
                </a:solidFill>
                <a:ea typeface="ヒラギノ角ゴ Pro W3" charset="0"/>
                <a:cs typeface="ヒラギノ角ゴ Pro W3" charset="0"/>
              </a:endParaRPr>
            </a:p>
          </p:txBody>
        </p:sp>
      </p:grpSp>
      <p:grpSp>
        <p:nvGrpSpPr>
          <p:cNvPr id="18" name="Group 25"/>
          <p:cNvGrpSpPr>
            <a:grpSpLocks/>
          </p:cNvGrpSpPr>
          <p:nvPr userDrawn="1"/>
        </p:nvGrpSpPr>
        <p:grpSpPr bwMode="auto">
          <a:xfrm flipH="1" flipV="1">
            <a:off x="10549240" y="6005509"/>
            <a:ext cx="1233216" cy="615421"/>
            <a:chOff x="-3315972" y="-924674"/>
            <a:chExt cx="6411831" cy="4278160"/>
          </a:xfrm>
          <a:solidFill>
            <a:schemeClr val="bg1"/>
          </a:solidFill>
        </p:grpSpPr>
        <p:sp>
          <p:nvSpPr>
            <p:cNvPr id="19" name="Trapezoid 21"/>
            <p:cNvSpPr>
              <a:spLocks/>
            </p:cNvSpPr>
            <p:nvPr/>
          </p:nvSpPr>
          <p:spPr bwMode="auto">
            <a:xfrm>
              <a:off x="-3315972"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fontAlgn="base">
                <a:spcBef>
                  <a:spcPct val="0"/>
                </a:spcBef>
                <a:spcAft>
                  <a:spcPct val="0"/>
                </a:spcAft>
                <a:defRPr/>
              </a:pPr>
              <a:endParaRPr lang="en-US" sz="2400">
                <a:solidFill>
                  <a:srgbClr val="53565A"/>
                </a:solidFill>
                <a:ea typeface="ヒラギノ角ゴ Pro W3" charset="0"/>
                <a:cs typeface="ヒラギノ角ゴ Pro W3" charset="0"/>
              </a:endParaRPr>
            </a:p>
          </p:txBody>
        </p:sp>
        <p:sp>
          <p:nvSpPr>
            <p:cNvPr id="20" name="Trapezoid 21"/>
            <p:cNvSpPr>
              <a:spLocks/>
            </p:cNvSpPr>
            <p:nvPr/>
          </p:nvSpPr>
          <p:spPr bwMode="auto">
            <a:xfrm>
              <a:off x="839130"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fontAlgn="base">
                <a:spcBef>
                  <a:spcPct val="0"/>
                </a:spcBef>
                <a:spcAft>
                  <a:spcPct val="0"/>
                </a:spcAft>
                <a:defRPr/>
              </a:pPr>
              <a:endParaRPr lang="en-US" sz="2400">
                <a:solidFill>
                  <a:srgbClr val="53565A"/>
                </a:solidFill>
                <a:ea typeface="ヒラギノ角ゴ Pro W3" charset="0"/>
                <a:cs typeface="ヒラギノ角ゴ Pro W3" charset="0"/>
              </a:endParaRPr>
            </a:p>
          </p:txBody>
        </p:sp>
      </p:grpSp>
      <p:sp>
        <p:nvSpPr>
          <p:cNvPr id="21" name="Text Placeholder 23"/>
          <p:cNvSpPr>
            <a:spLocks noGrp="1"/>
          </p:cNvSpPr>
          <p:nvPr>
            <p:ph type="body" sz="quarter" idx="13"/>
          </p:nvPr>
        </p:nvSpPr>
        <p:spPr>
          <a:xfrm>
            <a:off x="2357969" y="1006427"/>
            <a:ext cx="8191273" cy="3686224"/>
          </a:xfrm>
        </p:spPr>
        <p:txBody>
          <a:bodyPr/>
          <a:lstStyle>
            <a:lvl1pPr marL="0" indent="0" algn="l">
              <a:buNone/>
              <a:defRPr sz="3600">
                <a:solidFill>
                  <a:schemeClr val="bg1"/>
                </a:solidFill>
              </a:defRPr>
            </a:lvl1pPr>
            <a:lvl2pPr marL="403160" indent="0" algn="l">
              <a:buNone/>
              <a:defRPr sz="3600">
                <a:solidFill>
                  <a:schemeClr val="bg1"/>
                </a:solidFill>
              </a:defRPr>
            </a:lvl2pPr>
            <a:lvl3pPr marL="747592" indent="0" algn="l">
              <a:buNone/>
              <a:defRPr sz="3600">
                <a:solidFill>
                  <a:schemeClr val="bg1"/>
                </a:solidFill>
              </a:defRPr>
            </a:lvl3pPr>
            <a:lvl4pPr marL="1088850" indent="0" algn="l">
              <a:buNone/>
              <a:defRPr sz="3600">
                <a:solidFill>
                  <a:schemeClr val="bg1"/>
                </a:solidFill>
              </a:defRPr>
            </a:lvl4pPr>
            <a:lvl5pPr marL="1426933" indent="0" algn="l">
              <a:buNone/>
              <a:defRPr sz="360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ext Placeholder 23"/>
          <p:cNvSpPr>
            <a:spLocks noGrp="1"/>
          </p:cNvSpPr>
          <p:nvPr>
            <p:ph type="body" sz="quarter" idx="14"/>
          </p:nvPr>
        </p:nvSpPr>
        <p:spPr>
          <a:xfrm>
            <a:off x="2357969" y="4944980"/>
            <a:ext cx="8191273" cy="1335504"/>
          </a:xfrm>
        </p:spPr>
        <p:txBody>
          <a:bodyPr/>
          <a:lstStyle>
            <a:lvl1pPr marL="0" indent="0" algn="l">
              <a:buNone/>
              <a:defRPr sz="2400">
                <a:solidFill>
                  <a:srgbClr val="00B3F0"/>
                </a:solidFill>
              </a:defRPr>
            </a:lvl1pPr>
            <a:lvl2pPr marL="403160" indent="0" algn="l">
              <a:buNone/>
              <a:defRPr sz="2400">
                <a:solidFill>
                  <a:srgbClr val="00B3F0"/>
                </a:solidFill>
              </a:defRPr>
            </a:lvl2pPr>
            <a:lvl3pPr marL="747592" indent="0" algn="l">
              <a:buNone/>
              <a:defRPr sz="2400">
                <a:solidFill>
                  <a:srgbClr val="00B3F0"/>
                </a:solidFill>
              </a:defRPr>
            </a:lvl3pPr>
            <a:lvl4pPr marL="1088850" indent="0" algn="l">
              <a:buNone/>
              <a:defRPr sz="2400">
                <a:solidFill>
                  <a:srgbClr val="00B3F0"/>
                </a:solidFill>
              </a:defRPr>
            </a:lvl4pPr>
            <a:lvl5pPr marL="1426933" indent="0" algn="l">
              <a:buNone/>
              <a:defRPr sz="2400">
                <a:solidFill>
                  <a:srgbClr val="00B3F0"/>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79680602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Quote_Azul">
    <p:spTree>
      <p:nvGrpSpPr>
        <p:cNvPr id="1" name=""/>
        <p:cNvGrpSpPr/>
        <p:nvPr/>
      </p:nvGrpSpPr>
      <p:grpSpPr>
        <a:xfrm>
          <a:off x="0" y="0"/>
          <a:ext cx="0" cy="0"/>
          <a:chOff x="0" y="0"/>
          <a:chExt cx="0" cy="0"/>
        </a:xfrm>
      </p:grpSpPr>
      <p:sp>
        <p:nvSpPr>
          <p:cNvPr id="6" name="Rectangle 4"/>
          <p:cNvSpPr>
            <a:spLocks noChangeArrowheads="1"/>
          </p:cNvSpPr>
          <p:nvPr userDrawn="1"/>
        </p:nvSpPr>
        <p:spPr bwMode="auto">
          <a:xfrm>
            <a:off x="-24676" y="0"/>
            <a:ext cx="12192000" cy="6858000"/>
          </a:xfrm>
          <a:prstGeom prst="rect">
            <a:avLst/>
          </a:prstGeom>
          <a:solidFill>
            <a:srgbClr val="002D72"/>
          </a:solidFill>
          <a:ln w="12700">
            <a:solidFill>
              <a:schemeClr val="tx2"/>
            </a:solidFill>
            <a:round/>
            <a:headEnd/>
            <a:tailEnd/>
          </a:ln>
        </p:spPr>
        <p:txBody>
          <a:bodyPr wrap="none" lIns="91426" tIns="45712" rIns="91426" bIns="45712" anchor="ctr"/>
          <a:lstStyle/>
          <a:p>
            <a:pPr algn="ctr" fontAlgn="base">
              <a:spcBef>
                <a:spcPct val="0"/>
              </a:spcBef>
              <a:spcAft>
                <a:spcPct val="0"/>
              </a:spcAft>
            </a:pPr>
            <a:endParaRPr lang="es-ES_tradnl" sz="2400">
              <a:solidFill>
                <a:srgbClr val="002D72"/>
              </a:solidFill>
              <a:ea typeface="ＭＳ Ｐゴシック" charset="0"/>
            </a:endParaRPr>
          </a:p>
        </p:txBody>
      </p:sp>
      <p:grpSp>
        <p:nvGrpSpPr>
          <p:cNvPr id="7" name="Group 24"/>
          <p:cNvGrpSpPr>
            <a:grpSpLocks/>
          </p:cNvGrpSpPr>
          <p:nvPr userDrawn="1"/>
        </p:nvGrpSpPr>
        <p:grpSpPr bwMode="auto">
          <a:xfrm>
            <a:off x="490519" y="391003"/>
            <a:ext cx="1233216" cy="615424"/>
            <a:chOff x="-3315972" y="-924674"/>
            <a:chExt cx="6411831" cy="4278160"/>
          </a:xfrm>
          <a:solidFill>
            <a:schemeClr val="accent1"/>
          </a:solidFill>
        </p:grpSpPr>
        <p:sp>
          <p:nvSpPr>
            <p:cNvPr id="8" name="Trapezoid 21"/>
            <p:cNvSpPr>
              <a:spLocks/>
            </p:cNvSpPr>
            <p:nvPr/>
          </p:nvSpPr>
          <p:spPr bwMode="auto">
            <a:xfrm>
              <a:off x="-3315972"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fontAlgn="base">
                <a:spcBef>
                  <a:spcPct val="0"/>
                </a:spcBef>
                <a:spcAft>
                  <a:spcPct val="0"/>
                </a:spcAft>
                <a:defRPr/>
              </a:pPr>
              <a:endParaRPr lang="en-US" sz="2400">
                <a:solidFill>
                  <a:srgbClr val="53565A"/>
                </a:solidFill>
                <a:ea typeface="ヒラギノ角ゴ Pro W3" charset="0"/>
                <a:cs typeface="ヒラギノ角ゴ Pro W3" charset="0"/>
              </a:endParaRPr>
            </a:p>
          </p:txBody>
        </p:sp>
        <p:sp>
          <p:nvSpPr>
            <p:cNvPr id="9" name="Trapezoid 21"/>
            <p:cNvSpPr>
              <a:spLocks/>
            </p:cNvSpPr>
            <p:nvPr/>
          </p:nvSpPr>
          <p:spPr bwMode="auto">
            <a:xfrm>
              <a:off x="839130"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fontAlgn="base">
                <a:spcBef>
                  <a:spcPct val="0"/>
                </a:spcBef>
                <a:spcAft>
                  <a:spcPct val="0"/>
                </a:spcAft>
                <a:defRPr/>
              </a:pPr>
              <a:endParaRPr lang="en-US" sz="2400">
                <a:solidFill>
                  <a:srgbClr val="53565A"/>
                </a:solidFill>
                <a:ea typeface="ヒラギノ角ゴ Pro W3" charset="0"/>
                <a:cs typeface="ヒラギノ角ゴ Pro W3" charset="0"/>
              </a:endParaRPr>
            </a:p>
          </p:txBody>
        </p:sp>
      </p:grpSp>
      <p:grpSp>
        <p:nvGrpSpPr>
          <p:cNvPr id="10" name="Group 25"/>
          <p:cNvGrpSpPr>
            <a:grpSpLocks/>
          </p:cNvGrpSpPr>
          <p:nvPr userDrawn="1"/>
        </p:nvGrpSpPr>
        <p:grpSpPr bwMode="auto">
          <a:xfrm flipH="1" flipV="1">
            <a:off x="10549240" y="6005509"/>
            <a:ext cx="1233216" cy="615421"/>
            <a:chOff x="-3315972" y="-924674"/>
            <a:chExt cx="6411831" cy="4278160"/>
          </a:xfrm>
          <a:solidFill>
            <a:schemeClr val="accent1"/>
          </a:solidFill>
        </p:grpSpPr>
        <p:sp>
          <p:nvSpPr>
            <p:cNvPr id="11" name="Trapezoid 21"/>
            <p:cNvSpPr>
              <a:spLocks/>
            </p:cNvSpPr>
            <p:nvPr/>
          </p:nvSpPr>
          <p:spPr bwMode="auto">
            <a:xfrm>
              <a:off x="-3315972"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fontAlgn="base">
                <a:spcBef>
                  <a:spcPct val="0"/>
                </a:spcBef>
                <a:spcAft>
                  <a:spcPct val="0"/>
                </a:spcAft>
                <a:defRPr/>
              </a:pPr>
              <a:endParaRPr lang="en-US" sz="2400">
                <a:solidFill>
                  <a:srgbClr val="53565A"/>
                </a:solidFill>
                <a:ea typeface="ヒラギノ角ゴ Pro W3" charset="0"/>
                <a:cs typeface="ヒラギノ角ゴ Pro W3" charset="0"/>
              </a:endParaRPr>
            </a:p>
          </p:txBody>
        </p:sp>
        <p:sp>
          <p:nvSpPr>
            <p:cNvPr id="12" name="Trapezoid 21"/>
            <p:cNvSpPr>
              <a:spLocks/>
            </p:cNvSpPr>
            <p:nvPr/>
          </p:nvSpPr>
          <p:spPr bwMode="auto">
            <a:xfrm>
              <a:off x="839130"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fontAlgn="base">
                <a:spcBef>
                  <a:spcPct val="0"/>
                </a:spcBef>
                <a:spcAft>
                  <a:spcPct val="0"/>
                </a:spcAft>
                <a:defRPr/>
              </a:pPr>
              <a:endParaRPr lang="en-US" sz="2400">
                <a:solidFill>
                  <a:srgbClr val="53565A"/>
                </a:solidFill>
                <a:ea typeface="ヒラギノ角ゴ Pro W3" charset="0"/>
                <a:cs typeface="ヒラギノ角ゴ Pro W3" charset="0"/>
              </a:endParaRPr>
            </a:p>
          </p:txBody>
        </p:sp>
      </p:grpSp>
      <p:sp>
        <p:nvSpPr>
          <p:cNvPr id="24" name="Text Placeholder 23"/>
          <p:cNvSpPr>
            <a:spLocks noGrp="1"/>
          </p:cNvSpPr>
          <p:nvPr>
            <p:ph type="body" sz="quarter" idx="10"/>
          </p:nvPr>
        </p:nvSpPr>
        <p:spPr>
          <a:xfrm>
            <a:off x="2357969" y="1006427"/>
            <a:ext cx="8191273" cy="3686224"/>
          </a:xfrm>
        </p:spPr>
        <p:txBody>
          <a:bodyPr/>
          <a:lstStyle>
            <a:lvl1pPr marL="0" indent="0" algn="l">
              <a:buNone/>
              <a:defRPr sz="3600">
                <a:solidFill>
                  <a:schemeClr val="bg1"/>
                </a:solidFill>
              </a:defRPr>
            </a:lvl1pPr>
            <a:lvl2pPr marL="403160" indent="0" algn="l">
              <a:buNone/>
              <a:defRPr sz="3600">
                <a:solidFill>
                  <a:schemeClr val="bg1"/>
                </a:solidFill>
              </a:defRPr>
            </a:lvl2pPr>
            <a:lvl3pPr marL="747592" indent="0" algn="l">
              <a:buNone/>
              <a:defRPr sz="3600">
                <a:solidFill>
                  <a:schemeClr val="bg1"/>
                </a:solidFill>
              </a:defRPr>
            </a:lvl3pPr>
            <a:lvl4pPr marL="1088850" indent="0" algn="l">
              <a:buNone/>
              <a:defRPr sz="3600">
                <a:solidFill>
                  <a:schemeClr val="bg1"/>
                </a:solidFill>
              </a:defRPr>
            </a:lvl4pPr>
            <a:lvl5pPr marL="1426933" indent="0" algn="l">
              <a:buNone/>
              <a:defRPr sz="360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5" name="Text Placeholder 23"/>
          <p:cNvSpPr>
            <a:spLocks noGrp="1"/>
          </p:cNvSpPr>
          <p:nvPr>
            <p:ph type="body" sz="quarter" idx="11"/>
          </p:nvPr>
        </p:nvSpPr>
        <p:spPr>
          <a:xfrm>
            <a:off x="2357969" y="4944980"/>
            <a:ext cx="8191273" cy="1335504"/>
          </a:xfrm>
        </p:spPr>
        <p:txBody>
          <a:bodyPr/>
          <a:lstStyle>
            <a:lvl1pPr marL="0" indent="0" algn="l">
              <a:buNone/>
              <a:defRPr sz="2400">
                <a:solidFill>
                  <a:srgbClr val="00B3F0"/>
                </a:solidFill>
              </a:defRPr>
            </a:lvl1pPr>
            <a:lvl2pPr marL="403160" indent="0" algn="l">
              <a:buNone/>
              <a:defRPr sz="2400">
                <a:solidFill>
                  <a:srgbClr val="00B3F0"/>
                </a:solidFill>
              </a:defRPr>
            </a:lvl2pPr>
            <a:lvl3pPr marL="747592" indent="0" algn="l">
              <a:buNone/>
              <a:defRPr sz="2400">
                <a:solidFill>
                  <a:srgbClr val="00B3F0"/>
                </a:solidFill>
              </a:defRPr>
            </a:lvl3pPr>
            <a:lvl4pPr marL="1088850" indent="0" algn="l">
              <a:buNone/>
              <a:defRPr sz="2400">
                <a:solidFill>
                  <a:srgbClr val="00B3F0"/>
                </a:solidFill>
              </a:defRPr>
            </a:lvl4pPr>
            <a:lvl5pPr marL="1426933" indent="0" algn="l">
              <a:buNone/>
              <a:defRPr sz="2400">
                <a:solidFill>
                  <a:srgbClr val="00B3F0"/>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892587674"/>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IMAGEN FULL">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pPr>
              <a:defRPr/>
            </a:pPr>
            <a:fld id="{410BB04A-6CB2-A14D-B6AF-586C8C166ED7}" type="slidenum">
              <a:rPr lang="en-US">
                <a:solidFill>
                  <a:srgbClr val="53565A"/>
                </a:solidFill>
              </a:rPr>
              <a:pPr>
                <a:defRPr/>
              </a:pPr>
              <a:t>‹#›</a:t>
            </a:fld>
            <a:endParaRPr lang="en-US">
              <a:solidFill>
                <a:srgbClr val="53565A"/>
              </a:solidFill>
            </a:endParaRPr>
          </a:p>
        </p:txBody>
      </p:sp>
      <p:sp>
        <p:nvSpPr>
          <p:cNvPr id="4" name="Date Placeholder 3"/>
          <p:cNvSpPr>
            <a:spLocks noGrp="1"/>
          </p:cNvSpPr>
          <p:nvPr>
            <p:ph type="dt" sz="half" idx="11"/>
          </p:nvPr>
        </p:nvSpPr>
        <p:spPr/>
        <p:txBody>
          <a:bodyPr/>
          <a:lstStyle/>
          <a:p>
            <a:pPr>
              <a:defRPr/>
            </a:pPr>
            <a:r>
              <a:rPr lang="en-US">
                <a:solidFill>
                  <a:srgbClr val="53565A"/>
                </a:solidFill>
              </a:rPr>
              <a:t>MM.DD.YY</a:t>
            </a:r>
          </a:p>
        </p:txBody>
      </p:sp>
      <p:sp>
        <p:nvSpPr>
          <p:cNvPr id="5" name="Footer Placeholder 4"/>
          <p:cNvSpPr>
            <a:spLocks noGrp="1"/>
          </p:cNvSpPr>
          <p:nvPr>
            <p:ph type="ftr" sz="quarter" idx="12"/>
          </p:nvPr>
        </p:nvSpPr>
        <p:spPr/>
        <p:txBody>
          <a:bodyPr/>
          <a:lstStyle/>
          <a:p>
            <a:pPr>
              <a:defRPr/>
            </a:pPr>
            <a:r>
              <a:rPr lang="en-US">
                <a:solidFill>
                  <a:srgbClr val="53565A"/>
                </a:solidFill>
              </a:rPr>
              <a:t>Presentation Title</a:t>
            </a:r>
          </a:p>
        </p:txBody>
      </p:sp>
      <p:sp>
        <p:nvSpPr>
          <p:cNvPr id="10" name="Picture Placeholder 9"/>
          <p:cNvSpPr>
            <a:spLocks noGrp="1"/>
          </p:cNvSpPr>
          <p:nvPr>
            <p:ph type="pic" sz="quarter" idx="13"/>
          </p:nvPr>
        </p:nvSpPr>
        <p:spPr>
          <a:xfrm>
            <a:off x="0" y="0"/>
            <a:ext cx="12192000" cy="6858000"/>
          </a:xfrm>
        </p:spPr>
        <p:txBody>
          <a:bodyPr/>
          <a:lstStyle/>
          <a:p>
            <a:endParaRPr lang="en-US" dirty="0"/>
          </a:p>
        </p:txBody>
      </p:sp>
      <p:sp>
        <p:nvSpPr>
          <p:cNvPr id="24" name="Rounded Rectangle 23"/>
          <p:cNvSpPr/>
          <p:nvPr userDrawn="1"/>
        </p:nvSpPr>
        <p:spPr bwMode="auto">
          <a:xfrm>
            <a:off x="-288755" y="234066"/>
            <a:ext cx="12199241" cy="1342366"/>
          </a:xfrm>
          <a:prstGeom prst="roundRect">
            <a:avLst/>
          </a:prstGeom>
          <a:solidFill>
            <a:schemeClr val="bg1">
              <a:alpha val="30000"/>
            </a:schemeClr>
          </a:solidFill>
          <a:ln w="12700" cap="flat" cmpd="sng" algn="ctr">
            <a:no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txBody>
          <a:bodyPr vert="horz" wrap="none" lIns="91426" tIns="45712" rIns="91426" bIns="45712" numCol="1" rtlCol="0" anchor="ctr" anchorCtr="0" compatLnSpc="1">
            <a:prstTxWarp prst="textNoShape">
              <a:avLst/>
            </a:prstTxWarp>
          </a:bodyPr>
          <a:lstStyle/>
          <a:p>
            <a:pPr algn="ctr" fontAlgn="base">
              <a:spcBef>
                <a:spcPct val="0"/>
              </a:spcBef>
              <a:spcAft>
                <a:spcPct val="0"/>
              </a:spcAft>
            </a:pPr>
            <a:endParaRPr lang="en-US" sz="2400">
              <a:solidFill>
                <a:srgbClr val="000000"/>
              </a:solidFill>
            </a:endParaRPr>
          </a:p>
        </p:txBody>
      </p:sp>
      <p:sp>
        <p:nvSpPr>
          <p:cNvPr id="26" name="Text Placeholder 14"/>
          <p:cNvSpPr>
            <a:spLocks noGrp="1"/>
          </p:cNvSpPr>
          <p:nvPr>
            <p:ph type="body" sz="quarter" idx="14"/>
          </p:nvPr>
        </p:nvSpPr>
        <p:spPr>
          <a:xfrm>
            <a:off x="795870" y="411960"/>
            <a:ext cx="11114617" cy="418223"/>
          </a:xfrm>
        </p:spPr>
        <p:txBody>
          <a:bodyPr/>
          <a:lstStyle>
            <a:lvl1pPr marL="0" indent="0">
              <a:buNone/>
              <a:defRPr sz="2400">
                <a:solidFill>
                  <a:srgbClr val="004785"/>
                </a:solidFill>
              </a:defRPr>
            </a:lvl1pPr>
            <a:lvl2pPr marL="403160" indent="0">
              <a:buNone/>
              <a:defRPr sz="2400">
                <a:solidFill>
                  <a:srgbClr val="004785"/>
                </a:solidFill>
              </a:defRPr>
            </a:lvl2pPr>
            <a:lvl3pPr marL="747592" indent="0">
              <a:buNone/>
              <a:defRPr sz="2400">
                <a:solidFill>
                  <a:srgbClr val="004785"/>
                </a:solidFill>
              </a:defRPr>
            </a:lvl3pPr>
            <a:lvl4pPr marL="1088850" indent="0">
              <a:buNone/>
              <a:defRPr sz="2400">
                <a:solidFill>
                  <a:srgbClr val="004785"/>
                </a:solidFill>
              </a:defRPr>
            </a:lvl4pPr>
            <a:lvl5pPr marL="1426933" indent="0">
              <a:buNone/>
              <a:defRPr sz="2400">
                <a:solidFill>
                  <a:srgbClr val="004785"/>
                </a:solidFill>
              </a:defRPr>
            </a:lvl5pPr>
          </a:lstStyle>
          <a:p>
            <a:pPr lvl="0"/>
            <a:r>
              <a:rPr lang="en-US" dirty="0"/>
              <a:t>Click to edit Master text styles</a:t>
            </a:r>
          </a:p>
        </p:txBody>
      </p:sp>
      <p:sp>
        <p:nvSpPr>
          <p:cNvPr id="27" name="Text Placeholder 14"/>
          <p:cNvSpPr>
            <a:spLocks noGrp="1"/>
          </p:cNvSpPr>
          <p:nvPr>
            <p:ph type="body" sz="quarter" idx="15"/>
          </p:nvPr>
        </p:nvSpPr>
        <p:spPr>
          <a:xfrm>
            <a:off x="795870" y="905252"/>
            <a:ext cx="11114617" cy="418223"/>
          </a:xfrm>
        </p:spPr>
        <p:txBody>
          <a:bodyPr/>
          <a:lstStyle>
            <a:lvl1pPr marL="0" indent="0">
              <a:buNone/>
              <a:defRPr sz="2400">
                <a:solidFill>
                  <a:srgbClr val="00B3F0"/>
                </a:solidFill>
              </a:defRPr>
            </a:lvl1pPr>
            <a:lvl2pPr marL="403160" indent="0">
              <a:buNone/>
              <a:defRPr sz="2400">
                <a:solidFill>
                  <a:srgbClr val="004785"/>
                </a:solidFill>
              </a:defRPr>
            </a:lvl2pPr>
            <a:lvl3pPr marL="747592" indent="0">
              <a:buNone/>
              <a:defRPr sz="2400">
                <a:solidFill>
                  <a:srgbClr val="004785"/>
                </a:solidFill>
              </a:defRPr>
            </a:lvl3pPr>
            <a:lvl4pPr marL="1088850" indent="0">
              <a:buNone/>
              <a:defRPr sz="2400">
                <a:solidFill>
                  <a:srgbClr val="004785"/>
                </a:solidFill>
              </a:defRPr>
            </a:lvl4pPr>
            <a:lvl5pPr marL="1426933" indent="0">
              <a:buNone/>
              <a:defRPr sz="2400">
                <a:solidFill>
                  <a:srgbClr val="004785"/>
                </a:solidFill>
              </a:defRPr>
            </a:lvl5pPr>
          </a:lstStyle>
          <a:p>
            <a:pPr lvl="0"/>
            <a:r>
              <a:rPr lang="en-US" dirty="0"/>
              <a:t>Click to edit Master text styles</a:t>
            </a:r>
          </a:p>
        </p:txBody>
      </p:sp>
    </p:spTree>
    <p:extLst>
      <p:ext uri="{BB962C8B-B14F-4D97-AF65-F5344CB8AC3E}">
        <p14:creationId xmlns:p14="http://schemas.microsoft.com/office/powerpoint/2010/main" val="2514887299"/>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Cierre">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stretch>
            <a:fillRect/>
          </a:stretch>
        </p:blipFill>
        <p:spPr>
          <a:xfrm>
            <a:off x="-36661" y="-37908"/>
            <a:ext cx="12304487" cy="6924341"/>
          </a:xfrm>
          <a:prstGeom prst="rect">
            <a:avLst/>
          </a:prstGeom>
        </p:spPr>
      </p:pic>
      <p:pic>
        <p:nvPicPr>
          <p:cNvPr id="7" name="Picture 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480167" y="1308577"/>
            <a:ext cx="9203871" cy="4466585"/>
          </a:xfrm>
          <a:prstGeom prst="rect">
            <a:avLst/>
          </a:prstGeom>
        </p:spPr>
      </p:pic>
    </p:spTree>
    <p:extLst>
      <p:ext uri="{BB962C8B-B14F-4D97-AF65-F5344CB8AC3E}">
        <p14:creationId xmlns:p14="http://schemas.microsoft.com/office/powerpoint/2010/main" val="3214713463"/>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4_Custom Layout">
    <p:spTree>
      <p:nvGrpSpPr>
        <p:cNvPr id="1" name=""/>
        <p:cNvGrpSpPr/>
        <p:nvPr/>
      </p:nvGrpSpPr>
      <p:grpSpPr>
        <a:xfrm>
          <a:off x="0" y="0"/>
          <a:ext cx="0" cy="0"/>
          <a:chOff x="0" y="0"/>
          <a:chExt cx="0" cy="0"/>
        </a:xfrm>
      </p:grpSpPr>
      <p:sp>
        <p:nvSpPr>
          <p:cNvPr id="14" name="Rectangle 13"/>
          <p:cNvSpPr/>
          <p:nvPr userDrawn="1"/>
        </p:nvSpPr>
        <p:spPr>
          <a:xfrm>
            <a:off x="226611" y="6608"/>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sz="1800">
              <a:solidFill>
                <a:prstClr val="white"/>
              </a:solidFill>
            </a:endParaRPr>
          </a:p>
        </p:txBody>
      </p:sp>
      <p:grpSp>
        <p:nvGrpSpPr>
          <p:cNvPr id="15" name="Group 14"/>
          <p:cNvGrpSpPr/>
          <p:nvPr userDrawn="1"/>
        </p:nvGrpSpPr>
        <p:grpSpPr>
          <a:xfrm flipH="1">
            <a:off x="226609" y="98855"/>
            <a:ext cx="1203763" cy="6096001"/>
            <a:chOff x="160238" y="148877"/>
            <a:chExt cx="1300907" cy="8783936"/>
          </a:xfrm>
        </p:grpSpPr>
        <p:sp>
          <p:nvSpPr>
            <p:cNvPr id="16" name="Rectangle"/>
            <p:cNvSpPr/>
            <p:nvPr userDrawn="1"/>
          </p:nvSpPr>
          <p:spPr>
            <a:xfrm>
              <a:off x="160238" y="7811988"/>
              <a:ext cx="1300907" cy="1120825"/>
            </a:xfrm>
            <a:prstGeom prst="rect">
              <a:avLst/>
            </a:prstGeom>
            <a:solidFill>
              <a:srgbClr val="C4297F"/>
            </a:solidFill>
            <a:ln w="12700">
              <a:miter lim="400000"/>
            </a:ln>
          </p:spPr>
          <p:txBody>
            <a:bodyPr lIns="50800" tIns="50800" rIns="50800" bIns="50800" anchor="ctr"/>
            <a:lstStyle/>
            <a:p>
              <a:pPr defTabSz="914400"/>
              <a:endParaRPr sz="1800">
                <a:solidFill>
                  <a:prstClr val="black"/>
                </a:solidFill>
              </a:endParaRPr>
            </a:p>
          </p:txBody>
        </p:sp>
        <p:sp>
          <p:nvSpPr>
            <p:cNvPr id="17" name="Rectangle"/>
            <p:cNvSpPr/>
            <p:nvPr userDrawn="1"/>
          </p:nvSpPr>
          <p:spPr>
            <a:xfrm>
              <a:off x="160238" y="7090072"/>
              <a:ext cx="1300907" cy="721917"/>
            </a:xfrm>
            <a:prstGeom prst="rect">
              <a:avLst/>
            </a:prstGeom>
            <a:solidFill>
              <a:srgbClr val="7C1A4F"/>
            </a:solidFill>
            <a:ln w="12700">
              <a:miter lim="400000"/>
            </a:ln>
          </p:spPr>
          <p:txBody>
            <a:bodyPr lIns="50800" tIns="50800" rIns="50800" bIns="50800" anchor="ctr"/>
            <a:lstStyle/>
            <a:p>
              <a:pPr defTabSz="914400"/>
              <a:endParaRPr sz="1800">
                <a:solidFill>
                  <a:prstClr val="black"/>
                </a:solidFill>
              </a:endParaRPr>
            </a:p>
          </p:txBody>
        </p:sp>
        <p:sp>
          <p:nvSpPr>
            <p:cNvPr id="18" name="Rectangle"/>
            <p:cNvSpPr/>
            <p:nvPr userDrawn="1"/>
          </p:nvSpPr>
          <p:spPr>
            <a:xfrm>
              <a:off x="160238" y="6877694"/>
              <a:ext cx="1300907" cy="212379"/>
            </a:xfrm>
            <a:prstGeom prst="rect">
              <a:avLst/>
            </a:prstGeom>
            <a:solidFill>
              <a:srgbClr val="F79824"/>
            </a:solidFill>
            <a:ln w="12700">
              <a:miter lim="400000"/>
            </a:ln>
          </p:spPr>
          <p:txBody>
            <a:bodyPr lIns="50800" tIns="50800" rIns="50800" bIns="50800" anchor="ctr"/>
            <a:lstStyle/>
            <a:p>
              <a:pPr defTabSz="914400"/>
              <a:endParaRPr sz="1800">
                <a:solidFill>
                  <a:prstClr val="black"/>
                </a:solidFill>
              </a:endParaRPr>
            </a:p>
          </p:txBody>
        </p:sp>
        <p:sp>
          <p:nvSpPr>
            <p:cNvPr id="19" name="Rectangle"/>
            <p:cNvSpPr/>
            <p:nvPr userDrawn="1"/>
          </p:nvSpPr>
          <p:spPr>
            <a:xfrm>
              <a:off x="160238" y="5875535"/>
              <a:ext cx="1300907" cy="1002160"/>
            </a:xfrm>
            <a:prstGeom prst="rect">
              <a:avLst/>
            </a:prstGeom>
            <a:solidFill>
              <a:srgbClr val="EE4329"/>
            </a:solidFill>
            <a:ln w="12700">
              <a:miter lim="400000"/>
            </a:ln>
          </p:spPr>
          <p:txBody>
            <a:bodyPr lIns="50800" tIns="50800" rIns="50800" bIns="50800" anchor="ctr"/>
            <a:lstStyle/>
            <a:p>
              <a:pPr defTabSz="914400"/>
              <a:endParaRPr sz="1800">
                <a:solidFill>
                  <a:prstClr val="black"/>
                </a:solidFill>
              </a:endParaRPr>
            </a:p>
          </p:txBody>
        </p:sp>
        <p:sp>
          <p:nvSpPr>
            <p:cNvPr id="20" name="Rectangle"/>
            <p:cNvSpPr/>
            <p:nvPr userDrawn="1"/>
          </p:nvSpPr>
          <p:spPr>
            <a:xfrm>
              <a:off x="160238" y="3874095"/>
              <a:ext cx="1300907" cy="2001441"/>
            </a:xfrm>
            <a:prstGeom prst="rect">
              <a:avLst/>
            </a:prstGeom>
            <a:solidFill>
              <a:srgbClr val="F36F26"/>
            </a:solidFill>
            <a:ln w="12700">
              <a:miter lim="400000"/>
            </a:ln>
          </p:spPr>
          <p:txBody>
            <a:bodyPr lIns="50800" tIns="50800" rIns="50800" bIns="50800" anchor="ctr"/>
            <a:lstStyle/>
            <a:p>
              <a:pPr defTabSz="914400"/>
              <a:endParaRPr sz="1800">
                <a:solidFill>
                  <a:prstClr val="black"/>
                </a:solidFill>
              </a:endParaRPr>
            </a:p>
          </p:txBody>
        </p:sp>
        <p:sp>
          <p:nvSpPr>
            <p:cNvPr id="21" name="Rectangle"/>
            <p:cNvSpPr/>
            <p:nvPr userDrawn="1"/>
          </p:nvSpPr>
          <p:spPr>
            <a:xfrm>
              <a:off x="160238" y="3154213"/>
              <a:ext cx="1300907" cy="721867"/>
            </a:xfrm>
            <a:prstGeom prst="rect">
              <a:avLst/>
            </a:prstGeom>
            <a:solidFill>
              <a:srgbClr val="016AA1"/>
            </a:solidFill>
            <a:ln w="12700">
              <a:miter lim="400000"/>
            </a:ln>
          </p:spPr>
          <p:txBody>
            <a:bodyPr lIns="50800" tIns="50800" rIns="50800" bIns="50800" anchor="ctr"/>
            <a:lstStyle/>
            <a:p>
              <a:pPr defTabSz="914400"/>
              <a:endParaRPr sz="1800">
                <a:solidFill>
                  <a:prstClr val="black"/>
                </a:solidFill>
              </a:endParaRPr>
            </a:p>
          </p:txBody>
        </p:sp>
        <p:sp>
          <p:nvSpPr>
            <p:cNvPr id="22" name="Rectangle"/>
            <p:cNvSpPr/>
            <p:nvPr userDrawn="1"/>
          </p:nvSpPr>
          <p:spPr>
            <a:xfrm>
              <a:off x="160238" y="148877"/>
              <a:ext cx="1300907" cy="3005337"/>
            </a:xfrm>
            <a:prstGeom prst="rect">
              <a:avLst/>
            </a:prstGeom>
            <a:solidFill>
              <a:srgbClr val="86CBD8"/>
            </a:solidFill>
            <a:ln w="12700">
              <a:miter lim="400000"/>
            </a:ln>
          </p:spPr>
          <p:txBody>
            <a:bodyPr lIns="50800" tIns="50800" rIns="50800" bIns="50800" anchor="ctr"/>
            <a:lstStyle/>
            <a:p>
              <a:pPr defTabSz="914400"/>
              <a:endParaRPr sz="1800">
                <a:solidFill>
                  <a:prstClr val="black"/>
                </a:solidFill>
              </a:endParaRPr>
            </a:p>
          </p:txBody>
        </p:sp>
      </p:grpSp>
    </p:spTree>
    <p:extLst>
      <p:ext uri="{BB962C8B-B14F-4D97-AF65-F5344CB8AC3E}">
        <p14:creationId xmlns:p14="http://schemas.microsoft.com/office/powerpoint/2010/main" val="780828056"/>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Separador1">
    <p:spTree>
      <p:nvGrpSpPr>
        <p:cNvPr id="1" name=""/>
        <p:cNvGrpSpPr/>
        <p:nvPr/>
      </p:nvGrpSpPr>
      <p:grpSpPr>
        <a:xfrm>
          <a:off x="0" y="0"/>
          <a:ext cx="0" cy="0"/>
          <a:chOff x="0" y="0"/>
          <a:chExt cx="0" cy="0"/>
        </a:xfrm>
      </p:grpSpPr>
      <p:sp>
        <p:nvSpPr>
          <p:cNvPr id="11" name="Rectangle 10"/>
          <p:cNvSpPr/>
          <p:nvPr userDrawn="1"/>
        </p:nvSpPr>
        <p:spPr>
          <a:xfrm>
            <a:off x="226611" y="6608"/>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sz="1800">
              <a:solidFill>
                <a:prstClr val="white"/>
              </a:solidFill>
            </a:endParaRPr>
          </a:p>
        </p:txBody>
      </p:sp>
      <p:grpSp>
        <p:nvGrpSpPr>
          <p:cNvPr id="19" name="Group 18"/>
          <p:cNvGrpSpPr/>
          <p:nvPr userDrawn="1"/>
        </p:nvGrpSpPr>
        <p:grpSpPr>
          <a:xfrm>
            <a:off x="226613" y="98854"/>
            <a:ext cx="1204588" cy="6096000"/>
            <a:chOff x="160238" y="154880"/>
            <a:chExt cx="1300907" cy="8777933"/>
          </a:xfrm>
        </p:grpSpPr>
        <p:sp>
          <p:nvSpPr>
            <p:cNvPr id="12" name="Rectangle"/>
            <p:cNvSpPr/>
            <p:nvPr userDrawn="1"/>
          </p:nvSpPr>
          <p:spPr>
            <a:xfrm>
              <a:off x="160238" y="8398371"/>
              <a:ext cx="1300907" cy="534442"/>
            </a:xfrm>
            <a:prstGeom prst="rect">
              <a:avLst/>
            </a:prstGeom>
            <a:solidFill>
              <a:srgbClr val="85CDD9"/>
            </a:solidFill>
            <a:ln w="12700">
              <a:miter lim="400000"/>
            </a:ln>
          </p:spPr>
          <p:txBody>
            <a:bodyPr lIns="50800" tIns="50800" rIns="50800" bIns="50800" anchor="ctr"/>
            <a:lstStyle/>
            <a:p>
              <a:pPr defTabSz="914400"/>
              <a:endParaRPr sz="1800">
                <a:solidFill>
                  <a:prstClr val="black"/>
                </a:solidFill>
              </a:endParaRPr>
            </a:p>
          </p:txBody>
        </p:sp>
        <p:sp>
          <p:nvSpPr>
            <p:cNvPr id="13" name="Rectangle"/>
            <p:cNvSpPr/>
            <p:nvPr userDrawn="1"/>
          </p:nvSpPr>
          <p:spPr>
            <a:xfrm>
              <a:off x="160238" y="8183364"/>
              <a:ext cx="1300907" cy="215008"/>
            </a:xfrm>
            <a:prstGeom prst="rect">
              <a:avLst/>
            </a:prstGeom>
            <a:solidFill>
              <a:srgbClr val="4D89AD"/>
            </a:solidFill>
            <a:ln w="12700">
              <a:miter lim="400000"/>
            </a:ln>
          </p:spPr>
          <p:txBody>
            <a:bodyPr lIns="50800" tIns="50800" rIns="50800" bIns="50800" anchor="ctr"/>
            <a:lstStyle/>
            <a:p>
              <a:pPr defTabSz="914400"/>
              <a:endParaRPr sz="1800">
                <a:solidFill>
                  <a:prstClr val="black"/>
                </a:solidFill>
              </a:endParaRPr>
            </a:p>
          </p:txBody>
        </p:sp>
        <p:sp>
          <p:nvSpPr>
            <p:cNvPr id="14" name="Rectangle"/>
            <p:cNvSpPr/>
            <p:nvPr userDrawn="1"/>
          </p:nvSpPr>
          <p:spPr>
            <a:xfrm>
              <a:off x="160238" y="6195863"/>
              <a:ext cx="1300907" cy="1987502"/>
            </a:xfrm>
            <a:prstGeom prst="rect">
              <a:avLst/>
            </a:prstGeom>
            <a:solidFill>
              <a:srgbClr val="2591C0"/>
            </a:solidFill>
            <a:ln w="12700">
              <a:miter lim="400000"/>
            </a:ln>
          </p:spPr>
          <p:txBody>
            <a:bodyPr lIns="50800" tIns="50800" rIns="50800" bIns="50800" anchor="ctr"/>
            <a:lstStyle/>
            <a:p>
              <a:pPr defTabSz="914400"/>
              <a:endParaRPr sz="1800">
                <a:solidFill>
                  <a:prstClr val="black"/>
                </a:solidFill>
              </a:endParaRPr>
            </a:p>
          </p:txBody>
        </p:sp>
        <p:sp>
          <p:nvSpPr>
            <p:cNvPr id="15" name="Rectangle"/>
            <p:cNvSpPr/>
            <p:nvPr userDrawn="1"/>
          </p:nvSpPr>
          <p:spPr>
            <a:xfrm>
              <a:off x="160238" y="5724425"/>
              <a:ext cx="1300907" cy="471439"/>
            </a:xfrm>
            <a:prstGeom prst="rect">
              <a:avLst/>
            </a:prstGeom>
            <a:solidFill>
              <a:srgbClr val="104D6A"/>
            </a:solidFill>
            <a:ln w="12700">
              <a:miter lim="400000"/>
            </a:ln>
          </p:spPr>
          <p:txBody>
            <a:bodyPr lIns="50800" tIns="50800" rIns="50800" bIns="50800" anchor="ctr"/>
            <a:lstStyle/>
            <a:p>
              <a:pPr defTabSz="914400"/>
              <a:endParaRPr sz="1800">
                <a:solidFill>
                  <a:prstClr val="black"/>
                </a:solidFill>
              </a:endParaRPr>
            </a:p>
          </p:txBody>
        </p:sp>
        <p:sp>
          <p:nvSpPr>
            <p:cNvPr id="16" name="Rectangle"/>
            <p:cNvSpPr/>
            <p:nvPr userDrawn="1"/>
          </p:nvSpPr>
          <p:spPr>
            <a:xfrm>
              <a:off x="160238" y="371177"/>
              <a:ext cx="1300907" cy="813396"/>
            </a:xfrm>
            <a:prstGeom prst="rect">
              <a:avLst/>
            </a:prstGeom>
            <a:solidFill>
              <a:srgbClr val="095B88"/>
            </a:solidFill>
            <a:ln w="12700">
              <a:miter lim="400000"/>
            </a:ln>
          </p:spPr>
          <p:txBody>
            <a:bodyPr lIns="50800" tIns="50800" rIns="50800" bIns="50800" anchor="ctr"/>
            <a:lstStyle/>
            <a:p>
              <a:pPr defTabSz="914400"/>
              <a:endParaRPr sz="1800">
                <a:solidFill>
                  <a:prstClr val="black"/>
                </a:solidFill>
              </a:endParaRPr>
            </a:p>
          </p:txBody>
        </p:sp>
        <p:sp>
          <p:nvSpPr>
            <p:cNvPr id="17" name="Rectangle"/>
            <p:cNvSpPr/>
            <p:nvPr userDrawn="1"/>
          </p:nvSpPr>
          <p:spPr>
            <a:xfrm>
              <a:off x="160238" y="1184572"/>
              <a:ext cx="1300907" cy="4539854"/>
            </a:xfrm>
            <a:prstGeom prst="rect">
              <a:avLst/>
            </a:prstGeom>
            <a:solidFill>
              <a:srgbClr val="016AA1"/>
            </a:solidFill>
            <a:ln w="12700">
              <a:miter lim="400000"/>
            </a:ln>
          </p:spPr>
          <p:txBody>
            <a:bodyPr lIns="50800" tIns="50800" rIns="50800" bIns="50800" anchor="ctr"/>
            <a:lstStyle/>
            <a:p>
              <a:pPr defTabSz="914400"/>
              <a:endParaRPr sz="1800">
                <a:solidFill>
                  <a:prstClr val="black"/>
                </a:solidFill>
              </a:endParaRPr>
            </a:p>
          </p:txBody>
        </p:sp>
        <p:sp>
          <p:nvSpPr>
            <p:cNvPr id="18" name="Rectangle"/>
            <p:cNvSpPr/>
            <p:nvPr userDrawn="1"/>
          </p:nvSpPr>
          <p:spPr>
            <a:xfrm>
              <a:off x="160238" y="154880"/>
              <a:ext cx="1300907" cy="216298"/>
            </a:xfrm>
            <a:prstGeom prst="rect">
              <a:avLst/>
            </a:prstGeom>
            <a:solidFill>
              <a:srgbClr val="85CDD9"/>
            </a:solidFill>
            <a:ln w="12700">
              <a:miter lim="400000"/>
            </a:ln>
          </p:spPr>
          <p:txBody>
            <a:bodyPr lIns="50800" tIns="50800" rIns="50800" bIns="50800" anchor="ctr"/>
            <a:lstStyle/>
            <a:p>
              <a:pPr defTabSz="914400"/>
              <a:endParaRPr sz="1800">
                <a:solidFill>
                  <a:prstClr val="black"/>
                </a:solidFill>
              </a:endParaRPr>
            </a:p>
          </p:txBody>
        </p:sp>
      </p:grpSp>
    </p:spTree>
    <p:extLst>
      <p:ext uri="{BB962C8B-B14F-4D97-AF65-F5344CB8AC3E}">
        <p14:creationId xmlns:p14="http://schemas.microsoft.com/office/powerpoint/2010/main" val="1631637691"/>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separdor 2">
    <p:spTree>
      <p:nvGrpSpPr>
        <p:cNvPr id="1" name=""/>
        <p:cNvGrpSpPr/>
        <p:nvPr/>
      </p:nvGrpSpPr>
      <p:grpSpPr>
        <a:xfrm>
          <a:off x="0" y="0"/>
          <a:ext cx="0" cy="0"/>
          <a:chOff x="0" y="0"/>
          <a:chExt cx="0" cy="0"/>
        </a:xfrm>
      </p:grpSpPr>
      <p:sp>
        <p:nvSpPr>
          <p:cNvPr id="6" name="Rectangle 5"/>
          <p:cNvSpPr/>
          <p:nvPr userDrawn="1"/>
        </p:nvSpPr>
        <p:spPr>
          <a:xfrm>
            <a:off x="144730" y="21107"/>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sz="1800">
              <a:solidFill>
                <a:prstClr val="white"/>
              </a:solidFill>
            </a:endParaRPr>
          </a:p>
        </p:txBody>
      </p:sp>
      <p:grpSp>
        <p:nvGrpSpPr>
          <p:cNvPr id="7" name="Group 6"/>
          <p:cNvGrpSpPr/>
          <p:nvPr userDrawn="1"/>
        </p:nvGrpSpPr>
        <p:grpSpPr>
          <a:xfrm>
            <a:off x="231501" y="98856"/>
            <a:ext cx="1206483" cy="6105595"/>
            <a:chOff x="160238" y="154880"/>
            <a:chExt cx="1300907" cy="8777933"/>
          </a:xfrm>
        </p:grpSpPr>
        <p:sp>
          <p:nvSpPr>
            <p:cNvPr id="8" name="Rectangle"/>
            <p:cNvSpPr/>
            <p:nvPr userDrawn="1"/>
          </p:nvSpPr>
          <p:spPr>
            <a:xfrm>
              <a:off x="160238" y="8398371"/>
              <a:ext cx="1300907" cy="534442"/>
            </a:xfrm>
            <a:prstGeom prst="rect">
              <a:avLst/>
            </a:prstGeom>
            <a:solidFill>
              <a:srgbClr val="ED207D"/>
            </a:solidFill>
            <a:ln w="12700">
              <a:miter lim="400000"/>
            </a:ln>
          </p:spPr>
          <p:txBody>
            <a:bodyPr lIns="50800" tIns="50800" rIns="50800" bIns="50800" anchor="ctr"/>
            <a:lstStyle/>
            <a:p>
              <a:pPr defTabSz="914400"/>
              <a:endParaRPr sz="1800">
                <a:solidFill>
                  <a:prstClr val="black"/>
                </a:solidFill>
              </a:endParaRPr>
            </a:p>
          </p:txBody>
        </p:sp>
        <p:sp>
          <p:nvSpPr>
            <p:cNvPr id="9" name="Rectangle"/>
            <p:cNvSpPr/>
            <p:nvPr userDrawn="1"/>
          </p:nvSpPr>
          <p:spPr>
            <a:xfrm>
              <a:off x="160238" y="8183364"/>
              <a:ext cx="1300907" cy="215008"/>
            </a:xfrm>
            <a:prstGeom prst="rect">
              <a:avLst/>
            </a:prstGeom>
            <a:solidFill>
              <a:srgbClr val="BF1D7F"/>
            </a:solidFill>
            <a:ln w="12700">
              <a:miter lim="400000"/>
            </a:ln>
          </p:spPr>
          <p:txBody>
            <a:bodyPr lIns="50800" tIns="50800" rIns="50800" bIns="50800" anchor="ctr"/>
            <a:lstStyle/>
            <a:p>
              <a:pPr defTabSz="914400"/>
              <a:endParaRPr sz="1800">
                <a:solidFill>
                  <a:prstClr val="black"/>
                </a:solidFill>
              </a:endParaRPr>
            </a:p>
          </p:txBody>
        </p:sp>
        <p:sp>
          <p:nvSpPr>
            <p:cNvPr id="10" name="Rectangle"/>
            <p:cNvSpPr/>
            <p:nvPr userDrawn="1"/>
          </p:nvSpPr>
          <p:spPr>
            <a:xfrm>
              <a:off x="160238" y="6195863"/>
              <a:ext cx="1300907" cy="1987502"/>
            </a:xfrm>
            <a:prstGeom prst="rect">
              <a:avLst/>
            </a:prstGeom>
            <a:solidFill>
              <a:srgbClr val="7C1A4F"/>
            </a:solidFill>
            <a:ln w="12700">
              <a:miter lim="400000"/>
            </a:ln>
          </p:spPr>
          <p:txBody>
            <a:bodyPr lIns="50800" tIns="50800" rIns="50800" bIns="50800" anchor="ctr"/>
            <a:lstStyle/>
            <a:p>
              <a:pPr defTabSz="914400"/>
              <a:endParaRPr sz="1800">
                <a:solidFill>
                  <a:prstClr val="black"/>
                </a:solidFill>
              </a:endParaRPr>
            </a:p>
          </p:txBody>
        </p:sp>
        <p:sp>
          <p:nvSpPr>
            <p:cNvPr id="11" name="Rectangle"/>
            <p:cNvSpPr/>
            <p:nvPr userDrawn="1"/>
          </p:nvSpPr>
          <p:spPr>
            <a:xfrm>
              <a:off x="160238" y="5724425"/>
              <a:ext cx="1300907" cy="471439"/>
            </a:xfrm>
            <a:prstGeom prst="rect">
              <a:avLst/>
            </a:prstGeom>
            <a:solidFill>
              <a:srgbClr val="DA2C57"/>
            </a:solidFill>
            <a:ln w="12700">
              <a:miter lim="400000"/>
            </a:ln>
          </p:spPr>
          <p:txBody>
            <a:bodyPr lIns="50800" tIns="50800" rIns="50800" bIns="50800" anchor="ctr"/>
            <a:lstStyle/>
            <a:p>
              <a:pPr defTabSz="914400"/>
              <a:endParaRPr sz="1800">
                <a:solidFill>
                  <a:prstClr val="black"/>
                </a:solidFill>
              </a:endParaRPr>
            </a:p>
          </p:txBody>
        </p:sp>
        <p:sp>
          <p:nvSpPr>
            <p:cNvPr id="12" name="Rectangle"/>
            <p:cNvSpPr/>
            <p:nvPr userDrawn="1"/>
          </p:nvSpPr>
          <p:spPr>
            <a:xfrm>
              <a:off x="160238" y="371177"/>
              <a:ext cx="1300907" cy="813396"/>
            </a:xfrm>
            <a:prstGeom prst="rect">
              <a:avLst/>
            </a:prstGeom>
            <a:solidFill>
              <a:srgbClr val="C4297F"/>
            </a:solidFill>
            <a:ln w="12700">
              <a:miter lim="400000"/>
            </a:ln>
          </p:spPr>
          <p:txBody>
            <a:bodyPr lIns="50800" tIns="50800" rIns="50800" bIns="50800" anchor="ctr"/>
            <a:lstStyle/>
            <a:p>
              <a:pPr defTabSz="914400"/>
              <a:endParaRPr sz="1800">
                <a:solidFill>
                  <a:prstClr val="black"/>
                </a:solidFill>
              </a:endParaRPr>
            </a:p>
          </p:txBody>
        </p:sp>
        <p:sp>
          <p:nvSpPr>
            <p:cNvPr id="13" name="Rectangle"/>
            <p:cNvSpPr/>
            <p:nvPr userDrawn="1"/>
          </p:nvSpPr>
          <p:spPr>
            <a:xfrm>
              <a:off x="160238" y="1184572"/>
              <a:ext cx="1300907" cy="4539854"/>
            </a:xfrm>
            <a:prstGeom prst="rect">
              <a:avLst/>
            </a:prstGeom>
            <a:solidFill>
              <a:srgbClr val="822455"/>
            </a:solidFill>
            <a:ln w="12700">
              <a:miter lim="400000"/>
            </a:ln>
          </p:spPr>
          <p:txBody>
            <a:bodyPr lIns="50800" tIns="50800" rIns="50800" bIns="50800" anchor="ctr"/>
            <a:lstStyle/>
            <a:p>
              <a:pPr defTabSz="914400"/>
              <a:endParaRPr sz="1800">
                <a:solidFill>
                  <a:prstClr val="black"/>
                </a:solidFill>
              </a:endParaRPr>
            </a:p>
          </p:txBody>
        </p:sp>
        <p:sp>
          <p:nvSpPr>
            <p:cNvPr id="14" name="Rectangle"/>
            <p:cNvSpPr/>
            <p:nvPr userDrawn="1"/>
          </p:nvSpPr>
          <p:spPr>
            <a:xfrm>
              <a:off x="160238" y="154880"/>
              <a:ext cx="1300907" cy="216298"/>
            </a:xfrm>
            <a:prstGeom prst="rect">
              <a:avLst/>
            </a:prstGeom>
            <a:solidFill>
              <a:srgbClr val="DA2C57"/>
            </a:solidFill>
            <a:ln w="12700">
              <a:miter lim="400000"/>
            </a:ln>
          </p:spPr>
          <p:txBody>
            <a:bodyPr lIns="50800" tIns="50800" rIns="50800" bIns="50800" anchor="ctr"/>
            <a:lstStyle/>
            <a:p>
              <a:pPr defTabSz="914400"/>
              <a:endParaRPr sz="1800">
                <a:solidFill>
                  <a:prstClr val="black"/>
                </a:solidFill>
              </a:endParaRPr>
            </a:p>
          </p:txBody>
        </p:sp>
      </p:grpSp>
    </p:spTree>
    <p:extLst>
      <p:ext uri="{BB962C8B-B14F-4D97-AF65-F5344CB8AC3E}">
        <p14:creationId xmlns:p14="http://schemas.microsoft.com/office/powerpoint/2010/main" val="1545290520"/>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6" name="Rectangle 5"/>
          <p:cNvSpPr/>
          <p:nvPr userDrawn="1"/>
        </p:nvSpPr>
        <p:spPr>
          <a:xfrm>
            <a:off x="120824" y="14846"/>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sz="1800">
              <a:solidFill>
                <a:prstClr val="white"/>
              </a:solidFill>
            </a:endParaRPr>
          </a:p>
        </p:txBody>
      </p:sp>
      <p:grpSp>
        <p:nvGrpSpPr>
          <p:cNvPr id="14" name="Group 13"/>
          <p:cNvGrpSpPr/>
          <p:nvPr userDrawn="1"/>
        </p:nvGrpSpPr>
        <p:grpSpPr>
          <a:xfrm>
            <a:off x="231501" y="98855"/>
            <a:ext cx="1206483" cy="6105595"/>
            <a:chOff x="160238" y="162796"/>
            <a:chExt cx="1300907" cy="8777933"/>
          </a:xfrm>
        </p:grpSpPr>
        <p:sp>
          <p:nvSpPr>
            <p:cNvPr id="15" name="Rectangle"/>
            <p:cNvSpPr/>
            <p:nvPr userDrawn="1"/>
          </p:nvSpPr>
          <p:spPr>
            <a:xfrm>
              <a:off x="160238" y="8406287"/>
              <a:ext cx="1300907" cy="534442"/>
            </a:xfrm>
            <a:prstGeom prst="rect">
              <a:avLst/>
            </a:prstGeom>
            <a:solidFill>
              <a:srgbClr val="D91F27"/>
            </a:solidFill>
            <a:ln w="12700">
              <a:miter lim="400000"/>
            </a:ln>
          </p:spPr>
          <p:txBody>
            <a:bodyPr lIns="50800" tIns="50800" rIns="50800" bIns="50800" anchor="ctr"/>
            <a:lstStyle/>
            <a:p>
              <a:pPr defTabSz="914400"/>
              <a:endParaRPr sz="1800">
                <a:solidFill>
                  <a:prstClr val="black"/>
                </a:solidFill>
              </a:endParaRPr>
            </a:p>
          </p:txBody>
        </p:sp>
        <p:sp>
          <p:nvSpPr>
            <p:cNvPr id="16" name="Rectangle"/>
            <p:cNvSpPr/>
            <p:nvPr userDrawn="1"/>
          </p:nvSpPr>
          <p:spPr>
            <a:xfrm>
              <a:off x="160238" y="8191280"/>
              <a:ext cx="1300907" cy="215008"/>
            </a:xfrm>
            <a:prstGeom prst="rect">
              <a:avLst/>
            </a:prstGeom>
            <a:solidFill>
              <a:srgbClr val="F36F26"/>
            </a:solidFill>
            <a:ln w="12700">
              <a:miter lim="400000"/>
            </a:ln>
          </p:spPr>
          <p:txBody>
            <a:bodyPr lIns="50800" tIns="50800" rIns="50800" bIns="50800" anchor="ctr"/>
            <a:lstStyle/>
            <a:p>
              <a:pPr defTabSz="914400"/>
              <a:endParaRPr sz="1800">
                <a:solidFill>
                  <a:prstClr val="black"/>
                </a:solidFill>
              </a:endParaRPr>
            </a:p>
          </p:txBody>
        </p:sp>
        <p:sp>
          <p:nvSpPr>
            <p:cNvPr id="17" name="Rectangle"/>
            <p:cNvSpPr/>
            <p:nvPr userDrawn="1"/>
          </p:nvSpPr>
          <p:spPr>
            <a:xfrm>
              <a:off x="160238" y="6203779"/>
              <a:ext cx="1300907" cy="1987502"/>
            </a:xfrm>
            <a:prstGeom prst="rect">
              <a:avLst/>
            </a:prstGeom>
            <a:solidFill>
              <a:srgbClr val="FBB91A"/>
            </a:solidFill>
            <a:ln w="12700">
              <a:miter lim="400000"/>
            </a:ln>
          </p:spPr>
          <p:txBody>
            <a:bodyPr lIns="50800" tIns="50800" rIns="50800" bIns="50800" anchor="ctr"/>
            <a:lstStyle/>
            <a:p>
              <a:pPr defTabSz="914400"/>
              <a:endParaRPr sz="1800">
                <a:solidFill>
                  <a:prstClr val="black"/>
                </a:solidFill>
              </a:endParaRPr>
            </a:p>
          </p:txBody>
        </p:sp>
        <p:sp>
          <p:nvSpPr>
            <p:cNvPr id="18" name="Rectangle"/>
            <p:cNvSpPr/>
            <p:nvPr userDrawn="1"/>
          </p:nvSpPr>
          <p:spPr>
            <a:xfrm>
              <a:off x="160238" y="5732341"/>
              <a:ext cx="1300907" cy="471439"/>
            </a:xfrm>
            <a:prstGeom prst="rect">
              <a:avLst/>
            </a:prstGeom>
            <a:solidFill>
              <a:srgbClr val="F69427"/>
            </a:solidFill>
            <a:ln w="12700">
              <a:miter lim="400000"/>
            </a:ln>
          </p:spPr>
          <p:txBody>
            <a:bodyPr lIns="50800" tIns="50800" rIns="50800" bIns="50800" anchor="ctr"/>
            <a:lstStyle/>
            <a:p>
              <a:pPr defTabSz="914400"/>
              <a:endParaRPr sz="1800">
                <a:solidFill>
                  <a:prstClr val="black"/>
                </a:solidFill>
              </a:endParaRPr>
            </a:p>
          </p:txBody>
        </p:sp>
        <p:sp>
          <p:nvSpPr>
            <p:cNvPr id="19" name="Rectangle"/>
            <p:cNvSpPr/>
            <p:nvPr userDrawn="1"/>
          </p:nvSpPr>
          <p:spPr>
            <a:xfrm>
              <a:off x="160238" y="379093"/>
              <a:ext cx="1300907" cy="813396"/>
            </a:xfrm>
            <a:prstGeom prst="rect">
              <a:avLst/>
            </a:prstGeom>
            <a:solidFill>
              <a:srgbClr val="F79824"/>
            </a:solidFill>
            <a:ln w="12700">
              <a:miter lim="400000"/>
            </a:ln>
          </p:spPr>
          <p:txBody>
            <a:bodyPr lIns="50800" tIns="50800" rIns="50800" bIns="50800" anchor="ctr"/>
            <a:lstStyle/>
            <a:p>
              <a:pPr defTabSz="914400"/>
              <a:endParaRPr sz="1800">
                <a:solidFill>
                  <a:prstClr val="black"/>
                </a:solidFill>
              </a:endParaRPr>
            </a:p>
          </p:txBody>
        </p:sp>
        <p:sp>
          <p:nvSpPr>
            <p:cNvPr id="20" name="Rectangle"/>
            <p:cNvSpPr/>
            <p:nvPr userDrawn="1"/>
          </p:nvSpPr>
          <p:spPr>
            <a:xfrm>
              <a:off x="160238" y="1192488"/>
              <a:ext cx="1300907" cy="4539854"/>
            </a:xfrm>
            <a:prstGeom prst="rect">
              <a:avLst/>
            </a:prstGeom>
            <a:solidFill>
              <a:srgbClr val="EE4329"/>
            </a:solidFill>
            <a:ln w="12700">
              <a:miter lim="400000"/>
            </a:ln>
          </p:spPr>
          <p:txBody>
            <a:bodyPr lIns="50800" tIns="50800" rIns="50800" bIns="50800" anchor="ctr"/>
            <a:lstStyle/>
            <a:p>
              <a:pPr defTabSz="914400"/>
              <a:endParaRPr sz="1800">
                <a:solidFill>
                  <a:prstClr val="black"/>
                </a:solidFill>
              </a:endParaRPr>
            </a:p>
          </p:txBody>
        </p:sp>
        <p:sp>
          <p:nvSpPr>
            <p:cNvPr id="21" name="Rectangle"/>
            <p:cNvSpPr/>
            <p:nvPr userDrawn="1"/>
          </p:nvSpPr>
          <p:spPr>
            <a:xfrm>
              <a:off x="160238" y="162796"/>
              <a:ext cx="1300907" cy="216298"/>
            </a:xfrm>
            <a:prstGeom prst="rect">
              <a:avLst/>
            </a:prstGeom>
            <a:solidFill>
              <a:srgbClr val="BF2126"/>
            </a:solidFill>
            <a:ln w="12700">
              <a:miter lim="400000"/>
            </a:ln>
          </p:spPr>
          <p:txBody>
            <a:bodyPr lIns="50800" tIns="50800" rIns="50800" bIns="50800" anchor="ctr"/>
            <a:lstStyle/>
            <a:p>
              <a:pPr defTabSz="914400"/>
              <a:endParaRPr sz="1800">
                <a:solidFill>
                  <a:prstClr val="black"/>
                </a:solidFill>
              </a:endParaRPr>
            </a:p>
          </p:txBody>
        </p:sp>
      </p:grpSp>
    </p:spTree>
    <p:extLst>
      <p:ext uri="{BB962C8B-B14F-4D97-AF65-F5344CB8AC3E}">
        <p14:creationId xmlns:p14="http://schemas.microsoft.com/office/powerpoint/2010/main" val="2982257969"/>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6" name="Rectangle 5"/>
          <p:cNvSpPr/>
          <p:nvPr userDrawn="1"/>
        </p:nvSpPr>
        <p:spPr>
          <a:xfrm>
            <a:off x="120824" y="14846"/>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sz="1800">
              <a:solidFill>
                <a:prstClr val="white"/>
              </a:solidFill>
            </a:endParaRPr>
          </a:p>
        </p:txBody>
      </p:sp>
      <p:grpSp>
        <p:nvGrpSpPr>
          <p:cNvPr id="7" name="Group 6"/>
          <p:cNvGrpSpPr/>
          <p:nvPr userDrawn="1"/>
        </p:nvGrpSpPr>
        <p:grpSpPr>
          <a:xfrm>
            <a:off x="231501" y="99934"/>
            <a:ext cx="1206483" cy="6105588"/>
            <a:chOff x="90616" y="113613"/>
            <a:chExt cx="1300907" cy="8777933"/>
          </a:xfrm>
        </p:grpSpPr>
        <p:sp>
          <p:nvSpPr>
            <p:cNvPr id="8" name="Rectangle"/>
            <p:cNvSpPr/>
            <p:nvPr userDrawn="1"/>
          </p:nvSpPr>
          <p:spPr>
            <a:xfrm>
              <a:off x="90616" y="8357104"/>
              <a:ext cx="1300907" cy="534442"/>
            </a:xfrm>
            <a:prstGeom prst="rect">
              <a:avLst/>
            </a:prstGeom>
            <a:solidFill>
              <a:srgbClr val="00C0B6"/>
            </a:solidFill>
            <a:ln w="12700">
              <a:miter lim="400000"/>
            </a:ln>
          </p:spPr>
          <p:txBody>
            <a:bodyPr lIns="50800" tIns="50800" rIns="50800" bIns="50800" anchor="ctr"/>
            <a:lstStyle/>
            <a:p>
              <a:pPr defTabSz="914400"/>
              <a:endParaRPr sz="1800">
                <a:solidFill>
                  <a:prstClr val="black"/>
                </a:solidFill>
              </a:endParaRPr>
            </a:p>
          </p:txBody>
        </p:sp>
        <p:sp>
          <p:nvSpPr>
            <p:cNvPr id="9" name="Rectangle"/>
            <p:cNvSpPr/>
            <p:nvPr userDrawn="1"/>
          </p:nvSpPr>
          <p:spPr>
            <a:xfrm>
              <a:off x="90616" y="8142097"/>
              <a:ext cx="1300907" cy="215008"/>
            </a:xfrm>
            <a:prstGeom prst="rect">
              <a:avLst/>
            </a:prstGeom>
            <a:solidFill>
              <a:srgbClr val="007272"/>
            </a:solidFill>
            <a:ln w="12700">
              <a:miter lim="400000"/>
            </a:ln>
          </p:spPr>
          <p:txBody>
            <a:bodyPr lIns="50800" tIns="50800" rIns="50800" bIns="50800" anchor="ctr"/>
            <a:lstStyle/>
            <a:p>
              <a:pPr defTabSz="914400"/>
              <a:endParaRPr sz="1800">
                <a:solidFill>
                  <a:prstClr val="black"/>
                </a:solidFill>
              </a:endParaRPr>
            </a:p>
          </p:txBody>
        </p:sp>
        <p:sp>
          <p:nvSpPr>
            <p:cNvPr id="10" name="Rectangle"/>
            <p:cNvSpPr/>
            <p:nvPr userDrawn="1"/>
          </p:nvSpPr>
          <p:spPr>
            <a:xfrm>
              <a:off x="90616" y="6154596"/>
              <a:ext cx="1300907" cy="1987502"/>
            </a:xfrm>
            <a:prstGeom prst="rect">
              <a:avLst/>
            </a:prstGeom>
            <a:solidFill>
              <a:srgbClr val="00A6AB"/>
            </a:solidFill>
            <a:ln w="12700">
              <a:miter lim="400000"/>
            </a:ln>
          </p:spPr>
          <p:txBody>
            <a:bodyPr lIns="50800" tIns="50800" rIns="50800" bIns="50800" anchor="ctr"/>
            <a:lstStyle/>
            <a:p>
              <a:pPr defTabSz="914400"/>
              <a:endParaRPr sz="1800">
                <a:solidFill>
                  <a:prstClr val="black"/>
                </a:solidFill>
              </a:endParaRPr>
            </a:p>
          </p:txBody>
        </p:sp>
        <p:sp>
          <p:nvSpPr>
            <p:cNvPr id="11" name="Rectangle"/>
            <p:cNvSpPr/>
            <p:nvPr userDrawn="1"/>
          </p:nvSpPr>
          <p:spPr>
            <a:xfrm>
              <a:off x="90616" y="5683158"/>
              <a:ext cx="1300907" cy="471439"/>
            </a:xfrm>
            <a:prstGeom prst="rect">
              <a:avLst/>
            </a:prstGeom>
            <a:solidFill>
              <a:srgbClr val="00C0B6"/>
            </a:solidFill>
            <a:ln w="12700">
              <a:miter lim="400000"/>
            </a:ln>
          </p:spPr>
          <p:txBody>
            <a:bodyPr lIns="50800" tIns="50800" rIns="50800" bIns="50800" anchor="ctr"/>
            <a:lstStyle/>
            <a:p>
              <a:pPr defTabSz="914400"/>
              <a:endParaRPr sz="1800">
                <a:solidFill>
                  <a:prstClr val="black"/>
                </a:solidFill>
              </a:endParaRPr>
            </a:p>
          </p:txBody>
        </p:sp>
        <p:sp>
          <p:nvSpPr>
            <p:cNvPr id="12" name="Rectangle"/>
            <p:cNvSpPr/>
            <p:nvPr userDrawn="1"/>
          </p:nvSpPr>
          <p:spPr>
            <a:xfrm>
              <a:off x="90616" y="329910"/>
              <a:ext cx="1300907" cy="813396"/>
            </a:xfrm>
            <a:prstGeom prst="rect">
              <a:avLst/>
            </a:prstGeom>
            <a:solidFill>
              <a:srgbClr val="00C0B6"/>
            </a:solidFill>
            <a:ln w="12700">
              <a:miter lim="400000"/>
            </a:ln>
          </p:spPr>
          <p:txBody>
            <a:bodyPr lIns="50800" tIns="50800" rIns="50800" bIns="50800" anchor="ctr"/>
            <a:lstStyle/>
            <a:p>
              <a:pPr defTabSz="914400"/>
              <a:endParaRPr sz="1800">
                <a:solidFill>
                  <a:prstClr val="black"/>
                </a:solidFill>
              </a:endParaRPr>
            </a:p>
          </p:txBody>
        </p:sp>
        <p:sp>
          <p:nvSpPr>
            <p:cNvPr id="13" name="Rectangle"/>
            <p:cNvSpPr/>
            <p:nvPr userDrawn="1"/>
          </p:nvSpPr>
          <p:spPr>
            <a:xfrm>
              <a:off x="90616" y="1143305"/>
              <a:ext cx="1300907" cy="4539854"/>
            </a:xfrm>
            <a:prstGeom prst="rect">
              <a:avLst/>
            </a:prstGeom>
            <a:solidFill>
              <a:srgbClr val="007272"/>
            </a:solidFill>
            <a:ln w="12700">
              <a:miter lim="400000"/>
            </a:ln>
          </p:spPr>
          <p:txBody>
            <a:bodyPr lIns="50800" tIns="50800" rIns="50800" bIns="50800" anchor="ctr"/>
            <a:lstStyle/>
            <a:p>
              <a:pPr defTabSz="914400"/>
              <a:endParaRPr sz="1800">
                <a:solidFill>
                  <a:prstClr val="black"/>
                </a:solidFill>
              </a:endParaRPr>
            </a:p>
          </p:txBody>
        </p:sp>
        <p:sp>
          <p:nvSpPr>
            <p:cNvPr id="14" name="Rectangle"/>
            <p:cNvSpPr/>
            <p:nvPr userDrawn="1"/>
          </p:nvSpPr>
          <p:spPr>
            <a:xfrm>
              <a:off x="90616" y="113613"/>
              <a:ext cx="1300907" cy="216298"/>
            </a:xfrm>
            <a:prstGeom prst="rect">
              <a:avLst/>
            </a:prstGeom>
            <a:solidFill>
              <a:srgbClr val="00A6AB"/>
            </a:solidFill>
            <a:ln w="12700">
              <a:miter lim="400000"/>
            </a:ln>
          </p:spPr>
          <p:txBody>
            <a:bodyPr lIns="50800" tIns="50800" rIns="50800" bIns="50800" anchor="ctr"/>
            <a:lstStyle/>
            <a:p>
              <a:pPr defTabSz="914400"/>
              <a:endParaRPr sz="1800">
                <a:solidFill>
                  <a:prstClr val="black"/>
                </a:solidFill>
              </a:endParaRPr>
            </a:p>
          </p:txBody>
        </p:sp>
      </p:grpSp>
    </p:spTree>
    <p:extLst>
      <p:ext uri="{BB962C8B-B14F-4D97-AF65-F5344CB8AC3E}">
        <p14:creationId xmlns:p14="http://schemas.microsoft.com/office/powerpoint/2010/main" val="1161389267"/>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6" name="Rectangle 5"/>
          <p:cNvSpPr/>
          <p:nvPr userDrawn="1"/>
        </p:nvSpPr>
        <p:spPr>
          <a:xfrm>
            <a:off x="120824" y="14846"/>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sz="1800">
              <a:solidFill>
                <a:prstClr val="white"/>
              </a:solidFill>
            </a:endParaRPr>
          </a:p>
        </p:txBody>
      </p:sp>
      <p:grpSp>
        <p:nvGrpSpPr>
          <p:cNvPr id="7" name="Group 6"/>
          <p:cNvGrpSpPr/>
          <p:nvPr userDrawn="1"/>
        </p:nvGrpSpPr>
        <p:grpSpPr>
          <a:xfrm>
            <a:off x="233936" y="99934"/>
            <a:ext cx="1206481" cy="6105588"/>
            <a:chOff x="160238" y="154880"/>
            <a:chExt cx="1300907" cy="8777933"/>
          </a:xfrm>
        </p:grpSpPr>
        <p:sp>
          <p:nvSpPr>
            <p:cNvPr id="8" name="Rectangle"/>
            <p:cNvSpPr/>
            <p:nvPr userDrawn="1"/>
          </p:nvSpPr>
          <p:spPr>
            <a:xfrm>
              <a:off x="160238" y="8398371"/>
              <a:ext cx="1300907" cy="534442"/>
            </a:xfrm>
            <a:prstGeom prst="rect">
              <a:avLst/>
            </a:prstGeom>
            <a:solidFill>
              <a:srgbClr val="AABA36"/>
            </a:solidFill>
            <a:ln w="12700">
              <a:miter lim="400000"/>
            </a:ln>
          </p:spPr>
          <p:txBody>
            <a:bodyPr lIns="50800" tIns="50800" rIns="50800" bIns="50800" anchor="ctr"/>
            <a:lstStyle/>
            <a:p>
              <a:pPr defTabSz="914400"/>
              <a:endParaRPr sz="1800">
                <a:solidFill>
                  <a:prstClr val="black"/>
                </a:solidFill>
              </a:endParaRPr>
            </a:p>
          </p:txBody>
        </p:sp>
        <p:sp>
          <p:nvSpPr>
            <p:cNvPr id="9" name="Rectangle"/>
            <p:cNvSpPr/>
            <p:nvPr userDrawn="1"/>
          </p:nvSpPr>
          <p:spPr>
            <a:xfrm>
              <a:off x="160238" y="8183364"/>
              <a:ext cx="1300907" cy="215008"/>
            </a:xfrm>
            <a:prstGeom prst="rect">
              <a:avLst/>
            </a:prstGeom>
            <a:solidFill>
              <a:srgbClr val="CEDD01"/>
            </a:solidFill>
            <a:ln w="12700">
              <a:miter lim="400000"/>
            </a:ln>
          </p:spPr>
          <p:txBody>
            <a:bodyPr lIns="50800" tIns="50800" rIns="50800" bIns="50800" anchor="ctr"/>
            <a:lstStyle/>
            <a:p>
              <a:pPr defTabSz="914400"/>
              <a:endParaRPr sz="1800">
                <a:solidFill>
                  <a:prstClr val="black"/>
                </a:solidFill>
              </a:endParaRPr>
            </a:p>
          </p:txBody>
        </p:sp>
        <p:sp>
          <p:nvSpPr>
            <p:cNvPr id="10" name="Rectangle"/>
            <p:cNvSpPr/>
            <p:nvPr userDrawn="1"/>
          </p:nvSpPr>
          <p:spPr>
            <a:xfrm>
              <a:off x="160238" y="6195863"/>
              <a:ext cx="1300907" cy="1987502"/>
            </a:xfrm>
            <a:prstGeom prst="rect">
              <a:avLst/>
            </a:prstGeom>
            <a:solidFill>
              <a:srgbClr val="94B301"/>
            </a:solidFill>
            <a:ln w="12700">
              <a:miter lim="400000"/>
            </a:ln>
          </p:spPr>
          <p:txBody>
            <a:bodyPr lIns="50800" tIns="50800" rIns="50800" bIns="50800" anchor="ctr"/>
            <a:lstStyle/>
            <a:p>
              <a:pPr defTabSz="914400"/>
              <a:endParaRPr sz="1800">
                <a:solidFill>
                  <a:prstClr val="black"/>
                </a:solidFill>
              </a:endParaRPr>
            </a:p>
          </p:txBody>
        </p:sp>
        <p:sp>
          <p:nvSpPr>
            <p:cNvPr id="11" name="Rectangle"/>
            <p:cNvSpPr/>
            <p:nvPr userDrawn="1"/>
          </p:nvSpPr>
          <p:spPr>
            <a:xfrm>
              <a:off x="160238" y="5724425"/>
              <a:ext cx="1300907" cy="471439"/>
            </a:xfrm>
            <a:prstGeom prst="rect">
              <a:avLst/>
            </a:prstGeom>
            <a:solidFill>
              <a:srgbClr val="AABA36"/>
            </a:solidFill>
            <a:ln w="12700">
              <a:miter lim="400000"/>
            </a:ln>
          </p:spPr>
          <p:txBody>
            <a:bodyPr lIns="50800" tIns="50800" rIns="50800" bIns="50800" anchor="ctr"/>
            <a:lstStyle/>
            <a:p>
              <a:pPr defTabSz="914400"/>
              <a:endParaRPr sz="1800">
                <a:solidFill>
                  <a:prstClr val="black"/>
                </a:solidFill>
              </a:endParaRPr>
            </a:p>
          </p:txBody>
        </p:sp>
        <p:sp>
          <p:nvSpPr>
            <p:cNvPr id="12" name="Rectangle"/>
            <p:cNvSpPr/>
            <p:nvPr userDrawn="1"/>
          </p:nvSpPr>
          <p:spPr>
            <a:xfrm>
              <a:off x="160238" y="371177"/>
              <a:ext cx="1300907" cy="813396"/>
            </a:xfrm>
            <a:prstGeom prst="rect">
              <a:avLst/>
            </a:prstGeom>
            <a:solidFill>
              <a:srgbClr val="CEDD01"/>
            </a:solidFill>
            <a:ln w="12700">
              <a:miter lim="400000"/>
            </a:ln>
          </p:spPr>
          <p:txBody>
            <a:bodyPr lIns="50800" tIns="50800" rIns="50800" bIns="50800" anchor="ctr"/>
            <a:lstStyle/>
            <a:p>
              <a:pPr defTabSz="914400"/>
              <a:endParaRPr sz="1800">
                <a:solidFill>
                  <a:prstClr val="black"/>
                </a:solidFill>
              </a:endParaRPr>
            </a:p>
          </p:txBody>
        </p:sp>
        <p:sp>
          <p:nvSpPr>
            <p:cNvPr id="13" name="Rectangle"/>
            <p:cNvSpPr/>
            <p:nvPr userDrawn="1"/>
          </p:nvSpPr>
          <p:spPr>
            <a:xfrm>
              <a:off x="160238" y="1184572"/>
              <a:ext cx="1300907" cy="4539854"/>
            </a:xfrm>
            <a:prstGeom prst="rect">
              <a:avLst/>
            </a:prstGeom>
            <a:solidFill>
              <a:srgbClr val="73A600"/>
            </a:solidFill>
            <a:ln w="12700">
              <a:miter lim="400000"/>
            </a:ln>
          </p:spPr>
          <p:txBody>
            <a:bodyPr lIns="50800" tIns="50800" rIns="50800" bIns="50800" anchor="ctr"/>
            <a:lstStyle/>
            <a:p>
              <a:pPr defTabSz="914400"/>
              <a:endParaRPr sz="1800">
                <a:solidFill>
                  <a:prstClr val="black"/>
                </a:solidFill>
              </a:endParaRPr>
            </a:p>
          </p:txBody>
        </p:sp>
        <p:sp>
          <p:nvSpPr>
            <p:cNvPr id="14" name="Rectangle"/>
            <p:cNvSpPr/>
            <p:nvPr userDrawn="1"/>
          </p:nvSpPr>
          <p:spPr>
            <a:xfrm>
              <a:off x="160238" y="154880"/>
              <a:ext cx="1300907" cy="216298"/>
            </a:xfrm>
            <a:prstGeom prst="rect">
              <a:avLst/>
            </a:prstGeom>
            <a:solidFill>
              <a:srgbClr val="94B301"/>
            </a:solidFill>
            <a:ln w="12700">
              <a:miter lim="400000"/>
            </a:ln>
          </p:spPr>
          <p:txBody>
            <a:bodyPr lIns="50800" tIns="50800" rIns="50800" bIns="50800" anchor="ctr"/>
            <a:lstStyle/>
            <a:p>
              <a:pPr defTabSz="914400"/>
              <a:endParaRPr sz="1800">
                <a:solidFill>
                  <a:prstClr val="black"/>
                </a:solidFill>
              </a:endParaRPr>
            </a:p>
          </p:txBody>
        </p:sp>
      </p:grpSp>
    </p:spTree>
    <p:extLst>
      <p:ext uri="{BB962C8B-B14F-4D97-AF65-F5344CB8AC3E}">
        <p14:creationId xmlns:p14="http://schemas.microsoft.com/office/powerpoint/2010/main" val="3611096520"/>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6" name="Rectangle 5"/>
          <p:cNvSpPr/>
          <p:nvPr userDrawn="1"/>
        </p:nvSpPr>
        <p:spPr>
          <a:xfrm>
            <a:off x="120824" y="14846"/>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sz="1800">
              <a:solidFill>
                <a:prstClr val="white"/>
              </a:solidFill>
            </a:endParaRPr>
          </a:p>
        </p:txBody>
      </p:sp>
      <p:grpSp>
        <p:nvGrpSpPr>
          <p:cNvPr id="7" name="Group 6"/>
          <p:cNvGrpSpPr/>
          <p:nvPr userDrawn="1"/>
        </p:nvGrpSpPr>
        <p:grpSpPr>
          <a:xfrm>
            <a:off x="233934" y="99934"/>
            <a:ext cx="1206481" cy="6105588"/>
            <a:chOff x="1081465" y="114688"/>
            <a:chExt cx="1300907" cy="8777933"/>
          </a:xfrm>
        </p:grpSpPr>
        <p:sp>
          <p:nvSpPr>
            <p:cNvPr id="8" name="Rectangle"/>
            <p:cNvSpPr/>
            <p:nvPr userDrawn="1"/>
          </p:nvSpPr>
          <p:spPr>
            <a:xfrm>
              <a:off x="1081465" y="8358179"/>
              <a:ext cx="1300907" cy="534442"/>
            </a:xfrm>
            <a:prstGeom prst="rect">
              <a:avLst/>
            </a:prstGeom>
            <a:solidFill>
              <a:srgbClr val="8C4395"/>
            </a:solidFill>
            <a:ln w="12700">
              <a:miter lim="400000"/>
            </a:ln>
          </p:spPr>
          <p:txBody>
            <a:bodyPr lIns="50800" tIns="50800" rIns="50800" bIns="50800" anchor="ctr"/>
            <a:lstStyle/>
            <a:p>
              <a:pPr defTabSz="914400"/>
              <a:endParaRPr sz="1800">
                <a:solidFill>
                  <a:prstClr val="black"/>
                </a:solidFill>
              </a:endParaRPr>
            </a:p>
          </p:txBody>
        </p:sp>
        <p:sp>
          <p:nvSpPr>
            <p:cNvPr id="9" name="Rectangle"/>
            <p:cNvSpPr/>
            <p:nvPr userDrawn="1"/>
          </p:nvSpPr>
          <p:spPr>
            <a:xfrm>
              <a:off x="1081465" y="8143172"/>
              <a:ext cx="1300907" cy="215008"/>
            </a:xfrm>
            <a:prstGeom prst="rect">
              <a:avLst/>
            </a:prstGeom>
            <a:solidFill>
              <a:srgbClr val="A469AB"/>
            </a:solidFill>
            <a:ln w="12700">
              <a:miter lim="400000"/>
            </a:ln>
          </p:spPr>
          <p:txBody>
            <a:bodyPr lIns="50800" tIns="50800" rIns="50800" bIns="50800" anchor="ctr"/>
            <a:lstStyle/>
            <a:p>
              <a:pPr defTabSz="914400"/>
              <a:endParaRPr sz="1800">
                <a:solidFill>
                  <a:prstClr val="black"/>
                </a:solidFill>
              </a:endParaRPr>
            </a:p>
          </p:txBody>
        </p:sp>
        <p:sp>
          <p:nvSpPr>
            <p:cNvPr id="10" name="Rectangle"/>
            <p:cNvSpPr/>
            <p:nvPr userDrawn="1"/>
          </p:nvSpPr>
          <p:spPr>
            <a:xfrm>
              <a:off x="1081465" y="6155671"/>
              <a:ext cx="1300907" cy="1987502"/>
            </a:xfrm>
            <a:prstGeom prst="rect">
              <a:avLst/>
            </a:prstGeom>
            <a:solidFill>
              <a:srgbClr val="63006C"/>
            </a:solidFill>
            <a:ln w="12700">
              <a:miter lim="400000"/>
            </a:ln>
          </p:spPr>
          <p:txBody>
            <a:bodyPr lIns="50800" tIns="50800" rIns="50800" bIns="50800" anchor="ctr"/>
            <a:lstStyle/>
            <a:p>
              <a:pPr defTabSz="914400"/>
              <a:endParaRPr sz="1800">
                <a:solidFill>
                  <a:prstClr val="black"/>
                </a:solidFill>
              </a:endParaRPr>
            </a:p>
          </p:txBody>
        </p:sp>
        <p:sp>
          <p:nvSpPr>
            <p:cNvPr id="11" name="Rectangle"/>
            <p:cNvSpPr/>
            <p:nvPr userDrawn="1"/>
          </p:nvSpPr>
          <p:spPr>
            <a:xfrm>
              <a:off x="1081465" y="5684233"/>
              <a:ext cx="1300907" cy="471439"/>
            </a:xfrm>
            <a:prstGeom prst="rect">
              <a:avLst/>
            </a:prstGeom>
            <a:solidFill>
              <a:srgbClr val="8B4193"/>
            </a:solidFill>
            <a:ln w="12700">
              <a:miter lim="400000"/>
            </a:ln>
          </p:spPr>
          <p:txBody>
            <a:bodyPr lIns="50800" tIns="50800" rIns="50800" bIns="50800" anchor="ctr"/>
            <a:lstStyle/>
            <a:p>
              <a:pPr defTabSz="914400"/>
              <a:endParaRPr sz="1800">
                <a:solidFill>
                  <a:prstClr val="black"/>
                </a:solidFill>
              </a:endParaRPr>
            </a:p>
          </p:txBody>
        </p:sp>
        <p:sp>
          <p:nvSpPr>
            <p:cNvPr id="12" name="Rectangle"/>
            <p:cNvSpPr/>
            <p:nvPr userDrawn="1"/>
          </p:nvSpPr>
          <p:spPr>
            <a:xfrm>
              <a:off x="1081465" y="330985"/>
              <a:ext cx="1300907" cy="813396"/>
            </a:xfrm>
            <a:prstGeom prst="rect">
              <a:avLst/>
            </a:prstGeom>
            <a:solidFill>
              <a:srgbClr val="8C4395"/>
            </a:solidFill>
            <a:ln w="12700">
              <a:miter lim="400000"/>
            </a:ln>
          </p:spPr>
          <p:txBody>
            <a:bodyPr lIns="50800" tIns="50800" rIns="50800" bIns="50800" anchor="ctr"/>
            <a:lstStyle/>
            <a:p>
              <a:pPr defTabSz="914400"/>
              <a:endParaRPr sz="1800">
                <a:solidFill>
                  <a:prstClr val="black"/>
                </a:solidFill>
              </a:endParaRPr>
            </a:p>
          </p:txBody>
        </p:sp>
        <p:sp>
          <p:nvSpPr>
            <p:cNvPr id="13" name="Rectangle"/>
            <p:cNvSpPr/>
            <p:nvPr userDrawn="1"/>
          </p:nvSpPr>
          <p:spPr>
            <a:xfrm>
              <a:off x="1081465" y="1144380"/>
              <a:ext cx="1300907" cy="4539854"/>
            </a:xfrm>
            <a:prstGeom prst="rect">
              <a:avLst/>
            </a:prstGeom>
            <a:solidFill>
              <a:srgbClr val="70147B"/>
            </a:solidFill>
            <a:ln w="12700">
              <a:miter lim="400000"/>
            </a:ln>
          </p:spPr>
          <p:txBody>
            <a:bodyPr lIns="50800" tIns="50800" rIns="50800" bIns="50800" anchor="ctr"/>
            <a:lstStyle/>
            <a:p>
              <a:pPr defTabSz="914400"/>
              <a:endParaRPr sz="1800">
                <a:solidFill>
                  <a:prstClr val="black"/>
                </a:solidFill>
              </a:endParaRPr>
            </a:p>
          </p:txBody>
        </p:sp>
        <p:sp>
          <p:nvSpPr>
            <p:cNvPr id="14" name="Rectangle"/>
            <p:cNvSpPr/>
            <p:nvPr userDrawn="1"/>
          </p:nvSpPr>
          <p:spPr>
            <a:xfrm>
              <a:off x="1081465" y="114688"/>
              <a:ext cx="1300907" cy="216298"/>
            </a:xfrm>
            <a:prstGeom prst="rect">
              <a:avLst/>
            </a:prstGeom>
            <a:solidFill>
              <a:srgbClr val="70147B"/>
            </a:solidFill>
            <a:ln w="12700">
              <a:miter lim="400000"/>
            </a:ln>
          </p:spPr>
          <p:txBody>
            <a:bodyPr lIns="50800" tIns="50800" rIns="50800" bIns="50800" anchor="ctr"/>
            <a:lstStyle/>
            <a:p>
              <a:pPr defTabSz="914400"/>
              <a:endParaRPr sz="1800">
                <a:solidFill>
                  <a:prstClr val="black"/>
                </a:solidFill>
              </a:endParaRPr>
            </a:p>
          </p:txBody>
        </p:sp>
      </p:grpSp>
    </p:spTree>
    <p:extLst>
      <p:ext uri="{BB962C8B-B14F-4D97-AF65-F5344CB8AC3E}">
        <p14:creationId xmlns:p14="http://schemas.microsoft.com/office/powerpoint/2010/main" val="3443875075"/>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6" name="Rectangle 5"/>
          <p:cNvSpPr/>
          <p:nvPr userDrawn="1"/>
        </p:nvSpPr>
        <p:spPr>
          <a:xfrm>
            <a:off x="4" y="0"/>
            <a:ext cx="12093145"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sz="1800">
              <a:solidFill>
                <a:prstClr val="white"/>
              </a:solidFill>
            </a:endParaRPr>
          </a:p>
        </p:txBody>
      </p:sp>
      <p:sp>
        <p:nvSpPr>
          <p:cNvPr id="7" name="Slide Number Placeholder 5"/>
          <p:cNvSpPr txBox="1">
            <a:spLocks/>
          </p:cNvSpPr>
          <p:nvPr userDrawn="1"/>
        </p:nvSpPr>
        <p:spPr>
          <a:xfrm>
            <a:off x="3057376" y="6356355"/>
            <a:ext cx="3319272"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FC7F43E-2420-6848-A2B2-B5C9DEF3CEAA}" type="slidenum">
              <a:rPr lang="en-US" sz="1200" smtClean="0">
                <a:solidFill>
                  <a:prstClr val="black">
                    <a:tint val="75000"/>
                  </a:prstClr>
                </a:solidFill>
              </a:rPr>
              <a:pPr/>
              <a:t>‹#›</a:t>
            </a:fld>
            <a:endParaRPr lang="en-US" sz="1200" dirty="0">
              <a:solidFill>
                <a:prstClr val="black">
                  <a:tint val="75000"/>
                </a:prstClr>
              </a:solidFill>
            </a:endParaRPr>
          </a:p>
        </p:txBody>
      </p:sp>
      <p:pic>
        <p:nvPicPr>
          <p:cNvPr id="9" name="pasted-image.pdf" descr="pasted-image.pdf"/>
          <p:cNvPicPr>
            <a:picLocks noChangeAspect="1"/>
          </p:cNvPicPr>
          <p:nvPr userDrawn="1"/>
        </p:nvPicPr>
        <p:blipFill>
          <a:blip r:embed="rId2"/>
          <a:stretch>
            <a:fillRect/>
          </a:stretch>
        </p:blipFill>
        <p:spPr>
          <a:xfrm>
            <a:off x="393794" y="6356355"/>
            <a:ext cx="736953" cy="365125"/>
          </a:xfrm>
          <a:prstGeom prst="rect">
            <a:avLst/>
          </a:prstGeom>
          <a:ln w="12700">
            <a:miter lim="400000"/>
          </a:ln>
        </p:spPr>
      </p:pic>
      <p:pic>
        <p:nvPicPr>
          <p:cNvPr id="2" name="Picture 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411013" y="6480626"/>
            <a:ext cx="1561852" cy="204993"/>
          </a:xfrm>
          <a:prstGeom prst="rect">
            <a:avLst/>
          </a:prstGeom>
        </p:spPr>
      </p:pic>
    </p:spTree>
    <p:extLst>
      <p:ext uri="{BB962C8B-B14F-4D97-AF65-F5344CB8AC3E}">
        <p14:creationId xmlns:p14="http://schemas.microsoft.com/office/powerpoint/2010/main" val="394177415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Quote_BW">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pPr>
              <a:defRPr/>
            </a:pPr>
            <a:fld id="{410BB04A-6CB2-A14D-B6AF-586C8C166ED7}" type="slidenum">
              <a:rPr lang="en-US">
                <a:solidFill>
                  <a:srgbClr val="53565A"/>
                </a:solidFill>
              </a:rPr>
              <a:pPr>
                <a:defRPr/>
              </a:pPr>
              <a:t>‹#›</a:t>
            </a:fld>
            <a:endParaRPr lang="en-US">
              <a:solidFill>
                <a:srgbClr val="53565A"/>
              </a:solidFill>
            </a:endParaRPr>
          </a:p>
        </p:txBody>
      </p:sp>
      <p:sp>
        <p:nvSpPr>
          <p:cNvPr id="4" name="Date Placeholder 3"/>
          <p:cNvSpPr>
            <a:spLocks noGrp="1"/>
          </p:cNvSpPr>
          <p:nvPr>
            <p:ph type="dt" sz="half" idx="11"/>
          </p:nvPr>
        </p:nvSpPr>
        <p:spPr/>
        <p:txBody>
          <a:bodyPr/>
          <a:lstStyle/>
          <a:p>
            <a:pPr>
              <a:defRPr/>
            </a:pPr>
            <a:r>
              <a:rPr lang="en-US">
                <a:solidFill>
                  <a:srgbClr val="53565A"/>
                </a:solidFill>
              </a:rPr>
              <a:t>MM.DD.YY</a:t>
            </a:r>
          </a:p>
        </p:txBody>
      </p:sp>
      <p:sp>
        <p:nvSpPr>
          <p:cNvPr id="5" name="Footer Placeholder 4"/>
          <p:cNvSpPr>
            <a:spLocks noGrp="1"/>
          </p:cNvSpPr>
          <p:nvPr>
            <p:ph type="ftr" sz="quarter" idx="12"/>
          </p:nvPr>
        </p:nvSpPr>
        <p:spPr/>
        <p:txBody>
          <a:bodyPr/>
          <a:lstStyle/>
          <a:p>
            <a:pPr>
              <a:defRPr/>
            </a:pPr>
            <a:r>
              <a:rPr lang="en-US">
                <a:solidFill>
                  <a:srgbClr val="53565A"/>
                </a:solidFill>
              </a:rPr>
              <a:t>Presentation Title</a:t>
            </a:r>
          </a:p>
        </p:txBody>
      </p:sp>
      <p:sp>
        <p:nvSpPr>
          <p:cNvPr id="13" name="Rectangle 6"/>
          <p:cNvSpPr txBox="1">
            <a:spLocks noChangeArrowheads="1"/>
          </p:cNvSpPr>
          <p:nvPr userDrawn="1"/>
        </p:nvSpPr>
        <p:spPr bwMode="black">
          <a:xfrm>
            <a:off x="2399970" y="1597948"/>
            <a:ext cx="7342716" cy="440756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accent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p:spPr>
        <p:txBody>
          <a:bodyPr lIns="0" tIns="45712" rIns="91426" bIns="45712"/>
          <a:lstStyle>
            <a:lvl1pPr algn="ctr" eaLnBrk="0" hangingPunct="0">
              <a:defRPr sz="2400">
                <a:solidFill>
                  <a:schemeClr val="tx1"/>
                </a:solidFill>
                <a:latin typeface="Arial" charset="0"/>
                <a:ea typeface="ヒラギノ角ゴ Pro W3" charset="0"/>
              </a:defRPr>
            </a:lvl1pPr>
            <a:lvl2pPr marL="742950" indent="-285750" algn="ctr" eaLnBrk="0" hangingPunct="0">
              <a:defRPr sz="2400">
                <a:solidFill>
                  <a:schemeClr val="tx1"/>
                </a:solidFill>
                <a:latin typeface="Arial" charset="0"/>
                <a:ea typeface="ヒラギノ角ゴ Pro W3" charset="0"/>
              </a:defRPr>
            </a:lvl2pPr>
            <a:lvl3pPr marL="1143000" indent="-228600" algn="ctr" eaLnBrk="0" hangingPunct="0">
              <a:defRPr sz="2400">
                <a:solidFill>
                  <a:schemeClr val="tx1"/>
                </a:solidFill>
                <a:latin typeface="Arial" charset="0"/>
                <a:ea typeface="ヒラギノ角ゴ Pro W3" charset="0"/>
              </a:defRPr>
            </a:lvl3pPr>
            <a:lvl4pPr marL="1600200" indent="-228600" algn="ctr" eaLnBrk="0" hangingPunct="0">
              <a:defRPr sz="2400">
                <a:solidFill>
                  <a:schemeClr val="tx1"/>
                </a:solidFill>
                <a:latin typeface="Arial" charset="0"/>
                <a:ea typeface="ヒラギノ角ゴ Pro W3" charset="0"/>
              </a:defRPr>
            </a:lvl4pPr>
            <a:lvl5pPr marL="2057400" indent="-228600" algn="ctr" eaLnBrk="0" hangingPunct="0">
              <a:defRPr sz="2400">
                <a:solidFill>
                  <a:schemeClr val="tx1"/>
                </a:solidFill>
                <a:latin typeface="Arial" charset="0"/>
                <a:ea typeface="ヒラギノ角ゴ Pro W3" charset="0"/>
              </a:defRPr>
            </a:lvl5pPr>
            <a:lvl6pPr marL="2514600" indent="-228600" algn="ctr" eaLnBrk="0" fontAlgn="base" hangingPunct="0">
              <a:spcBef>
                <a:spcPct val="0"/>
              </a:spcBef>
              <a:spcAft>
                <a:spcPct val="0"/>
              </a:spcAft>
              <a:defRPr sz="2400">
                <a:solidFill>
                  <a:schemeClr val="tx1"/>
                </a:solidFill>
                <a:latin typeface="Arial" charset="0"/>
                <a:ea typeface="ヒラギノ角ゴ Pro W3" charset="0"/>
              </a:defRPr>
            </a:lvl6pPr>
            <a:lvl7pPr marL="2971800" indent="-228600" algn="ctr" eaLnBrk="0" fontAlgn="base" hangingPunct="0">
              <a:spcBef>
                <a:spcPct val="0"/>
              </a:spcBef>
              <a:spcAft>
                <a:spcPct val="0"/>
              </a:spcAft>
              <a:defRPr sz="2400">
                <a:solidFill>
                  <a:schemeClr val="tx1"/>
                </a:solidFill>
                <a:latin typeface="Arial" charset="0"/>
                <a:ea typeface="ヒラギノ角ゴ Pro W3" charset="0"/>
              </a:defRPr>
            </a:lvl7pPr>
            <a:lvl8pPr marL="3429000" indent="-228600" algn="ctr" eaLnBrk="0" fontAlgn="base" hangingPunct="0">
              <a:spcBef>
                <a:spcPct val="0"/>
              </a:spcBef>
              <a:spcAft>
                <a:spcPct val="0"/>
              </a:spcAft>
              <a:defRPr sz="2400">
                <a:solidFill>
                  <a:schemeClr val="tx1"/>
                </a:solidFill>
                <a:latin typeface="Arial" charset="0"/>
                <a:ea typeface="ヒラギノ角ゴ Pro W3" charset="0"/>
              </a:defRPr>
            </a:lvl8pPr>
            <a:lvl9pPr marL="3886200" indent="-228600" algn="ctr" eaLnBrk="0" fontAlgn="base" hangingPunct="0">
              <a:spcBef>
                <a:spcPct val="0"/>
              </a:spcBef>
              <a:spcAft>
                <a:spcPct val="0"/>
              </a:spcAft>
              <a:defRPr sz="2400">
                <a:solidFill>
                  <a:schemeClr val="tx1"/>
                </a:solidFill>
                <a:latin typeface="Arial" charset="0"/>
                <a:ea typeface="ヒラギノ角ゴ Pro W3" charset="0"/>
              </a:defRPr>
            </a:lvl9pPr>
          </a:lstStyle>
          <a:p>
            <a:pPr algn="l" eaLnBrk="1" fontAlgn="base" hangingPunct="1">
              <a:lnSpc>
                <a:spcPct val="95000"/>
              </a:lnSpc>
              <a:spcBef>
                <a:spcPct val="75000"/>
              </a:spcBef>
              <a:spcAft>
                <a:spcPct val="20000"/>
              </a:spcAft>
              <a:defRPr/>
            </a:pPr>
            <a:r>
              <a:rPr lang="es-ES_tradnl" sz="3600" dirty="0">
                <a:solidFill>
                  <a:srgbClr val="FFFFFF"/>
                </a:solidFill>
                <a:ea typeface="Arial" charset="0"/>
                <a:cs typeface="Geneva" charset="0"/>
              </a:rPr>
              <a:t>Una cita puede ser colocada aquí. Una gran hoja sirve de transición </a:t>
            </a:r>
            <a:br>
              <a:rPr lang="es-ES_tradnl" sz="3600" dirty="0">
                <a:solidFill>
                  <a:srgbClr val="FFFFFF"/>
                </a:solidFill>
                <a:ea typeface="Arial" charset="0"/>
                <a:cs typeface="Geneva" charset="0"/>
              </a:rPr>
            </a:br>
            <a:r>
              <a:rPr lang="es-ES_tradnl" sz="3600" dirty="0">
                <a:solidFill>
                  <a:srgbClr val="FFFFFF"/>
                </a:solidFill>
                <a:ea typeface="Arial" charset="0"/>
                <a:cs typeface="Geneva" charset="0"/>
              </a:rPr>
              <a:t>y crea una pausa para tus clientes para digerir mejor la información. </a:t>
            </a:r>
          </a:p>
          <a:p>
            <a:pPr algn="l" eaLnBrk="1" fontAlgn="base" hangingPunct="1">
              <a:lnSpc>
                <a:spcPct val="95000"/>
              </a:lnSpc>
              <a:spcBef>
                <a:spcPct val="75000"/>
              </a:spcBef>
              <a:spcAft>
                <a:spcPct val="20000"/>
              </a:spcAft>
              <a:defRPr/>
            </a:pPr>
            <a:r>
              <a:rPr lang="es-ES_tradnl" sz="2000" dirty="0">
                <a:solidFill>
                  <a:srgbClr val="00BDF2"/>
                </a:solidFill>
                <a:ea typeface="Arial" charset="0"/>
                <a:cs typeface="Geneva" charset="0"/>
              </a:rPr>
              <a:t>Aquí van los </a:t>
            </a:r>
            <a:r>
              <a:rPr lang="es-ES_tradnl" sz="2000" dirty="0" err="1">
                <a:solidFill>
                  <a:srgbClr val="00BDF2"/>
                </a:solidFill>
                <a:ea typeface="Arial" charset="0"/>
                <a:cs typeface="Geneva" charset="0"/>
              </a:rPr>
              <a:t>creditos</a:t>
            </a:r>
            <a:r>
              <a:rPr lang="es-ES_tradnl" sz="2000" dirty="0">
                <a:solidFill>
                  <a:srgbClr val="00BDF2"/>
                </a:solidFill>
                <a:ea typeface="Arial" charset="0"/>
                <a:cs typeface="Geneva" charset="0"/>
              </a:rPr>
              <a:t> de la cita; </a:t>
            </a:r>
            <a:r>
              <a:rPr lang="es-ES_tradnl" sz="2000" dirty="0" err="1">
                <a:solidFill>
                  <a:srgbClr val="00BDF2"/>
                </a:solidFill>
                <a:ea typeface="Arial" charset="0"/>
                <a:cs typeface="Geneva" charset="0"/>
              </a:rPr>
              <a:t>lorem</a:t>
            </a:r>
            <a:r>
              <a:rPr lang="es-ES_tradnl" sz="2000" dirty="0">
                <a:solidFill>
                  <a:srgbClr val="00BDF2"/>
                </a:solidFill>
                <a:ea typeface="Arial" charset="0"/>
                <a:cs typeface="Geneva" charset="0"/>
              </a:rPr>
              <a:t> </a:t>
            </a:r>
            <a:r>
              <a:rPr lang="es-ES_tradnl" sz="2000" dirty="0" err="1">
                <a:solidFill>
                  <a:srgbClr val="00BDF2"/>
                </a:solidFill>
                <a:ea typeface="Arial" charset="0"/>
                <a:cs typeface="Geneva" charset="0"/>
              </a:rPr>
              <a:t>ipsum</a:t>
            </a:r>
            <a:r>
              <a:rPr lang="es-ES_tradnl" sz="2000" dirty="0">
                <a:solidFill>
                  <a:srgbClr val="00BDF2"/>
                </a:solidFill>
                <a:ea typeface="Arial" charset="0"/>
                <a:cs typeface="Geneva" charset="0"/>
              </a:rPr>
              <a:t> dolor </a:t>
            </a:r>
            <a:r>
              <a:rPr lang="es-ES_tradnl" sz="2000" dirty="0" err="1">
                <a:solidFill>
                  <a:srgbClr val="00BDF2"/>
                </a:solidFill>
                <a:ea typeface="Arial" charset="0"/>
                <a:cs typeface="Geneva" charset="0"/>
              </a:rPr>
              <a:t>sit</a:t>
            </a:r>
            <a:r>
              <a:rPr lang="es-ES_tradnl" sz="2000" dirty="0">
                <a:solidFill>
                  <a:srgbClr val="00BDF2"/>
                </a:solidFill>
                <a:ea typeface="Arial" charset="0"/>
                <a:cs typeface="Geneva" charset="0"/>
              </a:rPr>
              <a:t> </a:t>
            </a:r>
            <a:r>
              <a:rPr lang="es-ES_tradnl" sz="2000" dirty="0" err="1">
                <a:solidFill>
                  <a:srgbClr val="00BDF2"/>
                </a:solidFill>
                <a:ea typeface="Arial" charset="0"/>
                <a:cs typeface="Geneva" charset="0"/>
              </a:rPr>
              <a:t>amet</a:t>
            </a:r>
            <a:r>
              <a:rPr lang="es-ES_tradnl" sz="2000" dirty="0">
                <a:solidFill>
                  <a:srgbClr val="00BDF2"/>
                </a:solidFill>
                <a:ea typeface="Arial" charset="0"/>
                <a:cs typeface="Geneva" charset="0"/>
              </a:rPr>
              <a:t> </a:t>
            </a:r>
            <a:r>
              <a:rPr lang="es-ES_tradnl" sz="2000" dirty="0" err="1">
                <a:solidFill>
                  <a:srgbClr val="00BDF2"/>
                </a:solidFill>
                <a:ea typeface="Arial" charset="0"/>
                <a:cs typeface="Geneva" charset="0"/>
              </a:rPr>
              <a:t>consectetur</a:t>
            </a:r>
            <a:r>
              <a:rPr lang="es-ES_tradnl" sz="2000" dirty="0">
                <a:solidFill>
                  <a:srgbClr val="00BDF2"/>
                </a:solidFill>
                <a:ea typeface="Arial" charset="0"/>
                <a:cs typeface="Geneva" charset="0"/>
              </a:rPr>
              <a:t> </a:t>
            </a:r>
            <a:r>
              <a:rPr lang="es-ES_tradnl" sz="2000" dirty="0" err="1">
                <a:solidFill>
                  <a:srgbClr val="00BDF2"/>
                </a:solidFill>
                <a:ea typeface="Arial" charset="0"/>
                <a:cs typeface="Geneva" charset="0"/>
              </a:rPr>
              <a:t>adipiscing</a:t>
            </a:r>
            <a:r>
              <a:rPr lang="es-ES_tradnl" sz="2000" dirty="0">
                <a:solidFill>
                  <a:srgbClr val="00BDF2"/>
                </a:solidFill>
                <a:ea typeface="Arial" charset="0"/>
                <a:cs typeface="Geneva" charset="0"/>
              </a:rPr>
              <a:t>.</a:t>
            </a:r>
          </a:p>
        </p:txBody>
      </p:sp>
      <p:pic>
        <p:nvPicPr>
          <p:cNvPr id="14" name="Picture 13"/>
          <p:cNvPicPr>
            <a:picLocks noChangeAspect="1"/>
          </p:cNvPicPr>
          <p:nvPr userDrawn="1"/>
        </p:nvPicPr>
        <p:blipFill>
          <a:blip r:embed="rId2"/>
          <a:stretch>
            <a:fillRect/>
          </a:stretch>
        </p:blipFill>
        <p:spPr>
          <a:xfrm>
            <a:off x="-36661" y="-37908"/>
            <a:ext cx="12304487" cy="6924341"/>
          </a:xfrm>
          <a:prstGeom prst="rect">
            <a:avLst/>
          </a:prstGeom>
        </p:spPr>
      </p:pic>
      <p:grpSp>
        <p:nvGrpSpPr>
          <p:cNvPr id="15" name="Group 24"/>
          <p:cNvGrpSpPr>
            <a:grpSpLocks/>
          </p:cNvGrpSpPr>
          <p:nvPr userDrawn="1"/>
        </p:nvGrpSpPr>
        <p:grpSpPr bwMode="auto">
          <a:xfrm>
            <a:off x="490519" y="391003"/>
            <a:ext cx="1233216" cy="615424"/>
            <a:chOff x="-3315972" y="-924674"/>
            <a:chExt cx="6411831" cy="4278160"/>
          </a:xfrm>
          <a:solidFill>
            <a:schemeClr val="bg1"/>
          </a:solidFill>
        </p:grpSpPr>
        <p:sp>
          <p:nvSpPr>
            <p:cNvPr id="16" name="Trapezoid 21"/>
            <p:cNvSpPr>
              <a:spLocks/>
            </p:cNvSpPr>
            <p:nvPr/>
          </p:nvSpPr>
          <p:spPr bwMode="auto">
            <a:xfrm>
              <a:off x="-3315972"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fontAlgn="base">
                <a:spcBef>
                  <a:spcPct val="0"/>
                </a:spcBef>
                <a:spcAft>
                  <a:spcPct val="0"/>
                </a:spcAft>
                <a:defRPr/>
              </a:pPr>
              <a:endParaRPr lang="en-US" sz="2400">
                <a:solidFill>
                  <a:srgbClr val="53565A"/>
                </a:solidFill>
                <a:ea typeface="ヒラギノ角ゴ Pro W3" charset="0"/>
                <a:cs typeface="ヒラギノ角ゴ Pro W3" charset="0"/>
              </a:endParaRPr>
            </a:p>
          </p:txBody>
        </p:sp>
        <p:sp>
          <p:nvSpPr>
            <p:cNvPr id="17" name="Trapezoid 21"/>
            <p:cNvSpPr>
              <a:spLocks/>
            </p:cNvSpPr>
            <p:nvPr/>
          </p:nvSpPr>
          <p:spPr bwMode="auto">
            <a:xfrm>
              <a:off x="839130"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fontAlgn="base">
                <a:spcBef>
                  <a:spcPct val="0"/>
                </a:spcBef>
                <a:spcAft>
                  <a:spcPct val="0"/>
                </a:spcAft>
                <a:defRPr/>
              </a:pPr>
              <a:endParaRPr lang="en-US" sz="2400">
                <a:solidFill>
                  <a:srgbClr val="53565A"/>
                </a:solidFill>
                <a:ea typeface="ヒラギノ角ゴ Pro W3" charset="0"/>
                <a:cs typeface="ヒラギノ角ゴ Pro W3" charset="0"/>
              </a:endParaRPr>
            </a:p>
          </p:txBody>
        </p:sp>
      </p:grpSp>
      <p:grpSp>
        <p:nvGrpSpPr>
          <p:cNvPr id="18" name="Group 25"/>
          <p:cNvGrpSpPr>
            <a:grpSpLocks/>
          </p:cNvGrpSpPr>
          <p:nvPr userDrawn="1"/>
        </p:nvGrpSpPr>
        <p:grpSpPr bwMode="auto">
          <a:xfrm flipH="1" flipV="1">
            <a:off x="10549240" y="6005509"/>
            <a:ext cx="1233216" cy="615421"/>
            <a:chOff x="-3315972" y="-924674"/>
            <a:chExt cx="6411831" cy="4278160"/>
          </a:xfrm>
          <a:solidFill>
            <a:schemeClr val="bg1"/>
          </a:solidFill>
        </p:grpSpPr>
        <p:sp>
          <p:nvSpPr>
            <p:cNvPr id="19" name="Trapezoid 21"/>
            <p:cNvSpPr>
              <a:spLocks/>
            </p:cNvSpPr>
            <p:nvPr/>
          </p:nvSpPr>
          <p:spPr bwMode="auto">
            <a:xfrm>
              <a:off x="-3315972"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fontAlgn="base">
                <a:spcBef>
                  <a:spcPct val="0"/>
                </a:spcBef>
                <a:spcAft>
                  <a:spcPct val="0"/>
                </a:spcAft>
                <a:defRPr/>
              </a:pPr>
              <a:endParaRPr lang="en-US" sz="2400">
                <a:solidFill>
                  <a:srgbClr val="53565A"/>
                </a:solidFill>
                <a:ea typeface="ヒラギノ角ゴ Pro W3" charset="0"/>
                <a:cs typeface="ヒラギノ角ゴ Pro W3" charset="0"/>
              </a:endParaRPr>
            </a:p>
          </p:txBody>
        </p:sp>
        <p:sp>
          <p:nvSpPr>
            <p:cNvPr id="20" name="Trapezoid 21"/>
            <p:cNvSpPr>
              <a:spLocks/>
            </p:cNvSpPr>
            <p:nvPr/>
          </p:nvSpPr>
          <p:spPr bwMode="auto">
            <a:xfrm>
              <a:off x="839130"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fontAlgn="base">
                <a:spcBef>
                  <a:spcPct val="0"/>
                </a:spcBef>
                <a:spcAft>
                  <a:spcPct val="0"/>
                </a:spcAft>
                <a:defRPr/>
              </a:pPr>
              <a:endParaRPr lang="en-US" sz="2400">
                <a:solidFill>
                  <a:srgbClr val="53565A"/>
                </a:solidFill>
                <a:ea typeface="ヒラギノ角ゴ Pro W3" charset="0"/>
                <a:cs typeface="ヒラギノ角ゴ Pro W3" charset="0"/>
              </a:endParaRPr>
            </a:p>
          </p:txBody>
        </p:sp>
      </p:grpSp>
      <p:sp>
        <p:nvSpPr>
          <p:cNvPr id="21" name="Text Placeholder 23"/>
          <p:cNvSpPr>
            <a:spLocks noGrp="1"/>
          </p:cNvSpPr>
          <p:nvPr>
            <p:ph type="body" sz="quarter" idx="13"/>
          </p:nvPr>
        </p:nvSpPr>
        <p:spPr>
          <a:xfrm>
            <a:off x="2357969" y="1006427"/>
            <a:ext cx="8191273" cy="3686224"/>
          </a:xfrm>
        </p:spPr>
        <p:txBody>
          <a:bodyPr/>
          <a:lstStyle>
            <a:lvl1pPr marL="0" indent="0" algn="l">
              <a:buNone/>
              <a:defRPr sz="3600">
                <a:solidFill>
                  <a:schemeClr val="bg1"/>
                </a:solidFill>
              </a:defRPr>
            </a:lvl1pPr>
            <a:lvl2pPr marL="403160" indent="0" algn="l">
              <a:buNone/>
              <a:defRPr sz="3600">
                <a:solidFill>
                  <a:schemeClr val="bg1"/>
                </a:solidFill>
              </a:defRPr>
            </a:lvl2pPr>
            <a:lvl3pPr marL="747592" indent="0" algn="l">
              <a:buNone/>
              <a:defRPr sz="3600">
                <a:solidFill>
                  <a:schemeClr val="bg1"/>
                </a:solidFill>
              </a:defRPr>
            </a:lvl3pPr>
            <a:lvl4pPr marL="1088850" indent="0" algn="l">
              <a:buNone/>
              <a:defRPr sz="3600">
                <a:solidFill>
                  <a:schemeClr val="bg1"/>
                </a:solidFill>
              </a:defRPr>
            </a:lvl4pPr>
            <a:lvl5pPr marL="1426933" indent="0" algn="l">
              <a:buNone/>
              <a:defRPr sz="360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ext Placeholder 23"/>
          <p:cNvSpPr>
            <a:spLocks noGrp="1"/>
          </p:cNvSpPr>
          <p:nvPr>
            <p:ph type="body" sz="quarter" idx="14"/>
          </p:nvPr>
        </p:nvSpPr>
        <p:spPr>
          <a:xfrm>
            <a:off x="2357969" y="4944980"/>
            <a:ext cx="8191273" cy="1335504"/>
          </a:xfrm>
        </p:spPr>
        <p:txBody>
          <a:bodyPr/>
          <a:lstStyle>
            <a:lvl1pPr marL="0" indent="0" algn="l">
              <a:buNone/>
              <a:defRPr sz="2400">
                <a:solidFill>
                  <a:srgbClr val="00B3F0"/>
                </a:solidFill>
              </a:defRPr>
            </a:lvl1pPr>
            <a:lvl2pPr marL="403160" indent="0" algn="l">
              <a:buNone/>
              <a:defRPr sz="2400">
                <a:solidFill>
                  <a:srgbClr val="00B3F0"/>
                </a:solidFill>
              </a:defRPr>
            </a:lvl2pPr>
            <a:lvl3pPr marL="747592" indent="0" algn="l">
              <a:buNone/>
              <a:defRPr sz="2400">
                <a:solidFill>
                  <a:srgbClr val="00B3F0"/>
                </a:solidFill>
              </a:defRPr>
            </a:lvl3pPr>
            <a:lvl4pPr marL="1088850" indent="0" algn="l">
              <a:buNone/>
              <a:defRPr sz="2400">
                <a:solidFill>
                  <a:srgbClr val="00B3F0"/>
                </a:solidFill>
              </a:defRPr>
            </a:lvl4pPr>
            <a:lvl5pPr marL="1426933" indent="0" algn="l">
              <a:buNone/>
              <a:defRPr sz="2400">
                <a:solidFill>
                  <a:srgbClr val="00B3F0"/>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575484861"/>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3" name="Line 3"/>
          <p:cNvSpPr>
            <a:spLocks noChangeShapeType="1"/>
          </p:cNvSpPr>
          <p:nvPr userDrawn="1"/>
        </p:nvSpPr>
        <p:spPr bwMode="gray">
          <a:xfrm>
            <a:off x="585225" y="996696"/>
            <a:ext cx="11033759" cy="0"/>
          </a:xfrm>
          <a:prstGeom prst="line">
            <a:avLst/>
          </a:prstGeom>
          <a:noFill/>
          <a:ln w="12700">
            <a:solidFill>
              <a:srgbClr val="002D72"/>
            </a:solidFill>
            <a:round/>
            <a:headEnd/>
            <a:tailEnd/>
          </a:ln>
        </p:spPr>
        <p:txBody>
          <a:bodyPr wrap="none" anchor="ctr"/>
          <a:lstStyle/>
          <a:p>
            <a:pPr algn="ctr" defTabSz="914400">
              <a:defRPr/>
            </a:pPr>
            <a:endParaRPr lang="en-US" sz="1400" b="1" dirty="0">
              <a:solidFill>
                <a:srgbClr val="000000"/>
              </a:solidFill>
              <a:cs typeface="Arial" pitchFamily="34" charset="0"/>
            </a:endParaRPr>
          </a:p>
        </p:txBody>
      </p:sp>
      <p:sp>
        <p:nvSpPr>
          <p:cNvPr id="5" name="Title Placeholder 9"/>
          <p:cNvSpPr>
            <a:spLocks noGrp="1"/>
          </p:cNvSpPr>
          <p:nvPr>
            <p:ph type="title"/>
          </p:nvPr>
        </p:nvSpPr>
        <p:spPr>
          <a:xfrm>
            <a:off x="585216" y="152401"/>
            <a:ext cx="11033760" cy="809625"/>
          </a:xfrm>
          <a:prstGeom prst="rect">
            <a:avLst/>
          </a:prstGeom>
        </p:spPr>
        <p:txBody>
          <a:bodyPr vert="horz" lIns="0" tIns="0" rIns="0" bIns="0" rtlCol="0" anchor="b" anchorCtr="0">
            <a:normAutofit/>
          </a:bodyPr>
          <a:lstStyle/>
          <a:p>
            <a:r>
              <a:rPr lang="en-US" dirty="0"/>
              <a:t>Click to edit Master title style</a:t>
            </a:r>
          </a:p>
        </p:txBody>
      </p:sp>
    </p:spTree>
    <p:extLst>
      <p:ext uri="{BB962C8B-B14F-4D97-AF65-F5344CB8AC3E}">
        <p14:creationId xmlns:p14="http://schemas.microsoft.com/office/powerpoint/2010/main" val="648072452"/>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type="title" preserve="1">
  <p:cSld name="PORTADA">
    <p:spTree>
      <p:nvGrpSpPr>
        <p:cNvPr id="1" name=""/>
        <p:cNvGrpSpPr/>
        <p:nvPr/>
      </p:nvGrpSpPr>
      <p:grpSpPr>
        <a:xfrm>
          <a:off x="0" y="0"/>
          <a:ext cx="0" cy="0"/>
          <a:chOff x="0" y="0"/>
          <a:chExt cx="0" cy="0"/>
        </a:xfrm>
      </p:grpSpPr>
      <p:sp>
        <p:nvSpPr>
          <p:cNvPr id="3150" name="Rectangle 78"/>
          <p:cNvSpPr>
            <a:spLocks noGrp="1" noChangeArrowheads="1"/>
          </p:cNvSpPr>
          <p:nvPr>
            <p:ph type="ctrTitle"/>
          </p:nvPr>
        </p:nvSpPr>
        <p:spPr>
          <a:xfrm>
            <a:off x="804333" y="906464"/>
            <a:ext cx="10947400" cy="517525"/>
          </a:xfrm>
        </p:spPr>
        <p:txBody>
          <a:bodyPr/>
          <a:lstStyle>
            <a:lvl1pPr>
              <a:defRPr sz="3200"/>
            </a:lvl1pPr>
          </a:lstStyle>
          <a:p>
            <a:pPr lvl="0"/>
            <a:r>
              <a:rPr lang="en-US" noProof="0" dirty="0"/>
              <a:t>Click to edit Master title style</a:t>
            </a:r>
          </a:p>
        </p:txBody>
      </p:sp>
      <p:sp>
        <p:nvSpPr>
          <p:cNvPr id="3151" name="Rectangle 79"/>
          <p:cNvSpPr>
            <a:spLocks noGrp="1" noChangeArrowheads="1"/>
          </p:cNvSpPr>
          <p:nvPr>
            <p:ph type="subTitle" sz="quarter" idx="1"/>
          </p:nvPr>
        </p:nvSpPr>
        <p:spPr>
          <a:xfrm>
            <a:off x="804334" y="1423988"/>
            <a:ext cx="10962217" cy="1093788"/>
          </a:xfrm>
          <a:extLst>
            <a:ext uri="{91240B29-F687-4F45-9708-019B960494DF}">
              <a14:hiddenLine xmlns:a14="http://schemas.microsoft.com/office/drawing/2010/main" w="9525">
                <a:solidFill>
                  <a:schemeClr val="tx1"/>
                </a:solidFill>
                <a:miter lim="800000"/>
                <a:headEnd/>
                <a:tailEnd/>
              </a14:hiddenLine>
            </a:ext>
          </a:extLst>
        </p:spPr>
        <p:txBody>
          <a:bodyPr/>
          <a:lstStyle>
            <a:lvl1pPr marL="0" indent="0">
              <a:lnSpc>
                <a:spcPct val="100000"/>
              </a:lnSpc>
              <a:spcBef>
                <a:spcPct val="0"/>
              </a:spcBef>
              <a:spcAft>
                <a:spcPct val="0"/>
              </a:spcAft>
              <a:buFontTx/>
              <a:buNone/>
              <a:defRPr sz="3200">
                <a:solidFill>
                  <a:srgbClr val="00BDF2"/>
                </a:solidFill>
              </a:defRPr>
            </a:lvl1pPr>
          </a:lstStyle>
          <a:p>
            <a:pPr lvl="0"/>
            <a:r>
              <a:rPr lang="en-US" noProof="0"/>
              <a:t>Click to edit Master subtitle style</a:t>
            </a:r>
          </a:p>
        </p:txBody>
      </p:sp>
      <p:pic>
        <p:nvPicPr>
          <p:cNvPr id="4" name="Picture 3"/>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296210" y="4844121"/>
            <a:ext cx="4743391" cy="2301940"/>
          </a:xfrm>
          <a:prstGeom prst="rect">
            <a:avLst/>
          </a:prstGeom>
        </p:spPr>
      </p:pic>
    </p:spTree>
    <p:extLst>
      <p:ext uri="{BB962C8B-B14F-4D97-AF65-F5344CB8AC3E}">
        <p14:creationId xmlns:p14="http://schemas.microsoft.com/office/powerpoint/2010/main" val="483889291"/>
      </p:ext>
    </p:extLst>
  </p:cSld>
  <p:clrMapOvr>
    <a:overrideClrMapping bg1="lt1" tx1="dk1" bg2="lt2" tx2="dk2" accent1="accent1" accent2="accent2" accent3="accent3" accent4="accent4" accent5="accent5" accent6="accent6" hlink="hlink" folHlink="folHlink"/>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85"/>
          <p:cNvSpPr>
            <a:spLocks noGrp="1" noChangeArrowheads="1"/>
          </p:cNvSpPr>
          <p:nvPr>
            <p:ph type="sldNum" sz="quarter" idx="10"/>
          </p:nvPr>
        </p:nvSpPr>
        <p:spPr>
          <a:ln/>
        </p:spPr>
        <p:txBody>
          <a:bodyPr/>
          <a:lstStyle>
            <a:lvl1pPr>
              <a:defRPr/>
            </a:lvl1pPr>
          </a:lstStyle>
          <a:p>
            <a:pPr>
              <a:defRPr/>
            </a:pPr>
            <a:fld id="{92C380FF-0397-644C-B316-9BC79B505A0E}" type="slidenum">
              <a:rPr lang="en-US"/>
              <a:pPr>
                <a:defRPr/>
              </a:pPr>
              <a:t>‹#›</a:t>
            </a:fld>
            <a:endParaRPr lang="en-US"/>
          </a:p>
        </p:txBody>
      </p:sp>
      <p:sp>
        <p:nvSpPr>
          <p:cNvPr id="6" name="Rectangle 92"/>
          <p:cNvSpPr>
            <a:spLocks noGrp="1" noChangeArrowheads="1"/>
          </p:cNvSpPr>
          <p:nvPr>
            <p:ph type="ftr" sz="quarter" idx="12"/>
          </p:nvPr>
        </p:nvSpPr>
        <p:spPr>
          <a:ln/>
        </p:spPr>
        <p:txBody>
          <a:bodyPr/>
          <a:lstStyle>
            <a:lvl1pPr>
              <a:defRPr/>
            </a:lvl1pPr>
          </a:lstStyle>
          <a:p>
            <a:pPr>
              <a:defRPr/>
            </a:pPr>
            <a:r>
              <a:rPr lang="en-US"/>
              <a:t>Presentation Title</a:t>
            </a:r>
          </a:p>
        </p:txBody>
      </p:sp>
    </p:spTree>
    <p:extLst>
      <p:ext uri="{BB962C8B-B14F-4D97-AF65-F5344CB8AC3E}">
        <p14:creationId xmlns:p14="http://schemas.microsoft.com/office/powerpoint/2010/main" val="2469568887"/>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Rectangle 85"/>
          <p:cNvSpPr>
            <a:spLocks noGrp="1" noChangeArrowheads="1"/>
          </p:cNvSpPr>
          <p:nvPr>
            <p:ph type="sldNum" sz="quarter" idx="10"/>
          </p:nvPr>
        </p:nvSpPr>
        <p:spPr>
          <a:ln/>
        </p:spPr>
        <p:txBody>
          <a:bodyPr/>
          <a:lstStyle>
            <a:lvl1pPr>
              <a:defRPr/>
            </a:lvl1pPr>
          </a:lstStyle>
          <a:p>
            <a:pPr>
              <a:defRPr/>
            </a:pPr>
            <a:fld id="{B53A4395-16C9-6F44-AB3C-C7A6087BA63D}" type="slidenum">
              <a:rPr lang="en-US"/>
              <a:pPr>
                <a:defRPr/>
              </a:pPr>
              <a:t>‹#›</a:t>
            </a:fld>
            <a:endParaRPr lang="en-US"/>
          </a:p>
        </p:txBody>
      </p:sp>
      <p:sp>
        <p:nvSpPr>
          <p:cNvPr id="4" name="Rectangle 87"/>
          <p:cNvSpPr>
            <a:spLocks noGrp="1" noChangeArrowheads="1"/>
          </p:cNvSpPr>
          <p:nvPr>
            <p:ph type="dt" sz="half" idx="11"/>
          </p:nvPr>
        </p:nvSpPr>
        <p:spPr>
          <a:ln/>
        </p:spPr>
        <p:txBody>
          <a:bodyPr/>
          <a:lstStyle>
            <a:lvl1pPr>
              <a:defRPr/>
            </a:lvl1pPr>
          </a:lstStyle>
          <a:p>
            <a:pPr>
              <a:defRPr/>
            </a:pPr>
            <a:r>
              <a:rPr lang="en-US"/>
              <a:t>MM.DD.YY</a:t>
            </a:r>
          </a:p>
        </p:txBody>
      </p:sp>
      <p:sp>
        <p:nvSpPr>
          <p:cNvPr id="5" name="Rectangle 92"/>
          <p:cNvSpPr>
            <a:spLocks noGrp="1" noChangeArrowheads="1"/>
          </p:cNvSpPr>
          <p:nvPr>
            <p:ph type="ftr" sz="quarter" idx="12"/>
          </p:nvPr>
        </p:nvSpPr>
        <p:spPr>
          <a:ln/>
        </p:spPr>
        <p:txBody>
          <a:bodyPr/>
          <a:lstStyle>
            <a:lvl1pPr>
              <a:defRPr/>
            </a:lvl1pPr>
          </a:lstStyle>
          <a:p>
            <a:pPr>
              <a:defRPr/>
            </a:pPr>
            <a:r>
              <a:rPr lang="en-US"/>
              <a:t>Presentation Title</a:t>
            </a:r>
          </a:p>
        </p:txBody>
      </p:sp>
    </p:spTree>
    <p:extLst>
      <p:ext uri="{BB962C8B-B14F-4D97-AF65-F5344CB8AC3E}">
        <p14:creationId xmlns:p14="http://schemas.microsoft.com/office/powerpoint/2010/main" val="2335944924"/>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SUB PORTADA BW">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stretch>
            <a:fillRect/>
          </a:stretch>
        </p:blipFill>
        <p:spPr>
          <a:xfrm>
            <a:off x="0" y="-89377"/>
            <a:ext cx="12283621" cy="6962249"/>
          </a:xfrm>
          <a:prstGeom prst="rect">
            <a:avLst/>
          </a:prstGeom>
        </p:spPr>
      </p:pic>
      <p:sp>
        <p:nvSpPr>
          <p:cNvPr id="6" name="Title 1"/>
          <p:cNvSpPr>
            <a:spLocks noGrp="1"/>
          </p:cNvSpPr>
          <p:nvPr>
            <p:ph type="ctrTitle" idx="4294967295"/>
          </p:nvPr>
        </p:nvSpPr>
        <p:spPr>
          <a:xfrm>
            <a:off x="819151" y="3311525"/>
            <a:ext cx="10947400" cy="517525"/>
          </a:xfrm>
        </p:spPr>
        <p:txBody>
          <a:bodyPr/>
          <a:lstStyle/>
          <a:p>
            <a:pPr>
              <a:defRPr/>
            </a:pPr>
            <a:r>
              <a:rPr lang="es-ES_tradnl" sz="3200" dirty="0">
                <a:solidFill>
                  <a:schemeClr val="bg1"/>
                </a:solidFill>
              </a:rPr>
              <a:t>T</a:t>
            </a:r>
            <a:r>
              <a:rPr lang="en-US" sz="3200" dirty="0" err="1">
                <a:solidFill>
                  <a:schemeClr val="bg1"/>
                </a:solidFill>
              </a:rPr>
              <a:t>í</a:t>
            </a:r>
            <a:r>
              <a:rPr lang="es-ES_tradnl" sz="3200" dirty="0" err="1">
                <a:solidFill>
                  <a:schemeClr val="bg1"/>
                </a:solidFill>
              </a:rPr>
              <a:t>tulo</a:t>
            </a:r>
            <a:r>
              <a:rPr lang="es-ES_tradnl" sz="3200" dirty="0">
                <a:solidFill>
                  <a:schemeClr val="bg1"/>
                </a:solidFill>
              </a:rPr>
              <a:t> va aquí</a:t>
            </a:r>
            <a:endParaRPr lang="en-US" sz="3200" dirty="0">
              <a:solidFill>
                <a:schemeClr val="bg1"/>
              </a:solidFill>
            </a:endParaRPr>
          </a:p>
        </p:txBody>
      </p:sp>
      <p:sp>
        <p:nvSpPr>
          <p:cNvPr id="7" name="Subtitle 2"/>
          <p:cNvSpPr>
            <a:spLocks noGrp="1"/>
          </p:cNvSpPr>
          <p:nvPr>
            <p:ph type="subTitle" sz="quarter" idx="4294967295"/>
          </p:nvPr>
        </p:nvSpPr>
        <p:spPr>
          <a:xfrm>
            <a:off x="823384" y="3829051"/>
            <a:ext cx="10962216" cy="1014413"/>
          </a:xfrm>
          <a:extLst>
            <a:ext uri="{91240B29-F687-4F45-9708-019B960494DF}">
              <a14:hiddenLine xmlns:a14="http://schemas.microsoft.com/office/drawing/2010/main" w="9525">
                <a:solidFill>
                  <a:schemeClr val="tx1"/>
                </a:solidFill>
                <a:miter lim="800000"/>
                <a:headEnd/>
                <a:tailEnd/>
              </a14:hiddenLine>
            </a:ext>
          </a:extLst>
        </p:spPr>
        <p:txBody>
          <a:bodyPr tIns="0" rIns="0" bIns="0"/>
          <a:lstStyle>
            <a:lvl1pPr marL="0" indent="0">
              <a:lnSpc>
                <a:spcPct val="100000"/>
              </a:lnSpc>
              <a:spcBef>
                <a:spcPct val="0"/>
              </a:spcBef>
              <a:spcAft>
                <a:spcPct val="0"/>
              </a:spcAft>
              <a:buFontTx/>
              <a:buNone/>
              <a:defRPr/>
            </a:lvl1pPr>
          </a:lstStyle>
          <a:p>
            <a:pPr marL="0" indent="0">
              <a:lnSpc>
                <a:spcPct val="100000"/>
              </a:lnSpc>
              <a:spcBef>
                <a:spcPct val="0"/>
              </a:spcBef>
              <a:spcAft>
                <a:spcPct val="0"/>
              </a:spcAft>
              <a:buFontTx/>
              <a:buNone/>
              <a:defRPr/>
            </a:pPr>
            <a:r>
              <a:rPr lang="es-ES_tradnl" sz="3200" dirty="0">
                <a:solidFill>
                  <a:srgbClr val="00BDF2"/>
                </a:solidFill>
              </a:rPr>
              <a:t>Subtitulo va aquí</a:t>
            </a:r>
          </a:p>
        </p:txBody>
      </p:sp>
      <p:pic>
        <p:nvPicPr>
          <p:cNvPr id="9" name="Picture 8"/>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305360" y="4843463"/>
            <a:ext cx="4754651" cy="2307404"/>
          </a:xfrm>
          <a:prstGeom prst="rect">
            <a:avLst/>
          </a:prstGeom>
        </p:spPr>
      </p:pic>
    </p:spTree>
    <p:extLst>
      <p:ext uri="{BB962C8B-B14F-4D97-AF65-F5344CB8AC3E}">
        <p14:creationId xmlns:p14="http://schemas.microsoft.com/office/powerpoint/2010/main" val="3931514766"/>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Quote_Azul">
    <p:spTree>
      <p:nvGrpSpPr>
        <p:cNvPr id="1" name=""/>
        <p:cNvGrpSpPr/>
        <p:nvPr/>
      </p:nvGrpSpPr>
      <p:grpSpPr>
        <a:xfrm>
          <a:off x="0" y="0"/>
          <a:ext cx="0" cy="0"/>
          <a:chOff x="0" y="0"/>
          <a:chExt cx="0" cy="0"/>
        </a:xfrm>
      </p:grpSpPr>
      <p:sp>
        <p:nvSpPr>
          <p:cNvPr id="6" name="Rectangle 4"/>
          <p:cNvSpPr>
            <a:spLocks noChangeArrowheads="1"/>
          </p:cNvSpPr>
          <p:nvPr userDrawn="1"/>
        </p:nvSpPr>
        <p:spPr bwMode="auto">
          <a:xfrm>
            <a:off x="-24676" y="0"/>
            <a:ext cx="12192000" cy="6858000"/>
          </a:xfrm>
          <a:prstGeom prst="rect">
            <a:avLst/>
          </a:prstGeom>
          <a:solidFill>
            <a:srgbClr val="002D72"/>
          </a:solidFill>
          <a:ln w="12700">
            <a:solidFill>
              <a:schemeClr val="tx2"/>
            </a:solidFill>
            <a:round/>
            <a:headEnd/>
            <a:tailEnd/>
          </a:ln>
        </p:spPr>
        <p:txBody>
          <a:bodyPr wrap="none" anchor="ctr"/>
          <a:lstStyle/>
          <a:p>
            <a:pPr algn="ctr"/>
            <a:endParaRPr lang="es-ES_tradnl" sz="1800">
              <a:solidFill>
                <a:schemeClr val="tx2"/>
              </a:solidFill>
            </a:endParaRPr>
          </a:p>
        </p:txBody>
      </p:sp>
      <p:grpSp>
        <p:nvGrpSpPr>
          <p:cNvPr id="7" name="Group 24"/>
          <p:cNvGrpSpPr>
            <a:grpSpLocks/>
          </p:cNvGrpSpPr>
          <p:nvPr userDrawn="1"/>
        </p:nvGrpSpPr>
        <p:grpSpPr bwMode="auto">
          <a:xfrm>
            <a:off x="490519" y="391003"/>
            <a:ext cx="1233216" cy="615424"/>
            <a:chOff x="-3315972" y="-924674"/>
            <a:chExt cx="6411831" cy="4278160"/>
          </a:xfrm>
          <a:solidFill>
            <a:schemeClr val="accent1"/>
          </a:solidFill>
        </p:grpSpPr>
        <p:sp>
          <p:nvSpPr>
            <p:cNvPr id="8" name="Trapezoid 21"/>
            <p:cNvSpPr>
              <a:spLocks/>
            </p:cNvSpPr>
            <p:nvPr/>
          </p:nvSpPr>
          <p:spPr bwMode="auto">
            <a:xfrm>
              <a:off x="-3315972"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a:defRPr/>
              </a:pPr>
              <a:endParaRPr lang="en-US" sz="1800">
                <a:ea typeface="ヒラギノ角ゴ Pro W3" charset="0"/>
                <a:cs typeface="ヒラギノ角ゴ Pro W3" charset="0"/>
              </a:endParaRPr>
            </a:p>
          </p:txBody>
        </p:sp>
        <p:sp>
          <p:nvSpPr>
            <p:cNvPr id="9" name="Trapezoid 21"/>
            <p:cNvSpPr>
              <a:spLocks/>
            </p:cNvSpPr>
            <p:nvPr/>
          </p:nvSpPr>
          <p:spPr bwMode="auto">
            <a:xfrm>
              <a:off x="839130"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a:defRPr/>
              </a:pPr>
              <a:endParaRPr lang="en-US" sz="1800">
                <a:ea typeface="ヒラギノ角ゴ Pro W3" charset="0"/>
                <a:cs typeface="ヒラギノ角ゴ Pro W3" charset="0"/>
              </a:endParaRPr>
            </a:p>
          </p:txBody>
        </p:sp>
      </p:grpSp>
      <p:grpSp>
        <p:nvGrpSpPr>
          <p:cNvPr id="10" name="Group 25"/>
          <p:cNvGrpSpPr>
            <a:grpSpLocks/>
          </p:cNvGrpSpPr>
          <p:nvPr userDrawn="1"/>
        </p:nvGrpSpPr>
        <p:grpSpPr bwMode="auto">
          <a:xfrm flipH="1" flipV="1">
            <a:off x="10549240" y="6005506"/>
            <a:ext cx="1233216" cy="615421"/>
            <a:chOff x="-3315972" y="-924674"/>
            <a:chExt cx="6411831" cy="4278160"/>
          </a:xfrm>
          <a:solidFill>
            <a:schemeClr val="accent1"/>
          </a:solidFill>
        </p:grpSpPr>
        <p:sp>
          <p:nvSpPr>
            <p:cNvPr id="11" name="Trapezoid 21"/>
            <p:cNvSpPr>
              <a:spLocks/>
            </p:cNvSpPr>
            <p:nvPr/>
          </p:nvSpPr>
          <p:spPr bwMode="auto">
            <a:xfrm>
              <a:off x="-3315972"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a:defRPr/>
              </a:pPr>
              <a:endParaRPr lang="en-US" sz="1800">
                <a:ea typeface="ヒラギノ角ゴ Pro W3" charset="0"/>
                <a:cs typeface="ヒラギノ角ゴ Pro W3" charset="0"/>
              </a:endParaRPr>
            </a:p>
          </p:txBody>
        </p:sp>
        <p:sp>
          <p:nvSpPr>
            <p:cNvPr id="12" name="Trapezoid 21"/>
            <p:cNvSpPr>
              <a:spLocks/>
            </p:cNvSpPr>
            <p:nvPr/>
          </p:nvSpPr>
          <p:spPr bwMode="auto">
            <a:xfrm>
              <a:off x="839130"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a:defRPr/>
              </a:pPr>
              <a:endParaRPr lang="en-US" sz="1800">
                <a:ea typeface="ヒラギノ角ゴ Pro W3" charset="0"/>
                <a:cs typeface="ヒラギノ角ゴ Pro W3" charset="0"/>
              </a:endParaRPr>
            </a:p>
          </p:txBody>
        </p:sp>
      </p:grpSp>
      <p:sp>
        <p:nvSpPr>
          <p:cNvPr id="24" name="Text Placeholder 23"/>
          <p:cNvSpPr>
            <a:spLocks noGrp="1"/>
          </p:cNvSpPr>
          <p:nvPr>
            <p:ph type="body" sz="quarter" idx="10"/>
          </p:nvPr>
        </p:nvSpPr>
        <p:spPr>
          <a:xfrm>
            <a:off x="2357968" y="1006427"/>
            <a:ext cx="8191273" cy="3686224"/>
          </a:xfrm>
        </p:spPr>
        <p:txBody>
          <a:bodyPr/>
          <a:lstStyle>
            <a:lvl1pPr marL="0" indent="0" algn="l">
              <a:buNone/>
              <a:defRPr sz="3600">
                <a:solidFill>
                  <a:schemeClr val="bg1"/>
                </a:solidFill>
              </a:defRPr>
            </a:lvl1pPr>
            <a:lvl2pPr marL="403225" indent="0" algn="l">
              <a:buNone/>
              <a:defRPr sz="3600">
                <a:solidFill>
                  <a:schemeClr val="bg1"/>
                </a:solidFill>
              </a:defRPr>
            </a:lvl2pPr>
            <a:lvl3pPr marL="747712" indent="0" algn="l">
              <a:buNone/>
              <a:defRPr sz="3600">
                <a:solidFill>
                  <a:schemeClr val="bg1"/>
                </a:solidFill>
              </a:defRPr>
            </a:lvl3pPr>
            <a:lvl4pPr marL="1089025" indent="0" algn="l">
              <a:buNone/>
              <a:defRPr sz="3600">
                <a:solidFill>
                  <a:schemeClr val="bg1"/>
                </a:solidFill>
              </a:defRPr>
            </a:lvl4pPr>
            <a:lvl5pPr marL="1427162" indent="0" algn="l">
              <a:buNone/>
              <a:defRPr sz="360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5" name="Text Placeholder 23"/>
          <p:cNvSpPr>
            <a:spLocks noGrp="1"/>
          </p:cNvSpPr>
          <p:nvPr>
            <p:ph type="body" sz="quarter" idx="11"/>
          </p:nvPr>
        </p:nvSpPr>
        <p:spPr>
          <a:xfrm>
            <a:off x="2357968" y="4944980"/>
            <a:ext cx="8191273" cy="1335504"/>
          </a:xfrm>
        </p:spPr>
        <p:txBody>
          <a:bodyPr/>
          <a:lstStyle>
            <a:lvl1pPr marL="0" indent="0" algn="l">
              <a:buNone/>
              <a:defRPr sz="2400">
                <a:solidFill>
                  <a:srgbClr val="00B3F0"/>
                </a:solidFill>
              </a:defRPr>
            </a:lvl1pPr>
            <a:lvl2pPr marL="403225" indent="0" algn="l">
              <a:buNone/>
              <a:defRPr sz="2400">
                <a:solidFill>
                  <a:srgbClr val="00B3F0"/>
                </a:solidFill>
              </a:defRPr>
            </a:lvl2pPr>
            <a:lvl3pPr marL="747712" indent="0" algn="l">
              <a:buNone/>
              <a:defRPr sz="2400">
                <a:solidFill>
                  <a:srgbClr val="00B3F0"/>
                </a:solidFill>
              </a:defRPr>
            </a:lvl3pPr>
            <a:lvl4pPr marL="1089025" indent="0" algn="l">
              <a:buNone/>
              <a:defRPr sz="2400">
                <a:solidFill>
                  <a:srgbClr val="00B3F0"/>
                </a:solidFill>
              </a:defRPr>
            </a:lvl4pPr>
            <a:lvl5pPr marL="1427162" indent="0" algn="l">
              <a:buNone/>
              <a:defRPr sz="2400">
                <a:solidFill>
                  <a:srgbClr val="00B3F0"/>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896322726"/>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Quote_BW">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pPr>
              <a:defRPr/>
            </a:pPr>
            <a:fld id="{410BB04A-6CB2-A14D-B6AF-586C8C166ED7}" type="slidenum">
              <a:rPr lang="en-US" smtClean="0"/>
              <a:pPr>
                <a:defRPr/>
              </a:pPr>
              <a:t>‹#›</a:t>
            </a:fld>
            <a:endParaRPr lang="en-US"/>
          </a:p>
        </p:txBody>
      </p:sp>
      <p:sp>
        <p:nvSpPr>
          <p:cNvPr id="4" name="Date Placeholder 3"/>
          <p:cNvSpPr>
            <a:spLocks noGrp="1"/>
          </p:cNvSpPr>
          <p:nvPr>
            <p:ph type="dt" sz="half" idx="11"/>
          </p:nvPr>
        </p:nvSpPr>
        <p:spPr/>
        <p:txBody>
          <a:bodyPr/>
          <a:lstStyle/>
          <a:p>
            <a:pPr>
              <a:defRPr/>
            </a:pPr>
            <a:r>
              <a:rPr lang="en-US"/>
              <a:t>MM.DD.YY</a:t>
            </a:r>
          </a:p>
        </p:txBody>
      </p:sp>
      <p:sp>
        <p:nvSpPr>
          <p:cNvPr id="5" name="Footer Placeholder 4"/>
          <p:cNvSpPr>
            <a:spLocks noGrp="1"/>
          </p:cNvSpPr>
          <p:nvPr>
            <p:ph type="ftr" sz="quarter" idx="12"/>
          </p:nvPr>
        </p:nvSpPr>
        <p:spPr/>
        <p:txBody>
          <a:bodyPr/>
          <a:lstStyle/>
          <a:p>
            <a:pPr>
              <a:defRPr/>
            </a:pPr>
            <a:r>
              <a:rPr lang="en-US"/>
              <a:t>Presentation Title</a:t>
            </a:r>
          </a:p>
        </p:txBody>
      </p:sp>
      <p:sp>
        <p:nvSpPr>
          <p:cNvPr id="13" name="Rectangle 6"/>
          <p:cNvSpPr txBox="1">
            <a:spLocks noChangeArrowheads="1"/>
          </p:cNvSpPr>
          <p:nvPr userDrawn="1"/>
        </p:nvSpPr>
        <p:spPr bwMode="black">
          <a:xfrm>
            <a:off x="2399967" y="1597945"/>
            <a:ext cx="7342716" cy="440756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accent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p:spPr>
        <p:txBody>
          <a:bodyPr lIns="0"/>
          <a:lstStyle>
            <a:lvl1pPr algn="ctr" eaLnBrk="0" hangingPunct="0">
              <a:defRPr sz="2400">
                <a:solidFill>
                  <a:schemeClr val="tx1"/>
                </a:solidFill>
                <a:latin typeface="Arial" charset="0"/>
                <a:ea typeface="ヒラギノ角ゴ Pro W3" charset="0"/>
              </a:defRPr>
            </a:lvl1pPr>
            <a:lvl2pPr marL="742950" indent="-285750" algn="ctr" eaLnBrk="0" hangingPunct="0">
              <a:defRPr sz="2400">
                <a:solidFill>
                  <a:schemeClr val="tx1"/>
                </a:solidFill>
                <a:latin typeface="Arial" charset="0"/>
                <a:ea typeface="ヒラギノ角ゴ Pro W3" charset="0"/>
              </a:defRPr>
            </a:lvl2pPr>
            <a:lvl3pPr marL="1143000" indent="-228600" algn="ctr" eaLnBrk="0" hangingPunct="0">
              <a:defRPr sz="2400">
                <a:solidFill>
                  <a:schemeClr val="tx1"/>
                </a:solidFill>
                <a:latin typeface="Arial" charset="0"/>
                <a:ea typeface="ヒラギノ角ゴ Pro W3" charset="0"/>
              </a:defRPr>
            </a:lvl3pPr>
            <a:lvl4pPr marL="1600200" indent="-228600" algn="ctr" eaLnBrk="0" hangingPunct="0">
              <a:defRPr sz="2400">
                <a:solidFill>
                  <a:schemeClr val="tx1"/>
                </a:solidFill>
                <a:latin typeface="Arial" charset="0"/>
                <a:ea typeface="ヒラギノ角ゴ Pro W3" charset="0"/>
              </a:defRPr>
            </a:lvl4pPr>
            <a:lvl5pPr marL="2057400" indent="-228600" algn="ctr" eaLnBrk="0" hangingPunct="0">
              <a:defRPr sz="2400">
                <a:solidFill>
                  <a:schemeClr val="tx1"/>
                </a:solidFill>
                <a:latin typeface="Arial" charset="0"/>
                <a:ea typeface="ヒラギノ角ゴ Pro W3" charset="0"/>
              </a:defRPr>
            </a:lvl5pPr>
            <a:lvl6pPr marL="2514600" indent="-228600" algn="ctr" eaLnBrk="0" fontAlgn="base" hangingPunct="0">
              <a:spcBef>
                <a:spcPct val="0"/>
              </a:spcBef>
              <a:spcAft>
                <a:spcPct val="0"/>
              </a:spcAft>
              <a:defRPr sz="2400">
                <a:solidFill>
                  <a:schemeClr val="tx1"/>
                </a:solidFill>
                <a:latin typeface="Arial" charset="0"/>
                <a:ea typeface="ヒラギノ角ゴ Pro W3" charset="0"/>
              </a:defRPr>
            </a:lvl6pPr>
            <a:lvl7pPr marL="2971800" indent="-228600" algn="ctr" eaLnBrk="0" fontAlgn="base" hangingPunct="0">
              <a:spcBef>
                <a:spcPct val="0"/>
              </a:spcBef>
              <a:spcAft>
                <a:spcPct val="0"/>
              </a:spcAft>
              <a:defRPr sz="2400">
                <a:solidFill>
                  <a:schemeClr val="tx1"/>
                </a:solidFill>
                <a:latin typeface="Arial" charset="0"/>
                <a:ea typeface="ヒラギノ角ゴ Pro W3" charset="0"/>
              </a:defRPr>
            </a:lvl7pPr>
            <a:lvl8pPr marL="3429000" indent="-228600" algn="ctr" eaLnBrk="0" fontAlgn="base" hangingPunct="0">
              <a:spcBef>
                <a:spcPct val="0"/>
              </a:spcBef>
              <a:spcAft>
                <a:spcPct val="0"/>
              </a:spcAft>
              <a:defRPr sz="2400">
                <a:solidFill>
                  <a:schemeClr val="tx1"/>
                </a:solidFill>
                <a:latin typeface="Arial" charset="0"/>
                <a:ea typeface="ヒラギノ角ゴ Pro W3" charset="0"/>
              </a:defRPr>
            </a:lvl8pPr>
            <a:lvl9pPr marL="3886200" indent="-228600" algn="ctr" eaLnBrk="0" fontAlgn="base" hangingPunct="0">
              <a:spcBef>
                <a:spcPct val="0"/>
              </a:spcBef>
              <a:spcAft>
                <a:spcPct val="0"/>
              </a:spcAft>
              <a:defRPr sz="2400">
                <a:solidFill>
                  <a:schemeClr val="tx1"/>
                </a:solidFill>
                <a:latin typeface="Arial" charset="0"/>
                <a:ea typeface="ヒラギノ角ゴ Pro W3" charset="0"/>
              </a:defRPr>
            </a:lvl9pPr>
          </a:lstStyle>
          <a:p>
            <a:pPr algn="l" eaLnBrk="1" hangingPunct="1">
              <a:lnSpc>
                <a:spcPct val="95000"/>
              </a:lnSpc>
              <a:spcBef>
                <a:spcPct val="75000"/>
              </a:spcBef>
              <a:spcAft>
                <a:spcPct val="20000"/>
              </a:spcAft>
              <a:defRPr/>
            </a:pPr>
            <a:r>
              <a:rPr lang="es-ES_tradnl" sz="3600" dirty="0">
                <a:solidFill>
                  <a:schemeClr val="bg1"/>
                </a:solidFill>
                <a:ea typeface="Arial" charset="0"/>
                <a:cs typeface="Geneva" charset="0"/>
              </a:rPr>
              <a:t>Una cita puede ser colocada aquí. Una gran hoja sirve de transición </a:t>
            </a:r>
            <a:br>
              <a:rPr lang="es-ES_tradnl" sz="3600" dirty="0">
                <a:solidFill>
                  <a:schemeClr val="bg1"/>
                </a:solidFill>
                <a:ea typeface="Arial" charset="0"/>
                <a:cs typeface="Geneva" charset="0"/>
              </a:rPr>
            </a:br>
            <a:r>
              <a:rPr lang="es-ES_tradnl" sz="3600" dirty="0">
                <a:solidFill>
                  <a:schemeClr val="bg1"/>
                </a:solidFill>
                <a:ea typeface="Arial" charset="0"/>
                <a:cs typeface="Geneva" charset="0"/>
              </a:rPr>
              <a:t>y crea una pausa para tus clientes para digerir mejor la información. </a:t>
            </a:r>
          </a:p>
          <a:p>
            <a:pPr algn="l" eaLnBrk="1" hangingPunct="1">
              <a:lnSpc>
                <a:spcPct val="95000"/>
              </a:lnSpc>
              <a:spcBef>
                <a:spcPct val="75000"/>
              </a:spcBef>
              <a:spcAft>
                <a:spcPct val="20000"/>
              </a:spcAft>
              <a:defRPr/>
            </a:pPr>
            <a:r>
              <a:rPr lang="es-ES_tradnl" sz="2000" dirty="0">
                <a:solidFill>
                  <a:srgbClr val="00BDF2"/>
                </a:solidFill>
                <a:ea typeface="Arial" charset="0"/>
                <a:cs typeface="Geneva" charset="0"/>
              </a:rPr>
              <a:t>Aquí van los </a:t>
            </a:r>
            <a:r>
              <a:rPr lang="es-ES_tradnl" sz="2000" dirty="0" err="1">
                <a:solidFill>
                  <a:srgbClr val="00BDF2"/>
                </a:solidFill>
                <a:ea typeface="Arial" charset="0"/>
                <a:cs typeface="Geneva" charset="0"/>
              </a:rPr>
              <a:t>creditos</a:t>
            </a:r>
            <a:r>
              <a:rPr lang="es-ES_tradnl" sz="2000" dirty="0">
                <a:solidFill>
                  <a:srgbClr val="00BDF2"/>
                </a:solidFill>
                <a:ea typeface="Arial" charset="0"/>
                <a:cs typeface="Geneva" charset="0"/>
              </a:rPr>
              <a:t> de la cita; </a:t>
            </a:r>
            <a:r>
              <a:rPr lang="es-ES_tradnl" sz="2000" dirty="0" err="1">
                <a:solidFill>
                  <a:srgbClr val="00BDF2"/>
                </a:solidFill>
                <a:ea typeface="Arial" charset="0"/>
                <a:cs typeface="Geneva" charset="0"/>
              </a:rPr>
              <a:t>lorem</a:t>
            </a:r>
            <a:r>
              <a:rPr lang="es-ES_tradnl" sz="2000" dirty="0">
                <a:solidFill>
                  <a:srgbClr val="00BDF2"/>
                </a:solidFill>
                <a:ea typeface="Arial" charset="0"/>
                <a:cs typeface="Geneva" charset="0"/>
              </a:rPr>
              <a:t> </a:t>
            </a:r>
            <a:r>
              <a:rPr lang="es-ES_tradnl" sz="2000" dirty="0" err="1">
                <a:solidFill>
                  <a:srgbClr val="00BDF2"/>
                </a:solidFill>
                <a:ea typeface="Arial" charset="0"/>
                <a:cs typeface="Geneva" charset="0"/>
              </a:rPr>
              <a:t>ipsum</a:t>
            </a:r>
            <a:r>
              <a:rPr lang="es-ES_tradnl" sz="2000" dirty="0">
                <a:solidFill>
                  <a:srgbClr val="00BDF2"/>
                </a:solidFill>
                <a:ea typeface="Arial" charset="0"/>
                <a:cs typeface="Geneva" charset="0"/>
              </a:rPr>
              <a:t> dolor </a:t>
            </a:r>
            <a:r>
              <a:rPr lang="es-ES_tradnl" sz="2000" dirty="0" err="1">
                <a:solidFill>
                  <a:srgbClr val="00BDF2"/>
                </a:solidFill>
                <a:ea typeface="Arial" charset="0"/>
                <a:cs typeface="Geneva" charset="0"/>
              </a:rPr>
              <a:t>sit</a:t>
            </a:r>
            <a:r>
              <a:rPr lang="es-ES_tradnl" sz="2000" dirty="0">
                <a:solidFill>
                  <a:srgbClr val="00BDF2"/>
                </a:solidFill>
                <a:ea typeface="Arial" charset="0"/>
                <a:cs typeface="Geneva" charset="0"/>
              </a:rPr>
              <a:t> </a:t>
            </a:r>
            <a:r>
              <a:rPr lang="es-ES_tradnl" sz="2000" dirty="0" err="1">
                <a:solidFill>
                  <a:srgbClr val="00BDF2"/>
                </a:solidFill>
                <a:ea typeface="Arial" charset="0"/>
                <a:cs typeface="Geneva" charset="0"/>
              </a:rPr>
              <a:t>amet</a:t>
            </a:r>
            <a:r>
              <a:rPr lang="es-ES_tradnl" sz="2000" dirty="0">
                <a:solidFill>
                  <a:srgbClr val="00BDF2"/>
                </a:solidFill>
                <a:ea typeface="Arial" charset="0"/>
                <a:cs typeface="Geneva" charset="0"/>
              </a:rPr>
              <a:t> </a:t>
            </a:r>
            <a:r>
              <a:rPr lang="es-ES_tradnl" sz="2000" dirty="0" err="1">
                <a:solidFill>
                  <a:srgbClr val="00BDF2"/>
                </a:solidFill>
                <a:ea typeface="Arial" charset="0"/>
                <a:cs typeface="Geneva" charset="0"/>
              </a:rPr>
              <a:t>consectetur</a:t>
            </a:r>
            <a:r>
              <a:rPr lang="es-ES_tradnl" sz="2000" dirty="0">
                <a:solidFill>
                  <a:srgbClr val="00BDF2"/>
                </a:solidFill>
                <a:ea typeface="Arial" charset="0"/>
                <a:cs typeface="Geneva" charset="0"/>
              </a:rPr>
              <a:t> </a:t>
            </a:r>
            <a:r>
              <a:rPr lang="es-ES_tradnl" sz="2000" dirty="0" err="1">
                <a:solidFill>
                  <a:srgbClr val="00BDF2"/>
                </a:solidFill>
                <a:ea typeface="Arial" charset="0"/>
                <a:cs typeface="Geneva" charset="0"/>
              </a:rPr>
              <a:t>adipiscing</a:t>
            </a:r>
            <a:r>
              <a:rPr lang="es-ES_tradnl" sz="2000" dirty="0">
                <a:solidFill>
                  <a:srgbClr val="00BDF2"/>
                </a:solidFill>
                <a:ea typeface="Arial" charset="0"/>
                <a:cs typeface="Geneva" charset="0"/>
              </a:rPr>
              <a:t>.</a:t>
            </a:r>
          </a:p>
        </p:txBody>
      </p:sp>
      <p:pic>
        <p:nvPicPr>
          <p:cNvPr id="14" name="Picture 13"/>
          <p:cNvPicPr>
            <a:picLocks noChangeAspect="1"/>
          </p:cNvPicPr>
          <p:nvPr userDrawn="1"/>
        </p:nvPicPr>
        <p:blipFill>
          <a:blip r:embed="rId2"/>
          <a:stretch>
            <a:fillRect/>
          </a:stretch>
        </p:blipFill>
        <p:spPr>
          <a:xfrm>
            <a:off x="-36662" y="-37910"/>
            <a:ext cx="12304487" cy="6924341"/>
          </a:xfrm>
          <a:prstGeom prst="rect">
            <a:avLst/>
          </a:prstGeom>
        </p:spPr>
      </p:pic>
      <p:grpSp>
        <p:nvGrpSpPr>
          <p:cNvPr id="15" name="Group 24"/>
          <p:cNvGrpSpPr>
            <a:grpSpLocks/>
          </p:cNvGrpSpPr>
          <p:nvPr userDrawn="1"/>
        </p:nvGrpSpPr>
        <p:grpSpPr bwMode="auto">
          <a:xfrm>
            <a:off x="490519" y="391003"/>
            <a:ext cx="1233216" cy="615424"/>
            <a:chOff x="-3315972" y="-924674"/>
            <a:chExt cx="6411831" cy="4278160"/>
          </a:xfrm>
          <a:solidFill>
            <a:schemeClr val="bg1"/>
          </a:solidFill>
        </p:grpSpPr>
        <p:sp>
          <p:nvSpPr>
            <p:cNvPr id="16" name="Trapezoid 21"/>
            <p:cNvSpPr>
              <a:spLocks/>
            </p:cNvSpPr>
            <p:nvPr/>
          </p:nvSpPr>
          <p:spPr bwMode="auto">
            <a:xfrm>
              <a:off x="-3315972"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a:defRPr/>
              </a:pPr>
              <a:endParaRPr lang="en-US" sz="1800">
                <a:ea typeface="ヒラギノ角ゴ Pro W3" charset="0"/>
                <a:cs typeface="ヒラギノ角ゴ Pro W3" charset="0"/>
              </a:endParaRPr>
            </a:p>
          </p:txBody>
        </p:sp>
        <p:sp>
          <p:nvSpPr>
            <p:cNvPr id="17" name="Trapezoid 21"/>
            <p:cNvSpPr>
              <a:spLocks/>
            </p:cNvSpPr>
            <p:nvPr/>
          </p:nvSpPr>
          <p:spPr bwMode="auto">
            <a:xfrm>
              <a:off x="839130"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a:defRPr/>
              </a:pPr>
              <a:endParaRPr lang="en-US" sz="1800">
                <a:ea typeface="ヒラギノ角ゴ Pro W3" charset="0"/>
                <a:cs typeface="ヒラギノ角ゴ Pro W3" charset="0"/>
              </a:endParaRPr>
            </a:p>
          </p:txBody>
        </p:sp>
      </p:grpSp>
      <p:grpSp>
        <p:nvGrpSpPr>
          <p:cNvPr id="18" name="Group 25"/>
          <p:cNvGrpSpPr>
            <a:grpSpLocks/>
          </p:cNvGrpSpPr>
          <p:nvPr userDrawn="1"/>
        </p:nvGrpSpPr>
        <p:grpSpPr bwMode="auto">
          <a:xfrm flipH="1" flipV="1">
            <a:off x="10549240" y="6005506"/>
            <a:ext cx="1233216" cy="615421"/>
            <a:chOff x="-3315972" y="-924674"/>
            <a:chExt cx="6411831" cy="4278160"/>
          </a:xfrm>
          <a:solidFill>
            <a:schemeClr val="bg1"/>
          </a:solidFill>
        </p:grpSpPr>
        <p:sp>
          <p:nvSpPr>
            <p:cNvPr id="19" name="Trapezoid 21"/>
            <p:cNvSpPr>
              <a:spLocks/>
            </p:cNvSpPr>
            <p:nvPr/>
          </p:nvSpPr>
          <p:spPr bwMode="auto">
            <a:xfrm>
              <a:off x="-3315972"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a:defRPr/>
              </a:pPr>
              <a:endParaRPr lang="en-US" sz="1800">
                <a:ea typeface="ヒラギノ角ゴ Pro W3" charset="0"/>
                <a:cs typeface="ヒラギノ角ゴ Pro W3" charset="0"/>
              </a:endParaRPr>
            </a:p>
          </p:txBody>
        </p:sp>
        <p:sp>
          <p:nvSpPr>
            <p:cNvPr id="20" name="Trapezoid 21"/>
            <p:cNvSpPr>
              <a:spLocks/>
            </p:cNvSpPr>
            <p:nvPr/>
          </p:nvSpPr>
          <p:spPr bwMode="auto">
            <a:xfrm>
              <a:off x="839130"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a:defRPr/>
              </a:pPr>
              <a:endParaRPr lang="en-US" sz="1800">
                <a:ea typeface="ヒラギノ角ゴ Pro W3" charset="0"/>
                <a:cs typeface="ヒラギノ角ゴ Pro W3" charset="0"/>
              </a:endParaRPr>
            </a:p>
          </p:txBody>
        </p:sp>
      </p:grpSp>
      <p:sp>
        <p:nvSpPr>
          <p:cNvPr id="21" name="Text Placeholder 23"/>
          <p:cNvSpPr>
            <a:spLocks noGrp="1"/>
          </p:cNvSpPr>
          <p:nvPr>
            <p:ph type="body" sz="quarter" idx="13"/>
          </p:nvPr>
        </p:nvSpPr>
        <p:spPr>
          <a:xfrm>
            <a:off x="2357968" y="1006427"/>
            <a:ext cx="8191273" cy="3686224"/>
          </a:xfrm>
        </p:spPr>
        <p:txBody>
          <a:bodyPr/>
          <a:lstStyle>
            <a:lvl1pPr marL="0" indent="0" algn="l">
              <a:buNone/>
              <a:defRPr sz="3600">
                <a:solidFill>
                  <a:schemeClr val="bg1"/>
                </a:solidFill>
              </a:defRPr>
            </a:lvl1pPr>
            <a:lvl2pPr marL="403225" indent="0" algn="l">
              <a:buNone/>
              <a:defRPr sz="3600">
                <a:solidFill>
                  <a:schemeClr val="bg1"/>
                </a:solidFill>
              </a:defRPr>
            </a:lvl2pPr>
            <a:lvl3pPr marL="747712" indent="0" algn="l">
              <a:buNone/>
              <a:defRPr sz="3600">
                <a:solidFill>
                  <a:schemeClr val="bg1"/>
                </a:solidFill>
              </a:defRPr>
            </a:lvl3pPr>
            <a:lvl4pPr marL="1089025" indent="0" algn="l">
              <a:buNone/>
              <a:defRPr sz="3600">
                <a:solidFill>
                  <a:schemeClr val="bg1"/>
                </a:solidFill>
              </a:defRPr>
            </a:lvl4pPr>
            <a:lvl5pPr marL="1427162" indent="0" algn="l">
              <a:buNone/>
              <a:defRPr sz="360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ext Placeholder 23"/>
          <p:cNvSpPr>
            <a:spLocks noGrp="1"/>
          </p:cNvSpPr>
          <p:nvPr>
            <p:ph type="body" sz="quarter" idx="14"/>
          </p:nvPr>
        </p:nvSpPr>
        <p:spPr>
          <a:xfrm>
            <a:off x="2357968" y="4944980"/>
            <a:ext cx="8191273" cy="1335504"/>
          </a:xfrm>
        </p:spPr>
        <p:txBody>
          <a:bodyPr/>
          <a:lstStyle>
            <a:lvl1pPr marL="0" indent="0" algn="l">
              <a:buNone/>
              <a:defRPr sz="2400">
                <a:solidFill>
                  <a:srgbClr val="00B3F0"/>
                </a:solidFill>
              </a:defRPr>
            </a:lvl1pPr>
            <a:lvl2pPr marL="403225" indent="0" algn="l">
              <a:buNone/>
              <a:defRPr sz="2400">
                <a:solidFill>
                  <a:srgbClr val="00B3F0"/>
                </a:solidFill>
              </a:defRPr>
            </a:lvl2pPr>
            <a:lvl3pPr marL="747712" indent="0" algn="l">
              <a:buNone/>
              <a:defRPr sz="2400">
                <a:solidFill>
                  <a:srgbClr val="00B3F0"/>
                </a:solidFill>
              </a:defRPr>
            </a:lvl3pPr>
            <a:lvl4pPr marL="1089025" indent="0" algn="l">
              <a:buNone/>
              <a:defRPr sz="2400">
                <a:solidFill>
                  <a:srgbClr val="00B3F0"/>
                </a:solidFill>
              </a:defRPr>
            </a:lvl4pPr>
            <a:lvl5pPr marL="1427162" indent="0" algn="l">
              <a:buNone/>
              <a:defRPr sz="2400">
                <a:solidFill>
                  <a:srgbClr val="00B3F0"/>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112423014"/>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IMAGEN FULL">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pPr>
              <a:defRPr/>
            </a:pPr>
            <a:fld id="{410BB04A-6CB2-A14D-B6AF-586C8C166ED7}" type="slidenum">
              <a:rPr lang="en-US" smtClean="0"/>
              <a:pPr>
                <a:defRPr/>
              </a:pPr>
              <a:t>‹#›</a:t>
            </a:fld>
            <a:endParaRPr lang="en-US"/>
          </a:p>
        </p:txBody>
      </p:sp>
      <p:sp>
        <p:nvSpPr>
          <p:cNvPr id="4" name="Date Placeholder 3"/>
          <p:cNvSpPr>
            <a:spLocks noGrp="1"/>
          </p:cNvSpPr>
          <p:nvPr>
            <p:ph type="dt" sz="half" idx="11"/>
          </p:nvPr>
        </p:nvSpPr>
        <p:spPr/>
        <p:txBody>
          <a:bodyPr/>
          <a:lstStyle/>
          <a:p>
            <a:pPr>
              <a:defRPr/>
            </a:pPr>
            <a:r>
              <a:rPr lang="en-US"/>
              <a:t>MM.DD.YY</a:t>
            </a:r>
          </a:p>
        </p:txBody>
      </p:sp>
      <p:sp>
        <p:nvSpPr>
          <p:cNvPr id="5" name="Footer Placeholder 4"/>
          <p:cNvSpPr>
            <a:spLocks noGrp="1"/>
          </p:cNvSpPr>
          <p:nvPr>
            <p:ph type="ftr" sz="quarter" idx="12"/>
          </p:nvPr>
        </p:nvSpPr>
        <p:spPr/>
        <p:txBody>
          <a:bodyPr/>
          <a:lstStyle/>
          <a:p>
            <a:pPr>
              <a:defRPr/>
            </a:pPr>
            <a:r>
              <a:rPr lang="en-US"/>
              <a:t>Presentation Title</a:t>
            </a:r>
          </a:p>
        </p:txBody>
      </p:sp>
      <p:sp>
        <p:nvSpPr>
          <p:cNvPr id="10" name="Picture Placeholder 9"/>
          <p:cNvSpPr>
            <a:spLocks noGrp="1"/>
          </p:cNvSpPr>
          <p:nvPr>
            <p:ph type="pic" sz="quarter" idx="13"/>
          </p:nvPr>
        </p:nvSpPr>
        <p:spPr>
          <a:xfrm>
            <a:off x="0" y="0"/>
            <a:ext cx="12192000" cy="6858000"/>
          </a:xfrm>
        </p:spPr>
        <p:txBody>
          <a:bodyPr/>
          <a:lstStyle/>
          <a:p>
            <a:endParaRPr lang="en-US" dirty="0"/>
          </a:p>
        </p:txBody>
      </p:sp>
      <p:sp>
        <p:nvSpPr>
          <p:cNvPr id="24" name="Rounded Rectangle 23"/>
          <p:cNvSpPr/>
          <p:nvPr userDrawn="1"/>
        </p:nvSpPr>
        <p:spPr bwMode="auto">
          <a:xfrm>
            <a:off x="-288757" y="234065"/>
            <a:ext cx="12199241" cy="1342366"/>
          </a:xfrm>
          <a:prstGeom prst="roundRect">
            <a:avLst/>
          </a:prstGeom>
          <a:solidFill>
            <a:schemeClr val="bg1">
              <a:alpha val="30000"/>
            </a:schemeClr>
          </a:solidFill>
          <a:ln w="12700" cap="flat" cmpd="sng" algn="ctr">
            <a:no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2400" b="0" i="0" u="none" strike="noStrike" cap="none" normalizeH="0" baseline="0">
              <a:ln>
                <a:noFill/>
              </a:ln>
              <a:solidFill>
                <a:srgbClr val="000000"/>
              </a:solidFill>
              <a:effectLst/>
              <a:latin typeface="Arial" charset="0"/>
              <a:ea typeface="Geneva" charset="0"/>
            </a:endParaRPr>
          </a:p>
        </p:txBody>
      </p:sp>
      <p:sp>
        <p:nvSpPr>
          <p:cNvPr id="26" name="Text Placeholder 14"/>
          <p:cNvSpPr>
            <a:spLocks noGrp="1"/>
          </p:cNvSpPr>
          <p:nvPr>
            <p:ph type="body" sz="quarter" idx="14"/>
          </p:nvPr>
        </p:nvSpPr>
        <p:spPr>
          <a:xfrm>
            <a:off x="795868" y="411957"/>
            <a:ext cx="11114617" cy="418223"/>
          </a:xfrm>
        </p:spPr>
        <p:txBody>
          <a:bodyPr/>
          <a:lstStyle>
            <a:lvl1pPr marL="0" indent="0">
              <a:buNone/>
              <a:defRPr sz="2400">
                <a:solidFill>
                  <a:srgbClr val="004785"/>
                </a:solidFill>
              </a:defRPr>
            </a:lvl1pPr>
            <a:lvl2pPr marL="403225" indent="0">
              <a:buNone/>
              <a:defRPr sz="2400">
                <a:solidFill>
                  <a:srgbClr val="004785"/>
                </a:solidFill>
              </a:defRPr>
            </a:lvl2pPr>
            <a:lvl3pPr marL="747712" indent="0">
              <a:buNone/>
              <a:defRPr sz="2400">
                <a:solidFill>
                  <a:srgbClr val="004785"/>
                </a:solidFill>
              </a:defRPr>
            </a:lvl3pPr>
            <a:lvl4pPr marL="1089025" indent="0">
              <a:buNone/>
              <a:defRPr sz="2400">
                <a:solidFill>
                  <a:srgbClr val="004785"/>
                </a:solidFill>
              </a:defRPr>
            </a:lvl4pPr>
            <a:lvl5pPr marL="1427162" indent="0">
              <a:buNone/>
              <a:defRPr sz="2400">
                <a:solidFill>
                  <a:srgbClr val="004785"/>
                </a:solidFill>
              </a:defRPr>
            </a:lvl5pPr>
          </a:lstStyle>
          <a:p>
            <a:pPr lvl="0"/>
            <a:r>
              <a:rPr lang="en-US" dirty="0"/>
              <a:t>Click to edit Master text styles</a:t>
            </a:r>
          </a:p>
        </p:txBody>
      </p:sp>
      <p:sp>
        <p:nvSpPr>
          <p:cNvPr id="27" name="Text Placeholder 14"/>
          <p:cNvSpPr>
            <a:spLocks noGrp="1"/>
          </p:cNvSpPr>
          <p:nvPr>
            <p:ph type="body" sz="quarter" idx="15"/>
          </p:nvPr>
        </p:nvSpPr>
        <p:spPr>
          <a:xfrm>
            <a:off x="795868" y="905249"/>
            <a:ext cx="11114617" cy="418223"/>
          </a:xfrm>
        </p:spPr>
        <p:txBody>
          <a:bodyPr/>
          <a:lstStyle>
            <a:lvl1pPr marL="0" indent="0">
              <a:buNone/>
              <a:defRPr sz="2400">
                <a:solidFill>
                  <a:srgbClr val="00B3F0"/>
                </a:solidFill>
              </a:defRPr>
            </a:lvl1pPr>
            <a:lvl2pPr marL="403225" indent="0">
              <a:buNone/>
              <a:defRPr sz="2400">
                <a:solidFill>
                  <a:srgbClr val="004785"/>
                </a:solidFill>
              </a:defRPr>
            </a:lvl2pPr>
            <a:lvl3pPr marL="747712" indent="0">
              <a:buNone/>
              <a:defRPr sz="2400">
                <a:solidFill>
                  <a:srgbClr val="004785"/>
                </a:solidFill>
              </a:defRPr>
            </a:lvl3pPr>
            <a:lvl4pPr marL="1089025" indent="0">
              <a:buNone/>
              <a:defRPr sz="2400">
                <a:solidFill>
                  <a:srgbClr val="004785"/>
                </a:solidFill>
              </a:defRPr>
            </a:lvl4pPr>
            <a:lvl5pPr marL="1427162" indent="0">
              <a:buNone/>
              <a:defRPr sz="2400">
                <a:solidFill>
                  <a:srgbClr val="004785"/>
                </a:solidFill>
              </a:defRPr>
            </a:lvl5pPr>
          </a:lstStyle>
          <a:p>
            <a:pPr lvl="0"/>
            <a:r>
              <a:rPr lang="en-US" dirty="0"/>
              <a:t>Click to edit Master text styles</a:t>
            </a:r>
          </a:p>
        </p:txBody>
      </p:sp>
    </p:spTree>
    <p:extLst>
      <p:ext uri="{BB962C8B-B14F-4D97-AF65-F5344CB8AC3E}">
        <p14:creationId xmlns:p14="http://schemas.microsoft.com/office/powerpoint/2010/main" val="2399355211"/>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Cierre">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stretch>
            <a:fillRect/>
          </a:stretch>
        </p:blipFill>
        <p:spPr>
          <a:xfrm>
            <a:off x="-36662" y="-37910"/>
            <a:ext cx="12304487" cy="6924341"/>
          </a:xfrm>
          <a:prstGeom prst="rect">
            <a:avLst/>
          </a:prstGeom>
        </p:spPr>
      </p:pic>
      <p:pic>
        <p:nvPicPr>
          <p:cNvPr id="7" name="Picture 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480165" y="1308575"/>
            <a:ext cx="9203871" cy="4466585"/>
          </a:xfrm>
          <a:prstGeom prst="rect">
            <a:avLst/>
          </a:prstGeom>
        </p:spPr>
      </p:pic>
    </p:spTree>
    <p:extLst>
      <p:ext uri="{BB962C8B-B14F-4D97-AF65-F5344CB8AC3E}">
        <p14:creationId xmlns:p14="http://schemas.microsoft.com/office/powerpoint/2010/main" val="3828448566"/>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userDrawn="1">
  <p:cSld name="4_Custom Layout">
    <p:spTree>
      <p:nvGrpSpPr>
        <p:cNvPr id="1" name=""/>
        <p:cNvGrpSpPr/>
        <p:nvPr/>
      </p:nvGrpSpPr>
      <p:grpSpPr>
        <a:xfrm>
          <a:off x="0" y="0"/>
          <a:ext cx="0" cy="0"/>
          <a:chOff x="0" y="0"/>
          <a:chExt cx="0" cy="0"/>
        </a:xfrm>
      </p:grpSpPr>
      <p:sp>
        <p:nvSpPr>
          <p:cNvPr id="14" name="Rectangle 13"/>
          <p:cNvSpPr/>
          <p:nvPr userDrawn="1"/>
        </p:nvSpPr>
        <p:spPr>
          <a:xfrm>
            <a:off x="226611" y="6608"/>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grpSp>
        <p:nvGrpSpPr>
          <p:cNvPr id="15" name="Group 14"/>
          <p:cNvGrpSpPr/>
          <p:nvPr userDrawn="1"/>
        </p:nvGrpSpPr>
        <p:grpSpPr>
          <a:xfrm flipH="1">
            <a:off x="226609" y="98856"/>
            <a:ext cx="1203763" cy="6096001"/>
            <a:chOff x="160238" y="148877"/>
            <a:chExt cx="1300907" cy="8783936"/>
          </a:xfrm>
        </p:grpSpPr>
        <p:sp>
          <p:nvSpPr>
            <p:cNvPr id="16" name="Rectangle"/>
            <p:cNvSpPr/>
            <p:nvPr userDrawn="1"/>
          </p:nvSpPr>
          <p:spPr>
            <a:xfrm>
              <a:off x="160238" y="7811988"/>
              <a:ext cx="1300907" cy="1120825"/>
            </a:xfrm>
            <a:prstGeom prst="rect">
              <a:avLst/>
            </a:prstGeom>
            <a:solidFill>
              <a:srgbClr val="C4297F"/>
            </a:solidFill>
            <a:ln w="12700">
              <a:miter lim="400000"/>
            </a:ln>
          </p:spPr>
          <p:txBody>
            <a:bodyPr lIns="50800" tIns="50800" rIns="50800" bIns="50800" anchor="ctr"/>
            <a:lstStyle/>
            <a:p>
              <a:endParaRPr sz="1800">
                <a:solidFill>
                  <a:prstClr val="black"/>
                </a:solidFill>
              </a:endParaRPr>
            </a:p>
          </p:txBody>
        </p:sp>
        <p:sp>
          <p:nvSpPr>
            <p:cNvPr id="17" name="Rectangle"/>
            <p:cNvSpPr/>
            <p:nvPr userDrawn="1"/>
          </p:nvSpPr>
          <p:spPr>
            <a:xfrm>
              <a:off x="160238" y="7090072"/>
              <a:ext cx="1300907" cy="721917"/>
            </a:xfrm>
            <a:prstGeom prst="rect">
              <a:avLst/>
            </a:prstGeom>
            <a:solidFill>
              <a:srgbClr val="7C1A4F"/>
            </a:solidFill>
            <a:ln w="12700">
              <a:miter lim="400000"/>
            </a:ln>
          </p:spPr>
          <p:txBody>
            <a:bodyPr lIns="50800" tIns="50800" rIns="50800" bIns="50800" anchor="ctr"/>
            <a:lstStyle/>
            <a:p>
              <a:endParaRPr sz="1800">
                <a:solidFill>
                  <a:prstClr val="black"/>
                </a:solidFill>
              </a:endParaRPr>
            </a:p>
          </p:txBody>
        </p:sp>
        <p:sp>
          <p:nvSpPr>
            <p:cNvPr id="18" name="Rectangle"/>
            <p:cNvSpPr/>
            <p:nvPr userDrawn="1"/>
          </p:nvSpPr>
          <p:spPr>
            <a:xfrm>
              <a:off x="160238" y="6877694"/>
              <a:ext cx="1300907" cy="212379"/>
            </a:xfrm>
            <a:prstGeom prst="rect">
              <a:avLst/>
            </a:prstGeom>
            <a:solidFill>
              <a:srgbClr val="F79824"/>
            </a:solidFill>
            <a:ln w="12700">
              <a:miter lim="400000"/>
            </a:ln>
          </p:spPr>
          <p:txBody>
            <a:bodyPr lIns="50800" tIns="50800" rIns="50800" bIns="50800" anchor="ctr"/>
            <a:lstStyle/>
            <a:p>
              <a:endParaRPr sz="1800">
                <a:solidFill>
                  <a:prstClr val="black"/>
                </a:solidFill>
              </a:endParaRPr>
            </a:p>
          </p:txBody>
        </p:sp>
        <p:sp>
          <p:nvSpPr>
            <p:cNvPr id="19" name="Rectangle"/>
            <p:cNvSpPr/>
            <p:nvPr userDrawn="1"/>
          </p:nvSpPr>
          <p:spPr>
            <a:xfrm>
              <a:off x="160238" y="5875535"/>
              <a:ext cx="1300907" cy="1002160"/>
            </a:xfrm>
            <a:prstGeom prst="rect">
              <a:avLst/>
            </a:prstGeom>
            <a:solidFill>
              <a:srgbClr val="EE4329"/>
            </a:solidFill>
            <a:ln w="12700">
              <a:miter lim="400000"/>
            </a:ln>
          </p:spPr>
          <p:txBody>
            <a:bodyPr lIns="50800" tIns="50800" rIns="50800" bIns="50800" anchor="ctr"/>
            <a:lstStyle/>
            <a:p>
              <a:endParaRPr sz="1800">
                <a:solidFill>
                  <a:prstClr val="black"/>
                </a:solidFill>
              </a:endParaRPr>
            </a:p>
          </p:txBody>
        </p:sp>
        <p:sp>
          <p:nvSpPr>
            <p:cNvPr id="20" name="Rectangle"/>
            <p:cNvSpPr/>
            <p:nvPr userDrawn="1"/>
          </p:nvSpPr>
          <p:spPr>
            <a:xfrm>
              <a:off x="160238" y="3874095"/>
              <a:ext cx="1300907" cy="2001441"/>
            </a:xfrm>
            <a:prstGeom prst="rect">
              <a:avLst/>
            </a:prstGeom>
            <a:solidFill>
              <a:srgbClr val="F36F26"/>
            </a:solidFill>
            <a:ln w="12700">
              <a:miter lim="400000"/>
            </a:ln>
          </p:spPr>
          <p:txBody>
            <a:bodyPr lIns="50800" tIns="50800" rIns="50800" bIns="50800" anchor="ctr"/>
            <a:lstStyle/>
            <a:p>
              <a:endParaRPr sz="1800">
                <a:solidFill>
                  <a:prstClr val="black"/>
                </a:solidFill>
              </a:endParaRPr>
            </a:p>
          </p:txBody>
        </p:sp>
        <p:sp>
          <p:nvSpPr>
            <p:cNvPr id="21" name="Rectangle"/>
            <p:cNvSpPr/>
            <p:nvPr userDrawn="1"/>
          </p:nvSpPr>
          <p:spPr>
            <a:xfrm>
              <a:off x="160238" y="3154213"/>
              <a:ext cx="1300907" cy="721867"/>
            </a:xfrm>
            <a:prstGeom prst="rect">
              <a:avLst/>
            </a:prstGeom>
            <a:solidFill>
              <a:srgbClr val="016AA1"/>
            </a:solidFill>
            <a:ln w="12700">
              <a:miter lim="400000"/>
            </a:ln>
          </p:spPr>
          <p:txBody>
            <a:bodyPr lIns="50800" tIns="50800" rIns="50800" bIns="50800" anchor="ctr"/>
            <a:lstStyle/>
            <a:p>
              <a:endParaRPr sz="1800">
                <a:solidFill>
                  <a:prstClr val="black"/>
                </a:solidFill>
              </a:endParaRPr>
            </a:p>
          </p:txBody>
        </p:sp>
        <p:sp>
          <p:nvSpPr>
            <p:cNvPr id="22" name="Rectangle"/>
            <p:cNvSpPr/>
            <p:nvPr userDrawn="1"/>
          </p:nvSpPr>
          <p:spPr>
            <a:xfrm>
              <a:off x="160238" y="148877"/>
              <a:ext cx="1300907" cy="3005337"/>
            </a:xfrm>
            <a:prstGeom prst="rect">
              <a:avLst/>
            </a:prstGeom>
            <a:solidFill>
              <a:srgbClr val="86CBD8"/>
            </a:solidFill>
            <a:ln w="12700">
              <a:miter lim="400000"/>
            </a:ln>
          </p:spPr>
          <p:txBody>
            <a:bodyPr lIns="50800" tIns="50800" rIns="50800" bIns="50800" anchor="ctr"/>
            <a:lstStyle/>
            <a:p>
              <a:endParaRPr sz="1800">
                <a:solidFill>
                  <a:prstClr val="black"/>
                </a:solidFill>
              </a:endParaRPr>
            </a:p>
          </p:txBody>
        </p:sp>
      </p:grpSp>
    </p:spTree>
    <p:extLst>
      <p:ext uri="{BB962C8B-B14F-4D97-AF65-F5344CB8AC3E}">
        <p14:creationId xmlns:p14="http://schemas.microsoft.com/office/powerpoint/2010/main" val="413266613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IMAGEN FULL">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pPr>
              <a:defRPr/>
            </a:pPr>
            <a:fld id="{410BB04A-6CB2-A14D-B6AF-586C8C166ED7}" type="slidenum">
              <a:rPr lang="en-US">
                <a:solidFill>
                  <a:srgbClr val="53565A"/>
                </a:solidFill>
              </a:rPr>
              <a:pPr>
                <a:defRPr/>
              </a:pPr>
              <a:t>‹#›</a:t>
            </a:fld>
            <a:endParaRPr lang="en-US">
              <a:solidFill>
                <a:srgbClr val="53565A"/>
              </a:solidFill>
            </a:endParaRPr>
          </a:p>
        </p:txBody>
      </p:sp>
      <p:sp>
        <p:nvSpPr>
          <p:cNvPr id="4" name="Date Placeholder 3"/>
          <p:cNvSpPr>
            <a:spLocks noGrp="1"/>
          </p:cNvSpPr>
          <p:nvPr>
            <p:ph type="dt" sz="half" idx="11"/>
          </p:nvPr>
        </p:nvSpPr>
        <p:spPr/>
        <p:txBody>
          <a:bodyPr/>
          <a:lstStyle/>
          <a:p>
            <a:pPr>
              <a:defRPr/>
            </a:pPr>
            <a:r>
              <a:rPr lang="en-US">
                <a:solidFill>
                  <a:srgbClr val="53565A"/>
                </a:solidFill>
              </a:rPr>
              <a:t>MM.DD.YY</a:t>
            </a:r>
          </a:p>
        </p:txBody>
      </p:sp>
      <p:sp>
        <p:nvSpPr>
          <p:cNvPr id="5" name="Footer Placeholder 4"/>
          <p:cNvSpPr>
            <a:spLocks noGrp="1"/>
          </p:cNvSpPr>
          <p:nvPr>
            <p:ph type="ftr" sz="quarter" idx="12"/>
          </p:nvPr>
        </p:nvSpPr>
        <p:spPr/>
        <p:txBody>
          <a:bodyPr/>
          <a:lstStyle/>
          <a:p>
            <a:pPr>
              <a:defRPr/>
            </a:pPr>
            <a:r>
              <a:rPr lang="en-US">
                <a:solidFill>
                  <a:srgbClr val="53565A"/>
                </a:solidFill>
              </a:rPr>
              <a:t>Presentation Title</a:t>
            </a:r>
          </a:p>
        </p:txBody>
      </p:sp>
      <p:sp>
        <p:nvSpPr>
          <p:cNvPr id="10" name="Picture Placeholder 9"/>
          <p:cNvSpPr>
            <a:spLocks noGrp="1"/>
          </p:cNvSpPr>
          <p:nvPr>
            <p:ph type="pic" sz="quarter" idx="13"/>
          </p:nvPr>
        </p:nvSpPr>
        <p:spPr>
          <a:xfrm>
            <a:off x="0" y="0"/>
            <a:ext cx="12192000" cy="6858000"/>
          </a:xfrm>
        </p:spPr>
        <p:txBody>
          <a:bodyPr/>
          <a:lstStyle/>
          <a:p>
            <a:endParaRPr lang="en-US" dirty="0"/>
          </a:p>
        </p:txBody>
      </p:sp>
      <p:sp>
        <p:nvSpPr>
          <p:cNvPr id="24" name="Rounded Rectangle 23"/>
          <p:cNvSpPr/>
          <p:nvPr userDrawn="1"/>
        </p:nvSpPr>
        <p:spPr bwMode="auto">
          <a:xfrm>
            <a:off x="-288755" y="234066"/>
            <a:ext cx="12199241" cy="1342366"/>
          </a:xfrm>
          <a:prstGeom prst="roundRect">
            <a:avLst/>
          </a:prstGeom>
          <a:solidFill>
            <a:schemeClr val="bg1">
              <a:alpha val="30000"/>
            </a:schemeClr>
          </a:solidFill>
          <a:ln w="12700" cap="flat" cmpd="sng" algn="ctr">
            <a:no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txBody>
          <a:bodyPr vert="horz" wrap="none" lIns="91426" tIns="45712" rIns="91426" bIns="45712" numCol="1" rtlCol="0" anchor="ctr" anchorCtr="0" compatLnSpc="1">
            <a:prstTxWarp prst="textNoShape">
              <a:avLst/>
            </a:prstTxWarp>
          </a:bodyPr>
          <a:lstStyle/>
          <a:p>
            <a:pPr algn="ctr" fontAlgn="base">
              <a:spcBef>
                <a:spcPct val="0"/>
              </a:spcBef>
              <a:spcAft>
                <a:spcPct val="0"/>
              </a:spcAft>
            </a:pPr>
            <a:endParaRPr lang="en-US" sz="2400">
              <a:solidFill>
                <a:srgbClr val="000000"/>
              </a:solidFill>
            </a:endParaRPr>
          </a:p>
        </p:txBody>
      </p:sp>
      <p:sp>
        <p:nvSpPr>
          <p:cNvPr id="26" name="Text Placeholder 14"/>
          <p:cNvSpPr>
            <a:spLocks noGrp="1"/>
          </p:cNvSpPr>
          <p:nvPr>
            <p:ph type="body" sz="quarter" idx="14"/>
          </p:nvPr>
        </p:nvSpPr>
        <p:spPr>
          <a:xfrm>
            <a:off x="795870" y="411960"/>
            <a:ext cx="11114617" cy="418223"/>
          </a:xfrm>
        </p:spPr>
        <p:txBody>
          <a:bodyPr/>
          <a:lstStyle>
            <a:lvl1pPr marL="0" indent="0">
              <a:buNone/>
              <a:defRPr sz="2400">
                <a:solidFill>
                  <a:srgbClr val="004785"/>
                </a:solidFill>
              </a:defRPr>
            </a:lvl1pPr>
            <a:lvl2pPr marL="403160" indent="0">
              <a:buNone/>
              <a:defRPr sz="2400">
                <a:solidFill>
                  <a:srgbClr val="004785"/>
                </a:solidFill>
              </a:defRPr>
            </a:lvl2pPr>
            <a:lvl3pPr marL="747592" indent="0">
              <a:buNone/>
              <a:defRPr sz="2400">
                <a:solidFill>
                  <a:srgbClr val="004785"/>
                </a:solidFill>
              </a:defRPr>
            </a:lvl3pPr>
            <a:lvl4pPr marL="1088850" indent="0">
              <a:buNone/>
              <a:defRPr sz="2400">
                <a:solidFill>
                  <a:srgbClr val="004785"/>
                </a:solidFill>
              </a:defRPr>
            </a:lvl4pPr>
            <a:lvl5pPr marL="1426933" indent="0">
              <a:buNone/>
              <a:defRPr sz="2400">
                <a:solidFill>
                  <a:srgbClr val="004785"/>
                </a:solidFill>
              </a:defRPr>
            </a:lvl5pPr>
          </a:lstStyle>
          <a:p>
            <a:pPr lvl="0"/>
            <a:r>
              <a:rPr lang="en-US" dirty="0"/>
              <a:t>Click to edit Master text styles</a:t>
            </a:r>
          </a:p>
        </p:txBody>
      </p:sp>
      <p:sp>
        <p:nvSpPr>
          <p:cNvPr id="27" name="Text Placeholder 14"/>
          <p:cNvSpPr>
            <a:spLocks noGrp="1"/>
          </p:cNvSpPr>
          <p:nvPr>
            <p:ph type="body" sz="quarter" idx="15"/>
          </p:nvPr>
        </p:nvSpPr>
        <p:spPr>
          <a:xfrm>
            <a:off x="795870" y="905252"/>
            <a:ext cx="11114617" cy="418223"/>
          </a:xfrm>
        </p:spPr>
        <p:txBody>
          <a:bodyPr/>
          <a:lstStyle>
            <a:lvl1pPr marL="0" indent="0">
              <a:buNone/>
              <a:defRPr sz="2400">
                <a:solidFill>
                  <a:srgbClr val="00B3F0"/>
                </a:solidFill>
              </a:defRPr>
            </a:lvl1pPr>
            <a:lvl2pPr marL="403160" indent="0">
              <a:buNone/>
              <a:defRPr sz="2400">
                <a:solidFill>
                  <a:srgbClr val="004785"/>
                </a:solidFill>
              </a:defRPr>
            </a:lvl2pPr>
            <a:lvl3pPr marL="747592" indent="0">
              <a:buNone/>
              <a:defRPr sz="2400">
                <a:solidFill>
                  <a:srgbClr val="004785"/>
                </a:solidFill>
              </a:defRPr>
            </a:lvl3pPr>
            <a:lvl4pPr marL="1088850" indent="0">
              <a:buNone/>
              <a:defRPr sz="2400">
                <a:solidFill>
                  <a:srgbClr val="004785"/>
                </a:solidFill>
              </a:defRPr>
            </a:lvl4pPr>
            <a:lvl5pPr marL="1426933" indent="0">
              <a:buNone/>
              <a:defRPr sz="2400">
                <a:solidFill>
                  <a:srgbClr val="004785"/>
                </a:solidFill>
              </a:defRPr>
            </a:lvl5pPr>
          </a:lstStyle>
          <a:p>
            <a:pPr lvl="0"/>
            <a:r>
              <a:rPr lang="en-US" dirty="0"/>
              <a:t>Click to edit Master text styles</a:t>
            </a:r>
          </a:p>
        </p:txBody>
      </p:sp>
    </p:spTree>
    <p:extLst>
      <p:ext uri="{BB962C8B-B14F-4D97-AF65-F5344CB8AC3E}">
        <p14:creationId xmlns:p14="http://schemas.microsoft.com/office/powerpoint/2010/main" val="1019171186"/>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userDrawn="1">
  <p:cSld name="Separador1">
    <p:spTree>
      <p:nvGrpSpPr>
        <p:cNvPr id="1" name=""/>
        <p:cNvGrpSpPr/>
        <p:nvPr/>
      </p:nvGrpSpPr>
      <p:grpSpPr>
        <a:xfrm>
          <a:off x="0" y="0"/>
          <a:ext cx="0" cy="0"/>
          <a:chOff x="0" y="0"/>
          <a:chExt cx="0" cy="0"/>
        </a:xfrm>
      </p:grpSpPr>
      <p:sp>
        <p:nvSpPr>
          <p:cNvPr id="11" name="Rectangle 10"/>
          <p:cNvSpPr/>
          <p:nvPr userDrawn="1"/>
        </p:nvSpPr>
        <p:spPr>
          <a:xfrm>
            <a:off x="226611" y="6608"/>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grpSp>
        <p:nvGrpSpPr>
          <p:cNvPr id="19" name="Group 18"/>
          <p:cNvGrpSpPr/>
          <p:nvPr userDrawn="1"/>
        </p:nvGrpSpPr>
        <p:grpSpPr>
          <a:xfrm>
            <a:off x="226614" y="98854"/>
            <a:ext cx="1204588" cy="6096000"/>
            <a:chOff x="160238" y="154880"/>
            <a:chExt cx="1300907" cy="8777933"/>
          </a:xfrm>
        </p:grpSpPr>
        <p:sp>
          <p:nvSpPr>
            <p:cNvPr id="12" name="Rectangle"/>
            <p:cNvSpPr/>
            <p:nvPr userDrawn="1"/>
          </p:nvSpPr>
          <p:spPr>
            <a:xfrm>
              <a:off x="160238" y="8398371"/>
              <a:ext cx="1300907" cy="534442"/>
            </a:xfrm>
            <a:prstGeom prst="rect">
              <a:avLst/>
            </a:prstGeom>
            <a:solidFill>
              <a:srgbClr val="85CDD9"/>
            </a:solidFill>
            <a:ln w="12700">
              <a:miter lim="400000"/>
            </a:ln>
          </p:spPr>
          <p:txBody>
            <a:bodyPr lIns="50800" tIns="50800" rIns="50800" bIns="50800" anchor="ctr"/>
            <a:lstStyle/>
            <a:p>
              <a:endParaRPr sz="1800">
                <a:solidFill>
                  <a:prstClr val="black"/>
                </a:solidFill>
              </a:endParaRPr>
            </a:p>
          </p:txBody>
        </p:sp>
        <p:sp>
          <p:nvSpPr>
            <p:cNvPr id="13" name="Rectangle"/>
            <p:cNvSpPr/>
            <p:nvPr userDrawn="1"/>
          </p:nvSpPr>
          <p:spPr>
            <a:xfrm>
              <a:off x="160238" y="8183364"/>
              <a:ext cx="1300907" cy="215008"/>
            </a:xfrm>
            <a:prstGeom prst="rect">
              <a:avLst/>
            </a:prstGeom>
            <a:solidFill>
              <a:srgbClr val="4D89AD"/>
            </a:solidFill>
            <a:ln w="12700">
              <a:miter lim="400000"/>
            </a:ln>
          </p:spPr>
          <p:txBody>
            <a:bodyPr lIns="50800" tIns="50800" rIns="50800" bIns="50800" anchor="ctr"/>
            <a:lstStyle/>
            <a:p>
              <a:endParaRPr sz="1800">
                <a:solidFill>
                  <a:prstClr val="black"/>
                </a:solidFill>
              </a:endParaRPr>
            </a:p>
          </p:txBody>
        </p:sp>
        <p:sp>
          <p:nvSpPr>
            <p:cNvPr id="14" name="Rectangle"/>
            <p:cNvSpPr/>
            <p:nvPr userDrawn="1"/>
          </p:nvSpPr>
          <p:spPr>
            <a:xfrm>
              <a:off x="160238" y="6195863"/>
              <a:ext cx="1300907" cy="1987502"/>
            </a:xfrm>
            <a:prstGeom prst="rect">
              <a:avLst/>
            </a:prstGeom>
            <a:solidFill>
              <a:srgbClr val="2591C0"/>
            </a:solidFill>
            <a:ln w="12700">
              <a:miter lim="400000"/>
            </a:ln>
          </p:spPr>
          <p:txBody>
            <a:bodyPr lIns="50800" tIns="50800" rIns="50800" bIns="50800" anchor="ctr"/>
            <a:lstStyle/>
            <a:p>
              <a:endParaRPr sz="1800">
                <a:solidFill>
                  <a:prstClr val="black"/>
                </a:solidFill>
              </a:endParaRPr>
            </a:p>
          </p:txBody>
        </p:sp>
        <p:sp>
          <p:nvSpPr>
            <p:cNvPr id="15" name="Rectangle"/>
            <p:cNvSpPr/>
            <p:nvPr userDrawn="1"/>
          </p:nvSpPr>
          <p:spPr>
            <a:xfrm>
              <a:off x="160238" y="5724425"/>
              <a:ext cx="1300907" cy="471439"/>
            </a:xfrm>
            <a:prstGeom prst="rect">
              <a:avLst/>
            </a:prstGeom>
            <a:solidFill>
              <a:srgbClr val="104D6A"/>
            </a:solidFill>
            <a:ln w="12700">
              <a:miter lim="400000"/>
            </a:ln>
          </p:spPr>
          <p:txBody>
            <a:bodyPr lIns="50800" tIns="50800" rIns="50800" bIns="50800" anchor="ctr"/>
            <a:lstStyle/>
            <a:p>
              <a:endParaRPr sz="1800">
                <a:solidFill>
                  <a:prstClr val="black"/>
                </a:solidFill>
              </a:endParaRPr>
            </a:p>
          </p:txBody>
        </p:sp>
        <p:sp>
          <p:nvSpPr>
            <p:cNvPr id="16" name="Rectangle"/>
            <p:cNvSpPr/>
            <p:nvPr userDrawn="1"/>
          </p:nvSpPr>
          <p:spPr>
            <a:xfrm>
              <a:off x="160238" y="371177"/>
              <a:ext cx="1300907" cy="813396"/>
            </a:xfrm>
            <a:prstGeom prst="rect">
              <a:avLst/>
            </a:prstGeom>
            <a:solidFill>
              <a:srgbClr val="095B88"/>
            </a:solidFill>
            <a:ln w="12700">
              <a:miter lim="400000"/>
            </a:ln>
          </p:spPr>
          <p:txBody>
            <a:bodyPr lIns="50800" tIns="50800" rIns="50800" bIns="50800" anchor="ctr"/>
            <a:lstStyle/>
            <a:p>
              <a:endParaRPr sz="1800">
                <a:solidFill>
                  <a:prstClr val="black"/>
                </a:solidFill>
              </a:endParaRPr>
            </a:p>
          </p:txBody>
        </p:sp>
        <p:sp>
          <p:nvSpPr>
            <p:cNvPr id="17" name="Rectangle"/>
            <p:cNvSpPr/>
            <p:nvPr userDrawn="1"/>
          </p:nvSpPr>
          <p:spPr>
            <a:xfrm>
              <a:off x="160238" y="1184572"/>
              <a:ext cx="1300907" cy="4539854"/>
            </a:xfrm>
            <a:prstGeom prst="rect">
              <a:avLst/>
            </a:prstGeom>
            <a:solidFill>
              <a:srgbClr val="016AA1"/>
            </a:solidFill>
            <a:ln w="12700">
              <a:miter lim="400000"/>
            </a:ln>
          </p:spPr>
          <p:txBody>
            <a:bodyPr lIns="50800" tIns="50800" rIns="50800" bIns="50800" anchor="ctr"/>
            <a:lstStyle/>
            <a:p>
              <a:endParaRPr sz="1800">
                <a:solidFill>
                  <a:prstClr val="black"/>
                </a:solidFill>
              </a:endParaRPr>
            </a:p>
          </p:txBody>
        </p:sp>
        <p:sp>
          <p:nvSpPr>
            <p:cNvPr id="18" name="Rectangle"/>
            <p:cNvSpPr/>
            <p:nvPr userDrawn="1"/>
          </p:nvSpPr>
          <p:spPr>
            <a:xfrm>
              <a:off x="160238" y="154880"/>
              <a:ext cx="1300907" cy="216298"/>
            </a:xfrm>
            <a:prstGeom prst="rect">
              <a:avLst/>
            </a:prstGeom>
            <a:solidFill>
              <a:srgbClr val="85CDD9"/>
            </a:solidFill>
            <a:ln w="12700">
              <a:miter lim="400000"/>
            </a:ln>
          </p:spPr>
          <p:txBody>
            <a:bodyPr lIns="50800" tIns="50800" rIns="50800" bIns="50800" anchor="ctr"/>
            <a:lstStyle/>
            <a:p>
              <a:endParaRPr sz="1800">
                <a:solidFill>
                  <a:prstClr val="black"/>
                </a:solidFill>
              </a:endParaRPr>
            </a:p>
          </p:txBody>
        </p:sp>
      </p:grpSp>
    </p:spTree>
    <p:extLst>
      <p:ext uri="{BB962C8B-B14F-4D97-AF65-F5344CB8AC3E}">
        <p14:creationId xmlns:p14="http://schemas.microsoft.com/office/powerpoint/2010/main" val="1759566389"/>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type="title" preserve="1">
  <p:cSld name="PORTADA">
    <p:spTree>
      <p:nvGrpSpPr>
        <p:cNvPr id="1" name=""/>
        <p:cNvGrpSpPr/>
        <p:nvPr/>
      </p:nvGrpSpPr>
      <p:grpSpPr>
        <a:xfrm>
          <a:off x="0" y="0"/>
          <a:ext cx="0" cy="0"/>
          <a:chOff x="0" y="0"/>
          <a:chExt cx="0" cy="0"/>
        </a:xfrm>
      </p:grpSpPr>
      <p:sp>
        <p:nvSpPr>
          <p:cNvPr id="3150" name="Rectangle 78"/>
          <p:cNvSpPr>
            <a:spLocks noGrp="1" noChangeArrowheads="1"/>
          </p:cNvSpPr>
          <p:nvPr>
            <p:ph type="ctrTitle"/>
          </p:nvPr>
        </p:nvSpPr>
        <p:spPr>
          <a:xfrm>
            <a:off x="804333" y="906464"/>
            <a:ext cx="10947400" cy="517525"/>
          </a:xfrm>
        </p:spPr>
        <p:txBody>
          <a:bodyPr/>
          <a:lstStyle>
            <a:lvl1pPr>
              <a:defRPr sz="3200"/>
            </a:lvl1pPr>
          </a:lstStyle>
          <a:p>
            <a:pPr lvl="0"/>
            <a:r>
              <a:rPr lang="en-US" noProof="0" dirty="0"/>
              <a:t>Click to edit Master title style</a:t>
            </a:r>
          </a:p>
        </p:txBody>
      </p:sp>
      <p:sp>
        <p:nvSpPr>
          <p:cNvPr id="3151" name="Rectangle 79"/>
          <p:cNvSpPr>
            <a:spLocks noGrp="1" noChangeArrowheads="1"/>
          </p:cNvSpPr>
          <p:nvPr>
            <p:ph type="subTitle" sz="quarter" idx="1"/>
          </p:nvPr>
        </p:nvSpPr>
        <p:spPr>
          <a:xfrm>
            <a:off x="804334" y="1423988"/>
            <a:ext cx="10962217" cy="1093788"/>
          </a:xfrm>
          <a:extLst>
            <a:ext uri="{91240B29-F687-4F45-9708-019B960494DF}">
              <a14:hiddenLine xmlns:a14="http://schemas.microsoft.com/office/drawing/2010/main" w="9525">
                <a:solidFill>
                  <a:schemeClr val="tx1"/>
                </a:solidFill>
                <a:miter lim="800000"/>
                <a:headEnd/>
                <a:tailEnd/>
              </a14:hiddenLine>
            </a:ext>
          </a:extLst>
        </p:spPr>
        <p:txBody>
          <a:bodyPr/>
          <a:lstStyle>
            <a:lvl1pPr marL="0" indent="0">
              <a:lnSpc>
                <a:spcPct val="100000"/>
              </a:lnSpc>
              <a:spcBef>
                <a:spcPct val="0"/>
              </a:spcBef>
              <a:spcAft>
                <a:spcPct val="0"/>
              </a:spcAft>
              <a:buFontTx/>
              <a:buNone/>
              <a:defRPr sz="3200">
                <a:solidFill>
                  <a:srgbClr val="00BDF2"/>
                </a:solidFill>
              </a:defRPr>
            </a:lvl1pPr>
          </a:lstStyle>
          <a:p>
            <a:pPr lvl="0"/>
            <a:r>
              <a:rPr lang="en-US" noProof="0"/>
              <a:t>Click to edit Master subtitle style</a:t>
            </a:r>
          </a:p>
        </p:txBody>
      </p:sp>
      <p:pic>
        <p:nvPicPr>
          <p:cNvPr id="4" name="Picture 3"/>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296210" y="4844121"/>
            <a:ext cx="4743391" cy="2301940"/>
          </a:xfrm>
          <a:prstGeom prst="rect">
            <a:avLst/>
          </a:prstGeom>
        </p:spPr>
      </p:pic>
    </p:spTree>
    <p:extLst>
      <p:ext uri="{BB962C8B-B14F-4D97-AF65-F5344CB8AC3E}">
        <p14:creationId xmlns:p14="http://schemas.microsoft.com/office/powerpoint/2010/main" val="14621039"/>
      </p:ext>
    </p:extLst>
  </p:cSld>
  <p:clrMapOvr>
    <a:overrideClrMapping bg1="lt1" tx1="dk1" bg2="lt2" tx2="dk2" accent1="accent1" accent2="accent2" accent3="accent3" accent4="accent4" accent5="accent5" accent6="accent6" hlink="hlink" folHlink="folHlink"/>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85"/>
          <p:cNvSpPr>
            <a:spLocks noGrp="1" noChangeArrowheads="1"/>
          </p:cNvSpPr>
          <p:nvPr>
            <p:ph type="sldNum" sz="quarter" idx="10"/>
          </p:nvPr>
        </p:nvSpPr>
        <p:spPr>
          <a:ln/>
        </p:spPr>
        <p:txBody>
          <a:bodyPr/>
          <a:lstStyle>
            <a:lvl1pPr>
              <a:defRPr/>
            </a:lvl1pPr>
          </a:lstStyle>
          <a:p>
            <a:pPr defTabSz="914400" fontAlgn="base">
              <a:spcBef>
                <a:spcPct val="0"/>
              </a:spcBef>
              <a:spcAft>
                <a:spcPct val="0"/>
              </a:spcAft>
              <a:defRPr/>
            </a:pPr>
            <a:fld id="{92C380FF-0397-644C-B316-9BC79B505A0E}" type="slidenum">
              <a:rPr lang="en-US" smtClean="0">
                <a:solidFill>
                  <a:srgbClr val="53565A"/>
                </a:solidFill>
                <a:ea typeface="ＭＳ Ｐゴシック" charset="0"/>
              </a:rPr>
              <a:pPr defTabSz="914400" fontAlgn="base">
                <a:spcBef>
                  <a:spcPct val="0"/>
                </a:spcBef>
                <a:spcAft>
                  <a:spcPct val="0"/>
                </a:spcAft>
                <a:defRPr/>
              </a:pPr>
              <a:t>‹#›</a:t>
            </a:fld>
            <a:endParaRPr lang="en-US">
              <a:solidFill>
                <a:srgbClr val="53565A"/>
              </a:solidFill>
              <a:ea typeface="ＭＳ Ｐゴシック" charset="0"/>
            </a:endParaRPr>
          </a:p>
        </p:txBody>
      </p:sp>
      <p:sp>
        <p:nvSpPr>
          <p:cNvPr id="6" name="Rectangle 92"/>
          <p:cNvSpPr>
            <a:spLocks noGrp="1" noChangeArrowheads="1"/>
          </p:cNvSpPr>
          <p:nvPr>
            <p:ph type="ftr" sz="quarter" idx="12"/>
          </p:nvPr>
        </p:nvSpPr>
        <p:spPr>
          <a:ln/>
        </p:spPr>
        <p:txBody>
          <a:bodyPr/>
          <a:lstStyle>
            <a:lvl1pPr>
              <a:defRPr/>
            </a:lvl1pPr>
          </a:lstStyle>
          <a:p>
            <a:pPr defTabSz="914400" fontAlgn="base">
              <a:spcBef>
                <a:spcPct val="0"/>
              </a:spcBef>
              <a:spcAft>
                <a:spcPct val="0"/>
              </a:spcAft>
              <a:defRPr/>
            </a:pPr>
            <a:r>
              <a:rPr lang="en-US">
                <a:solidFill>
                  <a:srgbClr val="53565A"/>
                </a:solidFill>
              </a:rPr>
              <a:t>Presentation Title</a:t>
            </a:r>
          </a:p>
        </p:txBody>
      </p:sp>
    </p:spTree>
    <p:extLst>
      <p:ext uri="{BB962C8B-B14F-4D97-AF65-F5344CB8AC3E}">
        <p14:creationId xmlns:p14="http://schemas.microsoft.com/office/powerpoint/2010/main" val="1541285264"/>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Rectangle 85"/>
          <p:cNvSpPr>
            <a:spLocks noGrp="1" noChangeArrowheads="1"/>
          </p:cNvSpPr>
          <p:nvPr>
            <p:ph type="sldNum" sz="quarter" idx="10"/>
          </p:nvPr>
        </p:nvSpPr>
        <p:spPr>
          <a:ln/>
        </p:spPr>
        <p:txBody>
          <a:bodyPr/>
          <a:lstStyle>
            <a:lvl1pPr>
              <a:defRPr/>
            </a:lvl1pPr>
          </a:lstStyle>
          <a:p>
            <a:pPr defTabSz="914400" fontAlgn="base">
              <a:spcBef>
                <a:spcPct val="0"/>
              </a:spcBef>
              <a:spcAft>
                <a:spcPct val="0"/>
              </a:spcAft>
              <a:defRPr/>
            </a:pPr>
            <a:fld id="{B53A4395-16C9-6F44-AB3C-C7A6087BA63D}" type="slidenum">
              <a:rPr lang="en-US" smtClean="0">
                <a:solidFill>
                  <a:srgbClr val="53565A"/>
                </a:solidFill>
                <a:ea typeface="ＭＳ Ｐゴシック" charset="0"/>
              </a:rPr>
              <a:pPr defTabSz="914400" fontAlgn="base">
                <a:spcBef>
                  <a:spcPct val="0"/>
                </a:spcBef>
                <a:spcAft>
                  <a:spcPct val="0"/>
                </a:spcAft>
                <a:defRPr/>
              </a:pPr>
              <a:t>‹#›</a:t>
            </a:fld>
            <a:endParaRPr lang="en-US">
              <a:solidFill>
                <a:srgbClr val="53565A"/>
              </a:solidFill>
              <a:ea typeface="ＭＳ Ｐゴシック" charset="0"/>
            </a:endParaRPr>
          </a:p>
        </p:txBody>
      </p:sp>
      <p:sp>
        <p:nvSpPr>
          <p:cNvPr id="4" name="Rectangle 87"/>
          <p:cNvSpPr>
            <a:spLocks noGrp="1" noChangeArrowheads="1"/>
          </p:cNvSpPr>
          <p:nvPr>
            <p:ph type="dt" sz="half" idx="11"/>
          </p:nvPr>
        </p:nvSpPr>
        <p:spPr>
          <a:ln/>
        </p:spPr>
        <p:txBody>
          <a:bodyPr/>
          <a:lstStyle>
            <a:lvl1pPr>
              <a:defRPr/>
            </a:lvl1pPr>
          </a:lstStyle>
          <a:p>
            <a:pPr defTabSz="914400" fontAlgn="base">
              <a:spcBef>
                <a:spcPct val="0"/>
              </a:spcBef>
              <a:spcAft>
                <a:spcPct val="0"/>
              </a:spcAft>
              <a:defRPr/>
            </a:pPr>
            <a:r>
              <a:rPr lang="en-US">
                <a:solidFill>
                  <a:srgbClr val="53565A"/>
                </a:solidFill>
              </a:rPr>
              <a:t>MM.DD.YY</a:t>
            </a:r>
          </a:p>
        </p:txBody>
      </p:sp>
      <p:sp>
        <p:nvSpPr>
          <p:cNvPr id="5" name="Rectangle 92"/>
          <p:cNvSpPr>
            <a:spLocks noGrp="1" noChangeArrowheads="1"/>
          </p:cNvSpPr>
          <p:nvPr>
            <p:ph type="ftr" sz="quarter" idx="12"/>
          </p:nvPr>
        </p:nvSpPr>
        <p:spPr>
          <a:ln/>
        </p:spPr>
        <p:txBody>
          <a:bodyPr/>
          <a:lstStyle>
            <a:lvl1pPr>
              <a:defRPr/>
            </a:lvl1pPr>
          </a:lstStyle>
          <a:p>
            <a:pPr defTabSz="914400" fontAlgn="base">
              <a:spcBef>
                <a:spcPct val="0"/>
              </a:spcBef>
              <a:spcAft>
                <a:spcPct val="0"/>
              </a:spcAft>
              <a:defRPr/>
            </a:pPr>
            <a:r>
              <a:rPr lang="en-US">
                <a:solidFill>
                  <a:srgbClr val="53565A"/>
                </a:solidFill>
              </a:rPr>
              <a:t>Presentation Title</a:t>
            </a:r>
          </a:p>
        </p:txBody>
      </p:sp>
    </p:spTree>
    <p:extLst>
      <p:ext uri="{BB962C8B-B14F-4D97-AF65-F5344CB8AC3E}">
        <p14:creationId xmlns:p14="http://schemas.microsoft.com/office/powerpoint/2010/main" val="1878983211"/>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SUB PORTADA BW">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stretch>
            <a:fillRect/>
          </a:stretch>
        </p:blipFill>
        <p:spPr>
          <a:xfrm>
            <a:off x="0" y="-89377"/>
            <a:ext cx="12283621" cy="6962249"/>
          </a:xfrm>
          <a:prstGeom prst="rect">
            <a:avLst/>
          </a:prstGeom>
        </p:spPr>
      </p:pic>
      <p:sp>
        <p:nvSpPr>
          <p:cNvPr id="6" name="Title 1"/>
          <p:cNvSpPr>
            <a:spLocks noGrp="1"/>
          </p:cNvSpPr>
          <p:nvPr>
            <p:ph type="ctrTitle" idx="4294967295"/>
          </p:nvPr>
        </p:nvSpPr>
        <p:spPr>
          <a:xfrm>
            <a:off x="819151" y="3311525"/>
            <a:ext cx="10947400" cy="517525"/>
          </a:xfrm>
        </p:spPr>
        <p:txBody>
          <a:bodyPr/>
          <a:lstStyle/>
          <a:p>
            <a:pPr>
              <a:defRPr/>
            </a:pPr>
            <a:r>
              <a:rPr lang="es-ES_tradnl" sz="3200" dirty="0">
                <a:solidFill>
                  <a:schemeClr val="bg1"/>
                </a:solidFill>
              </a:rPr>
              <a:t>T</a:t>
            </a:r>
            <a:r>
              <a:rPr lang="en-US" sz="3200" dirty="0" err="1">
                <a:solidFill>
                  <a:schemeClr val="bg1"/>
                </a:solidFill>
              </a:rPr>
              <a:t>í</a:t>
            </a:r>
            <a:r>
              <a:rPr lang="es-ES_tradnl" sz="3200" dirty="0" err="1">
                <a:solidFill>
                  <a:schemeClr val="bg1"/>
                </a:solidFill>
              </a:rPr>
              <a:t>tulo</a:t>
            </a:r>
            <a:r>
              <a:rPr lang="es-ES_tradnl" sz="3200" dirty="0">
                <a:solidFill>
                  <a:schemeClr val="bg1"/>
                </a:solidFill>
              </a:rPr>
              <a:t> va aquí</a:t>
            </a:r>
            <a:endParaRPr lang="en-US" sz="3200" dirty="0">
              <a:solidFill>
                <a:schemeClr val="bg1"/>
              </a:solidFill>
            </a:endParaRPr>
          </a:p>
        </p:txBody>
      </p:sp>
      <p:sp>
        <p:nvSpPr>
          <p:cNvPr id="7" name="Subtitle 2"/>
          <p:cNvSpPr>
            <a:spLocks noGrp="1"/>
          </p:cNvSpPr>
          <p:nvPr>
            <p:ph type="subTitle" sz="quarter" idx="4294967295"/>
          </p:nvPr>
        </p:nvSpPr>
        <p:spPr>
          <a:xfrm>
            <a:off x="823384" y="3829051"/>
            <a:ext cx="10962216" cy="1014413"/>
          </a:xfrm>
          <a:extLst>
            <a:ext uri="{91240B29-F687-4F45-9708-019B960494DF}">
              <a14:hiddenLine xmlns:a14="http://schemas.microsoft.com/office/drawing/2010/main" w="9525">
                <a:solidFill>
                  <a:schemeClr val="tx1"/>
                </a:solidFill>
                <a:miter lim="800000"/>
                <a:headEnd/>
                <a:tailEnd/>
              </a14:hiddenLine>
            </a:ext>
          </a:extLst>
        </p:spPr>
        <p:txBody>
          <a:bodyPr tIns="0" rIns="0" bIns="0"/>
          <a:lstStyle>
            <a:lvl1pPr marL="0" indent="0">
              <a:lnSpc>
                <a:spcPct val="100000"/>
              </a:lnSpc>
              <a:spcBef>
                <a:spcPct val="0"/>
              </a:spcBef>
              <a:spcAft>
                <a:spcPct val="0"/>
              </a:spcAft>
              <a:buFontTx/>
              <a:buNone/>
              <a:defRPr/>
            </a:lvl1pPr>
          </a:lstStyle>
          <a:p>
            <a:pPr marL="0" indent="0">
              <a:lnSpc>
                <a:spcPct val="100000"/>
              </a:lnSpc>
              <a:spcBef>
                <a:spcPct val="0"/>
              </a:spcBef>
              <a:spcAft>
                <a:spcPct val="0"/>
              </a:spcAft>
              <a:buFontTx/>
              <a:buNone/>
              <a:defRPr/>
            </a:pPr>
            <a:r>
              <a:rPr lang="es-ES_tradnl" sz="3200" dirty="0">
                <a:solidFill>
                  <a:srgbClr val="00BDF2"/>
                </a:solidFill>
              </a:rPr>
              <a:t>Subtitulo va aquí</a:t>
            </a:r>
          </a:p>
        </p:txBody>
      </p:sp>
      <p:pic>
        <p:nvPicPr>
          <p:cNvPr id="9" name="Picture 8"/>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305360" y="4843463"/>
            <a:ext cx="4754651" cy="2307404"/>
          </a:xfrm>
          <a:prstGeom prst="rect">
            <a:avLst/>
          </a:prstGeom>
        </p:spPr>
      </p:pic>
    </p:spTree>
    <p:extLst>
      <p:ext uri="{BB962C8B-B14F-4D97-AF65-F5344CB8AC3E}">
        <p14:creationId xmlns:p14="http://schemas.microsoft.com/office/powerpoint/2010/main" val="1666748867"/>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Quote_Azul">
    <p:spTree>
      <p:nvGrpSpPr>
        <p:cNvPr id="1" name=""/>
        <p:cNvGrpSpPr/>
        <p:nvPr/>
      </p:nvGrpSpPr>
      <p:grpSpPr>
        <a:xfrm>
          <a:off x="0" y="0"/>
          <a:ext cx="0" cy="0"/>
          <a:chOff x="0" y="0"/>
          <a:chExt cx="0" cy="0"/>
        </a:xfrm>
      </p:grpSpPr>
      <p:sp>
        <p:nvSpPr>
          <p:cNvPr id="6" name="Rectangle 4"/>
          <p:cNvSpPr>
            <a:spLocks noChangeArrowheads="1"/>
          </p:cNvSpPr>
          <p:nvPr userDrawn="1"/>
        </p:nvSpPr>
        <p:spPr bwMode="auto">
          <a:xfrm>
            <a:off x="-24676" y="0"/>
            <a:ext cx="12192000" cy="6858000"/>
          </a:xfrm>
          <a:prstGeom prst="rect">
            <a:avLst/>
          </a:prstGeom>
          <a:solidFill>
            <a:srgbClr val="002D72"/>
          </a:solidFill>
          <a:ln w="12700">
            <a:solidFill>
              <a:schemeClr val="tx2"/>
            </a:solidFill>
            <a:round/>
            <a:headEnd/>
            <a:tailEnd/>
          </a:ln>
        </p:spPr>
        <p:txBody>
          <a:bodyPr wrap="none"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s-ES_tradnl" sz="2400" b="0" i="0" u="none" strike="noStrike" kern="1200" cap="none" spc="0" normalizeH="0" baseline="0" noProof="0">
              <a:ln>
                <a:noFill/>
              </a:ln>
              <a:solidFill>
                <a:srgbClr val="002D72"/>
              </a:solidFill>
              <a:effectLst/>
              <a:uLnTx/>
              <a:uFillTx/>
              <a:latin typeface="Arial" charset="0"/>
              <a:ea typeface="ＭＳ Ｐゴシック" charset="0"/>
            </a:endParaRPr>
          </a:p>
        </p:txBody>
      </p:sp>
      <p:grpSp>
        <p:nvGrpSpPr>
          <p:cNvPr id="7" name="Group 24"/>
          <p:cNvGrpSpPr>
            <a:grpSpLocks/>
          </p:cNvGrpSpPr>
          <p:nvPr userDrawn="1"/>
        </p:nvGrpSpPr>
        <p:grpSpPr bwMode="auto">
          <a:xfrm>
            <a:off x="490519" y="391003"/>
            <a:ext cx="1233216" cy="615424"/>
            <a:chOff x="-3315972" y="-924674"/>
            <a:chExt cx="6411831" cy="4278160"/>
          </a:xfrm>
          <a:solidFill>
            <a:schemeClr val="accent1"/>
          </a:solidFill>
        </p:grpSpPr>
        <p:sp>
          <p:nvSpPr>
            <p:cNvPr id="8" name="Trapezoid 21"/>
            <p:cNvSpPr>
              <a:spLocks/>
            </p:cNvSpPr>
            <p:nvPr/>
          </p:nvSpPr>
          <p:spPr bwMode="auto">
            <a:xfrm>
              <a:off x="-3315972"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53565A"/>
                </a:solidFill>
                <a:effectLst/>
                <a:uLnTx/>
                <a:uFillTx/>
                <a:latin typeface="Arial" charset="0"/>
                <a:ea typeface="ヒラギノ角ゴ Pro W3" charset="0"/>
                <a:cs typeface="ヒラギノ角ゴ Pro W3" charset="0"/>
              </a:endParaRPr>
            </a:p>
          </p:txBody>
        </p:sp>
        <p:sp>
          <p:nvSpPr>
            <p:cNvPr id="9" name="Trapezoid 21"/>
            <p:cNvSpPr>
              <a:spLocks/>
            </p:cNvSpPr>
            <p:nvPr/>
          </p:nvSpPr>
          <p:spPr bwMode="auto">
            <a:xfrm>
              <a:off x="839130"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53565A"/>
                </a:solidFill>
                <a:effectLst/>
                <a:uLnTx/>
                <a:uFillTx/>
                <a:latin typeface="Arial" charset="0"/>
                <a:ea typeface="ヒラギノ角ゴ Pro W3" charset="0"/>
                <a:cs typeface="ヒラギノ角ゴ Pro W3" charset="0"/>
              </a:endParaRPr>
            </a:p>
          </p:txBody>
        </p:sp>
      </p:grpSp>
      <p:grpSp>
        <p:nvGrpSpPr>
          <p:cNvPr id="10" name="Group 25"/>
          <p:cNvGrpSpPr>
            <a:grpSpLocks/>
          </p:cNvGrpSpPr>
          <p:nvPr userDrawn="1"/>
        </p:nvGrpSpPr>
        <p:grpSpPr bwMode="auto">
          <a:xfrm flipH="1" flipV="1">
            <a:off x="10549240" y="6005506"/>
            <a:ext cx="1233216" cy="615421"/>
            <a:chOff x="-3315972" y="-924674"/>
            <a:chExt cx="6411831" cy="4278160"/>
          </a:xfrm>
          <a:solidFill>
            <a:schemeClr val="accent1"/>
          </a:solidFill>
        </p:grpSpPr>
        <p:sp>
          <p:nvSpPr>
            <p:cNvPr id="11" name="Trapezoid 21"/>
            <p:cNvSpPr>
              <a:spLocks/>
            </p:cNvSpPr>
            <p:nvPr/>
          </p:nvSpPr>
          <p:spPr bwMode="auto">
            <a:xfrm>
              <a:off x="-3315972"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53565A"/>
                </a:solidFill>
                <a:effectLst/>
                <a:uLnTx/>
                <a:uFillTx/>
                <a:latin typeface="Arial" charset="0"/>
                <a:ea typeface="ヒラギノ角ゴ Pro W3" charset="0"/>
                <a:cs typeface="ヒラギノ角ゴ Pro W3" charset="0"/>
              </a:endParaRPr>
            </a:p>
          </p:txBody>
        </p:sp>
        <p:sp>
          <p:nvSpPr>
            <p:cNvPr id="12" name="Trapezoid 21"/>
            <p:cNvSpPr>
              <a:spLocks/>
            </p:cNvSpPr>
            <p:nvPr/>
          </p:nvSpPr>
          <p:spPr bwMode="auto">
            <a:xfrm>
              <a:off x="839130"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53565A"/>
                </a:solidFill>
                <a:effectLst/>
                <a:uLnTx/>
                <a:uFillTx/>
                <a:latin typeface="Arial" charset="0"/>
                <a:ea typeface="ヒラギノ角ゴ Pro W3" charset="0"/>
                <a:cs typeface="ヒラギノ角ゴ Pro W3" charset="0"/>
              </a:endParaRPr>
            </a:p>
          </p:txBody>
        </p:sp>
      </p:grpSp>
      <p:sp>
        <p:nvSpPr>
          <p:cNvPr id="24" name="Text Placeholder 23"/>
          <p:cNvSpPr>
            <a:spLocks noGrp="1"/>
          </p:cNvSpPr>
          <p:nvPr>
            <p:ph type="body" sz="quarter" idx="10"/>
          </p:nvPr>
        </p:nvSpPr>
        <p:spPr>
          <a:xfrm>
            <a:off x="2357968" y="1006427"/>
            <a:ext cx="8191273" cy="3686224"/>
          </a:xfrm>
        </p:spPr>
        <p:txBody>
          <a:bodyPr/>
          <a:lstStyle>
            <a:lvl1pPr marL="0" indent="0" algn="l">
              <a:buNone/>
              <a:defRPr sz="3600">
                <a:solidFill>
                  <a:schemeClr val="bg1"/>
                </a:solidFill>
              </a:defRPr>
            </a:lvl1pPr>
            <a:lvl2pPr marL="403225" indent="0" algn="l">
              <a:buNone/>
              <a:defRPr sz="3600">
                <a:solidFill>
                  <a:schemeClr val="bg1"/>
                </a:solidFill>
              </a:defRPr>
            </a:lvl2pPr>
            <a:lvl3pPr marL="747712" indent="0" algn="l">
              <a:buNone/>
              <a:defRPr sz="3600">
                <a:solidFill>
                  <a:schemeClr val="bg1"/>
                </a:solidFill>
              </a:defRPr>
            </a:lvl3pPr>
            <a:lvl4pPr marL="1089025" indent="0" algn="l">
              <a:buNone/>
              <a:defRPr sz="3600">
                <a:solidFill>
                  <a:schemeClr val="bg1"/>
                </a:solidFill>
              </a:defRPr>
            </a:lvl4pPr>
            <a:lvl5pPr marL="1427162" indent="0" algn="l">
              <a:buNone/>
              <a:defRPr sz="360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5" name="Text Placeholder 23"/>
          <p:cNvSpPr>
            <a:spLocks noGrp="1"/>
          </p:cNvSpPr>
          <p:nvPr>
            <p:ph type="body" sz="quarter" idx="11"/>
          </p:nvPr>
        </p:nvSpPr>
        <p:spPr>
          <a:xfrm>
            <a:off x="2357968" y="4944980"/>
            <a:ext cx="8191273" cy="1335504"/>
          </a:xfrm>
        </p:spPr>
        <p:txBody>
          <a:bodyPr/>
          <a:lstStyle>
            <a:lvl1pPr marL="0" indent="0" algn="l">
              <a:buNone/>
              <a:defRPr sz="2400">
                <a:solidFill>
                  <a:srgbClr val="00B3F0"/>
                </a:solidFill>
              </a:defRPr>
            </a:lvl1pPr>
            <a:lvl2pPr marL="403225" indent="0" algn="l">
              <a:buNone/>
              <a:defRPr sz="2400">
                <a:solidFill>
                  <a:srgbClr val="00B3F0"/>
                </a:solidFill>
              </a:defRPr>
            </a:lvl2pPr>
            <a:lvl3pPr marL="747712" indent="0" algn="l">
              <a:buNone/>
              <a:defRPr sz="2400">
                <a:solidFill>
                  <a:srgbClr val="00B3F0"/>
                </a:solidFill>
              </a:defRPr>
            </a:lvl3pPr>
            <a:lvl4pPr marL="1089025" indent="0" algn="l">
              <a:buNone/>
              <a:defRPr sz="2400">
                <a:solidFill>
                  <a:srgbClr val="00B3F0"/>
                </a:solidFill>
              </a:defRPr>
            </a:lvl4pPr>
            <a:lvl5pPr marL="1427162" indent="0" algn="l">
              <a:buNone/>
              <a:defRPr sz="2400">
                <a:solidFill>
                  <a:srgbClr val="00B3F0"/>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754309180"/>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Quote_BW">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pPr defTabSz="914400" fontAlgn="base">
              <a:spcBef>
                <a:spcPct val="0"/>
              </a:spcBef>
              <a:spcAft>
                <a:spcPct val="0"/>
              </a:spcAft>
              <a:defRPr/>
            </a:pPr>
            <a:fld id="{410BB04A-6CB2-A14D-B6AF-586C8C166ED7}" type="slidenum">
              <a:rPr lang="en-US" smtClean="0">
                <a:solidFill>
                  <a:srgbClr val="53565A"/>
                </a:solidFill>
                <a:ea typeface="ＭＳ Ｐゴシック" charset="0"/>
              </a:rPr>
              <a:pPr defTabSz="914400" fontAlgn="base">
                <a:spcBef>
                  <a:spcPct val="0"/>
                </a:spcBef>
                <a:spcAft>
                  <a:spcPct val="0"/>
                </a:spcAft>
                <a:defRPr/>
              </a:pPr>
              <a:t>‹#›</a:t>
            </a:fld>
            <a:endParaRPr lang="en-US">
              <a:solidFill>
                <a:srgbClr val="53565A"/>
              </a:solidFill>
              <a:ea typeface="ＭＳ Ｐゴシック" charset="0"/>
            </a:endParaRPr>
          </a:p>
        </p:txBody>
      </p:sp>
      <p:sp>
        <p:nvSpPr>
          <p:cNvPr id="4" name="Date Placeholder 3"/>
          <p:cNvSpPr>
            <a:spLocks noGrp="1"/>
          </p:cNvSpPr>
          <p:nvPr>
            <p:ph type="dt" sz="half" idx="11"/>
          </p:nvPr>
        </p:nvSpPr>
        <p:spPr/>
        <p:txBody>
          <a:bodyPr/>
          <a:lstStyle/>
          <a:p>
            <a:pPr defTabSz="914400" fontAlgn="base">
              <a:spcBef>
                <a:spcPct val="0"/>
              </a:spcBef>
              <a:spcAft>
                <a:spcPct val="0"/>
              </a:spcAft>
              <a:defRPr/>
            </a:pPr>
            <a:r>
              <a:rPr lang="en-US">
                <a:solidFill>
                  <a:srgbClr val="53565A"/>
                </a:solidFill>
              </a:rPr>
              <a:t>MM.DD.YY</a:t>
            </a:r>
          </a:p>
        </p:txBody>
      </p:sp>
      <p:sp>
        <p:nvSpPr>
          <p:cNvPr id="5" name="Footer Placeholder 4"/>
          <p:cNvSpPr>
            <a:spLocks noGrp="1"/>
          </p:cNvSpPr>
          <p:nvPr>
            <p:ph type="ftr" sz="quarter" idx="12"/>
          </p:nvPr>
        </p:nvSpPr>
        <p:spPr/>
        <p:txBody>
          <a:bodyPr/>
          <a:lstStyle/>
          <a:p>
            <a:pPr defTabSz="914400" fontAlgn="base">
              <a:spcBef>
                <a:spcPct val="0"/>
              </a:spcBef>
              <a:spcAft>
                <a:spcPct val="0"/>
              </a:spcAft>
              <a:defRPr/>
            </a:pPr>
            <a:r>
              <a:rPr lang="en-US">
                <a:solidFill>
                  <a:srgbClr val="53565A"/>
                </a:solidFill>
              </a:rPr>
              <a:t>Presentation Title</a:t>
            </a:r>
          </a:p>
        </p:txBody>
      </p:sp>
      <p:sp>
        <p:nvSpPr>
          <p:cNvPr id="13" name="Rectangle 6"/>
          <p:cNvSpPr txBox="1">
            <a:spLocks noChangeArrowheads="1"/>
          </p:cNvSpPr>
          <p:nvPr userDrawn="1"/>
        </p:nvSpPr>
        <p:spPr bwMode="black">
          <a:xfrm>
            <a:off x="2399967" y="1597945"/>
            <a:ext cx="7342716" cy="440756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accent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p:spPr>
        <p:txBody>
          <a:bodyPr lIns="0"/>
          <a:lstStyle>
            <a:lvl1pPr algn="ctr" eaLnBrk="0" hangingPunct="0">
              <a:defRPr sz="2400">
                <a:solidFill>
                  <a:schemeClr val="tx1"/>
                </a:solidFill>
                <a:latin typeface="Arial" charset="0"/>
                <a:ea typeface="ヒラギノ角ゴ Pro W3" charset="0"/>
              </a:defRPr>
            </a:lvl1pPr>
            <a:lvl2pPr marL="742950" indent="-285750" algn="ctr" eaLnBrk="0" hangingPunct="0">
              <a:defRPr sz="2400">
                <a:solidFill>
                  <a:schemeClr val="tx1"/>
                </a:solidFill>
                <a:latin typeface="Arial" charset="0"/>
                <a:ea typeface="ヒラギノ角ゴ Pro W3" charset="0"/>
              </a:defRPr>
            </a:lvl2pPr>
            <a:lvl3pPr marL="1143000" indent="-228600" algn="ctr" eaLnBrk="0" hangingPunct="0">
              <a:defRPr sz="2400">
                <a:solidFill>
                  <a:schemeClr val="tx1"/>
                </a:solidFill>
                <a:latin typeface="Arial" charset="0"/>
                <a:ea typeface="ヒラギノ角ゴ Pro W3" charset="0"/>
              </a:defRPr>
            </a:lvl3pPr>
            <a:lvl4pPr marL="1600200" indent="-228600" algn="ctr" eaLnBrk="0" hangingPunct="0">
              <a:defRPr sz="2400">
                <a:solidFill>
                  <a:schemeClr val="tx1"/>
                </a:solidFill>
                <a:latin typeface="Arial" charset="0"/>
                <a:ea typeface="ヒラギノ角ゴ Pro W3" charset="0"/>
              </a:defRPr>
            </a:lvl4pPr>
            <a:lvl5pPr marL="2057400" indent="-228600" algn="ctr" eaLnBrk="0" hangingPunct="0">
              <a:defRPr sz="2400">
                <a:solidFill>
                  <a:schemeClr val="tx1"/>
                </a:solidFill>
                <a:latin typeface="Arial" charset="0"/>
                <a:ea typeface="ヒラギノ角ゴ Pro W3" charset="0"/>
              </a:defRPr>
            </a:lvl5pPr>
            <a:lvl6pPr marL="2514600" indent="-228600" algn="ctr" eaLnBrk="0" fontAlgn="base" hangingPunct="0">
              <a:spcBef>
                <a:spcPct val="0"/>
              </a:spcBef>
              <a:spcAft>
                <a:spcPct val="0"/>
              </a:spcAft>
              <a:defRPr sz="2400">
                <a:solidFill>
                  <a:schemeClr val="tx1"/>
                </a:solidFill>
                <a:latin typeface="Arial" charset="0"/>
                <a:ea typeface="ヒラギノ角ゴ Pro W3" charset="0"/>
              </a:defRPr>
            </a:lvl6pPr>
            <a:lvl7pPr marL="2971800" indent="-228600" algn="ctr" eaLnBrk="0" fontAlgn="base" hangingPunct="0">
              <a:spcBef>
                <a:spcPct val="0"/>
              </a:spcBef>
              <a:spcAft>
                <a:spcPct val="0"/>
              </a:spcAft>
              <a:defRPr sz="2400">
                <a:solidFill>
                  <a:schemeClr val="tx1"/>
                </a:solidFill>
                <a:latin typeface="Arial" charset="0"/>
                <a:ea typeface="ヒラギノ角ゴ Pro W3" charset="0"/>
              </a:defRPr>
            </a:lvl7pPr>
            <a:lvl8pPr marL="3429000" indent="-228600" algn="ctr" eaLnBrk="0" fontAlgn="base" hangingPunct="0">
              <a:spcBef>
                <a:spcPct val="0"/>
              </a:spcBef>
              <a:spcAft>
                <a:spcPct val="0"/>
              </a:spcAft>
              <a:defRPr sz="2400">
                <a:solidFill>
                  <a:schemeClr val="tx1"/>
                </a:solidFill>
                <a:latin typeface="Arial" charset="0"/>
                <a:ea typeface="ヒラギノ角ゴ Pro W3" charset="0"/>
              </a:defRPr>
            </a:lvl8pPr>
            <a:lvl9pPr marL="3886200" indent="-228600" algn="ctr" eaLnBrk="0" fontAlgn="base" hangingPunct="0">
              <a:spcBef>
                <a:spcPct val="0"/>
              </a:spcBef>
              <a:spcAft>
                <a:spcPct val="0"/>
              </a:spcAft>
              <a:defRPr sz="2400">
                <a:solidFill>
                  <a:schemeClr val="tx1"/>
                </a:solidFill>
                <a:latin typeface="Arial" charset="0"/>
                <a:ea typeface="ヒラギノ角ゴ Pro W3" charset="0"/>
              </a:defRPr>
            </a:lvl9pPr>
          </a:lstStyle>
          <a:p>
            <a:pPr marL="0" marR="0" lvl="0" indent="0" algn="l" defTabSz="914400" rtl="0" eaLnBrk="1" fontAlgn="base" latinLnBrk="0" hangingPunct="1">
              <a:lnSpc>
                <a:spcPct val="95000"/>
              </a:lnSpc>
              <a:spcBef>
                <a:spcPct val="75000"/>
              </a:spcBef>
              <a:spcAft>
                <a:spcPct val="20000"/>
              </a:spcAft>
              <a:buClrTx/>
              <a:buSzTx/>
              <a:buFontTx/>
              <a:buNone/>
              <a:tabLst/>
              <a:defRPr/>
            </a:pPr>
            <a:r>
              <a:rPr kumimoji="0" lang="es-ES_tradnl" sz="3600" b="0" i="0" u="none" strike="noStrike" kern="1200" cap="none" spc="0" normalizeH="0" baseline="0" noProof="0" dirty="0">
                <a:ln>
                  <a:noFill/>
                </a:ln>
                <a:solidFill>
                  <a:srgbClr val="FFFFFF"/>
                </a:solidFill>
                <a:effectLst/>
                <a:uLnTx/>
                <a:uFillTx/>
                <a:latin typeface="Arial" charset="0"/>
                <a:ea typeface="Arial" charset="0"/>
                <a:cs typeface="Geneva" charset="0"/>
              </a:rPr>
              <a:t>Una cita puede ser colocada aquí. Una gran hoja sirve de transición </a:t>
            </a:r>
            <a:br>
              <a:rPr kumimoji="0" lang="es-ES_tradnl" sz="3600" b="0" i="0" u="none" strike="noStrike" kern="1200" cap="none" spc="0" normalizeH="0" baseline="0" noProof="0" dirty="0">
                <a:ln>
                  <a:noFill/>
                </a:ln>
                <a:solidFill>
                  <a:srgbClr val="FFFFFF"/>
                </a:solidFill>
                <a:effectLst/>
                <a:uLnTx/>
                <a:uFillTx/>
                <a:latin typeface="Arial" charset="0"/>
                <a:ea typeface="Arial" charset="0"/>
                <a:cs typeface="Geneva" charset="0"/>
              </a:rPr>
            </a:br>
            <a:r>
              <a:rPr kumimoji="0" lang="es-ES_tradnl" sz="3600" b="0" i="0" u="none" strike="noStrike" kern="1200" cap="none" spc="0" normalizeH="0" baseline="0" noProof="0" dirty="0">
                <a:ln>
                  <a:noFill/>
                </a:ln>
                <a:solidFill>
                  <a:srgbClr val="FFFFFF"/>
                </a:solidFill>
                <a:effectLst/>
                <a:uLnTx/>
                <a:uFillTx/>
                <a:latin typeface="Arial" charset="0"/>
                <a:ea typeface="Arial" charset="0"/>
                <a:cs typeface="Geneva" charset="0"/>
              </a:rPr>
              <a:t>y crea una pausa para tus clientes para digerir mejor la información. </a:t>
            </a:r>
          </a:p>
          <a:p>
            <a:pPr marL="0" marR="0" lvl="0" indent="0" algn="l" defTabSz="914400" rtl="0" eaLnBrk="1" fontAlgn="base" latinLnBrk="0" hangingPunct="1">
              <a:lnSpc>
                <a:spcPct val="95000"/>
              </a:lnSpc>
              <a:spcBef>
                <a:spcPct val="75000"/>
              </a:spcBef>
              <a:spcAft>
                <a:spcPct val="20000"/>
              </a:spcAft>
              <a:buClrTx/>
              <a:buSzTx/>
              <a:buFontTx/>
              <a:buNone/>
              <a:tabLst/>
              <a:defRPr/>
            </a:pPr>
            <a:r>
              <a:rPr kumimoji="0" lang="es-ES_tradnl" sz="2000" b="0" i="0" u="none" strike="noStrike" kern="1200" cap="none" spc="0" normalizeH="0" baseline="0" noProof="0" dirty="0">
                <a:ln>
                  <a:noFill/>
                </a:ln>
                <a:solidFill>
                  <a:srgbClr val="00BDF2"/>
                </a:solidFill>
                <a:effectLst/>
                <a:uLnTx/>
                <a:uFillTx/>
                <a:latin typeface="Arial" charset="0"/>
                <a:ea typeface="Arial" charset="0"/>
                <a:cs typeface="Geneva" charset="0"/>
              </a:rPr>
              <a:t>Aquí van los </a:t>
            </a:r>
            <a:r>
              <a:rPr kumimoji="0" lang="es-ES_tradnl" sz="2000" b="0" i="0" u="none" strike="noStrike" kern="1200" cap="none" spc="0" normalizeH="0" baseline="0" noProof="0" dirty="0" err="1">
                <a:ln>
                  <a:noFill/>
                </a:ln>
                <a:solidFill>
                  <a:srgbClr val="00BDF2"/>
                </a:solidFill>
                <a:effectLst/>
                <a:uLnTx/>
                <a:uFillTx/>
                <a:latin typeface="Arial" charset="0"/>
                <a:ea typeface="Arial" charset="0"/>
                <a:cs typeface="Geneva" charset="0"/>
              </a:rPr>
              <a:t>creditos</a:t>
            </a:r>
            <a:r>
              <a:rPr kumimoji="0" lang="es-ES_tradnl" sz="2000" b="0" i="0" u="none" strike="noStrike" kern="1200" cap="none" spc="0" normalizeH="0" baseline="0" noProof="0" dirty="0">
                <a:ln>
                  <a:noFill/>
                </a:ln>
                <a:solidFill>
                  <a:srgbClr val="00BDF2"/>
                </a:solidFill>
                <a:effectLst/>
                <a:uLnTx/>
                <a:uFillTx/>
                <a:latin typeface="Arial" charset="0"/>
                <a:ea typeface="Arial" charset="0"/>
                <a:cs typeface="Geneva" charset="0"/>
              </a:rPr>
              <a:t> de la cita; </a:t>
            </a:r>
            <a:r>
              <a:rPr kumimoji="0" lang="es-ES_tradnl" sz="2000" b="0" i="0" u="none" strike="noStrike" kern="1200" cap="none" spc="0" normalizeH="0" baseline="0" noProof="0" dirty="0" err="1">
                <a:ln>
                  <a:noFill/>
                </a:ln>
                <a:solidFill>
                  <a:srgbClr val="00BDF2"/>
                </a:solidFill>
                <a:effectLst/>
                <a:uLnTx/>
                <a:uFillTx/>
                <a:latin typeface="Arial" charset="0"/>
                <a:ea typeface="Arial" charset="0"/>
                <a:cs typeface="Geneva" charset="0"/>
              </a:rPr>
              <a:t>lorem</a:t>
            </a:r>
            <a:r>
              <a:rPr kumimoji="0" lang="es-ES_tradnl" sz="2000" b="0" i="0" u="none" strike="noStrike" kern="1200" cap="none" spc="0" normalizeH="0" baseline="0" noProof="0" dirty="0">
                <a:ln>
                  <a:noFill/>
                </a:ln>
                <a:solidFill>
                  <a:srgbClr val="00BDF2"/>
                </a:solidFill>
                <a:effectLst/>
                <a:uLnTx/>
                <a:uFillTx/>
                <a:latin typeface="Arial" charset="0"/>
                <a:ea typeface="Arial" charset="0"/>
                <a:cs typeface="Geneva" charset="0"/>
              </a:rPr>
              <a:t> </a:t>
            </a:r>
            <a:r>
              <a:rPr kumimoji="0" lang="es-ES_tradnl" sz="2000" b="0" i="0" u="none" strike="noStrike" kern="1200" cap="none" spc="0" normalizeH="0" baseline="0" noProof="0" dirty="0" err="1">
                <a:ln>
                  <a:noFill/>
                </a:ln>
                <a:solidFill>
                  <a:srgbClr val="00BDF2"/>
                </a:solidFill>
                <a:effectLst/>
                <a:uLnTx/>
                <a:uFillTx/>
                <a:latin typeface="Arial" charset="0"/>
                <a:ea typeface="Arial" charset="0"/>
                <a:cs typeface="Geneva" charset="0"/>
              </a:rPr>
              <a:t>ipsum</a:t>
            </a:r>
            <a:r>
              <a:rPr kumimoji="0" lang="es-ES_tradnl" sz="2000" b="0" i="0" u="none" strike="noStrike" kern="1200" cap="none" spc="0" normalizeH="0" baseline="0" noProof="0" dirty="0">
                <a:ln>
                  <a:noFill/>
                </a:ln>
                <a:solidFill>
                  <a:srgbClr val="00BDF2"/>
                </a:solidFill>
                <a:effectLst/>
                <a:uLnTx/>
                <a:uFillTx/>
                <a:latin typeface="Arial" charset="0"/>
                <a:ea typeface="Arial" charset="0"/>
                <a:cs typeface="Geneva" charset="0"/>
              </a:rPr>
              <a:t> dolor </a:t>
            </a:r>
            <a:r>
              <a:rPr kumimoji="0" lang="es-ES_tradnl" sz="2000" b="0" i="0" u="none" strike="noStrike" kern="1200" cap="none" spc="0" normalizeH="0" baseline="0" noProof="0" dirty="0" err="1">
                <a:ln>
                  <a:noFill/>
                </a:ln>
                <a:solidFill>
                  <a:srgbClr val="00BDF2"/>
                </a:solidFill>
                <a:effectLst/>
                <a:uLnTx/>
                <a:uFillTx/>
                <a:latin typeface="Arial" charset="0"/>
                <a:ea typeface="Arial" charset="0"/>
                <a:cs typeface="Geneva" charset="0"/>
              </a:rPr>
              <a:t>sit</a:t>
            </a:r>
            <a:r>
              <a:rPr kumimoji="0" lang="es-ES_tradnl" sz="2000" b="0" i="0" u="none" strike="noStrike" kern="1200" cap="none" spc="0" normalizeH="0" baseline="0" noProof="0" dirty="0">
                <a:ln>
                  <a:noFill/>
                </a:ln>
                <a:solidFill>
                  <a:srgbClr val="00BDF2"/>
                </a:solidFill>
                <a:effectLst/>
                <a:uLnTx/>
                <a:uFillTx/>
                <a:latin typeface="Arial" charset="0"/>
                <a:ea typeface="Arial" charset="0"/>
                <a:cs typeface="Geneva" charset="0"/>
              </a:rPr>
              <a:t> </a:t>
            </a:r>
            <a:r>
              <a:rPr kumimoji="0" lang="es-ES_tradnl" sz="2000" b="0" i="0" u="none" strike="noStrike" kern="1200" cap="none" spc="0" normalizeH="0" baseline="0" noProof="0" dirty="0" err="1">
                <a:ln>
                  <a:noFill/>
                </a:ln>
                <a:solidFill>
                  <a:srgbClr val="00BDF2"/>
                </a:solidFill>
                <a:effectLst/>
                <a:uLnTx/>
                <a:uFillTx/>
                <a:latin typeface="Arial" charset="0"/>
                <a:ea typeface="Arial" charset="0"/>
                <a:cs typeface="Geneva" charset="0"/>
              </a:rPr>
              <a:t>amet</a:t>
            </a:r>
            <a:r>
              <a:rPr kumimoji="0" lang="es-ES_tradnl" sz="2000" b="0" i="0" u="none" strike="noStrike" kern="1200" cap="none" spc="0" normalizeH="0" baseline="0" noProof="0" dirty="0">
                <a:ln>
                  <a:noFill/>
                </a:ln>
                <a:solidFill>
                  <a:srgbClr val="00BDF2"/>
                </a:solidFill>
                <a:effectLst/>
                <a:uLnTx/>
                <a:uFillTx/>
                <a:latin typeface="Arial" charset="0"/>
                <a:ea typeface="Arial" charset="0"/>
                <a:cs typeface="Geneva" charset="0"/>
              </a:rPr>
              <a:t> </a:t>
            </a:r>
            <a:r>
              <a:rPr kumimoji="0" lang="es-ES_tradnl" sz="2000" b="0" i="0" u="none" strike="noStrike" kern="1200" cap="none" spc="0" normalizeH="0" baseline="0" noProof="0" dirty="0" err="1">
                <a:ln>
                  <a:noFill/>
                </a:ln>
                <a:solidFill>
                  <a:srgbClr val="00BDF2"/>
                </a:solidFill>
                <a:effectLst/>
                <a:uLnTx/>
                <a:uFillTx/>
                <a:latin typeface="Arial" charset="0"/>
                <a:ea typeface="Arial" charset="0"/>
                <a:cs typeface="Geneva" charset="0"/>
              </a:rPr>
              <a:t>consectetur</a:t>
            </a:r>
            <a:r>
              <a:rPr kumimoji="0" lang="es-ES_tradnl" sz="2000" b="0" i="0" u="none" strike="noStrike" kern="1200" cap="none" spc="0" normalizeH="0" baseline="0" noProof="0" dirty="0">
                <a:ln>
                  <a:noFill/>
                </a:ln>
                <a:solidFill>
                  <a:srgbClr val="00BDF2"/>
                </a:solidFill>
                <a:effectLst/>
                <a:uLnTx/>
                <a:uFillTx/>
                <a:latin typeface="Arial" charset="0"/>
                <a:ea typeface="Arial" charset="0"/>
                <a:cs typeface="Geneva" charset="0"/>
              </a:rPr>
              <a:t> </a:t>
            </a:r>
            <a:r>
              <a:rPr kumimoji="0" lang="es-ES_tradnl" sz="2000" b="0" i="0" u="none" strike="noStrike" kern="1200" cap="none" spc="0" normalizeH="0" baseline="0" noProof="0" dirty="0" err="1">
                <a:ln>
                  <a:noFill/>
                </a:ln>
                <a:solidFill>
                  <a:srgbClr val="00BDF2"/>
                </a:solidFill>
                <a:effectLst/>
                <a:uLnTx/>
                <a:uFillTx/>
                <a:latin typeface="Arial" charset="0"/>
                <a:ea typeface="Arial" charset="0"/>
                <a:cs typeface="Geneva" charset="0"/>
              </a:rPr>
              <a:t>adipiscing</a:t>
            </a:r>
            <a:r>
              <a:rPr kumimoji="0" lang="es-ES_tradnl" sz="2000" b="0" i="0" u="none" strike="noStrike" kern="1200" cap="none" spc="0" normalizeH="0" baseline="0" noProof="0" dirty="0">
                <a:ln>
                  <a:noFill/>
                </a:ln>
                <a:solidFill>
                  <a:srgbClr val="00BDF2"/>
                </a:solidFill>
                <a:effectLst/>
                <a:uLnTx/>
                <a:uFillTx/>
                <a:latin typeface="Arial" charset="0"/>
                <a:ea typeface="Arial" charset="0"/>
                <a:cs typeface="Geneva" charset="0"/>
              </a:rPr>
              <a:t>.</a:t>
            </a:r>
          </a:p>
        </p:txBody>
      </p:sp>
      <p:pic>
        <p:nvPicPr>
          <p:cNvPr id="14" name="Picture 13"/>
          <p:cNvPicPr>
            <a:picLocks noChangeAspect="1"/>
          </p:cNvPicPr>
          <p:nvPr userDrawn="1"/>
        </p:nvPicPr>
        <p:blipFill>
          <a:blip r:embed="rId2"/>
          <a:stretch>
            <a:fillRect/>
          </a:stretch>
        </p:blipFill>
        <p:spPr>
          <a:xfrm>
            <a:off x="-36662" y="-37910"/>
            <a:ext cx="12304487" cy="6924341"/>
          </a:xfrm>
          <a:prstGeom prst="rect">
            <a:avLst/>
          </a:prstGeom>
        </p:spPr>
      </p:pic>
      <p:grpSp>
        <p:nvGrpSpPr>
          <p:cNvPr id="15" name="Group 24"/>
          <p:cNvGrpSpPr>
            <a:grpSpLocks/>
          </p:cNvGrpSpPr>
          <p:nvPr userDrawn="1"/>
        </p:nvGrpSpPr>
        <p:grpSpPr bwMode="auto">
          <a:xfrm>
            <a:off x="490519" y="391003"/>
            <a:ext cx="1233216" cy="615424"/>
            <a:chOff x="-3315972" y="-924674"/>
            <a:chExt cx="6411831" cy="4278160"/>
          </a:xfrm>
          <a:solidFill>
            <a:schemeClr val="bg1"/>
          </a:solidFill>
        </p:grpSpPr>
        <p:sp>
          <p:nvSpPr>
            <p:cNvPr id="16" name="Trapezoid 21"/>
            <p:cNvSpPr>
              <a:spLocks/>
            </p:cNvSpPr>
            <p:nvPr/>
          </p:nvSpPr>
          <p:spPr bwMode="auto">
            <a:xfrm>
              <a:off x="-3315972"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53565A"/>
                </a:solidFill>
                <a:effectLst/>
                <a:uLnTx/>
                <a:uFillTx/>
                <a:latin typeface="Arial" charset="0"/>
                <a:ea typeface="ヒラギノ角ゴ Pro W3" charset="0"/>
                <a:cs typeface="ヒラギノ角ゴ Pro W3" charset="0"/>
              </a:endParaRPr>
            </a:p>
          </p:txBody>
        </p:sp>
        <p:sp>
          <p:nvSpPr>
            <p:cNvPr id="17" name="Trapezoid 21"/>
            <p:cNvSpPr>
              <a:spLocks/>
            </p:cNvSpPr>
            <p:nvPr/>
          </p:nvSpPr>
          <p:spPr bwMode="auto">
            <a:xfrm>
              <a:off x="839130"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53565A"/>
                </a:solidFill>
                <a:effectLst/>
                <a:uLnTx/>
                <a:uFillTx/>
                <a:latin typeface="Arial" charset="0"/>
                <a:ea typeface="ヒラギノ角ゴ Pro W3" charset="0"/>
                <a:cs typeface="ヒラギノ角ゴ Pro W3" charset="0"/>
              </a:endParaRPr>
            </a:p>
          </p:txBody>
        </p:sp>
      </p:grpSp>
      <p:grpSp>
        <p:nvGrpSpPr>
          <p:cNvPr id="18" name="Group 25"/>
          <p:cNvGrpSpPr>
            <a:grpSpLocks/>
          </p:cNvGrpSpPr>
          <p:nvPr userDrawn="1"/>
        </p:nvGrpSpPr>
        <p:grpSpPr bwMode="auto">
          <a:xfrm flipH="1" flipV="1">
            <a:off x="10549240" y="6005506"/>
            <a:ext cx="1233216" cy="615421"/>
            <a:chOff x="-3315972" y="-924674"/>
            <a:chExt cx="6411831" cy="4278160"/>
          </a:xfrm>
          <a:solidFill>
            <a:schemeClr val="bg1"/>
          </a:solidFill>
        </p:grpSpPr>
        <p:sp>
          <p:nvSpPr>
            <p:cNvPr id="19" name="Trapezoid 21"/>
            <p:cNvSpPr>
              <a:spLocks/>
            </p:cNvSpPr>
            <p:nvPr/>
          </p:nvSpPr>
          <p:spPr bwMode="auto">
            <a:xfrm>
              <a:off x="-3315972"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53565A"/>
                </a:solidFill>
                <a:effectLst/>
                <a:uLnTx/>
                <a:uFillTx/>
                <a:latin typeface="Arial" charset="0"/>
                <a:ea typeface="ヒラギノ角ゴ Pro W3" charset="0"/>
                <a:cs typeface="ヒラギノ角ゴ Pro W3" charset="0"/>
              </a:endParaRPr>
            </a:p>
          </p:txBody>
        </p:sp>
        <p:sp>
          <p:nvSpPr>
            <p:cNvPr id="20" name="Trapezoid 21"/>
            <p:cNvSpPr>
              <a:spLocks/>
            </p:cNvSpPr>
            <p:nvPr/>
          </p:nvSpPr>
          <p:spPr bwMode="auto">
            <a:xfrm>
              <a:off x="839130"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53565A"/>
                </a:solidFill>
                <a:effectLst/>
                <a:uLnTx/>
                <a:uFillTx/>
                <a:latin typeface="Arial" charset="0"/>
                <a:ea typeface="ヒラギノ角ゴ Pro W3" charset="0"/>
                <a:cs typeface="ヒラギノ角ゴ Pro W3" charset="0"/>
              </a:endParaRPr>
            </a:p>
          </p:txBody>
        </p:sp>
      </p:grpSp>
      <p:sp>
        <p:nvSpPr>
          <p:cNvPr id="21" name="Text Placeholder 23"/>
          <p:cNvSpPr>
            <a:spLocks noGrp="1"/>
          </p:cNvSpPr>
          <p:nvPr>
            <p:ph type="body" sz="quarter" idx="13"/>
          </p:nvPr>
        </p:nvSpPr>
        <p:spPr>
          <a:xfrm>
            <a:off x="2357968" y="1006427"/>
            <a:ext cx="8191273" cy="3686224"/>
          </a:xfrm>
        </p:spPr>
        <p:txBody>
          <a:bodyPr/>
          <a:lstStyle>
            <a:lvl1pPr marL="0" indent="0" algn="l">
              <a:buNone/>
              <a:defRPr sz="3600">
                <a:solidFill>
                  <a:schemeClr val="bg1"/>
                </a:solidFill>
              </a:defRPr>
            </a:lvl1pPr>
            <a:lvl2pPr marL="403225" indent="0" algn="l">
              <a:buNone/>
              <a:defRPr sz="3600">
                <a:solidFill>
                  <a:schemeClr val="bg1"/>
                </a:solidFill>
              </a:defRPr>
            </a:lvl2pPr>
            <a:lvl3pPr marL="747712" indent="0" algn="l">
              <a:buNone/>
              <a:defRPr sz="3600">
                <a:solidFill>
                  <a:schemeClr val="bg1"/>
                </a:solidFill>
              </a:defRPr>
            </a:lvl3pPr>
            <a:lvl4pPr marL="1089025" indent="0" algn="l">
              <a:buNone/>
              <a:defRPr sz="3600">
                <a:solidFill>
                  <a:schemeClr val="bg1"/>
                </a:solidFill>
              </a:defRPr>
            </a:lvl4pPr>
            <a:lvl5pPr marL="1427162" indent="0" algn="l">
              <a:buNone/>
              <a:defRPr sz="360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ext Placeholder 23"/>
          <p:cNvSpPr>
            <a:spLocks noGrp="1"/>
          </p:cNvSpPr>
          <p:nvPr>
            <p:ph type="body" sz="quarter" idx="14"/>
          </p:nvPr>
        </p:nvSpPr>
        <p:spPr>
          <a:xfrm>
            <a:off x="2357968" y="4944980"/>
            <a:ext cx="8191273" cy="1335504"/>
          </a:xfrm>
        </p:spPr>
        <p:txBody>
          <a:bodyPr/>
          <a:lstStyle>
            <a:lvl1pPr marL="0" indent="0" algn="l">
              <a:buNone/>
              <a:defRPr sz="2400">
                <a:solidFill>
                  <a:srgbClr val="00B3F0"/>
                </a:solidFill>
              </a:defRPr>
            </a:lvl1pPr>
            <a:lvl2pPr marL="403225" indent="0" algn="l">
              <a:buNone/>
              <a:defRPr sz="2400">
                <a:solidFill>
                  <a:srgbClr val="00B3F0"/>
                </a:solidFill>
              </a:defRPr>
            </a:lvl2pPr>
            <a:lvl3pPr marL="747712" indent="0" algn="l">
              <a:buNone/>
              <a:defRPr sz="2400">
                <a:solidFill>
                  <a:srgbClr val="00B3F0"/>
                </a:solidFill>
              </a:defRPr>
            </a:lvl3pPr>
            <a:lvl4pPr marL="1089025" indent="0" algn="l">
              <a:buNone/>
              <a:defRPr sz="2400">
                <a:solidFill>
                  <a:srgbClr val="00B3F0"/>
                </a:solidFill>
              </a:defRPr>
            </a:lvl4pPr>
            <a:lvl5pPr marL="1427162" indent="0" algn="l">
              <a:buNone/>
              <a:defRPr sz="2400">
                <a:solidFill>
                  <a:srgbClr val="00B3F0"/>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741850851"/>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IMAGEN FULL">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pPr defTabSz="914400" fontAlgn="base">
              <a:spcBef>
                <a:spcPct val="0"/>
              </a:spcBef>
              <a:spcAft>
                <a:spcPct val="0"/>
              </a:spcAft>
              <a:defRPr/>
            </a:pPr>
            <a:fld id="{410BB04A-6CB2-A14D-B6AF-586C8C166ED7}" type="slidenum">
              <a:rPr lang="en-US" smtClean="0">
                <a:solidFill>
                  <a:srgbClr val="53565A"/>
                </a:solidFill>
                <a:ea typeface="ＭＳ Ｐゴシック" charset="0"/>
              </a:rPr>
              <a:pPr defTabSz="914400" fontAlgn="base">
                <a:spcBef>
                  <a:spcPct val="0"/>
                </a:spcBef>
                <a:spcAft>
                  <a:spcPct val="0"/>
                </a:spcAft>
                <a:defRPr/>
              </a:pPr>
              <a:t>‹#›</a:t>
            </a:fld>
            <a:endParaRPr lang="en-US">
              <a:solidFill>
                <a:srgbClr val="53565A"/>
              </a:solidFill>
              <a:ea typeface="ＭＳ Ｐゴシック" charset="0"/>
            </a:endParaRPr>
          </a:p>
        </p:txBody>
      </p:sp>
      <p:sp>
        <p:nvSpPr>
          <p:cNvPr id="4" name="Date Placeholder 3"/>
          <p:cNvSpPr>
            <a:spLocks noGrp="1"/>
          </p:cNvSpPr>
          <p:nvPr>
            <p:ph type="dt" sz="half" idx="11"/>
          </p:nvPr>
        </p:nvSpPr>
        <p:spPr/>
        <p:txBody>
          <a:bodyPr/>
          <a:lstStyle/>
          <a:p>
            <a:pPr defTabSz="914400" fontAlgn="base">
              <a:spcBef>
                <a:spcPct val="0"/>
              </a:spcBef>
              <a:spcAft>
                <a:spcPct val="0"/>
              </a:spcAft>
              <a:defRPr/>
            </a:pPr>
            <a:r>
              <a:rPr lang="en-US">
                <a:solidFill>
                  <a:srgbClr val="53565A"/>
                </a:solidFill>
              </a:rPr>
              <a:t>MM.DD.YY</a:t>
            </a:r>
          </a:p>
        </p:txBody>
      </p:sp>
      <p:sp>
        <p:nvSpPr>
          <p:cNvPr id="5" name="Footer Placeholder 4"/>
          <p:cNvSpPr>
            <a:spLocks noGrp="1"/>
          </p:cNvSpPr>
          <p:nvPr>
            <p:ph type="ftr" sz="quarter" idx="12"/>
          </p:nvPr>
        </p:nvSpPr>
        <p:spPr/>
        <p:txBody>
          <a:bodyPr/>
          <a:lstStyle/>
          <a:p>
            <a:pPr defTabSz="914400" fontAlgn="base">
              <a:spcBef>
                <a:spcPct val="0"/>
              </a:spcBef>
              <a:spcAft>
                <a:spcPct val="0"/>
              </a:spcAft>
              <a:defRPr/>
            </a:pPr>
            <a:r>
              <a:rPr lang="en-US">
                <a:solidFill>
                  <a:srgbClr val="53565A"/>
                </a:solidFill>
              </a:rPr>
              <a:t>Presentation Title</a:t>
            </a:r>
          </a:p>
        </p:txBody>
      </p:sp>
      <p:sp>
        <p:nvSpPr>
          <p:cNvPr id="10" name="Picture Placeholder 9"/>
          <p:cNvSpPr>
            <a:spLocks noGrp="1"/>
          </p:cNvSpPr>
          <p:nvPr>
            <p:ph type="pic" sz="quarter" idx="13"/>
          </p:nvPr>
        </p:nvSpPr>
        <p:spPr>
          <a:xfrm>
            <a:off x="0" y="0"/>
            <a:ext cx="12192000" cy="6858000"/>
          </a:xfrm>
        </p:spPr>
        <p:txBody>
          <a:bodyPr/>
          <a:lstStyle/>
          <a:p>
            <a:endParaRPr lang="en-US" dirty="0"/>
          </a:p>
        </p:txBody>
      </p:sp>
      <p:sp>
        <p:nvSpPr>
          <p:cNvPr id="24" name="Rounded Rectangle 23"/>
          <p:cNvSpPr/>
          <p:nvPr userDrawn="1"/>
        </p:nvSpPr>
        <p:spPr bwMode="auto">
          <a:xfrm>
            <a:off x="-288757" y="234065"/>
            <a:ext cx="12199241" cy="1342366"/>
          </a:xfrm>
          <a:prstGeom prst="roundRect">
            <a:avLst/>
          </a:prstGeom>
          <a:solidFill>
            <a:schemeClr val="bg1">
              <a:alpha val="30000"/>
            </a:schemeClr>
          </a:solidFill>
          <a:ln w="12700" cap="flat" cmpd="sng" algn="ctr">
            <a:no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txBody>
          <a:bodyPr vert="horz" wrap="none" lIns="91440" tIns="45720" rIns="9144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charset="0"/>
              <a:ea typeface="Geneva" charset="0"/>
            </a:endParaRPr>
          </a:p>
        </p:txBody>
      </p:sp>
      <p:sp>
        <p:nvSpPr>
          <p:cNvPr id="26" name="Text Placeholder 14"/>
          <p:cNvSpPr>
            <a:spLocks noGrp="1"/>
          </p:cNvSpPr>
          <p:nvPr>
            <p:ph type="body" sz="quarter" idx="14"/>
          </p:nvPr>
        </p:nvSpPr>
        <p:spPr>
          <a:xfrm>
            <a:off x="795868" y="411957"/>
            <a:ext cx="11114617" cy="418223"/>
          </a:xfrm>
        </p:spPr>
        <p:txBody>
          <a:bodyPr/>
          <a:lstStyle>
            <a:lvl1pPr marL="0" indent="0">
              <a:buNone/>
              <a:defRPr sz="2400">
                <a:solidFill>
                  <a:srgbClr val="004785"/>
                </a:solidFill>
              </a:defRPr>
            </a:lvl1pPr>
            <a:lvl2pPr marL="403225" indent="0">
              <a:buNone/>
              <a:defRPr sz="2400">
                <a:solidFill>
                  <a:srgbClr val="004785"/>
                </a:solidFill>
              </a:defRPr>
            </a:lvl2pPr>
            <a:lvl3pPr marL="747712" indent="0">
              <a:buNone/>
              <a:defRPr sz="2400">
                <a:solidFill>
                  <a:srgbClr val="004785"/>
                </a:solidFill>
              </a:defRPr>
            </a:lvl3pPr>
            <a:lvl4pPr marL="1089025" indent="0">
              <a:buNone/>
              <a:defRPr sz="2400">
                <a:solidFill>
                  <a:srgbClr val="004785"/>
                </a:solidFill>
              </a:defRPr>
            </a:lvl4pPr>
            <a:lvl5pPr marL="1427162" indent="0">
              <a:buNone/>
              <a:defRPr sz="2400">
                <a:solidFill>
                  <a:srgbClr val="004785"/>
                </a:solidFill>
              </a:defRPr>
            </a:lvl5pPr>
          </a:lstStyle>
          <a:p>
            <a:pPr lvl="0"/>
            <a:r>
              <a:rPr lang="en-US" dirty="0"/>
              <a:t>Click to edit Master text styles</a:t>
            </a:r>
          </a:p>
        </p:txBody>
      </p:sp>
      <p:sp>
        <p:nvSpPr>
          <p:cNvPr id="27" name="Text Placeholder 14"/>
          <p:cNvSpPr>
            <a:spLocks noGrp="1"/>
          </p:cNvSpPr>
          <p:nvPr>
            <p:ph type="body" sz="quarter" idx="15"/>
          </p:nvPr>
        </p:nvSpPr>
        <p:spPr>
          <a:xfrm>
            <a:off x="795868" y="905249"/>
            <a:ext cx="11114617" cy="418223"/>
          </a:xfrm>
        </p:spPr>
        <p:txBody>
          <a:bodyPr/>
          <a:lstStyle>
            <a:lvl1pPr marL="0" indent="0">
              <a:buNone/>
              <a:defRPr sz="2400">
                <a:solidFill>
                  <a:srgbClr val="00B3F0"/>
                </a:solidFill>
              </a:defRPr>
            </a:lvl1pPr>
            <a:lvl2pPr marL="403225" indent="0">
              <a:buNone/>
              <a:defRPr sz="2400">
                <a:solidFill>
                  <a:srgbClr val="004785"/>
                </a:solidFill>
              </a:defRPr>
            </a:lvl2pPr>
            <a:lvl3pPr marL="747712" indent="0">
              <a:buNone/>
              <a:defRPr sz="2400">
                <a:solidFill>
                  <a:srgbClr val="004785"/>
                </a:solidFill>
              </a:defRPr>
            </a:lvl3pPr>
            <a:lvl4pPr marL="1089025" indent="0">
              <a:buNone/>
              <a:defRPr sz="2400">
                <a:solidFill>
                  <a:srgbClr val="004785"/>
                </a:solidFill>
              </a:defRPr>
            </a:lvl4pPr>
            <a:lvl5pPr marL="1427162" indent="0">
              <a:buNone/>
              <a:defRPr sz="2400">
                <a:solidFill>
                  <a:srgbClr val="004785"/>
                </a:solidFill>
              </a:defRPr>
            </a:lvl5pPr>
          </a:lstStyle>
          <a:p>
            <a:pPr lvl="0"/>
            <a:r>
              <a:rPr lang="en-US" dirty="0"/>
              <a:t>Click to edit Master text styles</a:t>
            </a:r>
          </a:p>
        </p:txBody>
      </p:sp>
    </p:spTree>
    <p:extLst>
      <p:ext uri="{BB962C8B-B14F-4D97-AF65-F5344CB8AC3E}">
        <p14:creationId xmlns:p14="http://schemas.microsoft.com/office/powerpoint/2010/main" val="2298653017"/>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Cierre">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stretch>
            <a:fillRect/>
          </a:stretch>
        </p:blipFill>
        <p:spPr>
          <a:xfrm>
            <a:off x="-36662" y="-37910"/>
            <a:ext cx="12304487" cy="6924341"/>
          </a:xfrm>
          <a:prstGeom prst="rect">
            <a:avLst/>
          </a:prstGeom>
        </p:spPr>
      </p:pic>
      <p:pic>
        <p:nvPicPr>
          <p:cNvPr id="7" name="Picture 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480165" y="1308575"/>
            <a:ext cx="9203871" cy="4466585"/>
          </a:xfrm>
          <a:prstGeom prst="rect">
            <a:avLst/>
          </a:prstGeom>
        </p:spPr>
      </p:pic>
    </p:spTree>
    <p:extLst>
      <p:ext uri="{BB962C8B-B14F-4D97-AF65-F5344CB8AC3E}">
        <p14:creationId xmlns:p14="http://schemas.microsoft.com/office/powerpoint/2010/main" val="2302271908"/>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userDrawn="1">
  <p:cSld name="4_Custom Layout">
    <p:spTree>
      <p:nvGrpSpPr>
        <p:cNvPr id="1" name=""/>
        <p:cNvGrpSpPr/>
        <p:nvPr/>
      </p:nvGrpSpPr>
      <p:grpSpPr>
        <a:xfrm>
          <a:off x="0" y="0"/>
          <a:ext cx="0" cy="0"/>
          <a:chOff x="0" y="0"/>
          <a:chExt cx="0" cy="0"/>
        </a:xfrm>
      </p:grpSpPr>
      <p:sp>
        <p:nvSpPr>
          <p:cNvPr id="14" name="Rectangle 13"/>
          <p:cNvSpPr/>
          <p:nvPr userDrawn="1"/>
        </p:nvSpPr>
        <p:spPr>
          <a:xfrm>
            <a:off x="226611" y="6608"/>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grpSp>
        <p:nvGrpSpPr>
          <p:cNvPr id="15" name="Group 14"/>
          <p:cNvGrpSpPr/>
          <p:nvPr userDrawn="1"/>
        </p:nvGrpSpPr>
        <p:grpSpPr>
          <a:xfrm flipH="1">
            <a:off x="226609" y="98856"/>
            <a:ext cx="1203763" cy="6096001"/>
            <a:chOff x="160238" y="148877"/>
            <a:chExt cx="1300907" cy="8783936"/>
          </a:xfrm>
        </p:grpSpPr>
        <p:sp>
          <p:nvSpPr>
            <p:cNvPr id="16" name="Rectangle"/>
            <p:cNvSpPr/>
            <p:nvPr userDrawn="1"/>
          </p:nvSpPr>
          <p:spPr>
            <a:xfrm>
              <a:off x="160238" y="7811988"/>
              <a:ext cx="1300907" cy="1120825"/>
            </a:xfrm>
            <a:prstGeom prst="rect">
              <a:avLst/>
            </a:prstGeom>
            <a:solidFill>
              <a:srgbClr val="C4297F"/>
            </a:solidFill>
            <a:ln w="12700">
              <a:miter lim="400000"/>
            </a:ln>
          </p:spPr>
          <p:txBody>
            <a:bodyPr lIns="50800" tIns="50800" rIns="50800" bIns="50800" anchor="ctr"/>
            <a:lstStyle/>
            <a:p>
              <a:endParaRPr sz="1800">
                <a:solidFill>
                  <a:prstClr val="black"/>
                </a:solidFill>
              </a:endParaRPr>
            </a:p>
          </p:txBody>
        </p:sp>
        <p:sp>
          <p:nvSpPr>
            <p:cNvPr id="17" name="Rectangle"/>
            <p:cNvSpPr/>
            <p:nvPr userDrawn="1"/>
          </p:nvSpPr>
          <p:spPr>
            <a:xfrm>
              <a:off x="160238" y="7090072"/>
              <a:ext cx="1300907" cy="721917"/>
            </a:xfrm>
            <a:prstGeom prst="rect">
              <a:avLst/>
            </a:prstGeom>
            <a:solidFill>
              <a:srgbClr val="7C1A4F"/>
            </a:solidFill>
            <a:ln w="12700">
              <a:miter lim="400000"/>
            </a:ln>
          </p:spPr>
          <p:txBody>
            <a:bodyPr lIns="50800" tIns="50800" rIns="50800" bIns="50800" anchor="ctr"/>
            <a:lstStyle/>
            <a:p>
              <a:endParaRPr sz="1800">
                <a:solidFill>
                  <a:prstClr val="black"/>
                </a:solidFill>
              </a:endParaRPr>
            </a:p>
          </p:txBody>
        </p:sp>
        <p:sp>
          <p:nvSpPr>
            <p:cNvPr id="18" name="Rectangle"/>
            <p:cNvSpPr/>
            <p:nvPr userDrawn="1"/>
          </p:nvSpPr>
          <p:spPr>
            <a:xfrm>
              <a:off x="160238" y="6877694"/>
              <a:ext cx="1300907" cy="212379"/>
            </a:xfrm>
            <a:prstGeom prst="rect">
              <a:avLst/>
            </a:prstGeom>
            <a:solidFill>
              <a:srgbClr val="F79824"/>
            </a:solidFill>
            <a:ln w="12700">
              <a:miter lim="400000"/>
            </a:ln>
          </p:spPr>
          <p:txBody>
            <a:bodyPr lIns="50800" tIns="50800" rIns="50800" bIns="50800" anchor="ctr"/>
            <a:lstStyle/>
            <a:p>
              <a:endParaRPr sz="1800">
                <a:solidFill>
                  <a:prstClr val="black"/>
                </a:solidFill>
              </a:endParaRPr>
            </a:p>
          </p:txBody>
        </p:sp>
        <p:sp>
          <p:nvSpPr>
            <p:cNvPr id="19" name="Rectangle"/>
            <p:cNvSpPr/>
            <p:nvPr userDrawn="1"/>
          </p:nvSpPr>
          <p:spPr>
            <a:xfrm>
              <a:off x="160238" y="5875535"/>
              <a:ext cx="1300907" cy="1002160"/>
            </a:xfrm>
            <a:prstGeom prst="rect">
              <a:avLst/>
            </a:prstGeom>
            <a:solidFill>
              <a:srgbClr val="EE4329"/>
            </a:solidFill>
            <a:ln w="12700">
              <a:miter lim="400000"/>
            </a:ln>
          </p:spPr>
          <p:txBody>
            <a:bodyPr lIns="50800" tIns="50800" rIns="50800" bIns="50800" anchor="ctr"/>
            <a:lstStyle/>
            <a:p>
              <a:endParaRPr sz="1800">
                <a:solidFill>
                  <a:prstClr val="black"/>
                </a:solidFill>
              </a:endParaRPr>
            </a:p>
          </p:txBody>
        </p:sp>
        <p:sp>
          <p:nvSpPr>
            <p:cNvPr id="20" name="Rectangle"/>
            <p:cNvSpPr/>
            <p:nvPr userDrawn="1"/>
          </p:nvSpPr>
          <p:spPr>
            <a:xfrm>
              <a:off x="160238" y="3874095"/>
              <a:ext cx="1300907" cy="2001441"/>
            </a:xfrm>
            <a:prstGeom prst="rect">
              <a:avLst/>
            </a:prstGeom>
            <a:solidFill>
              <a:srgbClr val="F36F26"/>
            </a:solidFill>
            <a:ln w="12700">
              <a:miter lim="400000"/>
            </a:ln>
          </p:spPr>
          <p:txBody>
            <a:bodyPr lIns="50800" tIns="50800" rIns="50800" bIns="50800" anchor="ctr"/>
            <a:lstStyle/>
            <a:p>
              <a:endParaRPr sz="1800">
                <a:solidFill>
                  <a:prstClr val="black"/>
                </a:solidFill>
              </a:endParaRPr>
            </a:p>
          </p:txBody>
        </p:sp>
        <p:sp>
          <p:nvSpPr>
            <p:cNvPr id="21" name="Rectangle"/>
            <p:cNvSpPr/>
            <p:nvPr userDrawn="1"/>
          </p:nvSpPr>
          <p:spPr>
            <a:xfrm>
              <a:off x="160238" y="3154213"/>
              <a:ext cx="1300907" cy="721867"/>
            </a:xfrm>
            <a:prstGeom prst="rect">
              <a:avLst/>
            </a:prstGeom>
            <a:solidFill>
              <a:srgbClr val="016AA1"/>
            </a:solidFill>
            <a:ln w="12700">
              <a:miter lim="400000"/>
            </a:ln>
          </p:spPr>
          <p:txBody>
            <a:bodyPr lIns="50800" tIns="50800" rIns="50800" bIns="50800" anchor="ctr"/>
            <a:lstStyle/>
            <a:p>
              <a:endParaRPr sz="1800">
                <a:solidFill>
                  <a:prstClr val="black"/>
                </a:solidFill>
              </a:endParaRPr>
            </a:p>
          </p:txBody>
        </p:sp>
        <p:sp>
          <p:nvSpPr>
            <p:cNvPr id="22" name="Rectangle"/>
            <p:cNvSpPr/>
            <p:nvPr userDrawn="1"/>
          </p:nvSpPr>
          <p:spPr>
            <a:xfrm>
              <a:off x="160238" y="148877"/>
              <a:ext cx="1300907" cy="3005337"/>
            </a:xfrm>
            <a:prstGeom prst="rect">
              <a:avLst/>
            </a:prstGeom>
            <a:solidFill>
              <a:srgbClr val="86CBD8"/>
            </a:solidFill>
            <a:ln w="12700">
              <a:miter lim="400000"/>
            </a:ln>
          </p:spPr>
          <p:txBody>
            <a:bodyPr lIns="50800" tIns="50800" rIns="50800" bIns="50800" anchor="ctr"/>
            <a:lstStyle/>
            <a:p>
              <a:endParaRPr sz="1800">
                <a:solidFill>
                  <a:prstClr val="black"/>
                </a:solidFill>
              </a:endParaRPr>
            </a:p>
          </p:txBody>
        </p:sp>
      </p:grpSp>
    </p:spTree>
    <p:extLst>
      <p:ext uri="{BB962C8B-B14F-4D97-AF65-F5344CB8AC3E}">
        <p14:creationId xmlns:p14="http://schemas.microsoft.com/office/powerpoint/2010/main" val="421433505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ierre">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stretch>
            <a:fillRect/>
          </a:stretch>
        </p:blipFill>
        <p:spPr>
          <a:xfrm>
            <a:off x="-36661" y="-37908"/>
            <a:ext cx="12304487" cy="6924341"/>
          </a:xfrm>
          <a:prstGeom prst="rect">
            <a:avLst/>
          </a:prstGeom>
        </p:spPr>
      </p:pic>
      <p:pic>
        <p:nvPicPr>
          <p:cNvPr id="7" name="Picture 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480167" y="1308577"/>
            <a:ext cx="9203871" cy="4466585"/>
          </a:xfrm>
          <a:prstGeom prst="rect">
            <a:avLst/>
          </a:prstGeom>
        </p:spPr>
      </p:pic>
    </p:spTree>
    <p:extLst>
      <p:ext uri="{BB962C8B-B14F-4D97-AF65-F5344CB8AC3E}">
        <p14:creationId xmlns:p14="http://schemas.microsoft.com/office/powerpoint/2010/main" val="61343010"/>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userDrawn="1">
  <p:cSld name="Separador1">
    <p:spTree>
      <p:nvGrpSpPr>
        <p:cNvPr id="1" name=""/>
        <p:cNvGrpSpPr/>
        <p:nvPr/>
      </p:nvGrpSpPr>
      <p:grpSpPr>
        <a:xfrm>
          <a:off x="0" y="0"/>
          <a:ext cx="0" cy="0"/>
          <a:chOff x="0" y="0"/>
          <a:chExt cx="0" cy="0"/>
        </a:xfrm>
      </p:grpSpPr>
      <p:sp>
        <p:nvSpPr>
          <p:cNvPr id="11" name="Rectangle 10"/>
          <p:cNvSpPr/>
          <p:nvPr userDrawn="1"/>
        </p:nvSpPr>
        <p:spPr>
          <a:xfrm>
            <a:off x="226611" y="6608"/>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grpSp>
        <p:nvGrpSpPr>
          <p:cNvPr id="19" name="Group 18"/>
          <p:cNvGrpSpPr/>
          <p:nvPr userDrawn="1"/>
        </p:nvGrpSpPr>
        <p:grpSpPr>
          <a:xfrm>
            <a:off x="226614" y="98854"/>
            <a:ext cx="1204588" cy="6096000"/>
            <a:chOff x="160238" y="154880"/>
            <a:chExt cx="1300907" cy="8777933"/>
          </a:xfrm>
        </p:grpSpPr>
        <p:sp>
          <p:nvSpPr>
            <p:cNvPr id="12" name="Rectangle"/>
            <p:cNvSpPr/>
            <p:nvPr userDrawn="1"/>
          </p:nvSpPr>
          <p:spPr>
            <a:xfrm>
              <a:off x="160238" y="8398371"/>
              <a:ext cx="1300907" cy="534442"/>
            </a:xfrm>
            <a:prstGeom prst="rect">
              <a:avLst/>
            </a:prstGeom>
            <a:solidFill>
              <a:srgbClr val="85CDD9"/>
            </a:solidFill>
            <a:ln w="12700">
              <a:miter lim="400000"/>
            </a:ln>
          </p:spPr>
          <p:txBody>
            <a:bodyPr lIns="50800" tIns="50800" rIns="50800" bIns="50800" anchor="ctr"/>
            <a:lstStyle/>
            <a:p>
              <a:endParaRPr sz="1800">
                <a:solidFill>
                  <a:prstClr val="black"/>
                </a:solidFill>
              </a:endParaRPr>
            </a:p>
          </p:txBody>
        </p:sp>
        <p:sp>
          <p:nvSpPr>
            <p:cNvPr id="13" name="Rectangle"/>
            <p:cNvSpPr/>
            <p:nvPr userDrawn="1"/>
          </p:nvSpPr>
          <p:spPr>
            <a:xfrm>
              <a:off x="160238" y="8183364"/>
              <a:ext cx="1300907" cy="215008"/>
            </a:xfrm>
            <a:prstGeom prst="rect">
              <a:avLst/>
            </a:prstGeom>
            <a:solidFill>
              <a:srgbClr val="4D89AD"/>
            </a:solidFill>
            <a:ln w="12700">
              <a:miter lim="400000"/>
            </a:ln>
          </p:spPr>
          <p:txBody>
            <a:bodyPr lIns="50800" tIns="50800" rIns="50800" bIns="50800" anchor="ctr"/>
            <a:lstStyle/>
            <a:p>
              <a:endParaRPr sz="1800">
                <a:solidFill>
                  <a:prstClr val="black"/>
                </a:solidFill>
              </a:endParaRPr>
            </a:p>
          </p:txBody>
        </p:sp>
        <p:sp>
          <p:nvSpPr>
            <p:cNvPr id="14" name="Rectangle"/>
            <p:cNvSpPr/>
            <p:nvPr userDrawn="1"/>
          </p:nvSpPr>
          <p:spPr>
            <a:xfrm>
              <a:off x="160238" y="6195863"/>
              <a:ext cx="1300907" cy="1987502"/>
            </a:xfrm>
            <a:prstGeom prst="rect">
              <a:avLst/>
            </a:prstGeom>
            <a:solidFill>
              <a:srgbClr val="2591C0"/>
            </a:solidFill>
            <a:ln w="12700">
              <a:miter lim="400000"/>
            </a:ln>
          </p:spPr>
          <p:txBody>
            <a:bodyPr lIns="50800" tIns="50800" rIns="50800" bIns="50800" anchor="ctr"/>
            <a:lstStyle/>
            <a:p>
              <a:endParaRPr sz="1800">
                <a:solidFill>
                  <a:prstClr val="black"/>
                </a:solidFill>
              </a:endParaRPr>
            </a:p>
          </p:txBody>
        </p:sp>
        <p:sp>
          <p:nvSpPr>
            <p:cNvPr id="15" name="Rectangle"/>
            <p:cNvSpPr/>
            <p:nvPr userDrawn="1"/>
          </p:nvSpPr>
          <p:spPr>
            <a:xfrm>
              <a:off x="160238" y="5724425"/>
              <a:ext cx="1300907" cy="471439"/>
            </a:xfrm>
            <a:prstGeom prst="rect">
              <a:avLst/>
            </a:prstGeom>
            <a:solidFill>
              <a:srgbClr val="104D6A"/>
            </a:solidFill>
            <a:ln w="12700">
              <a:miter lim="400000"/>
            </a:ln>
          </p:spPr>
          <p:txBody>
            <a:bodyPr lIns="50800" tIns="50800" rIns="50800" bIns="50800" anchor="ctr"/>
            <a:lstStyle/>
            <a:p>
              <a:endParaRPr sz="1800">
                <a:solidFill>
                  <a:prstClr val="black"/>
                </a:solidFill>
              </a:endParaRPr>
            </a:p>
          </p:txBody>
        </p:sp>
        <p:sp>
          <p:nvSpPr>
            <p:cNvPr id="16" name="Rectangle"/>
            <p:cNvSpPr/>
            <p:nvPr userDrawn="1"/>
          </p:nvSpPr>
          <p:spPr>
            <a:xfrm>
              <a:off x="160238" y="371177"/>
              <a:ext cx="1300907" cy="813396"/>
            </a:xfrm>
            <a:prstGeom prst="rect">
              <a:avLst/>
            </a:prstGeom>
            <a:solidFill>
              <a:srgbClr val="095B88"/>
            </a:solidFill>
            <a:ln w="12700">
              <a:miter lim="400000"/>
            </a:ln>
          </p:spPr>
          <p:txBody>
            <a:bodyPr lIns="50800" tIns="50800" rIns="50800" bIns="50800" anchor="ctr"/>
            <a:lstStyle/>
            <a:p>
              <a:endParaRPr sz="1800">
                <a:solidFill>
                  <a:prstClr val="black"/>
                </a:solidFill>
              </a:endParaRPr>
            </a:p>
          </p:txBody>
        </p:sp>
        <p:sp>
          <p:nvSpPr>
            <p:cNvPr id="17" name="Rectangle"/>
            <p:cNvSpPr/>
            <p:nvPr userDrawn="1"/>
          </p:nvSpPr>
          <p:spPr>
            <a:xfrm>
              <a:off x="160238" y="1184572"/>
              <a:ext cx="1300907" cy="4539854"/>
            </a:xfrm>
            <a:prstGeom prst="rect">
              <a:avLst/>
            </a:prstGeom>
            <a:solidFill>
              <a:srgbClr val="016AA1"/>
            </a:solidFill>
            <a:ln w="12700">
              <a:miter lim="400000"/>
            </a:ln>
          </p:spPr>
          <p:txBody>
            <a:bodyPr lIns="50800" tIns="50800" rIns="50800" bIns="50800" anchor="ctr"/>
            <a:lstStyle/>
            <a:p>
              <a:endParaRPr sz="1800">
                <a:solidFill>
                  <a:prstClr val="black"/>
                </a:solidFill>
              </a:endParaRPr>
            </a:p>
          </p:txBody>
        </p:sp>
        <p:sp>
          <p:nvSpPr>
            <p:cNvPr id="18" name="Rectangle"/>
            <p:cNvSpPr/>
            <p:nvPr userDrawn="1"/>
          </p:nvSpPr>
          <p:spPr>
            <a:xfrm>
              <a:off x="160238" y="154880"/>
              <a:ext cx="1300907" cy="216298"/>
            </a:xfrm>
            <a:prstGeom prst="rect">
              <a:avLst/>
            </a:prstGeom>
            <a:solidFill>
              <a:srgbClr val="85CDD9"/>
            </a:solidFill>
            <a:ln w="12700">
              <a:miter lim="400000"/>
            </a:ln>
          </p:spPr>
          <p:txBody>
            <a:bodyPr lIns="50800" tIns="50800" rIns="50800" bIns="50800" anchor="ctr"/>
            <a:lstStyle/>
            <a:p>
              <a:endParaRPr sz="1800">
                <a:solidFill>
                  <a:prstClr val="black"/>
                </a:solidFill>
              </a:endParaRPr>
            </a:p>
          </p:txBody>
        </p:sp>
      </p:grpSp>
    </p:spTree>
    <p:extLst>
      <p:ext uri="{BB962C8B-B14F-4D97-AF65-F5344CB8AC3E}">
        <p14:creationId xmlns:p14="http://schemas.microsoft.com/office/powerpoint/2010/main" val="2636154332"/>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20547"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9" y="1590"/>
                        <a:ext cx="1587" cy="1587"/>
                      </a:xfrm>
                      <a:prstGeom prst="rect">
                        <a:avLst/>
                      </a:prstGeom>
                    </p:spPr>
                  </p:pic>
                </p:oleObj>
              </mc:Fallback>
            </mc:AlternateContent>
          </a:graphicData>
        </a:graphic>
      </p:graphicFrame>
      <p:pic>
        <p:nvPicPr>
          <p:cNvPr id="73" name="Picture 3" descr="Picture 3"/>
          <p:cNvPicPr>
            <a:picLocks noChangeAspect="1"/>
          </p:cNvPicPr>
          <p:nvPr userDrawn="1"/>
        </p:nvPicPr>
        <p:blipFill>
          <a:blip r:embed="rId6" cstate="print"/>
          <a:srcRect r="91525"/>
          <a:stretch>
            <a:fillRect/>
          </a:stretch>
        </p:blipFill>
        <p:spPr>
          <a:xfrm>
            <a:off x="0" y="0"/>
            <a:ext cx="1118499" cy="6858000"/>
          </a:xfrm>
          <a:prstGeom prst="rect">
            <a:avLst/>
          </a:prstGeom>
          <a:ln w="12700">
            <a:miter lim="400000"/>
          </a:ln>
        </p:spPr>
      </p:pic>
      <p:grpSp>
        <p:nvGrpSpPr>
          <p:cNvPr id="3" name="Group 2"/>
          <p:cNvGrpSpPr/>
          <p:nvPr userDrawn="1"/>
        </p:nvGrpSpPr>
        <p:grpSpPr>
          <a:xfrm>
            <a:off x="2" y="6221395"/>
            <a:ext cx="12191999" cy="574391"/>
            <a:chOff x="0" y="6221393"/>
            <a:chExt cx="12191999" cy="574391"/>
          </a:xfrm>
        </p:grpSpPr>
        <p:pic>
          <p:nvPicPr>
            <p:cNvPr id="71" name="footer-13.jpg" descr="footer-13.jpg"/>
            <p:cNvPicPr>
              <a:picLocks noChangeAspect="1"/>
            </p:cNvPicPr>
            <p:nvPr userDrawn="1"/>
          </p:nvPicPr>
          <p:blipFill>
            <a:blip r:embed="rId7" cstate="print"/>
            <a:stretch>
              <a:fillRect/>
            </a:stretch>
          </p:blipFill>
          <p:spPr>
            <a:xfrm>
              <a:off x="0" y="6221393"/>
              <a:ext cx="9906000" cy="574391"/>
            </a:xfrm>
            <a:prstGeom prst="rect">
              <a:avLst/>
            </a:prstGeom>
            <a:ln w="12700">
              <a:miter lim="400000"/>
            </a:ln>
          </p:spPr>
        </p:pic>
        <p:pic>
          <p:nvPicPr>
            <p:cNvPr id="72" name="footer-13.jpg" descr="footer-13.jpg"/>
            <p:cNvPicPr>
              <a:picLocks noChangeAspect="1"/>
            </p:cNvPicPr>
            <p:nvPr userDrawn="1"/>
          </p:nvPicPr>
          <p:blipFill rotWithShape="1">
            <a:blip r:embed="rId7" cstate="print"/>
            <a:srcRect l="26342"/>
            <a:stretch/>
          </p:blipFill>
          <p:spPr>
            <a:xfrm>
              <a:off x="4895384" y="6221393"/>
              <a:ext cx="7296615" cy="574391"/>
            </a:xfrm>
            <a:prstGeom prst="rect">
              <a:avLst/>
            </a:prstGeom>
            <a:ln w="12700">
              <a:miter lim="400000"/>
            </a:ln>
          </p:spPr>
        </p:pic>
      </p:grpSp>
      <p:sp>
        <p:nvSpPr>
          <p:cNvPr id="27" name="Title 1"/>
          <p:cNvSpPr>
            <a:spLocks noGrp="1"/>
          </p:cNvSpPr>
          <p:nvPr>
            <p:ph type="ctrTitle" hasCustomPrompt="1"/>
          </p:nvPr>
        </p:nvSpPr>
        <p:spPr bwMode="ltGray">
          <a:xfrm>
            <a:off x="1453896" y="722376"/>
            <a:ext cx="7251192" cy="649224"/>
          </a:xfrm>
          <a:prstGeom prst="rect">
            <a:avLst/>
          </a:prstGeom>
        </p:spPr>
        <p:txBody>
          <a:bodyPr lIns="36000" tIns="46800" rIns="36000" bIns="46800" anchor="ctr" anchorCtr="0">
            <a:normAutofit/>
          </a:bodyPr>
          <a:lstStyle>
            <a:lvl1pPr algn="l">
              <a:lnSpc>
                <a:spcPct val="93000"/>
              </a:lnSpc>
              <a:defRPr sz="3000" baseline="0">
                <a:solidFill>
                  <a:srgbClr val="86CBD8"/>
                </a:solidFill>
                <a:latin typeface="+mj-lt"/>
                <a:sym typeface="Trebuchet MS" panose="020B0603020202020204" pitchFamily="34" charset="0"/>
              </a:defRPr>
            </a:lvl1pPr>
          </a:lstStyle>
          <a:p>
            <a:r>
              <a:rPr lang="en-US" dirty="0" err="1"/>
              <a:t>Título</a:t>
            </a:r>
            <a:r>
              <a:rPr lang="en-US" dirty="0"/>
              <a:t> </a:t>
            </a:r>
            <a:r>
              <a:rPr lang="en-US" dirty="0" err="1"/>
              <a:t>Presentación</a:t>
            </a:r>
            <a:endParaRPr lang="en-US" dirty="0"/>
          </a:p>
        </p:txBody>
      </p:sp>
      <p:sp>
        <p:nvSpPr>
          <p:cNvPr id="26" name="Subtitle 2"/>
          <p:cNvSpPr>
            <a:spLocks noGrp="1"/>
          </p:cNvSpPr>
          <p:nvPr>
            <p:ph type="subTitle" idx="1" hasCustomPrompt="1"/>
          </p:nvPr>
        </p:nvSpPr>
        <p:spPr bwMode="white">
          <a:xfrm>
            <a:off x="1453896" y="2221992"/>
            <a:ext cx="8138160" cy="365760"/>
          </a:xfrm>
          <a:prstGeom prst="rect">
            <a:avLst/>
          </a:prstGeom>
        </p:spPr>
        <p:txBody>
          <a:bodyPr lIns="36000" tIns="46800" rIns="36000" bIns="46800" anchor="ctr"/>
          <a:lstStyle>
            <a:lvl1pPr marL="0" indent="0" algn="l">
              <a:lnSpc>
                <a:spcPct val="110000"/>
              </a:lnSpc>
              <a:buNone/>
              <a:defRPr sz="1350" b="1" baseline="0">
                <a:solidFill>
                  <a:srgbClr val="016AA1"/>
                </a:solidFill>
                <a:latin typeface="+mn-lt"/>
                <a:sym typeface="Trebuchet MS" panose="020B0603020202020204" pitchFamily="34" charset="0"/>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dirty="0" err="1"/>
              <a:t>Subtitulo</a:t>
            </a:r>
            <a:endParaRPr lang="en-US" dirty="0"/>
          </a:p>
        </p:txBody>
      </p:sp>
      <p:sp>
        <p:nvSpPr>
          <p:cNvPr id="22" name="Text Placeholder 6"/>
          <p:cNvSpPr>
            <a:spLocks noGrp="1"/>
          </p:cNvSpPr>
          <p:nvPr>
            <p:ph type="body" sz="quarter" idx="12" hasCustomPrompt="1"/>
          </p:nvPr>
        </p:nvSpPr>
        <p:spPr bwMode="black">
          <a:xfrm>
            <a:off x="1453896" y="4983480"/>
            <a:ext cx="7589520" cy="365760"/>
          </a:xfrm>
          <a:prstGeom prst="rect">
            <a:avLst/>
          </a:prstGeom>
          <a:noFill/>
        </p:spPr>
        <p:txBody>
          <a:bodyPr lIns="36000" tIns="46800" rIns="36000" bIns="46800" anchor="ctr"/>
          <a:lstStyle>
            <a:lvl1pPr algn="l">
              <a:lnSpc>
                <a:spcPct val="110000"/>
              </a:lnSpc>
              <a:buNone/>
              <a:defRPr sz="1350" b="0" cap="none" baseline="0">
                <a:solidFill>
                  <a:srgbClr val="7C1A4F"/>
                </a:solidFill>
                <a:latin typeface="+mn-lt"/>
                <a:sym typeface="Trebuchet MS" panose="020B0603020202020204" pitchFamily="34" charset="0"/>
              </a:defRPr>
            </a:lvl1pPr>
            <a:lvl2pPr algn="ctr">
              <a:buNone/>
              <a:defRPr/>
            </a:lvl2pPr>
            <a:lvl3pPr marL="0" indent="0" algn="ctr">
              <a:buNone/>
              <a:defRPr/>
            </a:lvl3pPr>
            <a:lvl4pPr marL="171450" indent="0" algn="ctr">
              <a:buNone/>
              <a:defRPr/>
            </a:lvl4pPr>
            <a:lvl5pPr marL="342900" indent="0" algn="ctr">
              <a:buNone/>
              <a:defRPr/>
            </a:lvl5pPr>
          </a:lstStyle>
          <a:p>
            <a:pPr lvl="0"/>
            <a:r>
              <a:rPr lang="en-US" dirty="0" err="1"/>
              <a:t>Fecha</a:t>
            </a:r>
            <a:endParaRPr lang="en-US" dirty="0"/>
          </a:p>
        </p:txBody>
      </p:sp>
    </p:spTree>
    <p:extLst>
      <p:ext uri="{BB962C8B-B14F-4D97-AF65-F5344CB8AC3E}">
        <p14:creationId xmlns:p14="http://schemas.microsoft.com/office/powerpoint/2010/main" val="39254081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21571"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sp>
        <p:nvSpPr>
          <p:cNvPr id="3" name="Date Placeholder 2"/>
          <p:cNvSpPr>
            <a:spLocks noGrp="1"/>
          </p:cNvSpPr>
          <p:nvPr>
            <p:ph type="dt" sz="half" idx="10"/>
          </p:nvPr>
        </p:nvSpPr>
        <p:spPr>
          <a:xfrm>
            <a:off x="9677401" y="6443508"/>
            <a:ext cx="1482051" cy="115416"/>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7"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6"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lumMod val="50000"/>
                  </a:schemeClr>
                </a:solidFill>
                <a:latin typeface="+mn-lt"/>
                <a:sym typeface="Trebuchet MS" panose="020B0603020202020204" pitchFamily="34" charset="0"/>
              </a:rPr>
              <a:t>MX2020 - SteerCo data deep dive.pptx</a:t>
            </a:r>
            <a:endParaRPr lang="en-US" sz="525" dirty="0">
              <a:solidFill>
                <a:schemeClr val="bg1">
                  <a:lumMod val="50000"/>
                </a:schemeClr>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622800"/>
            <a:ext cx="10933200" cy="353174"/>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2550" b="0" i="0" u="none" kern="1200" spc="0">
                <a:solidFill>
                  <a:srgbClr val="4472C4"/>
                </a:solidFill>
                <a:latin typeface="+mj-lt"/>
                <a:sym typeface="Trebuchet MS" panose="020B0603020202020204" pitchFamily="34" charset="0"/>
              </a:defRPr>
            </a:lvl1pPr>
          </a:lstStyle>
          <a:p>
            <a:pPr lvl="0"/>
            <a:r>
              <a:rPr lang="en-US" dirty="0"/>
              <a:t>Click to add title</a:t>
            </a:r>
          </a:p>
        </p:txBody>
      </p:sp>
      <p:pic>
        <p:nvPicPr>
          <p:cNvPr id="54" name="Picture 53"/>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0688845" y="6661003"/>
            <a:ext cx="874355" cy="141242"/>
          </a:xfrm>
          <a:prstGeom prst="rect">
            <a:avLst/>
          </a:prstGeom>
        </p:spPr>
      </p:pic>
      <p:pic>
        <p:nvPicPr>
          <p:cNvPr id="101" name="pasted-image.pdf" descr="pasted-image.pdf"/>
          <p:cNvPicPr>
            <a:picLocks noChangeAspect="1"/>
          </p:cNvPicPr>
          <p:nvPr userDrawn="1"/>
        </p:nvPicPr>
        <p:blipFill>
          <a:blip r:embed="rId8" cstate="print"/>
          <a:stretch>
            <a:fillRect/>
          </a:stretch>
        </p:blipFill>
        <p:spPr>
          <a:xfrm>
            <a:off x="129456" y="6545571"/>
            <a:ext cx="420925" cy="256674"/>
          </a:xfrm>
          <a:prstGeom prst="rect">
            <a:avLst/>
          </a:prstGeom>
          <a:ln w="12700">
            <a:miter lim="400000"/>
          </a:ln>
        </p:spPr>
      </p:pic>
    </p:spTree>
    <p:extLst>
      <p:ext uri="{BB962C8B-B14F-4D97-AF65-F5344CB8AC3E}">
        <p14:creationId xmlns:p14="http://schemas.microsoft.com/office/powerpoint/2010/main" val="81681301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l">
              <a:lnSpc>
                <a:spcPct val="90000"/>
              </a:lnSpc>
              <a:spcAft>
                <a:spcPts val="750"/>
              </a:spcAft>
            </a:pPr>
            <a:endParaRPr lang="en-US" sz="900">
              <a:solidFill>
                <a:schemeClr val="bg1"/>
              </a:solidFill>
              <a:latin typeface="+mn-lt"/>
            </a:endParaRPr>
          </a:p>
        </p:txBody>
      </p:sp>
      <p:sp>
        <p:nvSpPr>
          <p:cNvPr id="3" name="Date Placeholder 2"/>
          <p:cNvSpPr>
            <a:spLocks noGrp="1"/>
          </p:cNvSpPr>
          <p:nvPr>
            <p:ph type="dt" sz="half" idx="10"/>
          </p:nvPr>
        </p:nvSpPr>
        <p:spPr>
          <a:xfrm>
            <a:off x="9677401" y="6443508"/>
            <a:ext cx="1482051" cy="115416"/>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7"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9" name="Title 1"/>
          <p:cNvSpPr>
            <a:spLocks noGrp="1"/>
          </p:cNvSpPr>
          <p:nvPr>
            <p:ph type="title" hasCustomPrompt="1"/>
          </p:nvPr>
        </p:nvSpPr>
        <p:spPr bwMode="ltGray">
          <a:xfrm>
            <a:off x="630000" y="1544274"/>
            <a:ext cx="3452400" cy="1495794"/>
          </a:xfrm>
          <a:noFill/>
        </p:spPr>
        <p:txBody>
          <a:bodyPr wrap="square" lIns="0" tIns="0" rIns="320040" bIns="0" anchor="b">
            <a:noAutofit/>
          </a:bodyPr>
          <a:lstStyle>
            <a:lvl1pPr>
              <a:defRPr sz="2400">
                <a:solidFill>
                  <a:srgbClr val="4472C4"/>
                </a:solidFill>
                <a:latin typeface="+mj-lt"/>
              </a:defRPr>
            </a:lvl1pPr>
          </a:lstStyle>
          <a:p>
            <a:r>
              <a:rPr lang="en-US" dirty="0"/>
              <a:t>Click to add title</a:t>
            </a:r>
          </a:p>
        </p:txBody>
      </p:sp>
      <p:sp>
        <p:nvSpPr>
          <p:cNvPr id="10" name="FooterSimple" hidden="1"/>
          <p:cNvSpPr txBox="1"/>
          <p:nvPr userDrawn="1">
            <p:custDataLst>
              <p:tags r:id="rId1"/>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lumMod val="50000"/>
                  </a:schemeClr>
                </a:solidFill>
                <a:latin typeface="+mn-lt"/>
                <a:sym typeface="Trebuchet MS" panose="020B0603020202020204" pitchFamily="34" charset="0"/>
              </a:rPr>
              <a:t>MX2020 - SteerCo data deep dive.pptx</a:t>
            </a:r>
            <a:endParaRPr lang="en-US" sz="525"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2617648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22595" name="think-cell Slide" r:id="rId5" imgW="270" imgH="270" progId="TCLayout.ActiveDocument.1">
                  <p:embed/>
                </p:oleObj>
              </mc:Choice>
              <mc:Fallback>
                <p:oleObj name="think-cell Slide" r:id="rId5" imgW="270" imgH="270" progId="TCLayout.ActiveDocument.1">
                  <p:embed/>
                  <p:pic>
                    <p:nvPicPr>
                      <p:cNvPr id="5" name="Object 4" hidden="1"/>
                      <p:cNvPicPr/>
                      <p:nvPr/>
                    </p:nvPicPr>
                    <p:blipFill>
                      <a:blip r:embed="rId6"/>
                      <a:stretch>
                        <a:fillRect/>
                      </a:stretch>
                    </p:blipFill>
                    <p:spPr>
                      <a:xfrm>
                        <a:off x="1589" y="1590"/>
                        <a:ext cx="1587" cy="1587"/>
                      </a:xfrm>
                      <a:prstGeom prst="rect">
                        <a:avLst/>
                      </a:prstGeom>
                    </p:spPr>
                  </p:pic>
                </p:oleObj>
              </mc:Fallback>
            </mc:AlternateContent>
          </a:graphicData>
        </a:graphic>
      </p:graphicFrame>
      <p:sp>
        <p:nvSpPr>
          <p:cNvPr id="2" name="Title 1"/>
          <p:cNvSpPr>
            <a:spLocks noGrp="1"/>
          </p:cNvSpPr>
          <p:nvPr>
            <p:ph type="title" hasCustomPrompt="1"/>
          </p:nvPr>
        </p:nvSpPr>
        <p:spPr bwMode="blackWhite">
          <a:xfrm>
            <a:off x="1284743" y="2668041"/>
            <a:ext cx="9620491" cy="3201026"/>
          </a:xfrm>
          <a:prstGeom prst="rect">
            <a:avLst/>
          </a:prstGeom>
          <a:ln w="9525">
            <a:solidFill>
              <a:schemeClr val="bg1"/>
            </a:solidFill>
          </a:ln>
        </p:spPr>
        <p:txBody>
          <a:bodyPr lIns="274320" tIns="274320" rIns="274320" bIns="137160" anchor="b">
            <a:noAutofit/>
          </a:bodyPr>
          <a:lstStyle>
            <a:lvl1pPr marL="0" algn="l" defTabSz="685800" rtl="0" eaLnBrk="1" fontAlgn="auto" latinLnBrk="0" hangingPunct="1">
              <a:lnSpc>
                <a:spcPts val="4500"/>
              </a:lnSpc>
              <a:spcBef>
                <a:spcPts val="0"/>
              </a:spcBef>
              <a:spcAft>
                <a:spcPts val="0"/>
              </a:spcAft>
              <a:defRPr lang="en-US" sz="405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4" name="TextBox 3"/>
          <p:cNvSpPr txBox="1"/>
          <p:nvPr/>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a:xfrm>
            <a:off x="9677401" y="6443508"/>
            <a:ext cx="1482051" cy="115416"/>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sym typeface="Trebuchet MS" panose="020B0603020202020204" pitchFamily="34" charset="0"/>
              </a:rPr>
              <a:t>Copyright © 2017 by The Boston Consulting Group, Inc. All rights reserved.</a:t>
            </a:r>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900" dirty="0">
              <a:solidFill>
                <a:schemeClr val="bg1"/>
              </a:solidFill>
              <a:latin typeface="+mn-lt"/>
              <a:sym typeface="Trebuchet MS" panose="020B0603020202020204" pitchFamily="34" charset="0"/>
            </a:endParaRPr>
          </a:p>
        </p:txBody>
      </p:sp>
      <p:sp>
        <p:nvSpPr>
          <p:cNvPr id="9"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solidFill>
                <a:latin typeface="+mn-lt"/>
                <a:sym typeface="Trebuchet MS" panose="020B0603020202020204" pitchFamily="34" charset="0"/>
              </a:rPr>
              <a:t>MX2020 - SteerCo data deep dive.pptx</a:t>
            </a:r>
            <a:endParaRPr lang="en-US" sz="525"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11844008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23619"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9" y="1590"/>
                        <a:ext cx="1587" cy="1587"/>
                      </a:xfrm>
                      <a:prstGeom prst="rect">
                        <a:avLst/>
                      </a:prstGeom>
                    </p:spPr>
                  </p:pic>
                </p:oleObj>
              </mc:Fallback>
            </mc:AlternateContent>
          </a:graphicData>
        </a:graphic>
      </p:graphicFrame>
      <p:sp>
        <p:nvSpPr>
          <p:cNvPr id="5" name="TextBox 4"/>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1" y="6443508"/>
            <a:ext cx="1482051" cy="115416"/>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47" name="Title 1"/>
          <p:cNvSpPr>
            <a:spLocks noGrp="1"/>
          </p:cNvSpPr>
          <p:nvPr>
            <p:ph type="title" hasCustomPrompt="1"/>
          </p:nvPr>
        </p:nvSpPr>
        <p:spPr bwMode="blackWhite">
          <a:xfrm>
            <a:off x="630000" y="3826800"/>
            <a:ext cx="10936800" cy="2041200"/>
          </a:xfrm>
        </p:spPr>
        <p:txBody>
          <a:bodyPr anchor="t">
            <a:noAutofit/>
          </a:bodyPr>
          <a:lstStyle>
            <a:lvl1pPr>
              <a:defRPr sz="4050">
                <a:solidFill>
                  <a:schemeClr val="bg1"/>
                </a:solidFill>
                <a:latin typeface="+mj-lt"/>
                <a:sym typeface="Trebuchet MS" panose="020B0603020202020204" pitchFamily="34" charset="0"/>
              </a:defRPr>
            </a:lvl1pPr>
          </a:lstStyle>
          <a:p>
            <a:r>
              <a:rPr lang="en-US" dirty="0"/>
              <a:t>Click to add big statement text</a:t>
            </a:r>
          </a:p>
        </p:txBody>
      </p:sp>
      <p:cxnSp>
        <p:nvCxnSpPr>
          <p:cNvPr id="148" name="Straight Connector 147"/>
          <p:cNvCxnSpPr/>
          <p:nvPr userDrawn="1"/>
        </p:nvCxnSpPr>
        <p:spPr bwMode="white">
          <a:xfrm>
            <a:off x="618899"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465830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24643"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pic>
        <p:nvPicPr>
          <p:cNvPr id="16" name="Picture 15"/>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l="29398" t="8741" r="101" b="27"/>
          <a:stretch/>
        </p:blipFill>
        <p:spPr bwMode="ltGray">
          <a:xfrm flipV="1">
            <a:off x="4064995" y="0"/>
            <a:ext cx="416951" cy="6858000"/>
          </a:xfrm>
          <a:prstGeom prst="rect">
            <a:avLst/>
          </a:prstGeom>
        </p:spPr>
      </p:pic>
      <p:sp>
        <p:nvSpPr>
          <p:cNvPr id="17" name="Date Placeholder 1"/>
          <p:cNvSpPr>
            <a:spLocks noGrp="1"/>
          </p:cNvSpPr>
          <p:nvPr>
            <p:ph type="dt" sz="half" idx="31"/>
          </p:nvPr>
        </p:nvSpPr>
        <p:spPr>
          <a:xfrm>
            <a:off x="9677401" y="6443508"/>
            <a:ext cx="1482051" cy="115416"/>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5"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sym typeface="Trebuchet MS" panose="020B0603020202020204" pitchFamily="34" charset="0"/>
              </a:rPr>
              <a:t>Copyright © 2017 by The Boston Consulting Group, Inc. All rights reserved.</a:t>
            </a:r>
          </a:p>
        </p:txBody>
      </p:sp>
      <p:sp>
        <p:nvSpPr>
          <p:cNvPr id="20" name="TextBox 19"/>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
        <p:nvSpPr>
          <p:cNvPr id="26" name="Rectangle 25"/>
          <p:cNvSpPr/>
          <p:nvPr userDrawn="1"/>
        </p:nvSpPr>
        <p:spPr bwMode="white">
          <a:xfrm>
            <a:off x="1"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dirty="0">
              <a:solidFill>
                <a:schemeClr val="bg1"/>
              </a:solidFill>
              <a:latin typeface="+mn-lt"/>
              <a:sym typeface="Trebuchet MS" panose="020B0603020202020204" pitchFamily="34" charset="0"/>
            </a:endParaRPr>
          </a:p>
        </p:txBody>
      </p:sp>
      <p:sp>
        <p:nvSpPr>
          <p:cNvPr id="27" name="Title 4"/>
          <p:cNvSpPr>
            <a:spLocks noGrp="1"/>
          </p:cNvSpPr>
          <p:nvPr>
            <p:ph type="title" hasCustomPrompt="1"/>
          </p:nvPr>
        </p:nvSpPr>
        <p:spPr>
          <a:xfrm>
            <a:off x="630001" y="2681103"/>
            <a:ext cx="3127881" cy="1495794"/>
          </a:xfrm>
          <a:prstGeom prst="rect">
            <a:avLst/>
          </a:prstGeom>
        </p:spPr>
        <p:txBody>
          <a:bodyPr anchor="ctr">
            <a:noAutofit/>
          </a:bodyPr>
          <a:lstStyle>
            <a:lvl1pPr>
              <a:defRPr sz="2400">
                <a:solidFill>
                  <a:srgbClr val="4472C4"/>
                </a:solidFill>
                <a:latin typeface="+mj-lt"/>
                <a:sym typeface="Trebuchet MS" panose="020B0603020202020204" pitchFamily="34" charset="0"/>
              </a:defRPr>
            </a:lvl1pPr>
          </a:lstStyle>
          <a:p>
            <a:r>
              <a:rPr lang="en-US" dirty="0"/>
              <a:t>Click to add title</a:t>
            </a:r>
          </a:p>
        </p:txBody>
      </p:sp>
      <p:sp>
        <p:nvSpPr>
          <p:cNvPr id="11"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solidFill>
                <a:latin typeface="+mn-lt"/>
                <a:sym typeface="Trebuchet MS" panose="020B0603020202020204" pitchFamily="34" charset="0"/>
              </a:rPr>
              <a:t>MX2020 - SteerCo data deep dive.pptx</a:t>
            </a:r>
            <a:endParaRPr lang="en-US" sz="525"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22861113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25667"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l="29398" t="8741" r="101" b="27"/>
          <a:stretch/>
        </p:blipFill>
        <p:spPr bwMode="ltGray">
          <a:xfrm flipV="1">
            <a:off x="7165607" y="0"/>
            <a:ext cx="416951" cy="6858000"/>
          </a:xfrm>
          <a:prstGeom prst="rect">
            <a:avLst/>
          </a:prstGeom>
        </p:spPr>
      </p:pic>
      <p:sp>
        <p:nvSpPr>
          <p:cNvPr id="13" name="Rectangle 12"/>
          <p:cNvSpPr/>
          <p:nvPr userDrawn="1"/>
        </p:nvSpPr>
        <p:spPr bwMode="white">
          <a:xfrm>
            <a:off x="1"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dirty="0">
              <a:solidFill>
                <a:schemeClr val="bg1"/>
              </a:solidFill>
              <a:latin typeface="+mn-lt"/>
              <a:sym typeface="Trebuchet MS" panose="020B0603020202020204" pitchFamily="34" charset="0"/>
            </a:endParaRPr>
          </a:p>
        </p:txBody>
      </p:sp>
      <p:sp>
        <p:nvSpPr>
          <p:cNvPr id="16" name="Date Placeholder 2"/>
          <p:cNvSpPr>
            <a:spLocks noGrp="1"/>
          </p:cNvSpPr>
          <p:nvPr>
            <p:ph type="dt" sz="half" idx="10"/>
          </p:nvPr>
        </p:nvSpPr>
        <p:spPr>
          <a:xfrm>
            <a:off x="9677401" y="6443508"/>
            <a:ext cx="1482051" cy="115416"/>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sym typeface="Trebuchet MS" panose="020B0603020202020204" pitchFamily="34" charset="0"/>
              </a:rPr>
              <a:t>Copyright © 2017 by The Boston Consulting Group, Inc. All rights reserved.</a:t>
            </a:r>
          </a:p>
        </p:txBody>
      </p:sp>
      <p:sp>
        <p:nvSpPr>
          <p:cNvPr id="17" name="TextBox 16"/>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
        <p:nvSpPr>
          <p:cNvPr id="23" name="Title 3"/>
          <p:cNvSpPr>
            <a:spLocks noGrp="1"/>
          </p:cNvSpPr>
          <p:nvPr>
            <p:ph type="title" hasCustomPrompt="1"/>
          </p:nvPr>
        </p:nvSpPr>
        <p:spPr>
          <a:xfrm>
            <a:off x="630000" y="622800"/>
            <a:ext cx="6256800" cy="353174"/>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2550" b="0" i="0" u="none" kern="1200" spc="0">
                <a:solidFill>
                  <a:srgbClr val="4472C4"/>
                </a:solidFill>
                <a:latin typeface="+mj-lt"/>
                <a:sym typeface="Trebuchet MS" panose="020B0603020202020204" pitchFamily="34" charset="0"/>
              </a:defRPr>
            </a:lvl1pPr>
          </a:lstStyle>
          <a:p>
            <a:pPr lvl="0"/>
            <a:r>
              <a:rPr lang="en-US" dirty="0"/>
              <a:t>Click to add title</a:t>
            </a:r>
          </a:p>
        </p:txBody>
      </p:sp>
      <p:sp>
        <p:nvSpPr>
          <p:cNvPr id="11"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solidFill>
                <a:latin typeface="+mn-lt"/>
                <a:sym typeface="Trebuchet MS" panose="020B0603020202020204" pitchFamily="34" charset="0"/>
              </a:rPr>
              <a:t>MX2020 - SteerCo data deep dive.pptx</a:t>
            </a:r>
            <a:endParaRPr lang="en-US" sz="525"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70814505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26691"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l="29398" t="8741" r="101" b="27"/>
          <a:stretch/>
        </p:blipFill>
        <p:spPr bwMode="ltGray">
          <a:xfrm flipH="1">
            <a:off x="3671070" y="0"/>
            <a:ext cx="416951" cy="6858000"/>
          </a:xfrm>
          <a:prstGeom prst="rect">
            <a:avLst/>
          </a:prstGeom>
        </p:spPr>
      </p:pic>
      <p:sp>
        <p:nvSpPr>
          <p:cNvPr id="11" name="Title 4"/>
          <p:cNvSpPr>
            <a:spLocks noGrp="1"/>
          </p:cNvSpPr>
          <p:nvPr>
            <p:ph type="title" hasCustomPrompt="1"/>
          </p:nvPr>
        </p:nvSpPr>
        <p:spPr>
          <a:xfrm>
            <a:off x="630001" y="2681103"/>
            <a:ext cx="3127881" cy="1495794"/>
          </a:xfrm>
          <a:prstGeom prst="rect">
            <a:avLst/>
          </a:prstGeom>
        </p:spPr>
        <p:txBody>
          <a:bodyPr anchor="ctr">
            <a:noAutofit/>
          </a:bodyPr>
          <a:lstStyle>
            <a:lvl1pPr>
              <a:defRPr sz="2400">
                <a:solidFill>
                  <a:schemeClr val="bg1"/>
                </a:solidFill>
                <a:latin typeface="+mj-lt"/>
                <a:sym typeface="Trebuchet MS" panose="020B0603020202020204" pitchFamily="34" charset="0"/>
              </a:defRPr>
            </a:lvl1pPr>
          </a:lstStyle>
          <a:p>
            <a:r>
              <a:rPr lang="en-US" dirty="0"/>
              <a:t>Click to add title</a:t>
            </a:r>
          </a:p>
        </p:txBody>
      </p:sp>
      <p:sp>
        <p:nvSpPr>
          <p:cNvPr id="13" name="Rectangle 12"/>
          <p:cNvSpPr/>
          <p:nvPr userDrawn="1"/>
        </p:nvSpPr>
        <p:spPr bwMode="white">
          <a:xfrm>
            <a:off x="4080764"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dirty="0">
              <a:solidFill>
                <a:schemeClr val="bg1"/>
              </a:solidFill>
              <a:latin typeface="+mn-lt"/>
              <a:sym typeface="Trebuchet MS" panose="020B0603020202020204" pitchFamily="34" charset="0"/>
            </a:endParaRPr>
          </a:p>
        </p:txBody>
      </p:sp>
      <p:sp>
        <p:nvSpPr>
          <p:cNvPr id="16"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12" name="Date Placeholder 1"/>
          <p:cNvSpPr>
            <a:spLocks noGrp="1"/>
          </p:cNvSpPr>
          <p:nvPr>
            <p:ph type="dt" sz="half" idx="29"/>
          </p:nvPr>
        </p:nvSpPr>
        <p:spPr>
          <a:xfrm>
            <a:off x="9677401" y="6443508"/>
            <a:ext cx="1482051" cy="115416"/>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TextBox 14"/>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lumMod val="50000"/>
                </a:schemeClr>
              </a:solidFill>
              <a:latin typeface="+mn-lt"/>
              <a:ea typeface="+mn-ea"/>
              <a:cs typeface="+mn-cs"/>
              <a:sym typeface="Trebuchet MS" panose="020B0603020202020204" pitchFamily="34" charset="0"/>
            </a:endParaRPr>
          </a:p>
        </p:txBody>
      </p:sp>
      <p:sp>
        <p:nvSpPr>
          <p:cNvPr id="14"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lumMod val="50000"/>
                  </a:schemeClr>
                </a:solidFill>
                <a:latin typeface="+mn-lt"/>
                <a:sym typeface="Trebuchet MS" panose="020B0603020202020204" pitchFamily="34" charset="0"/>
              </a:rPr>
              <a:t>MX2020 - SteerCo data deep dive.pptx</a:t>
            </a:r>
            <a:endParaRPr lang="en-US" sz="525"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8606585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27715"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pic>
        <p:nvPicPr>
          <p:cNvPr id="11" name="Picture 10"/>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l="29398" t="8741" r="101" b="27"/>
          <a:stretch/>
        </p:blipFill>
        <p:spPr bwMode="ltGray">
          <a:xfrm flipH="1">
            <a:off x="5689583" y="0"/>
            <a:ext cx="416951" cy="6858000"/>
          </a:xfrm>
          <a:prstGeom prst="rect">
            <a:avLst/>
          </a:prstGeom>
        </p:spPr>
      </p:pic>
      <p:sp>
        <p:nvSpPr>
          <p:cNvPr id="12" name="Rectangle 11"/>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750"/>
              </a:spcAft>
            </a:pPr>
            <a:endParaRPr lang="en-US" sz="900" dirty="0">
              <a:solidFill>
                <a:schemeClr val="bg1"/>
              </a:solidFill>
              <a:latin typeface="+mn-lt"/>
              <a:sym typeface="Trebuchet MS" panose="020B0603020202020204" pitchFamily="34" charset="0"/>
            </a:endParaRPr>
          </a:p>
        </p:txBody>
      </p:sp>
      <p:sp>
        <p:nvSpPr>
          <p:cNvPr id="13" name="Picture Placeholder 18"/>
          <p:cNvSpPr>
            <a:spLocks noGrp="1"/>
          </p:cNvSpPr>
          <p:nvPr>
            <p:ph type="pic" sz="quarter" idx="14" hasCustomPrompt="1"/>
          </p:nvPr>
        </p:nvSpPr>
        <p:spPr>
          <a:xfrm>
            <a:off x="6092022" y="0"/>
            <a:ext cx="6099977" cy="6858000"/>
          </a:xfrm>
          <a:prstGeom prst="rect">
            <a:avLst/>
          </a:prstGeom>
          <a:noFill/>
        </p:spPr>
        <p:txBody>
          <a:bodyPr lIns="914400" tIns="914400" rIns="914400" bIns="914400"/>
          <a:lstStyle>
            <a:lvl1pPr algn="ctr">
              <a:defRPr sz="135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wrap="square" lIns="0" tIns="0" rIns="320040" bIns="0" anchor="ctr">
            <a:noAutofit/>
          </a:bodyPr>
          <a:lstStyle>
            <a:lvl1pPr>
              <a:defRPr sz="3300">
                <a:solidFill>
                  <a:schemeClr val="bg1"/>
                </a:solidFill>
                <a:latin typeface="+mj-lt"/>
                <a:sym typeface="Trebuchet MS" panose="020B0603020202020204" pitchFamily="34" charset="0"/>
              </a:defRPr>
            </a:lvl1pPr>
          </a:lstStyle>
          <a:p>
            <a:r>
              <a:rPr lang="en-US" dirty="0"/>
              <a:t>Click to add title</a:t>
            </a:r>
          </a:p>
        </p:txBody>
      </p:sp>
      <p:sp>
        <p:nvSpPr>
          <p:cNvPr id="15" name="TextBox 14"/>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600" kern="1200" dirty="0">
              <a:solidFill>
                <a:schemeClr val="bg1">
                  <a:lumMod val="50000"/>
                </a:schemeClr>
              </a:solidFill>
              <a:latin typeface="+mn-lt"/>
              <a:ea typeface="+mn-ea"/>
              <a:cs typeface="+mn-cs"/>
              <a:sym typeface="Trebuchet MS" panose="020B0603020202020204" pitchFamily="34" charset="0"/>
            </a:endParaRPr>
          </a:p>
        </p:txBody>
      </p:sp>
      <p:sp>
        <p:nvSpPr>
          <p:cNvPr id="16" name="Date Placeholder 2"/>
          <p:cNvSpPr>
            <a:spLocks noGrp="1"/>
          </p:cNvSpPr>
          <p:nvPr>
            <p:ph type="dt" sz="half" idx="15"/>
          </p:nvPr>
        </p:nvSpPr>
        <p:spPr>
          <a:xfrm>
            <a:off x="9677401" y="6443508"/>
            <a:ext cx="1482051" cy="115416"/>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1"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17"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lumMod val="50000"/>
                  </a:schemeClr>
                </a:solidFill>
                <a:latin typeface="+mn-lt"/>
                <a:sym typeface="Trebuchet MS" panose="020B0603020202020204" pitchFamily="34" charset="0"/>
              </a:rPr>
              <a:t>MX2020 - SteerCo data deep dive.pptx</a:t>
            </a:r>
            <a:endParaRPr lang="en-US" sz="525"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63354421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4" name="Line 35"/>
          <p:cNvSpPr>
            <a:spLocks noChangeShapeType="1"/>
          </p:cNvSpPr>
          <p:nvPr userDrawn="1"/>
        </p:nvSpPr>
        <p:spPr bwMode="gray">
          <a:xfrm>
            <a:off x="557948" y="679218"/>
            <a:ext cx="11139605" cy="0"/>
          </a:xfrm>
          <a:prstGeom prst="line">
            <a:avLst/>
          </a:prstGeom>
          <a:noFill/>
          <a:ln w="19050">
            <a:solidFill>
              <a:schemeClr val="accent1"/>
            </a:solidFill>
            <a:round/>
            <a:headEnd/>
            <a:tailEnd/>
          </a:ln>
          <a:extLst>
            <a:ext uri="{909E8E84-426E-40DD-AFC4-6F175D3DCCD1}">
              <a14:hiddenFill xmlns:a14="http://schemas.microsoft.com/office/drawing/2010/main">
                <a:noFill/>
              </a14:hiddenFill>
            </a:ext>
          </a:extLst>
        </p:spPr>
        <p:txBody>
          <a:bodyPr wrap="none" lIns="91382" tIns="45690" rIns="91382" bIns="45690" anchor="ctr"/>
          <a:lstStyle/>
          <a:p>
            <a:pPr eaLnBrk="0" fontAlgn="base" hangingPunct="0">
              <a:spcBef>
                <a:spcPct val="0"/>
              </a:spcBef>
              <a:spcAft>
                <a:spcPct val="0"/>
              </a:spcAft>
            </a:pPr>
            <a:endParaRPr lang="es-MX" sz="1800">
              <a:solidFill>
                <a:srgbClr val="000000"/>
              </a:solidFill>
              <a:cs typeface="Arial" panose="020B0604020202020204" pitchFamily="34" charset="0"/>
            </a:endParaRPr>
          </a:p>
        </p:txBody>
      </p:sp>
      <p:sp>
        <p:nvSpPr>
          <p:cNvPr id="2" name="Title 1"/>
          <p:cNvSpPr>
            <a:spLocks noGrp="1"/>
          </p:cNvSpPr>
          <p:nvPr>
            <p:ph type="title"/>
          </p:nvPr>
        </p:nvSpPr>
        <p:spPr>
          <a:xfrm>
            <a:off x="544482" y="350114"/>
            <a:ext cx="11230029" cy="329106"/>
          </a:xfrm>
        </p:spPr>
        <p:txBody>
          <a:bodyPr/>
          <a:lstStyle/>
          <a:p>
            <a:r>
              <a:rPr lang="en-US" dirty="0"/>
              <a:t>Click to edit Master title style</a:t>
            </a:r>
            <a:endParaRPr lang="es-MX"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s-MX" dirty="0"/>
          </a:p>
        </p:txBody>
      </p:sp>
      <p:sp>
        <p:nvSpPr>
          <p:cNvPr id="5" name="Slide Number Placeholder 9"/>
          <p:cNvSpPr>
            <a:spLocks noGrp="1"/>
          </p:cNvSpPr>
          <p:nvPr>
            <p:ph type="sldNum" sz="quarter" idx="10"/>
          </p:nvPr>
        </p:nvSpPr>
        <p:spPr/>
        <p:txBody>
          <a:bodyPr/>
          <a:lstStyle>
            <a:lvl1pPr>
              <a:defRPr/>
            </a:lvl1pPr>
          </a:lstStyle>
          <a:p>
            <a:pPr>
              <a:defRPr/>
            </a:pPr>
            <a:fld id="{E17819D7-74CB-4B65-9AC3-D4A2007CCA09}" type="slidenum">
              <a:rPr lang="en-US" altLang="es-MX">
                <a:solidFill>
                  <a:srgbClr val="002776"/>
                </a:solidFill>
              </a:rPr>
              <a:pPr>
                <a:defRPr/>
              </a:pPr>
              <a:t>‹#›</a:t>
            </a:fld>
            <a:endParaRPr lang="en-US" altLang="es-MX">
              <a:solidFill>
                <a:srgbClr val="002776"/>
              </a:solidFill>
            </a:endParaRPr>
          </a:p>
        </p:txBody>
      </p:sp>
      <p:sp>
        <p:nvSpPr>
          <p:cNvPr id="6" name="Footer Placeholder 10"/>
          <p:cNvSpPr>
            <a:spLocks noGrp="1"/>
          </p:cNvSpPr>
          <p:nvPr>
            <p:ph type="ftr" sz="quarter" idx="11"/>
          </p:nvPr>
        </p:nvSpPr>
        <p:spPr/>
        <p:txBody>
          <a:bodyPr/>
          <a:lstStyle>
            <a:lvl1pPr>
              <a:defRPr/>
            </a:lvl1pPr>
          </a:lstStyle>
          <a:p>
            <a:pPr>
              <a:defRPr/>
            </a:pPr>
            <a:r>
              <a:rPr lang="en-US">
                <a:solidFill>
                  <a:srgbClr val="002776"/>
                </a:solidFill>
              </a:rPr>
              <a:t>Footer</a:t>
            </a:r>
          </a:p>
        </p:txBody>
      </p:sp>
    </p:spTree>
    <p:extLst>
      <p:ext uri="{BB962C8B-B14F-4D97-AF65-F5344CB8AC3E}">
        <p14:creationId xmlns:p14="http://schemas.microsoft.com/office/powerpoint/2010/main" val="4293051869"/>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28739"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pic>
        <p:nvPicPr>
          <p:cNvPr id="9" name="Picture 8"/>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l="29398" t="8741" r="101" b="27"/>
          <a:stretch/>
        </p:blipFill>
        <p:spPr bwMode="ltGray">
          <a:xfrm flipH="1">
            <a:off x="7409850" y="0"/>
            <a:ext cx="416951" cy="6858000"/>
          </a:xfrm>
          <a:prstGeom prst="rect">
            <a:avLst/>
          </a:prstGeom>
        </p:spPr>
      </p:pic>
      <p:sp>
        <p:nvSpPr>
          <p:cNvPr id="10" name="Rectangle 9"/>
          <p:cNvSpPr/>
          <p:nvPr userDrawn="1"/>
        </p:nvSpPr>
        <p:spPr bwMode="gray">
          <a:xfrm>
            <a:off x="7819545"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dirty="0">
              <a:solidFill>
                <a:schemeClr val="bg1"/>
              </a:solidFill>
              <a:latin typeface="+mn-lt"/>
              <a:sym typeface="Trebuchet MS" panose="020B0603020202020204" pitchFamily="34" charset="0"/>
            </a:endParaRPr>
          </a:p>
        </p:txBody>
      </p:sp>
      <p:sp>
        <p:nvSpPr>
          <p:cNvPr id="11" name="Picture Placeholder 5"/>
          <p:cNvSpPr>
            <a:spLocks noGrp="1"/>
          </p:cNvSpPr>
          <p:nvPr>
            <p:ph type="pic" sz="quarter" idx="11" hasCustomPrompt="1"/>
          </p:nvPr>
        </p:nvSpPr>
        <p:spPr>
          <a:xfrm>
            <a:off x="7820026" y="0"/>
            <a:ext cx="4371975" cy="6858000"/>
          </a:xfrm>
          <a:prstGeom prst="rect">
            <a:avLst/>
          </a:prstGeom>
          <a:noFill/>
        </p:spPr>
        <p:txBody>
          <a:bodyPr lIns="182880" tIns="914400" rIns="182880" bIns="914400"/>
          <a:lstStyle>
            <a:lvl1pPr algn="ctr">
              <a:defRPr sz="12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2" name="Date Placeholder 2"/>
          <p:cNvSpPr>
            <a:spLocks noGrp="1"/>
          </p:cNvSpPr>
          <p:nvPr>
            <p:ph type="dt" sz="half" idx="12"/>
          </p:nvPr>
        </p:nvSpPr>
        <p:spPr>
          <a:xfrm>
            <a:off x="9677401" y="6443508"/>
            <a:ext cx="1482051" cy="115416"/>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Copyright" hidden="1"/>
          <p:cNvSpPr txBox="1"/>
          <p:nvPr userDrawn="1"/>
        </p:nvSpPr>
        <p:spPr>
          <a:xfrm rot="16200000">
            <a:off x="9486902" y="3929410"/>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14" name="Title 1"/>
          <p:cNvSpPr>
            <a:spLocks noGrp="1"/>
          </p:cNvSpPr>
          <p:nvPr>
            <p:ph type="title" hasCustomPrompt="1"/>
          </p:nvPr>
        </p:nvSpPr>
        <p:spPr bwMode="blackWhite">
          <a:xfrm>
            <a:off x="630000" y="1804650"/>
            <a:ext cx="6247552" cy="3286800"/>
          </a:xfrm>
          <a:prstGeom prst="rect">
            <a:avLst/>
          </a:prstGeom>
        </p:spPr>
        <p:txBody>
          <a:bodyPr anchor="ctr">
            <a:noAutofit/>
          </a:bodyPr>
          <a:lstStyle>
            <a:lvl1pPr>
              <a:defRPr sz="3300">
                <a:solidFill>
                  <a:schemeClr val="bg1"/>
                </a:solidFill>
                <a:latin typeface="+mj-lt"/>
                <a:sym typeface="Trebuchet MS" panose="020B0603020202020204" pitchFamily="34" charset="0"/>
              </a:defRPr>
            </a:lvl1pPr>
          </a:lstStyle>
          <a:p>
            <a:r>
              <a:rPr lang="en-US" dirty="0"/>
              <a:t>Click to edit title</a:t>
            </a:r>
          </a:p>
        </p:txBody>
      </p:sp>
      <p:sp>
        <p:nvSpPr>
          <p:cNvPr id="13" name="TextBox 12"/>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600" kern="1200" dirty="0">
              <a:solidFill>
                <a:schemeClr val="bg1">
                  <a:lumMod val="50000"/>
                </a:schemeClr>
              </a:solidFill>
              <a:latin typeface="+mn-lt"/>
              <a:ea typeface="+mn-ea"/>
              <a:cs typeface="+mn-cs"/>
              <a:sym typeface="Trebuchet MS" panose="020B0603020202020204" pitchFamily="34" charset="0"/>
            </a:endParaRPr>
          </a:p>
        </p:txBody>
      </p:sp>
      <p:sp>
        <p:nvSpPr>
          <p:cNvPr id="16"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lumMod val="50000"/>
                  </a:schemeClr>
                </a:solidFill>
                <a:latin typeface="+mn-lt"/>
                <a:sym typeface="Trebuchet MS" panose="020B0603020202020204" pitchFamily="34" charset="0"/>
              </a:rPr>
              <a:t>MX2020 - SteerCo data deep dive.pptx</a:t>
            </a:r>
            <a:endParaRPr lang="en-US" sz="525"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7792624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29763"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pic>
        <p:nvPicPr>
          <p:cNvPr id="15" name="Picture 2"/>
          <p:cNvPicPr>
            <a:picLocks noChangeAspect="1" noChangeArrowheads="1"/>
          </p:cNvPicPr>
          <p:nvPr userDrawn="1"/>
        </p:nvPicPr>
        <p:blipFill>
          <a:blip r:embed="rId7">
            <a:biLevel thresh="50000"/>
            <a:extLst>
              <a:ext uri="{28A0092B-C50C-407E-A947-70E740481C1C}">
                <a14:useLocalDpi xmlns:a14="http://schemas.microsoft.com/office/drawing/2010/main" val="0"/>
              </a:ext>
            </a:extLst>
          </a:blip>
          <a:srcRect/>
          <a:stretch>
            <a:fillRect/>
          </a:stretch>
        </p:blipFill>
        <p:spPr bwMode="auto">
          <a:xfrm>
            <a:off x="3108637" y="3594368"/>
            <a:ext cx="1365251" cy="3382962"/>
          </a:xfrm>
          <a:prstGeom prst="rect">
            <a:avLst/>
          </a:prstGeom>
          <a:noFill/>
          <a:extLst>
            <a:ext uri="{909E8E84-426E-40DD-AFC4-6F175D3DCCD1}">
              <a14:hiddenFill xmlns:a14="http://schemas.microsoft.com/office/drawing/2010/main">
                <a:solidFill>
                  <a:srgbClr val="FFFFFF"/>
                </a:solidFill>
              </a14:hiddenFill>
            </a:ext>
          </a:extLst>
        </p:spPr>
      </p:pic>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750"/>
              </a:spcAft>
            </a:pPr>
            <a:endParaRPr lang="en-US" sz="900" dirty="0">
              <a:solidFill>
                <a:prstClr val="white"/>
              </a:solidFill>
              <a:latin typeface="+mn-lt"/>
              <a:sym typeface="Trebuchet MS" panose="020B0603020202020204" pitchFamily="34" charset="0"/>
            </a:endParaRPr>
          </a:p>
        </p:txBody>
      </p:sp>
      <p:sp>
        <p:nvSpPr>
          <p:cNvPr id="5" name="Date Placeholder 4"/>
          <p:cNvSpPr>
            <a:spLocks noGrp="1"/>
          </p:cNvSpPr>
          <p:nvPr>
            <p:ph type="dt" sz="half" idx="10"/>
          </p:nvPr>
        </p:nvSpPr>
        <p:spPr>
          <a:xfrm>
            <a:off x="9677401" y="6443508"/>
            <a:ext cx="1482051" cy="115416"/>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sym typeface="Trebuchet MS" panose="020B0603020202020204" pitchFamily="34" charset="0"/>
              </a:rPr>
              <a:t>Copyright © 2017 by The Boston Consulting Group, Inc. All rights reserved.</a:t>
            </a:r>
          </a:p>
        </p:txBody>
      </p:sp>
      <p:sp>
        <p:nvSpPr>
          <p:cNvPr id="12" name="TextBox 11"/>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
        <p:nvSpPr>
          <p:cNvPr id="7" name="Title 6"/>
          <p:cNvSpPr>
            <a:spLocks noGrp="1"/>
          </p:cNvSpPr>
          <p:nvPr>
            <p:ph type="title" hasCustomPrompt="1"/>
          </p:nvPr>
        </p:nvSpPr>
        <p:spPr>
          <a:xfrm>
            <a:off x="630001" y="2764205"/>
            <a:ext cx="2478639" cy="1314311"/>
          </a:xfrm>
        </p:spPr>
        <p:txBody>
          <a:bodyPr anchor="ctr" anchorCtr="0">
            <a:noAutofit/>
          </a:bodyPr>
          <a:lstStyle>
            <a:lvl1pPr>
              <a:defRPr sz="2400"/>
            </a:lvl1pPr>
          </a:lstStyle>
          <a:p>
            <a:r>
              <a:rPr lang="en-US" dirty="0"/>
              <a:t>Click to add title</a:t>
            </a:r>
            <a:endParaRPr lang="en-GB" dirty="0"/>
          </a:p>
        </p:txBody>
      </p:sp>
      <p:sp>
        <p:nvSpPr>
          <p:cNvPr id="10"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solidFill>
                <a:latin typeface="+mn-lt"/>
                <a:sym typeface="Trebuchet MS" panose="020B0603020202020204" pitchFamily="34" charset="0"/>
              </a:rPr>
              <a:t>MX2020 - SteerCo data deep dive.pptx</a:t>
            </a:r>
            <a:endParaRPr lang="en-US" sz="525"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424910923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30787"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750"/>
              </a:spcAft>
            </a:pPr>
            <a:endParaRPr lang="en-US" sz="9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1" y="2764205"/>
            <a:ext cx="2478639" cy="1314311"/>
          </a:xfrm>
        </p:spPr>
        <p:txBody>
          <a:bodyPr anchor="ctr" anchorCtr="0">
            <a:noAutofit/>
          </a:bodyPr>
          <a:lstStyle>
            <a:lvl1pPr>
              <a:defRPr sz="2400" baseline="0">
                <a:solidFill>
                  <a:srgbClr val="FFFFFF"/>
                </a:solidFill>
                <a:latin typeface="+mj-lt"/>
              </a:defRPr>
            </a:lvl1pPr>
          </a:lstStyle>
          <a:p>
            <a:r>
              <a:rPr lang="en-US" dirty="0"/>
              <a:t>Click to add title</a:t>
            </a:r>
          </a:p>
        </p:txBody>
      </p:sp>
      <p:pic>
        <p:nvPicPr>
          <p:cNvPr id="4" name="Picture 3"/>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t="6216" b="7716"/>
          <a:stretch/>
        </p:blipFill>
        <p:spPr>
          <a:xfrm rot="120000">
            <a:off x="2141308" y="3402830"/>
            <a:ext cx="2694667" cy="3461745"/>
          </a:xfrm>
          <a:prstGeom prst="rect">
            <a:avLst/>
          </a:prstGeom>
        </p:spPr>
      </p:pic>
      <p:sp>
        <p:nvSpPr>
          <p:cNvPr id="13" name="Date Placeholder 3"/>
          <p:cNvSpPr>
            <a:spLocks noGrp="1"/>
          </p:cNvSpPr>
          <p:nvPr>
            <p:ph type="dt" sz="half" idx="2"/>
          </p:nvPr>
        </p:nvSpPr>
        <p:spPr>
          <a:xfrm>
            <a:off x="9677401" y="6443508"/>
            <a:ext cx="1482051" cy="115416"/>
          </a:xfrm>
          <a:prstGeom prst="rect">
            <a:avLst/>
          </a:prstGeom>
        </p:spPr>
        <p:txBody>
          <a:bodyPr vert="horz" wrap="square" lIns="0" tIns="0" rIns="0" bIns="0" rtlCol="0" anchor="b">
            <a:spAutoFit/>
          </a:bodyPr>
          <a:lstStyle>
            <a:lvl1pPr algn="r">
              <a:defRPr sz="75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17"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lumMod val="50000"/>
                  </a:schemeClr>
                </a:solidFill>
                <a:latin typeface="+mn-lt"/>
                <a:sym typeface="Trebuchet MS" panose="020B0603020202020204" pitchFamily="34" charset="0"/>
              </a:rPr>
              <a:t>MX2020 - SteerCo data deep dive.pptx</a:t>
            </a:r>
            <a:endParaRPr lang="en-US" sz="525"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1148239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31811"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sp>
        <p:nvSpPr>
          <p:cNvPr id="5" name="TextBox 4"/>
          <p:cNvSpPr txBox="1"/>
          <p:nvPr/>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600" kern="1200" dirty="0">
              <a:solidFill>
                <a:schemeClr val="bg1"/>
              </a:solidFill>
              <a:latin typeface="+mn-lt"/>
              <a:ea typeface="+mn-ea"/>
              <a:cs typeface="+mn-cs"/>
              <a:sym typeface="Trebuchet MS" panose="020B0603020202020204" pitchFamily="34" charset="0"/>
            </a:endParaRPr>
          </a:p>
        </p:txBody>
      </p:sp>
      <p:sp>
        <p:nvSpPr>
          <p:cNvPr id="8" name="Date Placeholder 7"/>
          <p:cNvSpPr>
            <a:spLocks noGrp="1"/>
          </p:cNvSpPr>
          <p:nvPr>
            <p:ph type="dt" sz="half" idx="11"/>
          </p:nvPr>
        </p:nvSpPr>
        <p:spPr>
          <a:xfrm>
            <a:off x="9677401" y="6443508"/>
            <a:ext cx="1482051" cy="115416"/>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sym typeface="Trebuchet MS" panose="020B0603020202020204" pitchFamily="34" charset="0"/>
              </a:rPr>
              <a:t>Copyright © 2017 by The Boston Consulting Group, Inc. All rights reserved.</a:t>
            </a:r>
          </a:p>
        </p:txBody>
      </p:sp>
      <p:pic>
        <p:nvPicPr>
          <p:cNvPr id="11" name="Picture 2"/>
          <p:cNvPicPr>
            <a:picLocks noChangeAspect="1" noChangeArrowheads="1"/>
          </p:cNvPicPr>
          <p:nvPr userDrawn="1"/>
        </p:nvPicPr>
        <p:blipFill>
          <a:blip r:embed="rId7">
            <a:biLevel thresh="50000"/>
            <a:extLst>
              <a:ext uri="{28A0092B-C50C-407E-A947-70E740481C1C}">
                <a14:useLocalDpi xmlns:a14="http://schemas.microsoft.com/office/drawing/2010/main" val="0"/>
              </a:ext>
            </a:extLst>
          </a:blip>
          <a:srcRect/>
          <a:stretch>
            <a:fillRect/>
          </a:stretch>
        </p:blipFill>
        <p:spPr bwMode="auto">
          <a:xfrm>
            <a:off x="4533902" y="3395664"/>
            <a:ext cx="1298575" cy="3571875"/>
          </a:xfrm>
          <a:prstGeom prst="rect">
            <a:avLst/>
          </a:prstGeom>
          <a:noFill/>
          <a:extLst>
            <a:ext uri="{909E8E84-426E-40DD-AFC4-6F175D3DCCD1}">
              <a14:hiddenFill xmlns:a14="http://schemas.microsoft.com/office/drawing/2010/main">
                <a:solidFill>
                  <a:srgbClr val="FFFFFF"/>
                </a:solidFill>
              </a14:hiddenFill>
            </a:ext>
          </a:extLst>
        </p:spPr>
      </p:pic>
      <p:sp>
        <p:nvSpPr>
          <p:cNvPr id="13" name="Pentagon 3"/>
          <p:cNvSpPr/>
          <p:nvPr userDrawn="1"/>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750"/>
              </a:spcAft>
            </a:pPr>
            <a:endParaRPr lang="en-US" sz="9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1" y="1785600"/>
            <a:ext cx="4062235" cy="3286800"/>
          </a:xfrm>
          <a:prstGeom prst="rect">
            <a:avLst/>
          </a:prstGeom>
        </p:spPr>
        <p:txBody>
          <a:bodyPr anchor="ctr">
            <a:noAutofit/>
          </a:bodyPr>
          <a:lstStyle>
            <a:lvl1pPr>
              <a:defRPr sz="3300" b="0">
                <a:solidFill>
                  <a:srgbClr val="4472C4"/>
                </a:solidFill>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solidFill>
                <a:latin typeface="+mn-lt"/>
                <a:sym typeface="Trebuchet MS" panose="020B0603020202020204" pitchFamily="34" charset="0"/>
              </a:rPr>
              <a:t>MX2020 - SteerCo data deep dive.pptx</a:t>
            </a:r>
            <a:endParaRPr lang="en-US" sz="525"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74038284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32835"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sp>
        <p:nvSpPr>
          <p:cNvPr id="13"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750"/>
              </a:spcAft>
            </a:pPr>
            <a:endParaRPr lang="en-US" sz="9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1" y="1785600"/>
            <a:ext cx="4062235" cy="3286800"/>
          </a:xfrm>
          <a:prstGeom prst="rect">
            <a:avLst/>
          </a:prstGeom>
        </p:spPr>
        <p:txBody>
          <a:bodyPr anchor="ctr">
            <a:noAutofit/>
          </a:bodyPr>
          <a:lstStyle>
            <a:lvl1pPr>
              <a:defRPr sz="3300" b="0">
                <a:solidFill>
                  <a:srgbClr val="FFFFFF"/>
                </a:solidFill>
                <a:latin typeface="+mj-lt"/>
                <a:sym typeface="Trebuchet MS" panose="020B0603020202020204" pitchFamily="34" charset="0"/>
              </a:defRPr>
            </a:lvl1pPr>
          </a:lstStyle>
          <a:p>
            <a:r>
              <a:rPr lang="en-US" dirty="0"/>
              <a:t>Click to add title</a:t>
            </a:r>
          </a:p>
        </p:txBody>
      </p:sp>
      <p:pic>
        <p:nvPicPr>
          <p:cNvPr id="20" name="Picture 19"/>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t="7562" b="6867"/>
          <a:stretch/>
        </p:blipFill>
        <p:spPr>
          <a:xfrm>
            <a:off x="3549481" y="3416300"/>
            <a:ext cx="2694667" cy="3441700"/>
          </a:xfrm>
          <a:prstGeom prst="rect">
            <a:avLst/>
          </a:prstGeom>
        </p:spPr>
      </p:pic>
      <p:sp>
        <p:nvSpPr>
          <p:cNvPr id="11" name="Date Placeholder 3"/>
          <p:cNvSpPr>
            <a:spLocks noGrp="1"/>
          </p:cNvSpPr>
          <p:nvPr>
            <p:ph type="dt" sz="half" idx="2"/>
          </p:nvPr>
        </p:nvSpPr>
        <p:spPr>
          <a:xfrm>
            <a:off x="9677401" y="6443508"/>
            <a:ext cx="1482051" cy="115416"/>
          </a:xfrm>
          <a:prstGeom prst="rect">
            <a:avLst/>
          </a:prstGeom>
        </p:spPr>
        <p:txBody>
          <a:bodyPr vert="horz" wrap="square" lIns="0" tIns="0" rIns="0" bIns="0" rtlCol="0" anchor="b">
            <a:spAutoFit/>
          </a:bodyPr>
          <a:lstStyle>
            <a:lvl1pPr algn="r">
              <a:defRPr sz="75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18"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lumMod val="50000"/>
                  </a:schemeClr>
                </a:solidFill>
                <a:latin typeface="+mn-lt"/>
                <a:sym typeface="Trebuchet MS" panose="020B0603020202020204" pitchFamily="34" charset="0"/>
              </a:rPr>
              <a:t>MX2020 - SteerCo data deep dive.pptx</a:t>
            </a:r>
            <a:endParaRPr lang="en-US" sz="525"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65563819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33859"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sp>
        <p:nvSpPr>
          <p:cNvPr id="8" name="Date Placeholder 7"/>
          <p:cNvSpPr>
            <a:spLocks noGrp="1"/>
          </p:cNvSpPr>
          <p:nvPr>
            <p:ph type="dt" sz="half" idx="16"/>
          </p:nvPr>
        </p:nvSpPr>
        <p:spPr>
          <a:xfrm>
            <a:off x="9677401" y="6443508"/>
            <a:ext cx="1482051" cy="115416"/>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sym typeface="Trebuchet MS" panose="020B0603020202020204" pitchFamily="34" charset="0"/>
              </a:rPr>
              <a:t>Copyright © 2017 by The Boston Consulting Group, Inc. All rights reserved.</a:t>
            </a:r>
          </a:p>
        </p:txBody>
      </p:sp>
      <p:sp>
        <p:nvSpPr>
          <p:cNvPr id="15" name="TextBox 14"/>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pic>
        <p:nvPicPr>
          <p:cNvPr id="13" name="Picture 2"/>
          <p:cNvPicPr>
            <a:picLocks noChangeAspect="1" noChangeArrowheads="1"/>
          </p:cNvPicPr>
          <p:nvPr userDrawn="1"/>
        </p:nvPicPr>
        <p:blipFill>
          <a:blip r:embed="rId7">
            <a:biLevel thresh="50000"/>
            <a:extLst>
              <a:ext uri="{28A0092B-C50C-407E-A947-70E740481C1C}">
                <a14:useLocalDpi xmlns:a14="http://schemas.microsoft.com/office/drawing/2010/main" val="0"/>
              </a:ext>
            </a:extLst>
          </a:blip>
          <a:srcRect/>
          <a:stretch>
            <a:fillRect/>
          </a:stretch>
        </p:blipFill>
        <p:spPr bwMode="auto">
          <a:xfrm>
            <a:off x="5378757" y="3589606"/>
            <a:ext cx="1365251" cy="3382962"/>
          </a:xfrm>
          <a:prstGeom prst="rect">
            <a:avLst/>
          </a:prstGeom>
          <a:noFill/>
          <a:extLst>
            <a:ext uri="{909E8E84-426E-40DD-AFC4-6F175D3DCCD1}">
              <a14:hiddenFill xmlns:a14="http://schemas.microsoft.com/office/drawing/2010/main">
                <a:solidFill>
                  <a:srgbClr val="FFFFFF"/>
                </a:solidFill>
              </a14:hiddenFill>
            </a:ext>
          </a:extLst>
        </p:spPr>
      </p:pic>
      <p:sp>
        <p:nvSpPr>
          <p:cNvPr id="14" name="Pentagon 8"/>
          <p:cNvSpPr/>
          <p:nvPr userDrawn="1"/>
        </p:nvSpPr>
        <p:spPr bwMode="white">
          <a:xfrm>
            <a:off x="0" y="0"/>
            <a:ext cx="6363547"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750"/>
              </a:spcAft>
            </a:pPr>
            <a:endParaRPr lang="en-US" sz="9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1" y="622800"/>
            <a:ext cx="4673647" cy="353174"/>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2550" b="0" i="0" u="none" kern="1200" spc="0">
                <a:solidFill>
                  <a:srgbClr val="4472C4"/>
                </a:solidFill>
                <a:latin typeface="+mj-lt"/>
                <a:sym typeface="Trebuchet MS" panose="020B0603020202020204" pitchFamily="34" charset="0"/>
              </a:defRPr>
            </a:lvl1pPr>
          </a:lstStyle>
          <a:p>
            <a:pPr lvl="0"/>
            <a:r>
              <a:rPr lang="en-US" dirty="0"/>
              <a:t>Click to add title</a:t>
            </a:r>
          </a:p>
        </p:txBody>
      </p:sp>
      <p:sp>
        <p:nvSpPr>
          <p:cNvPr id="10"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solidFill>
                <a:latin typeface="+mn-lt"/>
                <a:sym typeface="Trebuchet MS" panose="020B0603020202020204" pitchFamily="34" charset="0"/>
              </a:rPr>
              <a:t>MX2020 - SteerCo data deep dive.pptx</a:t>
            </a:r>
            <a:endParaRPr lang="en-US" sz="525"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16128863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34883"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sp>
        <p:nvSpPr>
          <p:cNvPr id="14" name="Pentagon 8"/>
          <p:cNvSpPr/>
          <p:nvPr userDrawn="1"/>
        </p:nvSpPr>
        <p:spPr bwMode="white">
          <a:xfrm>
            <a:off x="0" y="0"/>
            <a:ext cx="6363547"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750"/>
              </a:spcAft>
            </a:pPr>
            <a:endParaRPr lang="en-US" sz="9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1" y="622800"/>
            <a:ext cx="4673647" cy="353174"/>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2550" b="0" i="0" u="none" kern="1200" spc="0">
                <a:solidFill>
                  <a:srgbClr val="FFFFFF"/>
                </a:solidFill>
                <a:latin typeface="+mj-lt"/>
                <a:sym typeface="Trebuchet MS" panose="020B0603020202020204" pitchFamily="34" charset="0"/>
              </a:defRPr>
            </a:lvl1pPr>
          </a:lstStyle>
          <a:p>
            <a:pPr lvl="0"/>
            <a:r>
              <a:rPr lang="en-US" dirty="0"/>
              <a:t>Click to add title</a:t>
            </a:r>
          </a:p>
        </p:txBody>
      </p:sp>
      <p:pic>
        <p:nvPicPr>
          <p:cNvPr id="17" name="Picture 16"/>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t="9052" b="6867"/>
          <a:stretch/>
        </p:blipFill>
        <p:spPr>
          <a:xfrm rot="120000">
            <a:off x="4428421" y="3407805"/>
            <a:ext cx="2694667" cy="3456551"/>
          </a:xfrm>
          <a:prstGeom prst="rect">
            <a:avLst/>
          </a:prstGeom>
        </p:spPr>
      </p:pic>
      <p:sp>
        <p:nvSpPr>
          <p:cNvPr id="12" name="Date Placeholder 3"/>
          <p:cNvSpPr>
            <a:spLocks noGrp="1"/>
          </p:cNvSpPr>
          <p:nvPr>
            <p:ph type="dt" sz="half" idx="2"/>
          </p:nvPr>
        </p:nvSpPr>
        <p:spPr>
          <a:xfrm>
            <a:off x="9677401" y="6443508"/>
            <a:ext cx="1482051" cy="115416"/>
          </a:xfrm>
          <a:prstGeom prst="rect">
            <a:avLst/>
          </a:prstGeom>
        </p:spPr>
        <p:txBody>
          <a:bodyPr vert="horz" wrap="square" lIns="0" tIns="0" rIns="0" bIns="0" rtlCol="0" anchor="b">
            <a:spAutoFit/>
          </a:bodyPr>
          <a:lstStyle>
            <a:lvl1pPr algn="r">
              <a:defRPr sz="750">
                <a:solidFill>
                  <a:schemeClr val="bg1">
                    <a:lumMod val="50000"/>
                  </a:schemeClr>
                </a:solidFill>
                <a:latin typeface="+mn-lt"/>
                <a:sym typeface="Trebuchet MS" panose="020B0603020202020204" pitchFamily="34" charset="0"/>
              </a:defRPr>
            </a:lvl1pPr>
          </a:lstStyle>
          <a:p>
            <a:endParaRPr lang="en-US" dirty="0"/>
          </a:p>
        </p:txBody>
      </p:sp>
      <p:sp>
        <p:nvSpPr>
          <p:cNvPr id="13" name="TextBox 12"/>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20"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lumMod val="50000"/>
                  </a:schemeClr>
                </a:solidFill>
                <a:latin typeface="+mn-lt"/>
                <a:sym typeface="Trebuchet MS" panose="020B0603020202020204" pitchFamily="34" charset="0"/>
              </a:rPr>
              <a:t>MX2020 - SteerCo data deep dive.pptx</a:t>
            </a:r>
            <a:endParaRPr lang="en-US" sz="525"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64641767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35907"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pic>
        <p:nvPicPr>
          <p:cNvPr id="10" name="Picture 2"/>
          <p:cNvPicPr>
            <a:picLocks noChangeAspect="1" noChangeArrowheads="1"/>
          </p:cNvPicPr>
          <p:nvPr userDrawn="1"/>
        </p:nvPicPr>
        <p:blipFill>
          <a:blip r:embed="rId7">
            <a:biLevel thresh="50000"/>
            <a:extLst>
              <a:ext uri="{28A0092B-C50C-407E-A947-70E740481C1C}">
                <a14:useLocalDpi xmlns:a14="http://schemas.microsoft.com/office/drawing/2010/main" val="0"/>
              </a:ext>
            </a:extLst>
          </a:blip>
          <a:srcRect/>
          <a:stretch>
            <a:fillRect/>
          </a:stretch>
        </p:blipFill>
        <p:spPr bwMode="auto">
          <a:xfrm>
            <a:off x="7490341" y="3589606"/>
            <a:ext cx="1365251" cy="3382962"/>
          </a:xfrm>
          <a:prstGeom prst="rect">
            <a:avLst/>
          </a:prstGeom>
          <a:noFill/>
          <a:extLst>
            <a:ext uri="{909E8E84-426E-40DD-AFC4-6F175D3DCCD1}">
              <a14:hiddenFill xmlns:a14="http://schemas.microsoft.com/office/drawing/2010/main">
                <a:solidFill>
                  <a:srgbClr val="FFFFFF"/>
                </a:solidFill>
              </a14:hiddenFill>
            </a:ext>
          </a:extLst>
        </p:spPr>
      </p:pic>
      <p:sp>
        <p:nvSpPr>
          <p:cNvPr id="12" name="Freeform 18"/>
          <p:cNvSpPr/>
          <p:nvPr userDrawn="1"/>
        </p:nvSpPr>
        <p:spPr bwMode="white">
          <a:xfrm>
            <a:off x="1"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750"/>
              </a:spcAft>
            </a:pPr>
            <a:endParaRPr lang="en-US" sz="9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1" y="6443508"/>
            <a:ext cx="1482051" cy="115416"/>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sym typeface="Trebuchet MS" panose="020B0603020202020204" pitchFamily="34" charset="0"/>
              </a:rPr>
              <a:t>Copyright © 2017 by The Boston Consulting Group, Inc. All rights reserved.</a:t>
            </a:r>
          </a:p>
        </p:txBody>
      </p:sp>
      <p:sp>
        <p:nvSpPr>
          <p:cNvPr id="15" name="TextBox 14"/>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
        <p:nvSpPr>
          <p:cNvPr id="11" name="Title 3"/>
          <p:cNvSpPr>
            <a:spLocks noGrp="1"/>
          </p:cNvSpPr>
          <p:nvPr>
            <p:ph type="title" hasCustomPrompt="1"/>
          </p:nvPr>
        </p:nvSpPr>
        <p:spPr>
          <a:xfrm>
            <a:off x="630000" y="622800"/>
            <a:ext cx="6256800" cy="353174"/>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2550" b="0" i="0" u="none" kern="1200" spc="0">
                <a:solidFill>
                  <a:srgbClr val="4472C4"/>
                </a:solidFill>
                <a:latin typeface="+mj-lt"/>
                <a:sym typeface="Trebuchet MS" panose="020B0603020202020204" pitchFamily="34" charset="0"/>
              </a:defRPr>
            </a:lvl1pPr>
          </a:lstStyle>
          <a:p>
            <a:pPr lvl="0"/>
            <a:r>
              <a:rPr lang="en-US" dirty="0"/>
              <a:t>Click to add title</a:t>
            </a:r>
          </a:p>
        </p:txBody>
      </p:sp>
      <p:sp>
        <p:nvSpPr>
          <p:cNvPr id="14"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solidFill>
                <a:latin typeface="+mn-lt"/>
                <a:sym typeface="Trebuchet MS" panose="020B0603020202020204" pitchFamily="34" charset="0"/>
              </a:rPr>
              <a:t>MX2020 - SteerCo data deep dive.pptx</a:t>
            </a:r>
            <a:endParaRPr lang="en-US" sz="525"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1397058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36931"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sp>
        <p:nvSpPr>
          <p:cNvPr id="12" name="Freeform 18"/>
          <p:cNvSpPr/>
          <p:nvPr userDrawn="1"/>
        </p:nvSpPr>
        <p:spPr bwMode="white">
          <a:xfrm>
            <a:off x="1"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750"/>
              </a:spcAft>
            </a:pPr>
            <a:endParaRPr lang="en-US" sz="900" dirty="0">
              <a:solidFill>
                <a:schemeClr val="bg1"/>
              </a:solidFill>
              <a:latin typeface="+mn-lt"/>
              <a:sym typeface="Trebuchet MS" panose="020B0603020202020204" pitchFamily="34" charset="0"/>
            </a:endParaRPr>
          </a:p>
        </p:txBody>
      </p:sp>
      <p:sp>
        <p:nvSpPr>
          <p:cNvPr id="11" name="Title 3"/>
          <p:cNvSpPr>
            <a:spLocks noGrp="1"/>
          </p:cNvSpPr>
          <p:nvPr>
            <p:ph type="title" hasCustomPrompt="1"/>
          </p:nvPr>
        </p:nvSpPr>
        <p:spPr>
          <a:xfrm>
            <a:off x="630000" y="622800"/>
            <a:ext cx="6256800" cy="353174"/>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255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7" name="Date Placeholder 3"/>
          <p:cNvSpPr>
            <a:spLocks noGrp="1"/>
          </p:cNvSpPr>
          <p:nvPr>
            <p:ph type="dt" sz="half" idx="2"/>
          </p:nvPr>
        </p:nvSpPr>
        <p:spPr>
          <a:xfrm>
            <a:off x="9677401" y="6443508"/>
            <a:ext cx="1482051" cy="115416"/>
          </a:xfrm>
          <a:prstGeom prst="rect">
            <a:avLst/>
          </a:prstGeom>
        </p:spPr>
        <p:txBody>
          <a:bodyPr vert="horz" wrap="square" lIns="0" tIns="0" rIns="0" bIns="0" rtlCol="0" anchor="b">
            <a:spAutoFit/>
          </a:bodyPr>
          <a:lstStyle>
            <a:lvl1pPr algn="r">
              <a:defRPr sz="75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20"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lumMod val="50000"/>
                  </a:schemeClr>
                </a:solidFill>
                <a:latin typeface="+mn-lt"/>
                <a:sym typeface="Trebuchet MS" panose="020B0603020202020204" pitchFamily="34" charset="0"/>
              </a:rPr>
              <a:t>MX2020 - SteerCo data deep dive.pptx</a:t>
            </a:r>
            <a:endParaRPr lang="en-US" sz="525" dirty="0">
              <a:solidFill>
                <a:schemeClr val="bg1">
                  <a:lumMod val="50000"/>
                </a:schemeClr>
              </a:solidFill>
              <a:latin typeface="+mn-lt"/>
              <a:sym typeface="Trebuchet MS" panose="020B0603020202020204" pitchFamily="34" charset="0"/>
            </a:endParaRPr>
          </a:p>
        </p:txBody>
      </p:sp>
      <p:pic>
        <p:nvPicPr>
          <p:cNvPr id="13" name="Picture 12"/>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t="9052" b="6867"/>
          <a:stretch/>
        </p:blipFill>
        <p:spPr>
          <a:xfrm rot="120000">
            <a:off x="6524769" y="3407805"/>
            <a:ext cx="2694667" cy="3456551"/>
          </a:xfrm>
          <a:prstGeom prst="rect">
            <a:avLst/>
          </a:prstGeom>
        </p:spPr>
      </p:pic>
    </p:spTree>
    <p:extLst>
      <p:ext uri="{BB962C8B-B14F-4D97-AF65-F5344CB8AC3E}">
        <p14:creationId xmlns:p14="http://schemas.microsoft.com/office/powerpoint/2010/main" val="24287664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37955"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sp>
        <p:nvSpPr>
          <p:cNvPr id="3" name="TextBox 2"/>
          <p:cNvSpPr txBox="1"/>
          <p:nvPr/>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1" y="6443508"/>
            <a:ext cx="1482051" cy="115416"/>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sym typeface="Trebuchet MS" panose="020B0603020202020204" pitchFamily="34" charset="0"/>
              </a:rPr>
              <a:t>Copyright © 2017 by The Boston Consulting Group, Inc. All rights reserved.</a:t>
            </a:r>
          </a:p>
        </p:txBody>
      </p:sp>
      <p:sp>
        <p:nvSpPr>
          <p:cNvPr id="8" name="Title 1"/>
          <p:cNvSpPr>
            <a:spLocks noGrp="1"/>
          </p:cNvSpPr>
          <p:nvPr>
            <p:ph type="title" hasCustomPrompt="1"/>
          </p:nvPr>
        </p:nvSpPr>
        <p:spPr>
          <a:xfrm>
            <a:off x="630000" y="3826333"/>
            <a:ext cx="10933200" cy="1606550"/>
          </a:xfrm>
        </p:spPr>
        <p:txBody>
          <a:bodyPr anchor="b">
            <a:noAutofit/>
          </a:bodyPr>
          <a:lstStyle>
            <a:lvl1pPr marL="0" algn="l" defTabSz="685800" rtl="0" eaLnBrk="1" fontAlgn="auto" latinLnBrk="0" hangingPunct="1">
              <a:lnSpc>
                <a:spcPts val="4500"/>
              </a:lnSpc>
              <a:spcBef>
                <a:spcPts val="0"/>
              </a:spcBef>
              <a:spcAft>
                <a:spcPts val="0"/>
              </a:spcAft>
              <a:defRPr lang="en-US" sz="405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10"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solidFill>
                <a:latin typeface="+mn-lt"/>
                <a:sym typeface="Trebuchet MS" panose="020B0603020202020204" pitchFamily="34" charset="0"/>
              </a:rPr>
              <a:t>MX2020 - SteerCo data deep dive.pptx</a:t>
            </a:r>
            <a:endParaRPr lang="en-US" sz="525"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82029979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10" Type="http://schemas.openxmlformats.org/officeDocument/2006/relationships/image" Target="../media/image1.png"/><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_rels/slideMaster10.xml.rels><?xml version="1.0" encoding="UTF-8" standalone="yes"?>
<Relationships xmlns="http://schemas.openxmlformats.org/package/2006/relationships"><Relationship Id="rId13" Type="http://schemas.openxmlformats.org/officeDocument/2006/relationships/slideLayout" Target="../slideLayouts/slideLayout93.xml"/><Relationship Id="rId18" Type="http://schemas.openxmlformats.org/officeDocument/2006/relationships/slideLayout" Target="../slideLayouts/slideLayout98.xml"/><Relationship Id="rId26" Type="http://schemas.openxmlformats.org/officeDocument/2006/relationships/slideLayout" Target="../slideLayouts/slideLayout106.xml"/><Relationship Id="rId39" Type="http://schemas.openxmlformats.org/officeDocument/2006/relationships/slideLayout" Target="../slideLayouts/slideLayout119.xml"/><Relationship Id="rId21" Type="http://schemas.openxmlformats.org/officeDocument/2006/relationships/slideLayout" Target="../slideLayouts/slideLayout101.xml"/><Relationship Id="rId34" Type="http://schemas.openxmlformats.org/officeDocument/2006/relationships/slideLayout" Target="../slideLayouts/slideLayout114.xml"/><Relationship Id="rId42" Type="http://schemas.openxmlformats.org/officeDocument/2006/relationships/slideLayout" Target="../slideLayouts/slideLayout122.xml"/><Relationship Id="rId47" Type="http://schemas.openxmlformats.org/officeDocument/2006/relationships/slideLayout" Target="../slideLayouts/slideLayout127.xml"/><Relationship Id="rId50" Type="http://schemas.openxmlformats.org/officeDocument/2006/relationships/slideLayout" Target="../slideLayouts/slideLayout130.xml"/><Relationship Id="rId55" Type="http://schemas.openxmlformats.org/officeDocument/2006/relationships/theme" Target="../theme/theme10.xml"/><Relationship Id="rId7" Type="http://schemas.openxmlformats.org/officeDocument/2006/relationships/slideLayout" Target="../slideLayouts/slideLayout87.xml"/><Relationship Id="rId2" Type="http://schemas.openxmlformats.org/officeDocument/2006/relationships/slideLayout" Target="../slideLayouts/slideLayout82.xml"/><Relationship Id="rId16" Type="http://schemas.openxmlformats.org/officeDocument/2006/relationships/slideLayout" Target="../slideLayouts/slideLayout96.xml"/><Relationship Id="rId29" Type="http://schemas.openxmlformats.org/officeDocument/2006/relationships/slideLayout" Target="../slideLayouts/slideLayout109.xml"/><Relationship Id="rId11" Type="http://schemas.openxmlformats.org/officeDocument/2006/relationships/slideLayout" Target="../slideLayouts/slideLayout91.xml"/><Relationship Id="rId24" Type="http://schemas.openxmlformats.org/officeDocument/2006/relationships/slideLayout" Target="../slideLayouts/slideLayout104.xml"/><Relationship Id="rId32" Type="http://schemas.openxmlformats.org/officeDocument/2006/relationships/slideLayout" Target="../slideLayouts/slideLayout112.xml"/><Relationship Id="rId37" Type="http://schemas.openxmlformats.org/officeDocument/2006/relationships/slideLayout" Target="../slideLayouts/slideLayout117.xml"/><Relationship Id="rId40" Type="http://schemas.openxmlformats.org/officeDocument/2006/relationships/slideLayout" Target="../slideLayouts/slideLayout120.xml"/><Relationship Id="rId45" Type="http://schemas.openxmlformats.org/officeDocument/2006/relationships/slideLayout" Target="../slideLayouts/slideLayout125.xml"/><Relationship Id="rId53" Type="http://schemas.openxmlformats.org/officeDocument/2006/relationships/slideLayout" Target="../slideLayouts/slideLayout133.xml"/><Relationship Id="rId58" Type="http://schemas.openxmlformats.org/officeDocument/2006/relationships/oleObject" Target="../embeddings/oleObject13.bin"/><Relationship Id="rId5" Type="http://schemas.openxmlformats.org/officeDocument/2006/relationships/slideLayout" Target="../slideLayouts/slideLayout85.xml"/><Relationship Id="rId19" Type="http://schemas.openxmlformats.org/officeDocument/2006/relationships/slideLayout" Target="../slideLayouts/slideLayout99.xml"/><Relationship Id="rId4" Type="http://schemas.openxmlformats.org/officeDocument/2006/relationships/slideLayout" Target="../slideLayouts/slideLayout84.xml"/><Relationship Id="rId9" Type="http://schemas.openxmlformats.org/officeDocument/2006/relationships/slideLayout" Target="../slideLayouts/slideLayout89.xml"/><Relationship Id="rId14" Type="http://schemas.openxmlformats.org/officeDocument/2006/relationships/slideLayout" Target="../slideLayouts/slideLayout94.xml"/><Relationship Id="rId22" Type="http://schemas.openxmlformats.org/officeDocument/2006/relationships/slideLayout" Target="../slideLayouts/slideLayout102.xml"/><Relationship Id="rId27" Type="http://schemas.openxmlformats.org/officeDocument/2006/relationships/slideLayout" Target="../slideLayouts/slideLayout107.xml"/><Relationship Id="rId30" Type="http://schemas.openxmlformats.org/officeDocument/2006/relationships/slideLayout" Target="../slideLayouts/slideLayout110.xml"/><Relationship Id="rId35" Type="http://schemas.openxmlformats.org/officeDocument/2006/relationships/slideLayout" Target="../slideLayouts/slideLayout115.xml"/><Relationship Id="rId43" Type="http://schemas.openxmlformats.org/officeDocument/2006/relationships/slideLayout" Target="../slideLayouts/slideLayout123.xml"/><Relationship Id="rId48" Type="http://schemas.openxmlformats.org/officeDocument/2006/relationships/slideLayout" Target="../slideLayouts/slideLayout128.xml"/><Relationship Id="rId56" Type="http://schemas.openxmlformats.org/officeDocument/2006/relationships/vmlDrawing" Target="../drawings/vmlDrawing13.vml"/><Relationship Id="rId8" Type="http://schemas.openxmlformats.org/officeDocument/2006/relationships/slideLayout" Target="../slideLayouts/slideLayout88.xml"/><Relationship Id="rId51" Type="http://schemas.openxmlformats.org/officeDocument/2006/relationships/slideLayout" Target="../slideLayouts/slideLayout131.xml"/><Relationship Id="rId3" Type="http://schemas.openxmlformats.org/officeDocument/2006/relationships/slideLayout" Target="../slideLayouts/slideLayout83.xml"/><Relationship Id="rId12" Type="http://schemas.openxmlformats.org/officeDocument/2006/relationships/slideLayout" Target="../slideLayouts/slideLayout92.xml"/><Relationship Id="rId17" Type="http://schemas.openxmlformats.org/officeDocument/2006/relationships/slideLayout" Target="../slideLayouts/slideLayout97.xml"/><Relationship Id="rId25" Type="http://schemas.openxmlformats.org/officeDocument/2006/relationships/slideLayout" Target="../slideLayouts/slideLayout105.xml"/><Relationship Id="rId33" Type="http://schemas.openxmlformats.org/officeDocument/2006/relationships/slideLayout" Target="../slideLayouts/slideLayout113.xml"/><Relationship Id="rId38" Type="http://schemas.openxmlformats.org/officeDocument/2006/relationships/slideLayout" Target="../slideLayouts/slideLayout118.xml"/><Relationship Id="rId46" Type="http://schemas.openxmlformats.org/officeDocument/2006/relationships/slideLayout" Target="../slideLayouts/slideLayout126.xml"/><Relationship Id="rId59" Type="http://schemas.openxmlformats.org/officeDocument/2006/relationships/image" Target="../media/image5.emf"/><Relationship Id="rId20" Type="http://schemas.openxmlformats.org/officeDocument/2006/relationships/slideLayout" Target="../slideLayouts/slideLayout100.xml"/><Relationship Id="rId41" Type="http://schemas.openxmlformats.org/officeDocument/2006/relationships/slideLayout" Target="../slideLayouts/slideLayout121.xml"/><Relationship Id="rId54" Type="http://schemas.openxmlformats.org/officeDocument/2006/relationships/slideLayout" Target="../slideLayouts/slideLayout134.xml"/><Relationship Id="rId1" Type="http://schemas.openxmlformats.org/officeDocument/2006/relationships/slideLayout" Target="../slideLayouts/slideLayout81.xml"/><Relationship Id="rId6" Type="http://schemas.openxmlformats.org/officeDocument/2006/relationships/slideLayout" Target="../slideLayouts/slideLayout86.xml"/><Relationship Id="rId15" Type="http://schemas.openxmlformats.org/officeDocument/2006/relationships/slideLayout" Target="../slideLayouts/slideLayout95.xml"/><Relationship Id="rId23" Type="http://schemas.openxmlformats.org/officeDocument/2006/relationships/slideLayout" Target="../slideLayouts/slideLayout103.xml"/><Relationship Id="rId28" Type="http://schemas.openxmlformats.org/officeDocument/2006/relationships/slideLayout" Target="../slideLayouts/slideLayout108.xml"/><Relationship Id="rId36" Type="http://schemas.openxmlformats.org/officeDocument/2006/relationships/slideLayout" Target="../slideLayouts/slideLayout116.xml"/><Relationship Id="rId49" Type="http://schemas.openxmlformats.org/officeDocument/2006/relationships/slideLayout" Target="../slideLayouts/slideLayout129.xml"/><Relationship Id="rId57" Type="http://schemas.openxmlformats.org/officeDocument/2006/relationships/tags" Target="../tags/tag14.xml"/><Relationship Id="rId10" Type="http://schemas.openxmlformats.org/officeDocument/2006/relationships/slideLayout" Target="../slideLayouts/slideLayout90.xml"/><Relationship Id="rId31" Type="http://schemas.openxmlformats.org/officeDocument/2006/relationships/slideLayout" Target="../slideLayouts/slideLayout111.xml"/><Relationship Id="rId44" Type="http://schemas.openxmlformats.org/officeDocument/2006/relationships/slideLayout" Target="../slideLayouts/slideLayout124.xml"/><Relationship Id="rId52" Type="http://schemas.openxmlformats.org/officeDocument/2006/relationships/slideLayout" Target="../slideLayouts/slideLayout132.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142.xml"/><Relationship Id="rId13" Type="http://schemas.openxmlformats.org/officeDocument/2006/relationships/theme" Target="../theme/theme11.xml"/><Relationship Id="rId18" Type="http://schemas.openxmlformats.org/officeDocument/2006/relationships/image" Target="../media/image6.jpeg"/><Relationship Id="rId3" Type="http://schemas.openxmlformats.org/officeDocument/2006/relationships/slideLayout" Target="../slideLayouts/slideLayout137.xml"/><Relationship Id="rId7" Type="http://schemas.openxmlformats.org/officeDocument/2006/relationships/slideLayout" Target="../slideLayouts/slideLayout141.xml"/><Relationship Id="rId12" Type="http://schemas.openxmlformats.org/officeDocument/2006/relationships/slideLayout" Target="../slideLayouts/slideLayout146.xml"/><Relationship Id="rId17" Type="http://schemas.openxmlformats.org/officeDocument/2006/relationships/image" Target="../media/image5.emf"/><Relationship Id="rId2" Type="http://schemas.openxmlformats.org/officeDocument/2006/relationships/slideLayout" Target="../slideLayouts/slideLayout136.xml"/><Relationship Id="rId16" Type="http://schemas.openxmlformats.org/officeDocument/2006/relationships/oleObject" Target="../embeddings/oleObject65.bin"/><Relationship Id="rId1" Type="http://schemas.openxmlformats.org/officeDocument/2006/relationships/slideLayout" Target="../slideLayouts/slideLayout135.xml"/><Relationship Id="rId6" Type="http://schemas.openxmlformats.org/officeDocument/2006/relationships/slideLayout" Target="../slideLayouts/slideLayout140.xml"/><Relationship Id="rId11" Type="http://schemas.openxmlformats.org/officeDocument/2006/relationships/slideLayout" Target="../slideLayouts/slideLayout145.xml"/><Relationship Id="rId5" Type="http://schemas.openxmlformats.org/officeDocument/2006/relationships/slideLayout" Target="../slideLayouts/slideLayout139.xml"/><Relationship Id="rId15" Type="http://schemas.openxmlformats.org/officeDocument/2006/relationships/tags" Target="../tags/tag112.xml"/><Relationship Id="rId10" Type="http://schemas.openxmlformats.org/officeDocument/2006/relationships/slideLayout" Target="../slideLayouts/slideLayout144.xml"/><Relationship Id="rId19" Type="http://schemas.openxmlformats.org/officeDocument/2006/relationships/image" Target="../media/image7.png"/><Relationship Id="rId4" Type="http://schemas.openxmlformats.org/officeDocument/2006/relationships/slideLayout" Target="../slideLayouts/slideLayout138.xml"/><Relationship Id="rId9" Type="http://schemas.openxmlformats.org/officeDocument/2006/relationships/slideLayout" Target="../slideLayouts/slideLayout143.xml"/><Relationship Id="rId14" Type="http://schemas.openxmlformats.org/officeDocument/2006/relationships/vmlDrawing" Target="../drawings/vmlDrawing65.v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154.xml"/><Relationship Id="rId13" Type="http://schemas.openxmlformats.org/officeDocument/2006/relationships/slideLayout" Target="../slideLayouts/slideLayout159.xml"/><Relationship Id="rId18" Type="http://schemas.openxmlformats.org/officeDocument/2006/relationships/tags" Target="../tags/tag125.xml"/><Relationship Id="rId3" Type="http://schemas.openxmlformats.org/officeDocument/2006/relationships/slideLayout" Target="../slideLayouts/slideLayout149.xml"/><Relationship Id="rId21" Type="http://schemas.openxmlformats.org/officeDocument/2006/relationships/image" Target="../media/image6.jpeg"/><Relationship Id="rId7" Type="http://schemas.openxmlformats.org/officeDocument/2006/relationships/slideLayout" Target="../slideLayouts/slideLayout153.xml"/><Relationship Id="rId12" Type="http://schemas.openxmlformats.org/officeDocument/2006/relationships/slideLayout" Target="../slideLayouts/slideLayout158.xml"/><Relationship Id="rId17" Type="http://schemas.openxmlformats.org/officeDocument/2006/relationships/tags" Target="../tags/tag124.xml"/><Relationship Id="rId2" Type="http://schemas.openxmlformats.org/officeDocument/2006/relationships/slideLayout" Target="../slideLayouts/slideLayout148.xml"/><Relationship Id="rId16" Type="http://schemas.openxmlformats.org/officeDocument/2006/relationships/vmlDrawing" Target="../drawings/vmlDrawing77.vml"/><Relationship Id="rId20" Type="http://schemas.openxmlformats.org/officeDocument/2006/relationships/image" Target="../media/image5.emf"/><Relationship Id="rId1" Type="http://schemas.openxmlformats.org/officeDocument/2006/relationships/slideLayout" Target="../slideLayouts/slideLayout147.xml"/><Relationship Id="rId6" Type="http://schemas.openxmlformats.org/officeDocument/2006/relationships/slideLayout" Target="../slideLayouts/slideLayout152.xml"/><Relationship Id="rId11" Type="http://schemas.openxmlformats.org/officeDocument/2006/relationships/slideLayout" Target="../slideLayouts/slideLayout157.xml"/><Relationship Id="rId5" Type="http://schemas.openxmlformats.org/officeDocument/2006/relationships/slideLayout" Target="../slideLayouts/slideLayout151.xml"/><Relationship Id="rId15" Type="http://schemas.openxmlformats.org/officeDocument/2006/relationships/theme" Target="../theme/theme12.xml"/><Relationship Id="rId10" Type="http://schemas.openxmlformats.org/officeDocument/2006/relationships/slideLayout" Target="../slideLayouts/slideLayout156.xml"/><Relationship Id="rId19" Type="http://schemas.openxmlformats.org/officeDocument/2006/relationships/oleObject" Target="../embeddings/oleObject77.bin"/><Relationship Id="rId4" Type="http://schemas.openxmlformats.org/officeDocument/2006/relationships/slideLayout" Target="../slideLayouts/slideLayout150.xml"/><Relationship Id="rId9" Type="http://schemas.openxmlformats.org/officeDocument/2006/relationships/slideLayout" Target="../slideLayouts/slideLayout155.xml"/><Relationship Id="rId14" Type="http://schemas.openxmlformats.org/officeDocument/2006/relationships/slideLayout" Target="../slideLayouts/slideLayout160.xml"/><Relationship Id="rId22" Type="http://schemas.openxmlformats.org/officeDocument/2006/relationships/image" Target="../media/image7.png"/></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168.xml"/><Relationship Id="rId3" Type="http://schemas.openxmlformats.org/officeDocument/2006/relationships/slideLayout" Target="../slideLayouts/slideLayout163.xml"/><Relationship Id="rId7" Type="http://schemas.openxmlformats.org/officeDocument/2006/relationships/slideLayout" Target="../slideLayouts/slideLayout167.xml"/><Relationship Id="rId2" Type="http://schemas.openxmlformats.org/officeDocument/2006/relationships/slideLayout" Target="../slideLayouts/slideLayout162.xml"/><Relationship Id="rId1" Type="http://schemas.openxmlformats.org/officeDocument/2006/relationships/slideLayout" Target="../slideLayouts/slideLayout161.xml"/><Relationship Id="rId6" Type="http://schemas.openxmlformats.org/officeDocument/2006/relationships/slideLayout" Target="../slideLayouts/slideLayout166.xml"/><Relationship Id="rId5" Type="http://schemas.openxmlformats.org/officeDocument/2006/relationships/slideLayout" Target="../slideLayouts/slideLayout165.xml"/><Relationship Id="rId10" Type="http://schemas.openxmlformats.org/officeDocument/2006/relationships/image" Target="../media/image19.png"/><Relationship Id="rId4" Type="http://schemas.openxmlformats.org/officeDocument/2006/relationships/slideLayout" Target="../slideLayouts/slideLayout164.xml"/><Relationship Id="rId9" Type="http://schemas.openxmlformats.org/officeDocument/2006/relationships/theme" Target="../theme/theme13.x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176.xml"/><Relationship Id="rId3" Type="http://schemas.openxmlformats.org/officeDocument/2006/relationships/slideLayout" Target="../slideLayouts/slideLayout171.xml"/><Relationship Id="rId7" Type="http://schemas.openxmlformats.org/officeDocument/2006/relationships/slideLayout" Target="../slideLayouts/slideLayout175.xml"/><Relationship Id="rId12" Type="http://schemas.openxmlformats.org/officeDocument/2006/relationships/image" Target="../media/image19.png"/><Relationship Id="rId2" Type="http://schemas.openxmlformats.org/officeDocument/2006/relationships/slideLayout" Target="../slideLayouts/slideLayout170.xml"/><Relationship Id="rId1" Type="http://schemas.openxmlformats.org/officeDocument/2006/relationships/slideLayout" Target="../slideLayouts/slideLayout169.xml"/><Relationship Id="rId6" Type="http://schemas.openxmlformats.org/officeDocument/2006/relationships/slideLayout" Target="../slideLayouts/slideLayout174.xml"/><Relationship Id="rId11" Type="http://schemas.openxmlformats.org/officeDocument/2006/relationships/theme" Target="../theme/theme14.xml"/><Relationship Id="rId5" Type="http://schemas.openxmlformats.org/officeDocument/2006/relationships/slideLayout" Target="../slideLayouts/slideLayout173.xml"/><Relationship Id="rId10" Type="http://schemas.openxmlformats.org/officeDocument/2006/relationships/slideLayout" Target="../slideLayouts/slideLayout178.xml"/><Relationship Id="rId4" Type="http://schemas.openxmlformats.org/officeDocument/2006/relationships/slideLayout" Target="../slideLayouts/slideLayout172.xml"/><Relationship Id="rId9" Type="http://schemas.openxmlformats.org/officeDocument/2006/relationships/slideLayout" Target="../slideLayouts/slideLayout177.xml"/></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186.xml"/><Relationship Id="rId13" Type="http://schemas.openxmlformats.org/officeDocument/2006/relationships/slideLayout" Target="../slideLayouts/slideLayout191.xml"/><Relationship Id="rId18" Type="http://schemas.openxmlformats.org/officeDocument/2006/relationships/theme" Target="../theme/theme15.xml"/><Relationship Id="rId3" Type="http://schemas.openxmlformats.org/officeDocument/2006/relationships/slideLayout" Target="../slideLayouts/slideLayout181.xml"/><Relationship Id="rId7" Type="http://schemas.openxmlformats.org/officeDocument/2006/relationships/slideLayout" Target="../slideLayouts/slideLayout185.xml"/><Relationship Id="rId12" Type="http://schemas.openxmlformats.org/officeDocument/2006/relationships/slideLayout" Target="../slideLayouts/slideLayout190.xml"/><Relationship Id="rId17" Type="http://schemas.openxmlformats.org/officeDocument/2006/relationships/slideLayout" Target="../slideLayouts/slideLayout195.xml"/><Relationship Id="rId2" Type="http://schemas.openxmlformats.org/officeDocument/2006/relationships/slideLayout" Target="../slideLayouts/slideLayout180.xml"/><Relationship Id="rId16" Type="http://schemas.openxmlformats.org/officeDocument/2006/relationships/slideLayout" Target="../slideLayouts/slideLayout194.xml"/><Relationship Id="rId1" Type="http://schemas.openxmlformats.org/officeDocument/2006/relationships/slideLayout" Target="../slideLayouts/slideLayout179.xml"/><Relationship Id="rId6" Type="http://schemas.openxmlformats.org/officeDocument/2006/relationships/slideLayout" Target="../slideLayouts/slideLayout184.xml"/><Relationship Id="rId11" Type="http://schemas.openxmlformats.org/officeDocument/2006/relationships/slideLayout" Target="../slideLayouts/slideLayout189.xml"/><Relationship Id="rId5" Type="http://schemas.openxmlformats.org/officeDocument/2006/relationships/slideLayout" Target="../slideLayouts/slideLayout183.xml"/><Relationship Id="rId15" Type="http://schemas.openxmlformats.org/officeDocument/2006/relationships/slideLayout" Target="../slideLayouts/slideLayout193.xml"/><Relationship Id="rId10" Type="http://schemas.openxmlformats.org/officeDocument/2006/relationships/slideLayout" Target="../slideLayouts/slideLayout188.xml"/><Relationship Id="rId19" Type="http://schemas.openxmlformats.org/officeDocument/2006/relationships/image" Target="../media/image19.png"/><Relationship Id="rId4" Type="http://schemas.openxmlformats.org/officeDocument/2006/relationships/slideLayout" Target="../slideLayouts/slideLayout182.xml"/><Relationship Id="rId9" Type="http://schemas.openxmlformats.org/officeDocument/2006/relationships/slideLayout" Target="../slideLayouts/slideLayout187.xml"/><Relationship Id="rId14" Type="http://schemas.openxmlformats.org/officeDocument/2006/relationships/slideLayout" Target="../slideLayouts/slideLayout192.xml"/></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203.xml"/><Relationship Id="rId13" Type="http://schemas.openxmlformats.org/officeDocument/2006/relationships/slideLayout" Target="../slideLayouts/slideLayout208.xml"/><Relationship Id="rId18" Type="http://schemas.openxmlformats.org/officeDocument/2006/relationships/slideLayout" Target="../slideLayouts/slideLayout213.xml"/><Relationship Id="rId26" Type="http://schemas.openxmlformats.org/officeDocument/2006/relationships/image" Target="../media/image7.png"/><Relationship Id="rId3" Type="http://schemas.openxmlformats.org/officeDocument/2006/relationships/slideLayout" Target="../slideLayouts/slideLayout198.xml"/><Relationship Id="rId21" Type="http://schemas.openxmlformats.org/officeDocument/2006/relationships/tags" Target="../tags/tag140.xml"/><Relationship Id="rId7" Type="http://schemas.openxmlformats.org/officeDocument/2006/relationships/slideLayout" Target="../slideLayouts/slideLayout202.xml"/><Relationship Id="rId12" Type="http://schemas.openxmlformats.org/officeDocument/2006/relationships/slideLayout" Target="../slideLayouts/slideLayout207.xml"/><Relationship Id="rId17" Type="http://schemas.openxmlformats.org/officeDocument/2006/relationships/slideLayout" Target="../slideLayouts/slideLayout212.xml"/><Relationship Id="rId25" Type="http://schemas.openxmlformats.org/officeDocument/2006/relationships/image" Target="../media/image6.jpeg"/><Relationship Id="rId2" Type="http://schemas.openxmlformats.org/officeDocument/2006/relationships/slideLayout" Target="../slideLayouts/slideLayout197.xml"/><Relationship Id="rId16" Type="http://schemas.openxmlformats.org/officeDocument/2006/relationships/slideLayout" Target="../slideLayouts/slideLayout211.xml"/><Relationship Id="rId20" Type="http://schemas.openxmlformats.org/officeDocument/2006/relationships/vmlDrawing" Target="../drawings/vmlDrawing92.vml"/><Relationship Id="rId1" Type="http://schemas.openxmlformats.org/officeDocument/2006/relationships/slideLayout" Target="../slideLayouts/slideLayout196.xml"/><Relationship Id="rId6" Type="http://schemas.openxmlformats.org/officeDocument/2006/relationships/slideLayout" Target="../slideLayouts/slideLayout201.xml"/><Relationship Id="rId11" Type="http://schemas.openxmlformats.org/officeDocument/2006/relationships/slideLayout" Target="../slideLayouts/slideLayout206.xml"/><Relationship Id="rId24" Type="http://schemas.openxmlformats.org/officeDocument/2006/relationships/image" Target="../media/image5.emf"/><Relationship Id="rId5" Type="http://schemas.openxmlformats.org/officeDocument/2006/relationships/slideLayout" Target="../slideLayouts/slideLayout200.xml"/><Relationship Id="rId15" Type="http://schemas.openxmlformats.org/officeDocument/2006/relationships/slideLayout" Target="../slideLayouts/slideLayout210.xml"/><Relationship Id="rId23" Type="http://schemas.openxmlformats.org/officeDocument/2006/relationships/oleObject" Target="../embeddings/oleObject92.bin"/><Relationship Id="rId10" Type="http://schemas.openxmlformats.org/officeDocument/2006/relationships/slideLayout" Target="../slideLayouts/slideLayout205.xml"/><Relationship Id="rId19" Type="http://schemas.openxmlformats.org/officeDocument/2006/relationships/theme" Target="../theme/theme16.xml"/><Relationship Id="rId4" Type="http://schemas.openxmlformats.org/officeDocument/2006/relationships/slideLayout" Target="../slideLayouts/slideLayout199.xml"/><Relationship Id="rId9" Type="http://schemas.openxmlformats.org/officeDocument/2006/relationships/slideLayout" Target="../slideLayouts/slideLayout204.xml"/><Relationship Id="rId14" Type="http://schemas.openxmlformats.org/officeDocument/2006/relationships/slideLayout" Target="../slideLayouts/slideLayout209.xml"/><Relationship Id="rId22" Type="http://schemas.openxmlformats.org/officeDocument/2006/relationships/tags" Target="../tags/tag141.xml"/></Relationships>
</file>

<file path=ppt/slideMasters/_rels/slideMaster17.xml.rels><?xml version="1.0" encoding="UTF-8" standalone="yes"?>
<Relationships xmlns="http://schemas.openxmlformats.org/package/2006/relationships"><Relationship Id="rId8" Type="http://schemas.openxmlformats.org/officeDocument/2006/relationships/slideLayout" Target="../slideLayouts/slideLayout221.xml"/><Relationship Id="rId13" Type="http://schemas.openxmlformats.org/officeDocument/2006/relationships/slideLayout" Target="../slideLayouts/slideLayout226.xml"/><Relationship Id="rId18" Type="http://schemas.openxmlformats.org/officeDocument/2006/relationships/tags" Target="../tags/tag156.xml"/><Relationship Id="rId3" Type="http://schemas.openxmlformats.org/officeDocument/2006/relationships/slideLayout" Target="../slideLayouts/slideLayout216.xml"/><Relationship Id="rId21" Type="http://schemas.openxmlformats.org/officeDocument/2006/relationships/image" Target="../media/image6.jpeg"/><Relationship Id="rId7" Type="http://schemas.openxmlformats.org/officeDocument/2006/relationships/slideLayout" Target="../slideLayouts/slideLayout220.xml"/><Relationship Id="rId12" Type="http://schemas.openxmlformats.org/officeDocument/2006/relationships/slideLayout" Target="../slideLayouts/slideLayout225.xml"/><Relationship Id="rId17" Type="http://schemas.openxmlformats.org/officeDocument/2006/relationships/tags" Target="../tags/tag155.xml"/><Relationship Id="rId2" Type="http://schemas.openxmlformats.org/officeDocument/2006/relationships/slideLayout" Target="../slideLayouts/slideLayout215.xml"/><Relationship Id="rId16" Type="http://schemas.openxmlformats.org/officeDocument/2006/relationships/vmlDrawing" Target="../drawings/vmlDrawing105.vml"/><Relationship Id="rId20" Type="http://schemas.openxmlformats.org/officeDocument/2006/relationships/image" Target="../media/image5.emf"/><Relationship Id="rId1" Type="http://schemas.openxmlformats.org/officeDocument/2006/relationships/slideLayout" Target="../slideLayouts/slideLayout214.xml"/><Relationship Id="rId6" Type="http://schemas.openxmlformats.org/officeDocument/2006/relationships/slideLayout" Target="../slideLayouts/slideLayout219.xml"/><Relationship Id="rId11" Type="http://schemas.openxmlformats.org/officeDocument/2006/relationships/slideLayout" Target="../slideLayouts/slideLayout224.xml"/><Relationship Id="rId5" Type="http://schemas.openxmlformats.org/officeDocument/2006/relationships/slideLayout" Target="../slideLayouts/slideLayout218.xml"/><Relationship Id="rId15" Type="http://schemas.openxmlformats.org/officeDocument/2006/relationships/theme" Target="../theme/theme17.xml"/><Relationship Id="rId10" Type="http://schemas.openxmlformats.org/officeDocument/2006/relationships/slideLayout" Target="../slideLayouts/slideLayout223.xml"/><Relationship Id="rId19" Type="http://schemas.openxmlformats.org/officeDocument/2006/relationships/oleObject" Target="../embeddings/oleObject105.bin"/><Relationship Id="rId4" Type="http://schemas.openxmlformats.org/officeDocument/2006/relationships/slideLayout" Target="../slideLayouts/slideLayout217.xml"/><Relationship Id="rId9" Type="http://schemas.openxmlformats.org/officeDocument/2006/relationships/slideLayout" Target="../slideLayouts/slideLayout222.xml"/><Relationship Id="rId14" Type="http://schemas.openxmlformats.org/officeDocument/2006/relationships/slideLayout" Target="../slideLayouts/slideLayout227.xml"/><Relationship Id="rId22" Type="http://schemas.openxmlformats.org/officeDocument/2006/relationships/image" Target="../media/image7.png"/></Relationships>
</file>

<file path=ppt/slideMasters/_rels/slideMaster18.xml.rels><?xml version="1.0" encoding="UTF-8" standalone="yes"?>
<Relationships xmlns="http://schemas.openxmlformats.org/package/2006/relationships"><Relationship Id="rId13" Type="http://schemas.openxmlformats.org/officeDocument/2006/relationships/slideLayout" Target="../slideLayouts/slideLayout240.xml"/><Relationship Id="rId18" Type="http://schemas.openxmlformats.org/officeDocument/2006/relationships/slideLayout" Target="../slideLayouts/slideLayout245.xml"/><Relationship Id="rId26" Type="http://schemas.openxmlformats.org/officeDocument/2006/relationships/slideLayout" Target="../slideLayouts/slideLayout253.xml"/><Relationship Id="rId39" Type="http://schemas.openxmlformats.org/officeDocument/2006/relationships/slideLayout" Target="../slideLayouts/slideLayout266.xml"/><Relationship Id="rId21" Type="http://schemas.openxmlformats.org/officeDocument/2006/relationships/slideLayout" Target="../slideLayouts/slideLayout248.xml"/><Relationship Id="rId34" Type="http://schemas.openxmlformats.org/officeDocument/2006/relationships/slideLayout" Target="../slideLayouts/slideLayout261.xml"/><Relationship Id="rId42" Type="http://schemas.openxmlformats.org/officeDocument/2006/relationships/slideLayout" Target="../slideLayouts/slideLayout269.xml"/><Relationship Id="rId47" Type="http://schemas.openxmlformats.org/officeDocument/2006/relationships/slideLayout" Target="../slideLayouts/slideLayout274.xml"/><Relationship Id="rId50" Type="http://schemas.openxmlformats.org/officeDocument/2006/relationships/slideLayout" Target="../slideLayouts/slideLayout277.xml"/><Relationship Id="rId55" Type="http://schemas.openxmlformats.org/officeDocument/2006/relationships/tags" Target="../tags/tag170.xml"/><Relationship Id="rId7" Type="http://schemas.openxmlformats.org/officeDocument/2006/relationships/slideLayout" Target="../slideLayouts/slideLayout234.xml"/><Relationship Id="rId2" Type="http://schemas.openxmlformats.org/officeDocument/2006/relationships/slideLayout" Target="../slideLayouts/slideLayout229.xml"/><Relationship Id="rId16" Type="http://schemas.openxmlformats.org/officeDocument/2006/relationships/slideLayout" Target="../slideLayouts/slideLayout243.xml"/><Relationship Id="rId29" Type="http://schemas.openxmlformats.org/officeDocument/2006/relationships/slideLayout" Target="../slideLayouts/slideLayout256.xml"/><Relationship Id="rId11" Type="http://schemas.openxmlformats.org/officeDocument/2006/relationships/slideLayout" Target="../slideLayouts/slideLayout238.xml"/><Relationship Id="rId24" Type="http://schemas.openxmlformats.org/officeDocument/2006/relationships/slideLayout" Target="../slideLayouts/slideLayout251.xml"/><Relationship Id="rId32" Type="http://schemas.openxmlformats.org/officeDocument/2006/relationships/slideLayout" Target="../slideLayouts/slideLayout259.xml"/><Relationship Id="rId37" Type="http://schemas.openxmlformats.org/officeDocument/2006/relationships/slideLayout" Target="../slideLayouts/slideLayout264.xml"/><Relationship Id="rId40" Type="http://schemas.openxmlformats.org/officeDocument/2006/relationships/slideLayout" Target="../slideLayouts/slideLayout267.xml"/><Relationship Id="rId45" Type="http://schemas.openxmlformats.org/officeDocument/2006/relationships/slideLayout" Target="../slideLayouts/slideLayout272.xml"/><Relationship Id="rId53" Type="http://schemas.openxmlformats.org/officeDocument/2006/relationships/theme" Target="../theme/theme18.xml"/><Relationship Id="rId5" Type="http://schemas.openxmlformats.org/officeDocument/2006/relationships/slideLayout" Target="../slideLayouts/slideLayout232.xml"/><Relationship Id="rId19" Type="http://schemas.openxmlformats.org/officeDocument/2006/relationships/slideLayout" Target="../slideLayouts/slideLayout246.xml"/><Relationship Id="rId4" Type="http://schemas.openxmlformats.org/officeDocument/2006/relationships/slideLayout" Target="../slideLayouts/slideLayout231.xml"/><Relationship Id="rId9" Type="http://schemas.openxmlformats.org/officeDocument/2006/relationships/slideLayout" Target="../slideLayouts/slideLayout236.xml"/><Relationship Id="rId14" Type="http://schemas.openxmlformats.org/officeDocument/2006/relationships/slideLayout" Target="../slideLayouts/slideLayout241.xml"/><Relationship Id="rId22" Type="http://schemas.openxmlformats.org/officeDocument/2006/relationships/slideLayout" Target="../slideLayouts/slideLayout249.xml"/><Relationship Id="rId27" Type="http://schemas.openxmlformats.org/officeDocument/2006/relationships/slideLayout" Target="../slideLayouts/slideLayout254.xml"/><Relationship Id="rId30" Type="http://schemas.openxmlformats.org/officeDocument/2006/relationships/slideLayout" Target="../slideLayouts/slideLayout257.xml"/><Relationship Id="rId35" Type="http://schemas.openxmlformats.org/officeDocument/2006/relationships/slideLayout" Target="../slideLayouts/slideLayout262.xml"/><Relationship Id="rId43" Type="http://schemas.openxmlformats.org/officeDocument/2006/relationships/slideLayout" Target="../slideLayouts/slideLayout270.xml"/><Relationship Id="rId48" Type="http://schemas.openxmlformats.org/officeDocument/2006/relationships/slideLayout" Target="../slideLayouts/slideLayout275.xml"/><Relationship Id="rId56" Type="http://schemas.openxmlformats.org/officeDocument/2006/relationships/oleObject" Target="../embeddings/oleObject119.bin"/><Relationship Id="rId8" Type="http://schemas.openxmlformats.org/officeDocument/2006/relationships/slideLayout" Target="../slideLayouts/slideLayout235.xml"/><Relationship Id="rId51" Type="http://schemas.openxmlformats.org/officeDocument/2006/relationships/slideLayout" Target="../slideLayouts/slideLayout278.xml"/><Relationship Id="rId3" Type="http://schemas.openxmlformats.org/officeDocument/2006/relationships/slideLayout" Target="../slideLayouts/slideLayout230.xml"/><Relationship Id="rId12" Type="http://schemas.openxmlformats.org/officeDocument/2006/relationships/slideLayout" Target="../slideLayouts/slideLayout239.xml"/><Relationship Id="rId17" Type="http://schemas.openxmlformats.org/officeDocument/2006/relationships/slideLayout" Target="../slideLayouts/slideLayout244.xml"/><Relationship Id="rId25" Type="http://schemas.openxmlformats.org/officeDocument/2006/relationships/slideLayout" Target="../slideLayouts/slideLayout252.xml"/><Relationship Id="rId33" Type="http://schemas.openxmlformats.org/officeDocument/2006/relationships/slideLayout" Target="../slideLayouts/slideLayout260.xml"/><Relationship Id="rId38" Type="http://schemas.openxmlformats.org/officeDocument/2006/relationships/slideLayout" Target="../slideLayouts/slideLayout265.xml"/><Relationship Id="rId46" Type="http://schemas.openxmlformats.org/officeDocument/2006/relationships/slideLayout" Target="../slideLayouts/slideLayout273.xml"/><Relationship Id="rId20" Type="http://schemas.openxmlformats.org/officeDocument/2006/relationships/slideLayout" Target="../slideLayouts/slideLayout247.xml"/><Relationship Id="rId41" Type="http://schemas.openxmlformats.org/officeDocument/2006/relationships/slideLayout" Target="../slideLayouts/slideLayout268.xml"/><Relationship Id="rId54" Type="http://schemas.openxmlformats.org/officeDocument/2006/relationships/vmlDrawing" Target="../drawings/vmlDrawing119.vml"/><Relationship Id="rId1" Type="http://schemas.openxmlformats.org/officeDocument/2006/relationships/slideLayout" Target="../slideLayouts/slideLayout228.xml"/><Relationship Id="rId6" Type="http://schemas.openxmlformats.org/officeDocument/2006/relationships/slideLayout" Target="../slideLayouts/slideLayout233.xml"/><Relationship Id="rId15" Type="http://schemas.openxmlformats.org/officeDocument/2006/relationships/slideLayout" Target="../slideLayouts/slideLayout242.xml"/><Relationship Id="rId23" Type="http://schemas.openxmlformats.org/officeDocument/2006/relationships/slideLayout" Target="../slideLayouts/slideLayout250.xml"/><Relationship Id="rId28" Type="http://schemas.openxmlformats.org/officeDocument/2006/relationships/slideLayout" Target="../slideLayouts/slideLayout255.xml"/><Relationship Id="rId36" Type="http://schemas.openxmlformats.org/officeDocument/2006/relationships/slideLayout" Target="../slideLayouts/slideLayout263.xml"/><Relationship Id="rId49" Type="http://schemas.openxmlformats.org/officeDocument/2006/relationships/slideLayout" Target="../slideLayouts/slideLayout276.xml"/><Relationship Id="rId57" Type="http://schemas.openxmlformats.org/officeDocument/2006/relationships/image" Target="../media/image5.emf"/><Relationship Id="rId10" Type="http://schemas.openxmlformats.org/officeDocument/2006/relationships/slideLayout" Target="../slideLayouts/slideLayout237.xml"/><Relationship Id="rId31" Type="http://schemas.openxmlformats.org/officeDocument/2006/relationships/slideLayout" Target="../slideLayouts/slideLayout258.xml"/><Relationship Id="rId44" Type="http://schemas.openxmlformats.org/officeDocument/2006/relationships/slideLayout" Target="../slideLayouts/slideLayout271.xml"/><Relationship Id="rId52" Type="http://schemas.openxmlformats.org/officeDocument/2006/relationships/slideLayout" Target="../slideLayouts/slideLayout279.xml"/></Relationships>
</file>

<file path=ppt/slideMasters/_rels/slideMaster19.xml.rels><?xml version="1.0" encoding="UTF-8" standalone="yes"?>
<Relationships xmlns="http://schemas.openxmlformats.org/package/2006/relationships"><Relationship Id="rId8" Type="http://schemas.openxmlformats.org/officeDocument/2006/relationships/slideLayout" Target="../slideLayouts/slideLayout287.xml"/><Relationship Id="rId13" Type="http://schemas.openxmlformats.org/officeDocument/2006/relationships/slideLayout" Target="../slideLayouts/slideLayout292.xml"/><Relationship Id="rId18" Type="http://schemas.openxmlformats.org/officeDocument/2006/relationships/oleObject" Target="../embeddings/oleObject171.bin"/><Relationship Id="rId3" Type="http://schemas.openxmlformats.org/officeDocument/2006/relationships/slideLayout" Target="../slideLayouts/slideLayout282.xml"/><Relationship Id="rId21" Type="http://schemas.openxmlformats.org/officeDocument/2006/relationships/image" Target="../media/image7.png"/><Relationship Id="rId7" Type="http://schemas.openxmlformats.org/officeDocument/2006/relationships/slideLayout" Target="../slideLayouts/slideLayout286.xml"/><Relationship Id="rId12" Type="http://schemas.openxmlformats.org/officeDocument/2006/relationships/slideLayout" Target="../slideLayouts/slideLayout291.xml"/><Relationship Id="rId17" Type="http://schemas.openxmlformats.org/officeDocument/2006/relationships/tags" Target="../tags/tag268.xml"/><Relationship Id="rId2" Type="http://schemas.openxmlformats.org/officeDocument/2006/relationships/slideLayout" Target="../slideLayouts/slideLayout281.xml"/><Relationship Id="rId16" Type="http://schemas.openxmlformats.org/officeDocument/2006/relationships/vmlDrawing" Target="../drawings/vmlDrawing171.vml"/><Relationship Id="rId20" Type="http://schemas.openxmlformats.org/officeDocument/2006/relationships/image" Target="../media/image6.jpeg"/><Relationship Id="rId1" Type="http://schemas.openxmlformats.org/officeDocument/2006/relationships/slideLayout" Target="../slideLayouts/slideLayout280.xml"/><Relationship Id="rId6" Type="http://schemas.openxmlformats.org/officeDocument/2006/relationships/slideLayout" Target="../slideLayouts/slideLayout285.xml"/><Relationship Id="rId11" Type="http://schemas.openxmlformats.org/officeDocument/2006/relationships/slideLayout" Target="../slideLayouts/slideLayout290.xml"/><Relationship Id="rId5" Type="http://schemas.openxmlformats.org/officeDocument/2006/relationships/slideLayout" Target="../slideLayouts/slideLayout284.xml"/><Relationship Id="rId15" Type="http://schemas.openxmlformats.org/officeDocument/2006/relationships/theme" Target="../theme/theme19.xml"/><Relationship Id="rId10" Type="http://schemas.openxmlformats.org/officeDocument/2006/relationships/slideLayout" Target="../slideLayouts/slideLayout289.xml"/><Relationship Id="rId19" Type="http://schemas.openxmlformats.org/officeDocument/2006/relationships/image" Target="../media/image5.emf"/><Relationship Id="rId4" Type="http://schemas.openxmlformats.org/officeDocument/2006/relationships/slideLayout" Target="../slideLayouts/slideLayout283.xml"/><Relationship Id="rId9" Type="http://schemas.openxmlformats.org/officeDocument/2006/relationships/slideLayout" Target="../slideLayouts/slideLayout288.xml"/><Relationship Id="rId14" Type="http://schemas.openxmlformats.org/officeDocument/2006/relationships/slideLayout" Target="../slideLayouts/slideLayout293.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slideLayout" Target="../slideLayouts/slideLayout10.xml"/><Relationship Id="rId1" Type="http://schemas.openxmlformats.org/officeDocument/2006/relationships/slideLayout" Target="../slideLayouts/slideLayout9.xml"/><Relationship Id="rId4" Type="http://schemas.openxmlformats.org/officeDocument/2006/relationships/theme" Target="../theme/theme2.xml"/></Relationships>
</file>

<file path=ppt/slideMasters/_rels/slideMaster20.xml.rels><?xml version="1.0" encoding="UTF-8" standalone="yes"?>
<Relationships xmlns="http://schemas.openxmlformats.org/package/2006/relationships"><Relationship Id="rId8" Type="http://schemas.openxmlformats.org/officeDocument/2006/relationships/slideLayout" Target="../slideLayouts/slideLayout301.xml"/><Relationship Id="rId13" Type="http://schemas.openxmlformats.org/officeDocument/2006/relationships/slideLayout" Target="../slideLayouts/slideLayout306.xml"/><Relationship Id="rId18" Type="http://schemas.openxmlformats.org/officeDocument/2006/relationships/tags" Target="../tags/tag280.xml"/><Relationship Id="rId3" Type="http://schemas.openxmlformats.org/officeDocument/2006/relationships/slideLayout" Target="../slideLayouts/slideLayout296.xml"/><Relationship Id="rId21" Type="http://schemas.openxmlformats.org/officeDocument/2006/relationships/image" Target="../media/image12.jpg"/><Relationship Id="rId7" Type="http://schemas.openxmlformats.org/officeDocument/2006/relationships/slideLayout" Target="../slideLayouts/slideLayout300.xml"/><Relationship Id="rId12" Type="http://schemas.openxmlformats.org/officeDocument/2006/relationships/slideLayout" Target="../slideLayouts/slideLayout305.xml"/><Relationship Id="rId17" Type="http://schemas.openxmlformats.org/officeDocument/2006/relationships/vmlDrawing" Target="../drawings/vmlDrawing183.vml"/><Relationship Id="rId2" Type="http://schemas.openxmlformats.org/officeDocument/2006/relationships/slideLayout" Target="../slideLayouts/slideLayout295.xml"/><Relationship Id="rId16" Type="http://schemas.openxmlformats.org/officeDocument/2006/relationships/theme" Target="../theme/theme20.xml"/><Relationship Id="rId20" Type="http://schemas.openxmlformats.org/officeDocument/2006/relationships/image" Target="../media/image5.emf"/><Relationship Id="rId1" Type="http://schemas.openxmlformats.org/officeDocument/2006/relationships/slideLayout" Target="../slideLayouts/slideLayout294.xml"/><Relationship Id="rId6" Type="http://schemas.openxmlformats.org/officeDocument/2006/relationships/slideLayout" Target="../slideLayouts/slideLayout299.xml"/><Relationship Id="rId11" Type="http://schemas.openxmlformats.org/officeDocument/2006/relationships/slideLayout" Target="../slideLayouts/slideLayout304.xml"/><Relationship Id="rId5" Type="http://schemas.openxmlformats.org/officeDocument/2006/relationships/slideLayout" Target="../slideLayouts/slideLayout298.xml"/><Relationship Id="rId15" Type="http://schemas.openxmlformats.org/officeDocument/2006/relationships/slideLayout" Target="../slideLayouts/slideLayout308.xml"/><Relationship Id="rId10" Type="http://schemas.openxmlformats.org/officeDocument/2006/relationships/slideLayout" Target="../slideLayouts/slideLayout303.xml"/><Relationship Id="rId19" Type="http://schemas.openxmlformats.org/officeDocument/2006/relationships/oleObject" Target="../embeddings/oleObject183.bin"/><Relationship Id="rId4" Type="http://schemas.openxmlformats.org/officeDocument/2006/relationships/slideLayout" Target="../slideLayouts/slideLayout297.xml"/><Relationship Id="rId9" Type="http://schemas.openxmlformats.org/officeDocument/2006/relationships/slideLayout" Target="../slideLayouts/slideLayout302.xml"/><Relationship Id="rId14" Type="http://schemas.openxmlformats.org/officeDocument/2006/relationships/slideLayout" Target="../slideLayouts/slideLayout307.xml"/><Relationship Id="rId22" Type="http://schemas.openxmlformats.org/officeDocument/2006/relationships/image" Target="../media/image7.png"/></Relationships>
</file>

<file path=ppt/slideMasters/_rels/slideMaster21.xml.rels><?xml version="1.0" encoding="UTF-8" standalone="yes"?>
<Relationships xmlns="http://schemas.openxmlformats.org/package/2006/relationships"><Relationship Id="rId8" Type="http://schemas.openxmlformats.org/officeDocument/2006/relationships/slideLayout" Target="../slideLayouts/slideLayout316.xml"/><Relationship Id="rId13" Type="http://schemas.openxmlformats.org/officeDocument/2006/relationships/theme" Target="../theme/theme21.xml"/><Relationship Id="rId18" Type="http://schemas.openxmlformats.org/officeDocument/2006/relationships/image" Target="../media/image12.jpg"/><Relationship Id="rId3" Type="http://schemas.openxmlformats.org/officeDocument/2006/relationships/slideLayout" Target="../slideLayouts/slideLayout311.xml"/><Relationship Id="rId7" Type="http://schemas.openxmlformats.org/officeDocument/2006/relationships/slideLayout" Target="../slideLayouts/slideLayout315.xml"/><Relationship Id="rId12" Type="http://schemas.openxmlformats.org/officeDocument/2006/relationships/slideLayout" Target="../slideLayouts/slideLayout320.xml"/><Relationship Id="rId17" Type="http://schemas.openxmlformats.org/officeDocument/2006/relationships/image" Target="../media/image5.emf"/><Relationship Id="rId2" Type="http://schemas.openxmlformats.org/officeDocument/2006/relationships/slideLayout" Target="../slideLayouts/slideLayout310.xml"/><Relationship Id="rId16" Type="http://schemas.openxmlformats.org/officeDocument/2006/relationships/oleObject" Target="../embeddings/oleObject195.bin"/><Relationship Id="rId1" Type="http://schemas.openxmlformats.org/officeDocument/2006/relationships/slideLayout" Target="../slideLayouts/slideLayout309.xml"/><Relationship Id="rId6" Type="http://schemas.openxmlformats.org/officeDocument/2006/relationships/slideLayout" Target="../slideLayouts/slideLayout314.xml"/><Relationship Id="rId11" Type="http://schemas.openxmlformats.org/officeDocument/2006/relationships/slideLayout" Target="../slideLayouts/slideLayout319.xml"/><Relationship Id="rId5" Type="http://schemas.openxmlformats.org/officeDocument/2006/relationships/slideLayout" Target="../slideLayouts/slideLayout313.xml"/><Relationship Id="rId15" Type="http://schemas.openxmlformats.org/officeDocument/2006/relationships/tags" Target="../tags/tag292.xml"/><Relationship Id="rId10" Type="http://schemas.openxmlformats.org/officeDocument/2006/relationships/slideLayout" Target="../slideLayouts/slideLayout318.xml"/><Relationship Id="rId19" Type="http://schemas.openxmlformats.org/officeDocument/2006/relationships/image" Target="../media/image7.png"/><Relationship Id="rId4" Type="http://schemas.openxmlformats.org/officeDocument/2006/relationships/slideLayout" Target="../slideLayouts/slideLayout312.xml"/><Relationship Id="rId9" Type="http://schemas.openxmlformats.org/officeDocument/2006/relationships/slideLayout" Target="../slideLayouts/slideLayout317.xml"/><Relationship Id="rId14" Type="http://schemas.openxmlformats.org/officeDocument/2006/relationships/vmlDrawing" Target="../drawings/vmlDrawing195.vml"/></Relationships>
</file>

<file path=ppt/slideMasters/_rels/slideMaster22.xml.rels><?xml version="1.0" encoding="UTF-8" standalone="yes"?>
<Relationships xmlns="http://schemas.openxmlformats.org/package/2006/relationships"><Relationship Id="rId8" Type="http://schemas.openxmlformats.org/officeDocument/2006/relationships/slideLayout" Target="../slideLayouts/slideLayout328.xml"/><Relationship Id="rId13" Type="http://schemas.openxmlformats.org/officeDocument/2006/relationships/slideLayout" Target="../slideLayouts/slideLayout333.xml"/><Relationship Id="rId18" Type="http://schemas.openxmlformats.org/officeDocument/2006/relationships/oleObject" Target="../embeddings/oleObject207.bin"/><Relationship Id="rId3" Type="http://schemas.openxmlformats.org/officeDocument/2006/relationships/slideLayout" Target="../slideLayouts/slideLayout323.xml"/><Relationship Id="rId21" Type="http://schemas.openxmlformats.org/officeDocument/2006/relationships/image" Target="../media/image7.png"/><Relationship Id="rId7" Type="http://schemas.openxmlformats.org/officeDocument/2006/relationships/slideLayout" Target="../slideLayouts/slideLayout327.xml"/><Relationship Id="rId12" Type="http://schemas.openxmlformats.org/officeDocument/2006/relationships/slideLayout" Target="../slideLayouts/slideLayout332.xml"/><Relationship Id="rId17" Type="http://schemas.openxmlformats.org/officeDocument/2006/relationships/tags" Target="../tags/tag304.xml"/><Relationship Id="rId2" Type="http://schemas.openxmlformats.org/officeDocument/2006/relationships/slideLayout" Target="../slideLayouts/slideLayout322.xml"/><Relationship Id="rId16" Type="http://schemas.openxmlformats.org/officeDocument/2006/relationships/vmlDrawing" Target="../drawings/vmlDrawing207.vml"/><Relationship Id="rId20" Type="http://schemas.openxmlformats.org/officeDocument/2006/relationships/image" Target="../media/image12.jpg"/><Relationship Id="rId1" Type="http://schemas.openxmlformats.org/officeDocument/2006/relationships/slideLayout" Target="../slideLayouts/slideLayout321.xml"/><Relationship Id="rId6" Type="http://schemas.openxmlformats.org/officeDocument/2006/relationships/slideLayout" Target="../slideLayouts/slideLayout326.xml"/><Relationship Id="rId11" Type="http://schemas.openxmlformats.org/officeDocument/2006/relationships/slideLayout" Target="../slideLayouts/slideLayout331.xml"/><Relationship Id="rId5" Type="http://schemas.openxmlformats.org/officeDocument/2006/relationships/slideLayout" Target="../slideLayouts/slideLayout325.xml"/><Relationship Id="rId15" Type="http://schemas.openxmlformats.org/officeDocument/2006/relationships/theme" Target="../theme/theme22.xml"/><Relationship Id="rId10" Type="http://schemas.openxmlformats.org/officeDocument/2006/relationships/slideLayout" Target="../slideLayouts/slideLayout330.xml"/><Relationship Id="rId19" Type="http://schemas.openxmlformats.org/officeDocument/2006/relationships/image" Target="../media/image5.emf"/><Relationship Id="rId4" Type="http://schemas.openxmlformats.org/officeDocument/2006/relationships/slideLayout" Target="../slideLayouts/slideLayout324.xml"/><Relationship Id="rId9" Type="http://schemas.openxmlformats.org/officeDocument/2006/relationships/slideLayout" Target="../slideLayouts/slideLayout329.xml"/><Relationship Id="rId14" Type="http://schemas.openxmlformats.org/officeDocument/2006/relationships/slideLayout" Target="../slideLayouts/slideLayout334.xml"/></Relationships>
</file>

<file path=ppt/slideMasters/_rels/slideMaster23.xml.rels><?xml version="1.0" encoding="UTF-8" standalone="yes"?>
<Relationships xmlns="http://schemas.openxmlformats.org/package/2006/relationships"><Relationship Id="rId8" Type="http://schemas.openxmlformats.org/officeDocument/2006/relationships/slideLayout" Target="../slideLayouts/slideLayout342.xml"/><Relationship Id="rId13" Type="http://schemas.openxmlformats.org/officeDocument/2006/relationships/slideLayout" Target="../slideLayouts/slideLayout347.xml"/><Relationship Id="rId18" Type="http://schemas.openxmlformats.org/officeDocument/2006/relationships/image" Target="../media/image5.emf"/><Relationship Id="rId3" Type="http://schemas.openxmlformats.org/officeDocument/2006/relationships/slideLayout" Target="../slideLayouts/slideLayout337.xml"/><Relationship Id="rId7" Type="http://schemas.openxmlformats.org/officeDocument/2006/relationships/slideLayout" Target="../slideLayouts/slideLayout341.xml"/><Relationship Id="rId12" Type="http://schemas.openxmlformats.org/officeDocument/2006/relationships/slideLayout" Target="../slideLayouts/slideLayout346.xml"/><Relationship Id="rId17" Type="http://schemas.openxmlformats.org/officeDocument/2006/relationships/oleObject" Target="../embeddings/oleObject219.bin"/><Relationship Id="rId2" Type="http://schemas.openxmlformats.org/officeDocument/2006/relationships/slideLayout" Target="../slideLayouts/slideLayout336.xml"/><Relationship Id="rId16" Type="http://schemas.openxmlformats.org/officeDocument/2006/relationships/tags" Target="../tags/tag316.xml"/><Relationship Id="rId20" Type="http://schemas.openxmlformats.org/officeDocument/2006/relationships/image" Target="../media/image7.png"/><Relationship Id="rId1" Type="http://schemas.openxmlformats.org/officeDocument/2006/relationships/slideLayout" Target="../slideLayouts/slideLayout335.xml"/><Relationship Id="rId6" Type="http://schemas.openxmlformats.org/officeDocument/2006/relationships/slideLayout" Target="../slideLayouts/slideLayout340.xml"/><Relationship Id="rId11" Type="http://schemas.openxmlformats.org/officeDocument/2006/relationships/slideLayout" Target="../slideLayouts/slideLayout345.xml"/><Relationship Id="rId5" Type="http://schemas.openxmlformats.org/officeDocument/2006/relationships/slideLayout" Target="../slideLayouts/slideLayout339.xml"/><Relationship Id="rId15" Type="http://schemas.openxmlformats.org/officeDocument/2006/relationships/vmlDrawing" Target="../drawings/vmlDrawing219.vml"/><Relationship Id="rId10" Type="http://schemas.openxmlformats.org/officeDocument/2006/relationships/slideLayout" Target="../slideLayouts/slideLayout344.xml"/><Relationship Id="rId19" Type="http://schemas.openxmlformats.org/officeDocument/2006/relationships/image" Target="../media/image6.jpeg"/><Relationship Id="rId4" Type="http://schemas.openxmlformats.org/officeDocument/2006/relationships/slideLayout" Target="../slideLayouts/slideLayout338.xml"/><Relationship Id="rId9" Type="http://schemas.openxmlformats.org/officeDocument/2006/relationships/slideLayout" Target="../slideLayouts/slideLayout343.xml"/><Relationship Id="rId14" Type="http://schemas.openxmlformats.org/officeDocument/2006/relationships/theme" Target="../theme/theme23.xml"/></Relationships>
</file>

<file path=ppt/slideMasters/_rels/slideMaster24.xml.rels><?xml version="1.0" encoding="UTF-8" standalone="yes"?>
<Relationships xmlns="http://schemas.openxmlformats.org/package/2006/relationships"><Relationship Id="rId8" Type="http://schemas.openxmlformats.org/officeDocument/2006/relationships/slideLayout" Target="../slideLayouts/slideLayout355.xml"/><Relationship Id="rId13" Type="http://schemas.openxmlformats.org/officeDocument/2006/relationships/slideLayout" Target="../slideLayouts/slideLayout360.xml"/><Relationship Id="rId18" Type="http://schemas.openxmlformats.org/officeDocument/2006/relationships/oleObject" Target="../embeddings/oleObject231.bin"/><Relationship Id="rId3" Type="http://schemas.openxmlformats.org/officeDocument/2006/relationships/slideLayout" Target="../slideLayouts/slideLayout350.xml"/><Relationship Id="rId21" Type="http://schemas.openxmlformats.org/officeDocument/2006/relationships/image" Target="../media/image7.png"/><Relationship Id="rId7" Type="http://schemas.openxmlformats.org/officeDocument/2006/relationships/slideLayout" Target="../slideLayouts/slideLayout354.xml"/><Relationship Id="rId12" Type="http://schemas.openxmlformats.org/officeDocument/2006/relationships/slideLayout" Target="../slideLayouts/slideLayout359.xml"/><Relationship Id="rId17" Type="http://schemas.openxmlformats.org/officeDocument/2006/relationships/tags" Target="../tags/tag328.xml"/><Relationship Id="rId2" Type="http://schemas.openxmlformats.org/officeDocument/2006/relationships/slideLayout" Target="../slideLayouts/slideLayout349.xml"/><Relationship Id="rId16" Type="http://schemas.openxmlformats.org/officeDocument/2006/relationships/vmlDrawing" Target="../drawings/vmlDrawing231.vml"/><Relationship Id="rId20" Type="http://schemas.openxmlformats.org/officeDocument/2006/relationships/image" Target="../media/image6.jpeg"/><Relationship Id="rId1" Type="http://schemas.openxmlformats.org/officeDocument/2006/relationships/slideLayout" Target="../slideLayouts/slideLayout348.xml"/><Relationship Id="rId6" Type="http://schemas.openxmlformats.org/officeDocument/2006/relationships/slideLayout" Target="../slideLayouts/slideLayout353.xml"/><Relationship Id="rId11" Type="http://schemas.openxmlformats.org/officeDocument/2006/relationships/slideLayout" Target="../slideLayouts/slideLayout358.xml"/><Relationship Id="rId5" Type="http://schemas.openxmlformats.org/officeDocument/2006/relationships/slideLayout" Target="../slideLayouts/slideLayout352.xml"/><Relationship Id="rId15" Type="http://schemas.openxmlformats.org/officeDocument/2006/relationships/theme" Target="../theme/theme24.xml"/><Relationship Id="rId10" Type="http://schemas.openxmlformats.org/officeDocument/2006/relationships/slideLayout" Target="../slideLayouts/slideLayout357.xml"/><Relationship Id="rId19" Type="http://schemas.openxmlformats.org/officeDocument/2006/relationships/image" Target="../media/image5.emf"/><Relationship Id="rId4" Type="http://schemas.openxmlformats.org/officeDocument/2006/relationships/slideLayout" Target="../slideLayouts/slideLayout351.xml"/><Relationship Id="rId9" Type="http://schemas.openxmlformats.org/officeDocument/2006/relationships/slideLayout" Target="../slideLayouts/slideLayout356.xml"/><Relationship Id="rId14" Type="http://schemas.openxmlformats.org/officeDocument/2006/relationships/slideLayout" Target="../slideLayouts/slideLayout361.xml"/></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slideLayout" Target="../slideLayouts/slideLayout13.xml"/><Relationship Id="rId1" Type="http://schemas.openxmlformats.org/officeDocument/2006/relationships/slideLayout" Target="../slideLayouts/slideLayout12.xml"/><Relationship Id="rId4"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22.xml"/><Relationship Id="rId3" Type="http://schemas.openxmlformats.org/officeDocument/2006/relationships/slideLayout" Target="../slideLayouts/slideLayout17.xml"/><Relationship Id="rId7" Type="http://schemas.openxmlformats.org/officeDocument/2006/relationships/slideLayout" Target="../slideLayouts/slideLayout21.xml"/><Relationship Id="rId2" Type="http://schemas.openxmlformats.org/officeDocument/2006/relationships/slideLayout" Target="../slideLayouts/slideLayout16.xml"/><Relationship Id="rId1" Type="http://schemas.openxmlformats.org/officeDocument/2006/relationships/slideLayout" Target="../slideLayouts/slideLayout15.xml"/><Relationship Id="rId6" Type="http://schemas.openxmlformats.org/officeDocument/2006/relationships/slideLayout" Target="../slideLayouts/slideLayout20.xml"/><Relationship Id="rId5" Type="http://schemas.openxmlformats.org/officeDocument/2006/relationships/slideLayout" Target="../slideLayouts/slideLayout19.xml"/><Relationship Id="rId10" Type="http://schemas.openxmlformats.org/officeDocument/2006/relationships/image" Target="../media/image1.png"/><Relationship Id="rId4" Type="http://schemas.openxmlformats.org/officeDocument/2006/relationships/slideLayout" Target="../slideLayouts/slideLayout18.xml"/><Relationship Id="rId9"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30.xml"/><Relationship Id="rId3" Type="http://schemas.openxmlformats.org/officeDocument/2006/relationships/slideLayout" Target="../slideLayouts/slideLayout25.xml"/><Relationship Id="rId7" Type="http://schemas.openxmlformats.org/officeDocument/2006/relationships/slideLayout" Target="../slideLayouts/slideLayout29.xml"/><Relationship Id="rId12" Type="http://schemas.openxmlformats.org/officeDocument/2006/relationships/image" Target="../media/image1.png"/><Relationship Id="rId2" Type="http://schemas.openxmlformats.org/officeDocument/2006/relationships/slideLayout" Target="../slideLayouts/slideLayout24.xml"/><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theme" Target="../theme/theme5.xml"/><Relationship Id="rId5" Type="http://schemas.openxmlformats.org/officeDocument/2006/relationships/slideLayout" Target="../slideLayouts/slideLayout27.xml"/><Relationship Id="rId10" Type="http://schemas.openxmlformats.org/officeDocument/2006/relationships/slideLayout" Target="../slideLayouts/slideLayout32.xml"/><Relationship Id="rId4" Type="http://schemas.openxmlformats.org/officeDocument/2006/relationships/slideLayout" Target="../slideLayouts/slideLayout26.xml"/><Relationship Id="rId9" Type="http://schemas.openxmlformats.org/officeDocument/2006/relationships/slideLayout" Target="../slideLayouts/slideLayout31.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40.xml"/><Relationship Id="rId13" Type="http://schemas.openxmlformats.org/officeDocument/2006/relationships/vmlDrawing" Target="../drawings/vmlDrawing1.vml"/><Relationship Id="rId18" Type="http://schemas.openxmlformats.org/officeDocument/2006/relationships/image" Target="../media/image6.jpeg"/><Relationship Id="rId3" Type="http://schemas.openxmlformats.org/officeDocument/2006/relationships/slideLayout" Target="../slideLayouts/slideLayout35.xml"/><Relationship Id="rId7" Type="http://schemas.openxmlformats.org/officeDocument/2006/relationships/slideLayout" Target="../slideLayouts/slideLayout39.xml"/><Relationship Id="rId12" Type="http://schemas.openxmlformats.org/officeDocument/2006/relationships/theme" Target="../theme/theme6.xml"/><Relationship Id="rId17" Type="http://schemas.openxmlformats.org/officeDocument/2006/relationships/image" Target="../media/image5.emf"/><Relationship Id="rId2" Type="http://schemas.openxmlformats.org/officeDocument/2006/relationships/slideLayout" Target="../slideLayouts/slideLayout34.xml"/><Relationship Id="rId16" Type="http://schemas.openxmlformats.org/officeDocument/2006/relationships/oleObject" Target="../embeddings/oleObject1.bin"/><Relationship Id="rId1" Type="http://schemas.openxmlformats.org/officeDocument/2006/relationships/slideLayout" Target="../slideLayouts/slideLayout33.xml"/><Relationship Id="rId6" Type="http://schemas.openxmlformats.org/officeDocument/2006/relationships/slideLayout" Target="../slideLayouts/slideLayout38.xml"/><Relationship Id="rId11" Type="http://schemas.openxmlformats.org/officeDocument/2006/relationships/slideLayout" Target="../slideLayouts/slideLayout43.xml"/><Relationship Id="rId5" Type="http://schemas.openxmlformats.org/officeDocument/2006/relationships/slideLayout" Target="../slideLayouts/slideLayout37.xml"/><Relationship Id="rId15" Type="http://schemas.openxmlformats.org/officeDocument/2006/relationships/tags" Target="../tags/tag2.xml"/><Relationship Id="rId10" Type="http://schemas.openxmlformats.org/officeDocument/2006/relationships/slideLayout" Target="../slideLayouts/slideLayout42.xml"/><Relationship Id="rId19" Type="http://schemas.openxmlformats.org/officeDocument/2006/relationships/image" Target="../media/image7.png"/><Relationship Id="rId4" Type="http://schemas.openxmlformats.org/officeDocument/2006/relationships/slideLayout" Target="../slideLayouts/slideLayout36.xml"/><Relationship Id="rId9" Type="http://schemas.openxmlformats.org/officeDocument/2006/relationships/slideLayout" Target="../slideLayouts/slideLayout41.xml"/><Relationship Id="rId14" Type="http://schemas.openxmlformats.org/officeDocument/2006/relationships/tags" Target="../tags/tag1.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51.xml"/><Relationship Id="rId13" Type="http://schemas.openxmlformats.org/officeDocument/2006/relationships/slideLayout" Target="../slideLayouts/slideLayout56.xml"/><Relationship Id="rId18" Type="http://schemas.openxmlformats.org/officeDocument/2006/relationships/theme" Target="../theme/theme7.xml"/><Relationship Id="rId3" Type="http://schemas.openxmlformats.org/officeDocument/2006/relationships/slideLayout" Target="../slideLayouts/slideLayout46.xml"/><Relationship Id="rId7" Type="http://schemas.openxmlformats.org/officeDocument/2006/relationships/slideLayout" Target="../slideLayouts/slideLayout50.xml"/><Relationship Id="rId12" Type="http://schemas.openxmlformats.org/officeDocument/2006/relationships/slideLayout" Target="../slideLayouts/slideLayout55.xml"/><Relationship Id="rId17" Type="http://schemas.openxmlformats.org/officeDocument/2006/relationships/slideLayout" Target="../slideLayouts/slideLayout60.xml"/><Relationship Id="rId2" Type="http://schemas.openxmlformats.org/officeDocument/2006/relationships/slideLayout" Target="../slideLayouts/slideLayout45.xml"/><Relationship Id="rId16" Type="http://schemas.openxmlformats.org/officeDocument/2006/relationships/slideLayout" Target="../slideLayouts/slideLayout59.xml"/><Relationship Id="rId1" Type="http://schemas.openxmlformats.org/officeDocument/2006/relationships/slideLayout" Target="../slideLayouts/slideLayout44.xml"/><Relationship Id="rId6" Type="http://schemas.openxmlformats.org/officeDocument/2006/relationships/slideLayout" Target="../slideLayouts/slideLayout49.xml"/><Relationship Id="rId11" Type="http://schemas.openxmlformats.org/officeDocument/2006/relationships/slideLayout" Target="../slideLayouts/slideLayout54.xml"/><Relationship Id="rId5" Type="http://schemas.openxmlformats.org/officeDocument/2006/relationships/slideLayout" Target="../slideLayouts/slideLayout48.xml"/><Relationship Id="rId15" Type="http://schemas.openxmlformats.org/officeDocument/2006/relationships/slideLayout" Target="../slideLayouts/slideLayout58.xml"/><Relationship Id="rId10" Type="http://schemas.openxmlformats.org/officeDocument/2006/relationships/slideLayout" Target="../slideLayouts/slideLayout53.xml"/><Relationship Id="rId19" Type="http://schemas.openxmlformats.org/officeDocument/2006/relationships/image" Target="../media/image1.png"/><Relationship Id="rId4" Type="http://schemas.openxmlformats.org/officeDocument/2006/relationships/slideLayout" Target="../slideLayouts/slideLayout47.xml"/><Relationship Id="rId9" Type="http://schemas.openxmlformats.org/officeDocument/2006/relationships/slideLayout" Target="../slideLayouts/slideLayout52.xml"/><Relationship Id="rId14" Type="http://schemas.openxmlformats.org/officeDocument/2006/relationships/slideLayout" Target="../slideLayouts/slideLayout57.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68.xml"/><Relationship Id="rId3" Type="http://schemas.openxmlformats.org/officeDocument/2006/relationships/slideLayout" Target="../slideLayouts/slideLayout63.xml"/><Relationship Id="rId7" Type="http://schemas.openxmlformats.org/officeDocument/2006/relationships/slideLayout" Target="../slideLayouts/slideLayout67.xml"/><Relationship Id="rId12" Type="http://schemas.openxmlformats.org/officeDocument/2006/relationships/image" Target="../media/image1.png"/><Relationship Id="rId2" Type="http://schemas.openxmlformats.org/officeDocument/2006/relationships/slideLayout" Target="../slideLayouts/slideLayout62.xml"/><Relationship Id="rId1" Type="http://schemas.openxmlformats.org/officeDocument/2006/relationships/slideLayout" Target="../slideLayouts/slideLayout61.xml"/><Relationship Id="rId6" Type="http://schemas.openxmlformats.org/officeDocument/2006/relationships/slideLayout" Target="../slideLayouts/slideLayout66.xml"/><Relationship Id="rId11" Type="http://schemas.openxmlformats.org/officeDocument/2006/relationships/theme" Target="../theme/theme8.xml"/><Relationship Id="rId5" Type="http://schemas.openxmlformats.org/officeDocument/2006/relationships/slideLayout" Target="../slideLayouts/slideLayout65.xml"/><Relationship Id="rId10" Type="http://schemas.openxmlformats.org/officeDocument/2006/relationships/slideLayout" Target="../slideLayouts/slideLayout70.xml"/><Relationship Id="rId4" Type="http://schemas.openxmlformats.org/officeDocument/2006/relationships/slideLayout" Target="../slideLayouts/slideLayout64.xml"/><Relationship Id="rId9" Type="http://schemas.openxmlformats.org/officeDocument/2006/relationships/slideLayout" Target="../slideLayouts/slideLayout69.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78.xml"/><Relationship Id="rId3" Type="http://schemas.openxmlformats.org/officeDocument/2006/relationships/slideLayout" Target="../slideLayouts/slideLayout73.xml"/><Relationship Id="rId7" Type="http://schemas.openxmlformats.org/officeDocument/2006/relationships/slideLayout" Target="../slideLayouts/slideLayout77.xml"/><Relationship Id="rId12" Type="http://schemas.openxmlformats.org/officeDocument/2006/relationships/image" Target="../media/image1.png"/><Relationship Id="rId2" Type="http://schemas.openxmlformats.org/officeDocument/2006/relationships/slideLayout" Target="../slideLayouts/slideLayout72.xml"/><Relationship Id="rId1" Type="http://schemas.openxmlformats.org/officeDocument/2006/relationships/slideLayout" Target="../slideLayouts/slideLayout71.xml"/><Relationship Id="rId6" Type="http://schemas.openxmlformats.org/officeDocument/2006/relationships/slideLayout" Target="../slideLayouts/slideLayout76.xml"/><Relationship Id="rId11" Type="http://schemas.openxmlformats.org/officeDocument/2006/relationships/theme" Target="../theme/theme9.xml"/><Relationship Id="rId5" Type="http://schemas.openxmlformats.org/officeDocument/2006/relationships/slideLayout" Target="../slideLayouts/slideLayout75.xml"/><Relationship Id="rId10" Type="http://schemas.openxmlformats.org/officeDocument/2006/relationships/slideLayout" Target="../slideLayouts/slideLayout80.xml"/><Relationship Id="rId4" Type="http://schemas.openxmlformats.org/officeDocument/2006/relationships/slideLayout" Target="../slideLayouts/slideLayout74.xml"/><Relationship Id="rId9" Type="http://schemas.openxmlformats.org/officeDocument/2006/relationships/slideLayout" Target="../slideLayouts/slideLayout7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10">
            <a:extLst>
              <a:ext uri="{28A0092B-C50C-407E-A947-70E740481C1C}">
                <a14:useLocalDpi xmlns:a14="http://schemas.microsoft.com/office/drawing/2010/main" val="0"/>
              </a:ext>
            </a:extLst>
          </a:blip>
          <a:stretch>
            <a:fillRect/>
          </a:stretch>
        </p:blipFill>
        <p:spPr>
          <a:xfrm>
            <a:off x="9504840" y="5943314"/>
            <a:ext cx="2468136" cy="1197772"/>
          </a:xfrm>
          <a:prstGeom prst="rect">
            <a:avLst/>
          </a:prstGeom>
        </p:spPr>
      </p:pic>
      <p:sp>
        <p:nvSpPr>
          <p:cNvPr id="1107" name="Rectangle 83"/>
          <p:cNvSpPr>
            <a:spLocks noGrp="1" noChangeArrowheads="1"/>
          </p:cNvSpPr>
          <p:nvPr>
            <p:ph type="title"/>
          </p:nvPr>
        </p:nvSpPr>
        <p:spPr bwMode="black">
          <a:xfrm>
            <a:off x="804335" y="314326"/>
            <a:ext cx="11055351" cy="4953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p:spPr>
        <p:txBody>
          <a:bodyPr vert="horz" wrap="square" lIns="0" tIns="0" rIns="0" bIns="0" numCol="1" anchor="t" anchorCtr="0" compatLnSpc="1">
            <a:prstTxWarp prst="textNoShape">
              <a:avLst/>
            </a:prstTxWarp>
          </a:bodyPr>
          <a:lstStyle/>
          <a:p>
            <a:pPr lvl="0"/>
            <a:r>
              <a:rPr lang="en-US"/>
              <a:t>Click to edit Master title style</a:t>
            </a:r>
          </a:p>
        </p:txBody>
      </p:sp>
      <p:sp>
        <p:nvSpPr>
          <p:cNvPr id="1108" name="Rectangle 84"/>
          <p:cNvSpPr>
            <a:spLocks noGrp="1" noChangeArrowheads="1"/>
          </p:cNvSpPr>
          <p:nvPr>
            <p:ph type="body" idx="1"/>
          </p:nvPr>
        </p:nvSpPr>
        <p:spPr bwMode="black">
          <a:xfrm>
            <a:off x="804334" y="1344617"/>
            <a:ext cx="11063817" cy="49228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accent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 uri="{FAA26D3D-D897-4be2-8F04-BA451C77F1D7}">
              <ma14:placeholderFlag xmlns="" xmlns:ma14="http://schemas.microsoft.com/office/mac/drawingml/2011/main" val="1"/>
            </a:ext>
          </a:extLst>
        </p:spPr>
        <p:txBody>
          <a:bodyPr vert="horz" wrap="square" lIns="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09" name="Rectangle 85"/>
          <p:cNvSpPr>
            <a:spLocks noGrp="1" noChangeArrowheads="1"/>
          </p:cNvSpPr>
          <p:nvPr>
            <p:ph type="sldNum" sz="quarter" idx="4"/>
          </p:nvPr>
        </p:nvSpPr>
        <p:spPr bwMode="black">
          <a:xfrm>
            <a:off x="334437" y="6440492"/>
            <a:ext cx="461433" cy="2746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p:spPr>
        <p:txBody>
          <a:bodyPr vert="horz" wrap="square" lIns="0" tIns="0" rIns="0" bIns="0" numCol="1" anchor="ctr" anchorCtr="0" compatLnSpc="1">
            <a:prstTxWarp prst="textNoShape">
              <a:avLst/>
            </a:prstTxWarp>
          </a:bodyPr>
          <a:lstStyle>
            <a:lvl1pPr>
              <a:defRPr sz="900" smtClean="0">
                <a:cs typeface="Geneva" charset="0"/>
              </a:defRPr>
            </a:lvl1pPr>
          </a:lstStyle>
          <a:p>
            <a:pPr fontAlgn="base">
              <a:spcBef>
                <a:spcPct val="0"/>
              </a:spcBef>
              <a:spcAft>
                <a:spcPct val="0"/>
              </a:spcAft>
              <a:defRPr/>
            </a:pPr>
            <a:fld id="{410BB04A-6CB2-A14D-B6AF-586C8C166ED7}" type="slidenum">
              <a:rPr lang="en-US">
                <a:solidFill>
                  <a:srgbClr val="53565A"/>
                </a:solidFill>
                <a:ea typeface="ＭＳ Ｐゴシック" charset="0"/>
              </a:rPr>
              <a:pPr fontAlgn="base">
                <a:spcBef>
                  <a:spcPct val="0"/>
                </a:spcBef>
                <a:spcAft>
                  <a:spcPct val="0"/>
                </a:spcAft>
                <a:defRPr/>
              </a:pPr>
              <a:t>‹#›</a:t>
            </a:fld>
            <a:endParaRPr lang="en-US" dirty="0">
              <a:solidFill>
                <a:srgbClr val="53565A"/>
              </a:solidFill>
              <a:ea typeface="ＭＳ Ｐゴシック" charset="0"/>
            </a:endParaRPr>
          </a:p>
        </p:txBody>
      </p:sp>
      <p:sp>
        <p:nvSpPr>
          <p:cNvPr id="1111" name="Rectangle 87"/>
          <p:cNvSpPr>
            <a:spLocks noGrp="1" noChangeArrowheads="1"/>
          </p:cNvSpPr>
          <p:nvPr>
            <p:ph type="dt" sz="half" idx="2"/>
          </p:nvPr>
        </p:nvSpPr>
        <p:spPr bwMode="black">
          <a:xfrm>
            <a:off x="804335" y="6440492"/>
            <a:ext cx="1422400" cy="2746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p:spPr>
        <p:txBody>
          <a:bodyPr vert="horz" wrap="square" lIns="0" tIns="0" rIns="0" bIns="0" numCol="1" anchor="ctr" anchorCtr="0" compatLnSpc="1">
            <a:prstTxWarp prst="textNoShape">
              <a:avLst/>
            </a:prstTxWarp>
          </a:bodyPr>
          <a:lstStyle>
            <a:lvl1pPr algn="l">
              <a:defRPr sz="900">
                <a:ea typeface="Geneva" charset="0"/>
                <a:cs typeface="+mn-cs"/>
              </a:defRPr>
            </a:lvl1pPr>
          </a:lstStyle>
          <a:p>
            <a:pPr fontAlgn="base">
              <a:spcBef>
                <a:spcPct val="0"/>
              </a:spcBef>
              <a:spcAft>
                <a:spcPct val="0"/>
              </a:spcAft>
              <a:defRPr/>
            </a:pPr>
            <a:r>
              <a:rPr lang="en-US" dirty="0">
                <a:solidFill>
                  <a:srgbClr val="53565A"/>
                </a:solidFill>
              </a:rPr>
              <a:t>MM.DD.YY</a:t>
            </a:r>
          </a:p>
        </p:txBody>
      </p:sp>
      <p:sp>
        <p:nvSpPr>
          <p:cNvPr id="1116" name="Rectangle 92"/>
          <p:cNvSpPr>
            <a:spLocks noGrp="1" noChangeArrowheads="1"/>
          </p:cNvSpPr>
          <p:nvPr>
            <p:ph type="ftr" sz="quarter" idx="3"/>
          </p:nvPr>
        </p:nvSpPr>
        <p:spPr bwMode="black">
          <a:xfrm>
            <a:off x="2781300" y="6440492"/>
            <a:ext cx="5427133" cy="2746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p:spPr>
        <p:txBody>
          <a:bodyPr vert="horz" wrap="square" lIns="0" tIns="0" rIns="0" bIns="0" numCol="1" anchor="ctr" anchorCtr="0" compatLnSpc="1">
            <a:prstTxWarp prst="textNoShape">
              <a:avLst/>
            </a:prstTxWarp>
          </a:bodyPr>
          <a:lstStyle>
            <a:lvl1pPr algn="l">
              <a:defRPr sz="900">
                <a:ea typeface="ヒラギノ角ゴ Pro W3" charset="0"/>
                <a:cs typeface="Geneva" charset="0"/>
              </a:defRPr>
            </a:lvl1pPr>
          </a:lstStyle>
          <a:p>
            <a:pPr fontAlgn="base">
              <a:spcBef>
                <a:spcPct val="0"/>
              </a:spcBef>
              <a:spcAft>
                <a:spcPct val="0"/>
              </a:spcAft>
              <a:defRPr/>
            </a:pPr>
            <a:r>
              <a:rPr lang="en-US" dirty="0">
                <a:solidFill>
                  <a:srgbClr val="53565A"/>
                </a:solidFill>
              </a:rPr>
              <a:t>Presentation Title</a:t>
            </a:r>
          </a:p>
        </p:txBody>
      </p:sp>
    </p:spTree>
    <p:extLst>
      <p:ext uri="{BB962C8B-B14F-4D97-AF65-F5344CB8AC3E}">
        <p14:creationId xmlns:p14="http://schemas.microsoft.com/office/powerpoint/2010/main" val="2994223968"/>
      </p:ext>
    </p:extLst>
  </p:cSld>
  <p:clrMap bg1="lt1" tx1="dk1" bg2="lt2" tx2="dk2" accent1="accent1" accent2="accent2" accent3="accent3" accent4="accent4" accent5="accent5" accent6="accent6" hlink="hlink" folHlink="folHlink"/>
  <p:sldLayoutIdLst>
    <p:sldLayoutId id="2147483670" r:id="rId1"/>
    <p:sldLayoutId id="2147483671" r:id="rId2"/>
    <p:sldLayoutId id="2147483672" r:id="rId3"/>
    <p:sldLayoutId id="2147483673" r:id="rId4"/>
    <p:sldLayoutId id="2147483674" r:id="rId5"/>
    <p:sldLayoutId id="2147483675" r:id="rId6"/>
    <p:sldLayoutId id="2147483676" r:id="rId7"/>
    <p:sldLayoutId id="2147483677" r:id="rId8"/>
  </p:sldLayoutIdLst>
  <p:hf hdr="0"/>
  <p:txStyles>
    <p:titleStyle>
      <a:lvl1pPr algn="l" rtl="0" eaLnBrk="1" fontAlgn="base" hangingPunct="1">
        <a:spcBef>
          <a:spcPct val="0"/>
        </a:spcBef>
        <a:spcAft>
          <a:spcPct val="0"/>
        </a:spcAft>
        <a:defRPr sz="2400">
          <a:solidFill>
            <a:schemeClr val="tx2"/>
          </a:solidFill>
          <a:latin typeface="+mj-lt"/>
          <a:ea typeface="ヒラギノ角ゴ Pro W3" charset="0"/>
          <a:cs typeface="Geneva" charset="0"/>
        </a:defRPr>
      </a:lvl1pPr>
      <a:lvl2pPr algn="l" rtl="0" eaLnBrk="1" fontAlgn="base" hangingPunct="1">
        <a:spcBef>
          <a:spcPct val="0"/>
        </a:spcBef>
        <a:spcAft>
          <a:spcPct val="0"/>
        </a:spcAft>
        <a:defRPr sz="2400">
          <a:solidFill>
            <a:schemeClr val="tx2"/>
          </a:solidFill>
          <a:latin typeface="Arial" charset="0"/>
          <a:ea typeface="ヒラギノ角ゴ Pro W3" charset="0"/>
          <a:cs typeface="Geneva" charset="0"/>
        </a:defRPr>
      </a:lvl2pPr>
      <a:lvl3pPr algn="l" rtl="0" eaLnBrk="1" fontAlgn="base" hangingPunct="1">
        <a:spcBef>
          <a:spcPct val="0"/>
        </a:spcBef>
        <a:spcAft>
          <a:spcPct val="0"/>
        </a:spcAft>
        <a:defRPr sz="2400">
          <a:solidFill>
            <a:schemeClr val="tx2"/>
          </a:solidFill>
          <a:latin typeface="Arial" charset="0"/>
          <a:ea typeface="ヒラギノ角ゴ Pro W3" charset="0"/>
          <a:cs typeface="Geneva" charset="0"/>
        </a:defRPr>
      </a:lvl3pPr>
      <a:lvl4pPr algn="l" rtl="0" eaLnBrk="1" fontAlgn="base" hangingPunct="1">
        <a:spcBef>
          <a:spcPct val="0"/>
        </a:spcBef>
        <a:spcAft>
          <a:spcPct val="0"/>
        </a:spcAft>
        <a:defRPr sz="2400">
          <a:solidFill>
            <a:schemeClr val="tx2"/>
          </a:solidFill>
          <a:latin typeface="Arial" charset="0"/>
          <a:ea typeface="ヒラギノ角ゴ Pro W3" charset="0"/>
          <a:cs typeface="Geneva" charset="0"/>
        </a:defRPr>
      </a:lvl4pPr>
      <a:lvl5pPr algn="l" rtl="0" eaLnBrk="1" fontAlgn="base" hangingPunct="1">
        <a:spcBef>
          <a:spcPct val="0"/>
        </a:spcBef>
        <a:spcAft>
          <a:spcPct val="0"/>
        </a:spcAft>
        <a:defRPr sz="2400">
          <a:solidFill>
            <a:schemeClr val="tx2"/>
          </a:solidFill>
          <a:latin typeface="Arial" charset="0"/>
          <a:ea typeface="ヒラギノ角ゴ Pro W3" charset="0"/>
          <a:cs typeface="Geneva" charset="0"/>
        </a:defRPr>
      </a:lvl5pPr>
      <a:lvl6pPr marL="457127" algn="l" rtl="0" eaLnBrk="1" fontAlgn="base" hangingPunct="1">
        <a:spcBef>
          <a:spcPct val="0"/>
        </a:spcBef>
        <a:spcAft>
          <a:spcPct val="0"/>
        </a:spcAft>
        <a:defRPr sz="2400">
          <a:solidFill>
            <a:srgbClr val="004785"/>
          </a:solidFill>
          <a:latin typeface="Arial" charset="0"/>
          <a:ea typeface="Geneva" charset="0"/>
        </a:defRPr>
      </a:lvl6pPr>
      <a:lvl7pPr marL="914253" algn="l" rtl="0" eaLnBrk="1" fontAlgn="base" hangingPunct="1">
        <a:spcBef>
          <a:spcPct val="0"/>
        </a:spcBef>
        <a:spcAft>
          <a:spcPct val="0"/>
        </a:spcAft>
        <a:defRPr sz="2400">
          <a:solidFill>
            <a:srgbClr val="004785"/>
          </a:solidFill>
          <a:latin typeface="Arial" charset="0"/>
          <a:ea typeface="Geneva" charset="0"/>
        </a:defRPr>
      </a:lvl7pPr>
      <a:lvl8pPr marL="1371380" algn="l" rtl="0" eaLnBrk="1" fontAlgn="base" hangingPunct="1">
        <a:spcBef>
          <a:spcPct val="0"/>
        </a:spcBef>
        <a:spcAft>
          <a:spcPct val="0"/>
        </a:spcAft>
        <a:defRPr sz="2400">
          <a:solidFill>
            <a:srgbClr val="004785"/>
          </a:solidFill>
          <a:latin typeface="Arial" charset="0"/>
          <a:ea typeface="Geneva" charset="0"/>
        </a:defRPr>
      </a:lvl8pPr>
      <a:lvl9pPr marL="1828507" algn="l" rtl="0" eaLnBrk="1" fontAlgn="base" hangingPunct="1">
        <a:spcBef>
          <a:spcPct val="0"/>
        </a:spcBef>
        <a:spcAft>
          <a:spcPct val="0"/>
        </a:spcAft>
        <a:defRPr sz="2400">
          <a:solidFill>
            <a:srgbClr val="004785"/>
          </a:solidFill>
          <a:latin typeface="Arial" charset="0"/>
          <a:ea typeface="Geneva" charset="0"/>
        </a:defRPr>
      </a:lvl9pPr>
    </p:titleStyle>
    <p:bodyStyle>
      <a:lvl1pPr marL="288879" indent="-288879" algn="l" rtl="0" eaLnBrk="1" fontAlgn="base" hangingPunct="1">
        <a:lnSpc>
          <a:spcPct val="95000"/>
        </a:lnSpc>
        <a:spcBef>
          <a:spcPct val="75000"/>
        </a:spcBef>
        <a:spcAft>
          <a:spcPct val="20000"/>
        </a:spcAft>
        <a:buChar char="•"/>
        <a:defRPr>
          <a:solidFill>
            <a:schemeClr val="tx1"/>
          </a:solidFill>
          <a:latin typeface="+mn-lt"/>
          <a:ea typeface="ヒラギノ角ゴ Pro W3" charset="0"/>
          <a:cs typeface="Geneva" charset="0"/>
        </a:defRPr>
      </a:lvl1pPr>
      <a:lvl2pPr marL="633311" indent="-230152" algn="l" rtl="0" eaLnBrk="1" fontAlgn="base" hangingPunct="1">
        <a:lnSpc>
          <a:spcPct val="95000"/>
        </a:lnSpc>
        <a:spcBef>
          <a:spcPct val="20000"/>
        </a:spcBef>
        <a:spcAft>
          <a:spcPct val="20000"/>
        </a:spcAft>
        <a:buFont typeface="Arial" charset="0"/>
        <a:buChar char="–"/>
        <a:defRPr>
          <a:solidFill>
            <a:schemeClr val="tx1"/>
          </a:solidFill>
          <a:latin typeface="+mn-lt"/>
          <a:ea typeface="+mn-ea"/>
          <a:cs typeface="Geneva" charset="0"/>
        </a:defRPr>
      </a:lvl2pPr>
      <a:lvl3pPr marL="974569" indent="-226976" algn="l" rtl="0" eaLnBrk="1" fontAlgn="base" hangingPunct="1">
        <a:lnSpc>
          <a:spcPct val="95000"/>
        </a:lnSpc>
        <a:spcBef>
          <a:spcPct val="20000"/>
        </a:spcBef>
        <a:spcAft>
          <a:spcPct val="20000"/>
        </a:spcAft>
        <a:buFont typeface="Arial" charset="0"/>
        <a:buChar char="•"/>
        <a:defRPr>
          <a:solidFill>
            <a:schemeClr val="tx1"/>
          </a:solidFill>
          <a:latin typeface="+mn-lt"/>
          <a:ea typeface="+mn-ea"/>
          <a:cs typeface="Geneva" charset="0"/>
        </a:defRPr>
      </a:lvl3pPr>
      <a:lvl4pPr marL="1312653" indent="-223802" algn="l" rtl="0" eaLnBrk="1" fontAlgn="base" hangingPunct="1">
        <a:lnSpc>
          <a:spcPct val="95000"/>
        </a:lnSpc>
        <a:spcBef>
          <a:spcPct val="20000"/>
        </a:spcBef>
        <a:spcAft>
          <a:spcPct val="20000"/>
        </a:spcAft>
        <a:buFont typeface="Arial" charset="0"/>
        <a:buChar char="–"/>
        <a:defRPr>
          <a:solidFill>
            <a:schemeClr val="tx1"/>
          </a:solidFill>
          <a:latin typeface="+mn-lt"/>
          <a:ea typeface="+mn-ea"/>
          <a:cs typeface="Geneva" charset="0"/>
        </a:defRPr>
      </a:lvl4pPr>
      <a:lvl5pPr marL="1650735" indent="-223802" algn="l" rtl="0" eaLnBrk="1" fontAlgn="base" hangingPunct="1">
        <a:lnSpc>
          <a:spcPct val="95000"/>
        </a:lnSpc>
        <a:spcBef>
          <a:spcPct val="20000"/>
        </a:spcBef>
        <a:spcAft>
          <a:spcPct val="20000"/>
        </a:spcAft>
        <a:buFont typeface="Arial" charset="0"/>
        <a:buChar char="•"/>
        <a:defRPr>
          <a:solidFill>
            <a:schemeClr val="tx1"/>
          </a:solidFill>
          <a:latin typeface="+mn-lt"/>
          <a:ea typeface="+mn-ea"/>
          <a:cs typeface="Geneva" charset="0"/>
        </a:defRPr>
      </a:lvl5pPr>
      <a:lvl6pPr marL="2107862" indent="-223802" algn="l" rtl="0" eaLnBrk="1" fontAlgn="base" hangingPunct="1">
        <a:lnSpc>
          <a:spcPct val="95000"/>
        </a:lnSpc>
        <a:spcBef>
          <a:spcPct val="20000"/>
        </a:spcBef>
        <a:spcAft>
          <a:spcPct val="20000"/>
        </a:spcAft>
        <a:buFont typeface="Arial" charset="0"/>
        <a:buChar char="•"/>
        <a:defRPr sz="1600">
          <a:solidFill>
            <a:schemeClr val="tx1"/>
          </a:solidFill>
          <a:latin typeface="+mn-lt"/>
          <a:ea typeface="+mn-ea"/>
        </a:defRPr>
      </a:lvl6pPr>
      <a:lvl7pPr marL="2564989" indent="-223802" algn="l" rtl="0" eaLnBrk="1" fontAlgn="base" hangingPunct="1">
        <a:lnSpc>
          <a:spcPct val="95000"/>
        </a:lnSpc>
        <a:spcBef>
          <a:spcPct val="20000"/>
        </a:spcBef>
        <a:spcAft>
          <a:spcPct val="20000"/>
        </a:spcAft>
        <a:buFont typeface="Arial" charset="0"/>
        <a:buChar char="•"/>
        <a:defRPr sz="1600">
          <a:solidFill>
            <a:schemeClr val="tx1"/>
          </a:solidFill>
          <a:latin typeface="+mn-lt"/>
          <a:ea typeface="+mn-ea"/>
        </a:defRPr>
      </a:lvl7pPr>
      <a:lvl8pPr marL="3022115" indent="-223802" algn="l" rtl="0" eaLnBrk="1" fontAlgn="base" hangingPunct="1">
        <a:lnSpc>
          <a:spcPct val="95000"/>
        </a:lnSpc>
        <a:spcBef>
          <a:spcPct val="20000"/>
        </a:spcBef>
        <a:spcAft>
          <a:spcPct val="20000"/>
        </a:spcAft>
        <a:buFont typeface="Arial" charset="0"/>
        <a:buChar char="•"/>
        <a:defRPr sz="1600">
          <a:solidFill>
            <a:schemeClr val="tx1"/>
          </a:solidFill>
          <a:latin typeface="+mn-lt"/>
          <a:ea typeface="+mn-ea"/>
        </a:defRPr>
      </a:lvl8pPr>
      <a:lvl9pPr marL="3479242" indent="-223802" algn="l" rtl="0" eaLnBrk="1" fontAlgn="base" hangingPunct="1">
        <a:lnSpc>
          <a:spcPct val="95000"/>
        </a:lnSpc>
        <a:spcBef>
          <a:spcPct val="20000"/>
        </a:spcBef>
        <a:spcAft>
          <a:spcPct val="20000"/>
        </a:spcAft>
        <a:buFont typeface="Arial" charset="0"/>
        <a:buChar char="•"/>
        <a:defRPr sz="1600">
          <a:solidFill>
            <a:schemeClr val="tx1"/>
          </a:solidFill>
          <a:latin typeface="+mn-lt"/>
          <a:ea typeface="+mn-ea"/>
        </a:defRPr>
      </a:lvl9pPr>
    </p:bodyStyle>
    <p:otherStyle>
      <a:defPPr>
        <a:defRPr lang="en-US"/>
      </a:defPPr>
      <a:lvl1pPr marL="0" algn="l" defTabSz="457127" rtl="0" eaLnBrk="1" latinLnBrk="0" hangingPunct="1">
        <a:defRPr sz="1800" kern="1200">
          <a:solidFill>
            <a:schemeClr val="tx1"/>
          </a:solidFill>
          <a:latin typeface="+mn-lt"/>
          <a:ea typeface="+mn-ea"/>
          <a:cs typeface="+mn-cs"/>
        </a:defRPr>
      </a:lvl1pPr>
      <a:lvl2pPr marL="457127" algn="l" defTabSz="457127" rtl="0" eaLnBrk="1" latinLnBrk="0" hangingPunct="1">
        <a:defRPr sz="1800" kern="1200">
          <a:solidFill>
            <a:schemeClr val="tx1"/>
          </a:solidFill>
          <a:latin typeface="+mn-lt"/>
          <a:ea typeface="+mn-ea"/>
          <a:cs typeface="+mn-cs"/>
        </a:defRPr>
      </a:lvl2pPr>
      <a:lvl3pPr marL="914253" algn="l" defTabSz="457127" rtl="0" eaLnBrk="1" latinLnBrk="0" hangingPunct="1">
        <a:defRPr sz="1800" kern="1200">
          <a:solidFill>
            <a:schemeClr val="tx1"/>
          </a:solidFill>
          <a:latin typeface="+mn-lt"/>
          <a:ea typeface="+mn-ea"/>
          <a:cs typeface="+mn-cs"/>
        </a:defRPr>
      </a:lvl3pPr>
      <a:lvl4pPr marL="1371380" algn="l" defTabSz="457127" rtl="0" eaLnBrk="1" latinLnBrk="0" hangingPunct="1">
        <a:defRPr sz="1800" kern="1200">
          <a:solidFill>
            <a:schemeClr val="tx1"/>
          </a:solidFill>
          <a:latin typeface="+mn-lt"/>
          <a:ea typeface="+mn-ea"/>
          <a:cs typeface="+mn-cs"/>
        </a:defRPr>
      </a:lvl4pPr>
      <a:lvl5pPr marL="1828507" algn="l" defTabSz="457127" rtl="0" eaLnBrk="1" latinLnBrk="0" hangingPunct="1">
        <a:defRPr sz="1800" kern="1200">
          <a:solidFill>
            <a:schemeClr val="tx1"/>
          </a:solidFill>
          <a:latin typeface="+mn-lt"/>
          <a:ea typeface="+mn-ea"/>
          <a:cs typeface="+mn-cs"/>
        </a:defRPr>
      </a:lvl5pPr>
      <a:lvl6pPr marL="2285633" algn="l" defTabSz="457127" rtl="0" eaLnBrk="1" latinLnBrk="0" hangingPunct="1">
        <a:defRPr sz="1800" kern="1200">
          <a:solidFill>
            <a:schemeClr val="tx1"/>
          </a:solidFill>
          <a:latin typeface="+mn-lt"/>
          <a:ea typeface="+mn-ea"/>
          <a:cs typeface="+mn-cs"/>
        </a:defRPr>
      </a:lvl6pPr>
      <a:lvl7pPr marL="2742760" algn="l" defTabSz="457127" rtl="0" eaLnBrk="1" latinLnBrk="0" hangingPunct="1">
        <a:defRPr sz="1800" kern="1200">
          <a:solidFill>
            <a:schemeClr val="tx1"/>
          </a:solidFill>
          <a:latin typeface="+mn-lt"/>
          <a:ea typeface="+mn-ea"/>
          <a:cs typeface="+mn-cs"/>
        </a:defRPr>
      </a:lvl7pPr>
      <a:lvl8pPr marL="3199887" algn="l" defTabSz="457127" rtl="0" eaLnBrk="1" latinLnBrk="0" hangingPunct="1">
        <a:defRPr sz="1800" kern="1200">
          <a:solidFill>
            <a:schemeClr val="tx1"/>
          </a:solidFill>
          <a:latin typeface="+mn-lt"/>
          <a:ea typeface="+mn-ea"/>
          <a:cs typeface="+mn-cs"/>
        </a:defRPr>
      </a:lvl8pPr>
      <a:lvl9pPr marL="3657013" algn="l" defTabSz="457127"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57"/>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19523" name="think-cell Slide" r:id="rId58" imgW="270" imgH="270" progId="TCLayout.ActiveDocument.1">
                  <p:embed/>
                </p:oleObj>
              </mc:Choice>
              <mc:Fallback>
                <p:oleObj name="think-cell Slide" r:id="rId58" imgW="270" imgH="270" progId="TCLayout.ActiveDocument.1">
                  <p:embed/>
                  <p:pic>
                    <p:nvPicPr>
                      <p:cNvPr id="2" name="Object 1" hidden="1"/>
                      <p:cNvPicPr/>
                      <p:nvPr/>
                    </p:nvPicPr>
                    <p:blipFill>
                      <a:blip r:embed="rId59"/>
                      <a:stretch>
                        <a:fillRect/>
                      </a:stretch>
                    </p:blipFill>
                    <p:spPr>
                      <a:xfrm>
                        <a:off x="1589" y="1590"/>
                        <a:ext cx="1587" cy="1587"/>
                      </a:xfrm>
                      <a:prstGeom prst="rect">
                        <a:avLst/>
                      </a:prstGeom>
                    </p:spPr>
                  </p:pic>
                </p:oleObj>
              </mc:Fallback>
            </mc:AlternateContent>
          </a:graphicData>
        </a:graphic>
      </p:graphicFrame>
      <p:sp>
        <p:nvSpPr>
          <p:cNvPr id="11" name="Date Placeholder 3"/>
          <p:cNvSpPr>
            <a:spLocks noGrp="1"/>
          </p:cNvSpPr>
          <p:nvPr>
            <p:ph type="dt" sz="half" idx="2"/>
          </p:nvPr>
        </p:nvSpPr>
        <p:spPr>
          <a:xfrm>
            <a:off x="9677401" y="6443508"/>
            <a:ext cx="1482051" cy="115416"/>
          </a:xfrm>
          <a:prstGeom prst="rect">
            <a:avLst/>
          </a:prstGeom>
        </p:spPr>
        <p:txBody>
          <a:bodyPr vert="horz" wrap="square" lIns="0" tIns="0" rIns="0" bIns="0" rtlCol="0" anchor="b">
            <a:spAutoFit/>
          </a:bodyPr>
          <a:lstStyle>
            <a:lvl1pPr algn="r">
              <a:defRPr sz="750">
                <a:solidFill>
                  <a:schemeClr val="bg1">
                    <a:lumMod val="50000"/>
                  </a:schemeClr>
                </a:solidFill>
                <a:latin typeface="+mn-lt"/>
                <a:sym typeface="Trebuchet MS" panose="020B0603020202020204" pitchFamily="34" charset="0"/>
              </a:defRPr>
            </a:lvl1pPr>
          </a:lstStyle>
          <a:p>
            <a:endParaRPr lang="en-US" dirty="0"/>
          </a:p>
        </p:txBody>
      </p:sp>
      <p:sp>
        <p:nvSpPr>
          <p:cNvPr id="12" name="TextBox 11"/>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lumMod val="50000"/>
                </a:schemeClr>
              </a:solidFill>
              <a:latin typeface="+mn-lt"/>
              <a:ea typeface="+mn-ea"/>
              <a:cs typeface="+mn-cs"/>
              <a:sym typeface="Trebuchet MS" panose="020B0603020202020204" pitchFamily="34" charset="0"/>
            </a:endParaRPr>
          </a:p>
        </p:txBody>
      </p:sp>
      <p:sp>
        <p:nvSpPr>
          <p:cNvPr id="9" name="Title Placeholder 1"/>
          <p:cNvSpPr>
            <a:spLocks noGrp="1"/>
          </p:cNvSpPr>
          <p:nvPr>
            <p:ph type="title"/>
          </p:nvPr>
        </p:nvSpPr>
        <p:spPr>
          <a:xfrm>
            <a:off x="630001" y="622802"/>
            <a:ext cx="10933351" cy="249299"/>
          </a:xfrm>
          <a:prstGeom prst="rect">
            <a:avLst/>
          </a:prstGeom>
        </p:spPr>
        <p:txBody>
          <a:bodyPr vert="horz" wrap="square" lIns="0" tIns="0" rIns="0" bIns="0" rtlCol="0" anchor="t">
            <a:spAutoFit/>
          </a:bodyPr>
          <a:lstStyle/>
          <a:p>
            <a:r>
              <a:rPr lang="en-US" dirty="0"/>
              <a:t>Click to add title</a:t>
            </a:r>
          </a:p>
        </p:txBody>
      </p:sp>
      <p:sp>
        <p:nvSpPr>
          <p:cNvPr id="4" name="Text Placeholder 3"/>
          <p:cNvSpPr>
            <a:spLocks noGrp="1"/>
          </p:cNvSpPr>
          <p:nvPr>
            <p:ph type="body" idx="1"/>
          </p:nvPr>
        </p:nvSpPr>
        <p:spPr>
          <a:xfrm>
            <a:off x="630001" y="1825625"/>
            <a:ext cx="10933351" cy="4351338"/>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Level six</a:t>
            </a:r>
          </a:p>
          <a:p>
            <a:pPr lvl="6"/>
            <a:r>
              <a:rPr lang="en-US" dirty="0"/>
              <a:t>Level seven</a:t>
            </a:r>
          </a:p>
          <a:p>
            <a:pPr lvl="7"/>
            <a:r>
              <a:rPr lang="en-US" dirty="0"/>
              <a:t>Level eight</a:t>
            </a:r>
          </a:p>
          <a:p>
            <a:pPr lvl="8"/>
            <a:r>
              <a:rPr lang="en-US" dirty="0"/>
              <a:t>Level nine</a:t>
            </a:r>
          </a:p>
        </p:txBody>
      </p:sp>
    </p:spTree>
    <p:extLst>
      <p:ext uri="{BB962C8B-B14F-4D97-AF65-F5344CB8AC3E}">
        <p14:creationId xmlns:p14="http://schemas.microsoft.com/office/powerpoint/2010/main" val="431747279"/>
      </p:ext>
    </p:extLst>
  </p:cSld>
  <p:clrMap bg1="lt1" tx1="dk1" bg2="lt2" tx2="dk2" accent1="accent1" accent2="accent2" accent3="accent3" accent4="accent4" accent5="accent5" accent6="accent6" hlink="hlink" folHlink="folHlink"/>
  <p:sldLayoutIdLst>
    <p:sldLayoutId id="2147483983" r:id="rId1"/>
    <p:sldLayoutId id="2147483984" r:id="rId2"/>
    <p:sldLayoutId id="2147483985" r:id="rId3"/>
    <p:sldLayoutId id="2147483986" r:id="rId4"/>
    <p:sldLayoutId id="2147483987" r:id="rId5"/>
    <p:sldLayoutId id="2147483988" r:id="rId6"/>
    <p:sldLayoutId id="2147483989" r:id="rId7"/>
    <p:sldLayoutId id="2147483990" r:id="rId8"/>
    <p:sldLayoutId id="2147483991" r:id="rId9"/>
    <p:sldLayoutId id="2147483992" r:id="rId10"/>
    <p:sldLayoutId id="2147483993" r:id="rId11"/>
    <p:sldLayoutId id="2147483994" r:id="rId12"/>
    <p:sldLayoutId id="2147483995" r:id="rId13"/>
    <p:sldLayoutId id="2147483996" r:id="rId14"/>
    <p:sldLayoutId id="2147483997" r:id="rId15"/>
    <p:sldLayoutId id="2147483998" r:id="rId16"/>
    <p:sldLayoutId id="2147483999" r:id="rId17"/>
    <p:sldLayoutId id="2147484000" r:id="rId18"/>
    <p:sldLayoutId id="2147484001" r:id="rId19"/>
    <p:sldLayoutId id="2147484002" r:id="rId20"/>
    <p:sldLayoutId id="2147484003" r:id="rId21"/>
    <p:sldLayoutId id="2147484004" r:id="rId22"/>
    <p:sldLayoutId id="2147484005" r:id="rId23"/>
    <p:sldLayoutId id="2147484006" r:id="rId24"/>
    <p:sldLayoutId id="2147484007" r:id="rId25"/>
    <p:sldLayoutId id="2147484008" r:id="rId26"/>
    <p:sldLayoutId id="2147484009" r:id="rId27"/>
    <p:sldLayoutId id="2147484010" r:id="rId28"/>
    <p:sldLayoutId id="2147484011" r:id="rId29"/>
    <p:sldLayoutId id="2147484012" r:id="rId30"/>
    <p:sldLayoutId id="2147484013" r:id="rId31"/>
    <p:sldLayoutId id="2147484014" r:id="rId32"/>
    <p:sldLayoutId id="2147484015" r:id="rId33"/>
    <p:sldLayoutId id="2147484016" r:id="rId34"/>
    <p:sldLayoutId id="2147484017" r:id="rId35"/>
    <p:sldLayoutId id="2147484018" r:id="rId36"/>
    <p:sldLayoutId id="2147484019" r:id="rId37"/>
    <p:sldLayoutId id="2147484020" r:id="rId38"/>
    <p:sldLayoutId id="2147484021" r:id="rId39"/>
    <p:sldLayoutId id="2147484022" r:id="rId40"/>
    <p:sldLayoutId id="2147484023" r:id="rId41"/>
    <p:sldLayoutId id="2147484024" r:id="rId42"/>
    <p:sldLayoutId id="2147484025" r:id="rId43"/>
    <p:sldLayoutId id="2147484026" r:id="rId44"/>
    <p:sldLayoutId id="2147484027" r:id="rId45"/>
    <p:sldLayoutId id="2147484028" r:id="rId46"/>
    <p:sldLayoutId id="2147484029" r:id="rId47"/>
    <p:sldLayoutId id="2147484030" r:id="rId48"/>
    <p:sldLayoutId id="2147484031" r:id="rId49"/>
    <p:sldLayoutId id="2147484032" r:id="rId50"/>
    <p:sldLayoutId id="2147484033" r:id="rId51"/>
    <p:sldLayoutId id="2147484034" r:id="rId52"/>
    <p:sldLayoutId id="2147484201" r:id="rId53"/>
    <p:sldLayoutId id="2147484202" r:id="rId54"/>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685800" rtl="0" eaLnBrk="1" latinLnBrk="0" hangingPunct="1">
        <a:lnSpc>
          <a:spcPct val="90000"/>
        </a:lnSpc>
        <a:spcBef>
          <a:spcPct val="0"/>
        </a:spcBef>
        <a:buNone/>
        <a:defRPr sz="1800" kern="1200">
          <a:solidFill>
            <a:srgbClr val="4472C4"/>
          </a:solidFill>
          <a:latin typeface="+mj-lt"/>
          <a:ea typeface="+mj-ea"/>
          <a:cs typeface="+mj-cs"/>
          <a:sym typeface="Trebuchet MS" panose="020B0603020202020204" pitchFamily="34" charset="0"/>
        </a:defRPr>
      </a:lvl1pPr>
    </p:titleStyle>
    <p:bodyStyle>
      <a:lvl1pPr marL="0" indent="0" algn="l" defTabSz="685800" rtl="0" eaLnBrk="1" latinLnBrk="0" hangingPunct="1">
        <a:lnSpc>
          <a:spcPct val="110000"/>
        </a:lnSpc>
        <a:spcBef>
          <a:spcPts val="450"/>
        </a:spcBef>
        <a:spcAft>
          <a:spcPts val="225"/>
        </a:spcAft>
        <a:buFont typeface="Arial" panose="020B0604020202020204" pitchFamily="34" charset="0"/>
        <a:buChar char="​"/>
        <a:defRPr lang="en-US" sz="900" kern="1200">
          <a:solidFill>
            <a:schemeClr val="tx1"/>
          </a:solidFill>
          <a:latin typeface="+mn-lt"/>
          <a:ea typeface="+mn-ea"/>
          <a:cs typeface="+mn-cs"/>
          <a:sym typeface="Trebuchet MS" panose="020B0603020202020204" pitchFamily="34" charset="0"/>
        </a:defRPr>
      </a:lvl1pPr>
      <a:lvl2pPr marL="213300" indent="-129600" algn="l" defTabSz="685800" rtl="0" eaLnBrk="1" latinLnBrk="0" hangingPunct="1">
        <a:lnSpc>
          <a:spcPct val="90000"/>
        </a:lnSpc>
        <a:spcBef>
          <a:spcPts val="0"/>
        </a:spcBef>
        <a:spcAft>
          <a:spcPts val="225"/>
        </a:spcAft>
        <a:buClr>
          <a:schemeClr val="tx2"/>
        </a:buClr>
        <a:buFont typeface="Arial" panose="020B0604020202020204" pitchFamily="34" charset="0"/>
        <a:buChar char="•"/>
        <a:defRPr lang="en-US" sz="900" kern="1200">
          <a:solidFill>
            <a:schemeClr val="tx1"/>
          </a:solidFill>
          <a:latin typeface="+mn-lt"/>
          <a:ea typeface="+mn-ea"/>
          <a:cs typeface="+mn-cs"/>
          <a:sym typeface="Trebuchet MS" panose="020B0603020202020204" pitchFamily="34" charset="0"/>
        </a:defRPr>
      </a:lvl2pPr>
      <a:lvl3pPr marL="383400" indent="-124200" algn="l" defTabSz="685800" rtl="0" eaLnBrk="1" latinLnBrk="0" hangingPunct="1">
        <a:lnSpc>
          <a:spcPct val="90000"/>
        </a:lnSpc>
        <a:spcBef>
          <a:spcPts val="0"/>
        </a:spcBef>
        <a:spcAft>
          <a:spcPts val="225"/>
        </a:spcAft>
        <a:buClr>
          <a:schemeClr val="tx2"/>
        </a:buClr>
        <a:buFont typeface="Arial" panose="020B0604020202020204" pitchFamily="34" charset="0"/>
        <a:buChar char="–"/>
        <a:defRPr lang="en-US" sz="900" kern="1200">
          <a:solidFill>
            <a:schemeClr val="tx1"/>
          </a:solidFill>
          <a:latin typeface="+mn-lt"/>
          <a:ea typeface="+mn-ea"/>
          <a:cs typeface="+mn-cs"/>
          <a:sym typeface="Trebuchet MS" panose="020B0603020202020204" pitchFamily="34" charset="0"/>
        </a:defRPr>
      </a:lvl3pPr>
      <a:lvl4pPr marL="0" indent="0" algn="l" defTabSz="685800" rtl="0" eaLnBrk="1" latinLnBrk="0" hangingPunct="1">
        <a:lnSpc>
          <a:spcPct val="110000"/>
        </a:lnSpc>
        <a:spcBef>
          <a:spcPts val="225"/>
        </a:spcBef>
        <a:spcAft>
          <a:spcPts val="225"/>
        </a:spcAft>
        <a:buClr>
          <a:schemeClr val="tx2"/>
        </a:buClr>
        <a:buFont typeface="Arial" panose="020B0604020202020204" pitchFamily="34" charset="0"/>
        <a:buChar char="​"/>
        <a:defRPr lang="en-US" sz="1200" kern="1200">
          <a:solidFill>
            <a:schemeClr val="tx2"/>
          </a:solidFill>
          <a:latin typeface="+mn-lt"/>
          <a:ea typeface="+mn-ea"/>
          <a:cs typeface="+mn-cs"/>
          <a:sym typeface="Trebuchet MS" panose="020B0603020202020204" pitchFamily="34" charset="0"/>
        </a:defRPr>
      </a:lvl4pPr>
      <a:lvl5pPr marL="0" indent="0" algn="l" defTabSz="685800" rtl="0" eaLnBrk="1" latinLnBrk="0" hangingPunct="1">
        <a:lnSpc>
          <a:spcPct val="100000"/>
        </a:lnSpc>
        <a:spcBef>
          <a:spcPts val="0"/>
        </a:spcBef>
        <a:spcAft>
          <a:spcPts val="225"/>
        </a:spcAft>
        <a:buClrTx/>
        <a:buFont typeface="Arial" panose="020B0604020202020204" pitchFamily="34" charset="0"/>
        <a:buChar char="​"/>
        <a:defRPr lang="en-US" sz="1200" b="1" kern="1200" smtClean="0">
          <a:solidFill>
            <a:schemeClr val="tx1"/>
          </a:solidFill>
          <a:latin typeface="+mn-lt"/>
          <a:ea typeface="+mn-ea"/>
          <a:cs typeface="+mn-cs"/>
          <a:sym typeface="Trebuchet MS" panose="020B0603020202020204" pitchFamily="34" charset="0"/>
        </a:defRPr>
      </a:lvl5pPr>
      <a:lvl6pPr marL="202406" indent="-114300" algn="l" defTabSz="685800" rtl="0" eaLnBrk="1" latinLnBrk="0" hangingPunct="1">
        <a:lnSpc>
          <a:spcPct val="90000"/>
        </a:lnSpc>
        <a:spcBef>
          <a:spcPts val="0"/>
        </a:spcBef>
        <a:spcAft>
          <a:spcPts val="450"/>
        </a:spcAft>
        <a:buClr>
          <a:schemeClr val="tx2"/>
        </a:buClr>
        <a:buFont typeface="Arial" panose="020B0604020202020204" pitchFamily="34" charset="0"/>
        <a:buChar char="•"/>
        <a:defRPr lang="en-US" sz="1200" kern="1200" smtClean="0">
          <a:solidFill>
            <a:schemeClr val="tx1"/>
          </a:solidFill>
          <a:latin typeface="+mn-lt"/>
          <a:ea typeface="+mn-ea"/>
          <a:cs typeface="+mn-cs"/>
          <a:sym typeface="Trebuchet MS" panose="020B0603020202020204" pitchFamily="34" charset="0"/>
        </a:defRPr>
      </a:lvl6pPr>
      <a:lvl7pPr marL="0" indent="0" algn="l" defTabSz="685800" rtl="0" eaLnBrk="1" latinLnBrk="0" hangingPunct="1">
        <a:lnSpc>
          <a:spcPct val="90000"/>
        </a:lnSpc>
        <a:spcBef>
          <a:spcPts val="675"/>
        </a:spcBef>
        <a:spcAft>
          <a:spcPts val="675"/>
        </a:spcAft>
        <a:buFont typeface="Arial" panose="020B0604020202020204" pitchFamily="34" charset="0"/>
        <a:buChar char="​"/>
        <a:defRPr lang="en-US" sz="3300" kern="1200" baseline="0" smtClean="0">
          <a:solidFill>
            <a:schemeClr val="tx1"/>
          </a:solidFill>
          <a:latin typeface="+mn-lt"/>
          <a:ea typeface="+mn-ea"/>
          <a:cs typeface="+mn-cs"/>
          <a:sym typeface="Trebuchet MS" panose="020B0603020202020204" pitchFamily="34" charset="0"/>
        </a:defRPr>
      </a:lvl7pPr>
      <a:lvl8pPr marL="0" indent="0" algn="l" defTabSz="685800" rtl="0" eaLnBrk="1" latinLnBrk="0" hangingPunct="1">
        <a:lnSpc>
          <a:spcPct val="90000"/>
        </a:lnSpc>
        <a:spcBef>
          <a:spcPts val="675"/>
        </a:spcBef>
        <a:spcAft>
          <a:spcPts val="0"/>
        </a:spcAft>
        <a:buFont typeface="Arial" panose="020B0604020202020204" pitchFamily="34" charset="0"/>
        <a:buChar char="​"/>
        <a:defRPr lang="en-US" sz="4050" kern="1200" baseline="0" smtClean="0">
          <a:solidFill>
            <a:schemeClr val="tx2"/>
          </a:solidFill>
          <a:latin typeface="+mn-lt"/>
          <a:ea typeface="+mn-ea"/>
          <a:cs typeface="+mn-cs"/>
          <a:sym typeface="Trebuchet MS" panose="020B0603020202020204" pitchFamily="34" charset="0"/>
        </a:defRPr>
      </a:lvl8pPr>
      <a:lvl9pPr marL="0" indent="0" algn="l" defTabSz="685800" rtl="0" eaLnBrk="1" latinLnBrk="0" hangingPunct="1">
        <a:lnSpc>
          <a:spcPct val="100000"/>
        </a:lnSpc>
        <a:spcBef>
          <a:spcPts val="0"/>
        </a:spcBef>
        <a:spcAft>
          <a:spcPts val="675"/>
        </a:spcAft>
        <a:buFont typeface="Arial" panose="020B0604020202020204" pitchFamily="34" charset="0"/>
        <a:buChar char="​"/>
        <a:defRPr lang="en-US" sz="1800"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userDrawn="1">
          <p15:clr>
            <a:srgbClr val="F26B43"/>
          </p15:clr>
        </p15:guide>
        <p15:guide id="2" pos="528" userDrawn="1">
          <p15:clr>
            <a:srgbClr val="F26B43"/>
          </p15:clr>
        </p15:guide>
        <p15:guide id="3" pos="9712" userDrawn="1">
          <p15:clr>
            <a:srgbClr val="F26B43"/>
          </p15:clr>
        </p15:guide>
        <p15:guide id="4" orient="horz" pos="3881" userDrawn="1">
          <p15:clr>
            <a:srgbClr val="F26B43"/>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2" name="Object 31" hidden="1"/>
          <p:cNvGraphicFramePr>
            <a:graphicFrameLocks noChangeAspect="1"/>
          </p:cNvGraphicFramePr>
          <p:nvPr>
            <p:custDataLst>
              <p:tags r:id="rId15"/>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1698710" name="think-cell Slide" r:id="rId16" imgW="270" imgH="270" progId="TCLayout.ActiveDocument.1">
                  <p:embed/>
                </p:oleObj>
              </mc:Choice>
              <mc:Fallback>
                <p:oleObj name="think-cell Slide" r:id="rId16" imgW="270" imgH="270" progId="TCLayout.ActiveDocument.1">
                  <p:embed/>
                  <p:pic>
                    <p:nvPicPr>
                      <p:cNvPr id="32" name="Object 31" hidden="1"/>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a:xfrm>
            <a:off x="562708" y="162000"/>
            <a:ext cx="11068061" cy="832104"/>
          </a:xfrm>
          <a:prstGeom prst="rect">
            <a:avLst/>
          </a:prstGeom>
        </p:spPr>
        <p:txBody>
          <a:bodyPr vert="horz" lIns="0" tIns="45720" rIns="0" bIns="45720" rtlCol="0" anchor="t" anchorCtr="0">
            <a:noAutofit/>
          </a:bodyPr>
          <a:lstStyle/>
          <a:p>
            <a:r>
              <a:rPr lang="en-US" noProof="0" dirty="0"/>
              <a:t>Click to edit Master title style</a:t>
            </a:r>
          </a:p>
        </p:txBody>
      </p:sp>
      <p:sp>
        <p:nvSpPr>
          <p:cNvPr id="13" name="Text Placeholder 12"/>
          <p:cNvSpPr>
            <a:spLocks noGrp="1"/>
          </p:cNvSpPr>
          <p:nvPr>
            <p:ph type="body" idx="1"/>
          </p:nvPr>
        </p:nvSpPr>
        <p:spPr>
          <a:xfrm>
            <a:off x="562708" y="1508760"/>
            <a:ext cx="11074088" cy="3997304"/>
          </a:xfrm>
          <a:prstGeom prst="rect">
            <a:avLst/>
          </a:prstGeom>
        </p:spPr>
        <p:txBody>
          <a:bodyPr vert="horz" lIns="0" tIns="0" rIns="0" bIns="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Box 7"/>
          <p:cNvSpPr txBox="1"/>
          <p:nvPr userDrawn="1"/>
        </p:nvSpPr>
        <p:spPr>
          <a:xfrm>
            <a:off x="5841383" y="6271545"/>
            <a:ext cx="458115" cy="276999"/>
          </a:xfrm>
          <a:prstGeom prst="rect">
            <a:avLst/>
          </a:prstGeom>
          <a:noFill/>
          <a:ln/>
          <a:effectLst/>
        </p:spPr>
        <p:txBody>
          <a:bodyPr wrap="none" lIns="84406" tIns="50644" rIns="84406" bIns="42203" rtlCol="0" anchor="t" anchorCtr="0">
            <a:noAutofit/>
          </a:bodyPr>
          <a:lstStyle/>
          <a:p>
            <a:pPr marL="0" marR="0" lvl="0" indent="0" algn="r" defTabSz="844083" rtl="0" eaLnBrk="1" fontAlgn="auto" latinLnBrk="0" hangingPunct="1">
              <a:lnSpc>
                <a:spcPct val="100000"/>
              </a:lnSpc>
              <a:spcBef>
                <a:spcPts val="0"/>
              </a:spcBef>
              <a:spcAft>
                <a:spcPts val="0"/>
              </a:spcAft>
              <a:buClrTx/>
              <a:buSzTx/>
              <a:buFontTx/>
              <a:buNone/>
              <a:tabLst/>
              <a:defRPr/>
            </a:pPr>
            <a:fld id="{8FDC6993-5875-43F1-AB5B-56FAFD3221C9}" type="slidenum">
              <a:rPr lang="en-US" sz="923" kern="1200" baseline="0" noProof="0" smtClean="0">
                <a:solidFill>
                  <a:schemeClr val="bg1"/>
                </a:solidFill>
                <a:latin typeface="Arial"/>
                <a:ea typeface="+mn-ea"/>
                <a:cs typeface="+mn-cs"/>
              </a:rPr>
              <a:pPr marL="0" marR="0" lvl="0" indent="0" algn="r" defTabSz="844083" rtl="0" eaLnBrk="1" fontAlgn="auto" latinLnBrk="0" hangingPunct="1">
                <a:lnSpc>
                  <a:spcPct val="100000"/>
                </a:lnSpc>
                <a:spcBef>
                  <a:spcPts val="0"/>
                </a:spcBef>
                <a:spcAft>
                  <a:spcPts val="0"/>
                </a:spcAft>
                <a:buClrTx/>
                <a:buSzTx/>
                <a:buFontTx/>
                <a:buNone/>
                <a:tabLst/>
                <a:defRPr/>
              </a:pPr>
              <a:t>‹#›</a:t>
            </a:fld>
            <a:endParaRPr lang="en-US" sz="923" kern="1200" baseline="0" noProof="0" dirty="0">
              <a:solidFill>
                <a:schemeClr val="bg1"/>
              </a:solidFill>
              <a:latin typeface="Arial"/>
              <a:ea typeface="+mn-ea"/>
              <a:cs typeface="+mn-cs"/>
            </a:endParaRPr>
          </a:p>
          <a:p>
            <a:endParaRPr lang="en-US" sz="831" dirty="0">
              <a:solidFill>
                <a:schemeClr val="bg1"/>
              </a:solidFill>
              <a:latin typeface="Arial"/>
            </a:endParaRPr>
          </a:p>
        </p:txBody>
      </p:sp>
      <p:sp>
        <p:nvSpPr>
          <p:cNvPr id="12" name="Slide Number Placeholder 5"/>
          <p:cNvSpPr txBox="1">
            <a:spLocks/>
          </p:cNvSpPr>
          <p:nvPr userDrawn="1"/>
        </p:nvSpPr>
        <p:spPr>
          <a:xfrm>
            <a:off x="11288131" y="6448892"/>
            <a:ext cx="793995" cy="365125"/>
          </a:xfrm>
          <a:prstGeom prst="rect">
            <a:avLst/>
          </a:prstGeom>
        </p:spPr>
        <p:txBody>
          <a:bodyPr vert="horz" lIns="84406" tIns="42203" rIns="84406" bIns="42203"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FC7F43E-2420-6848-A2B2-B5C9DEF3CEAA}" type="slidenum">
              <a:rPr lang="en-US" sz="1000" smtClean="0">
                <a:solidFill>
                  <a:prstClr val="black">
                    <a:tint val="75000"/>
                  </a:prstClr>
                </a:solidFill>
                <a:latin typeface="Arial" panose="020B0604020202020204" pitchFamily="34" charset="0"/>
                <a:cs typeface="Arial" panose="020B0604020202020204" pitchFamily="34" charset="0"/>
              </a:rPr>
              <a:pPr/>
              <a:t>‹#›</a:t>
            </a:fld>
            <a:endParaRPr lang="en-US" sz="1000" dirty="0">
              <a:solidFill>
                <a:prstClr val="black">
                  <a:tint val="75000"/>
                </a:prstClr>
              </a:solidFill>
              <a:latin typeface="Arial" panose="020B0604020202020204" pitchFamily="34" charset="0"/>
              <a:cs typeface="Arial" panose="020B0604020202020204" pitchFamily="34" charset="0"/>
            </a:endParaRPr>
          </a:p>
        </p:txBody>
      </p:sp>
      <p:pic>
        <p:nvPicPr>
          <p:cNvPr id="14" name="Picture 13"/>
          <p:cNvPicPr>
            <a:picLocks noChangeAspect="1"/>
          </p:cNvPicPr>
          <p:nvPr userDrawn="1"/>
        </p:nvPicPr>
        <p:blipFill>
          <a:blip r:embed="rId18" cstate="print">
            <a:extLst>
              <a:ext uri="{28A0092B-C50C-407E-A947-70E740481C1C}">
                <a14:useLocalDpi xmlns:a14="http://schemas.microsoft.com/office/drawing/2010/main" val="0"/>
              </a:ext>
            </a:extLst>
          </a:blip>
          <a:stretch>
            <a:fillRect/>
          </a:stretch>
        </p:blipFill>
        <p:spPr>
          <a:xfrm>
            <a:off x="10505029" y="6552810"/>
            <a:ext cx="1076129" cy="141242"/>
          </a:xfrm>
          <a:prstGeom prst="rect">
            <a:avLst/>
          </a:prstGeom>
        </p:spPr>
      </p:pic>
      <p:pic>
        <p:nvPicPr>
          <p:cNvPr id="16" name="pasted-image.pdf" descr="pasted-image.pdf"/>
          <p:cNvPicPr>
            <a:picLocks noChangeAspect="1"/>
          </p:cNvPicPr>
          <p:nvPr userDrawn="1"/>
        </p:nvPicPr>
        <p:blipFill>
          <a:blip r:embed="rId19" cstate="print"/>
          <a:stretch>
            <a:fillRect/>
          </a:stretch>
        </p:blipFill>
        <p:spPr>
          <a:xfrm>
            <a:off x="393794" y="6416675"/>
            <a:ext cx="518061" cy="256674"/>
          </a:xfrm>
          <a:prstGeom prst="rect">
            <a:avLst/>
          </a:prstGeom>
          <a:ln w="12700">
            <a:miter lim="400000"/>
          </a:ln>
        </p:spPr>
      </p:pic>
    </p:spTree>
    <p:extLst>
      <p:ext uri="{BB962C8B-B14F-4D97-AF65-F5344CB8AC3E}">
        <p14:creationId xmlns:p14="http://schemas.microsoft.com/office/powerpoint/2010/main" val="553257494"/>
      </p:ext>
    </p:extLst>
  </p:cSld>
  <p:clrMap bg1="lt1" tx1="dk1" bg2="lt2" tx2="dk2" accent1="accent1" accent2="accent2" accent3="accent3" accent4="accent4" accent5="accent5" accent6="accent6" hlink="hlink" folHlink="folHlink"/>
  <p:sldLayoutIdLst>
    <p:sldLayoutId id="2147484048" r:id="rId1"/>
    <p:sldLayoutId id="2147484049" r:id="rId2"/>
    <p:sldLayoutId id="2147484050" r:id="rId3"/>
    <p:sldLayoutId id="2147484051" r:id="rId4"/>
    <p:sldLayoutId id="2147484052" r:id="rId5"/>
    <p:sldLayoutId id="2147484053" r:id="rId6"/>
    <p:sldLayoutId id="2147484054" r:id="rId7"/>
    <p:sldLayoutId id="2147484055" r:id="rId8"/>
    <p:sldLayoutId id="2147484056" r:id="rId9"/>
    <p:sldLayoutId id="2147484057" r:id="rId10"/>
    <p:sldLayoutId id="2147484058" r:id="rId11"/>
    <p:sldLayoutId id="2147484203" r:id="rId12"/>
  </p:sldLayoutIdLst>
  <p:hf hdr="0" ftr="0" dt="0"/>
  <p:txStyles>
    <p:titleStyle>
      <a:lvl1pPr algn="l" defTabSz="844083" rtl="0" eaLnBrk="1" latinLnBrk="0" hangingPunct="1">
        <a:spcBef>
          <a:spcPct val="0"/>
        </a:spcBef>
        <a:buNone/>
        <a:defRPr sz="1846" b="1" kern="1200" baseline="0">
          <a:solidFill>
            <a:srgbClr val="4472C4"/>
          </a:solidFill>
          <a:latin typeface="Arial"/>
          <a:ea typeface="+mj-ea"/>
          <a:cs typeface="Arial"/>
          <a:sym typeface="Arial"/>
        </a:defRPr>
      </a:lvl1pPr>
    </p:titleStyle>
    <p:bodyStyle>
      <a:lvl1pPr marL="0" indent="0" algn="l" defTabSz="844083" rtl="0" eaLnBrk="1" latinLnBrk="0" hangingPunct="1">
        <a:spcBef>
          <a:spcPts val="354"/>
        </a:spcBef>
        <a:buFontTx/>
        <a:buNone/>
        <a:defRPr sz="1477" b="1" kern="1200" baseline="0">
          <a:solidFill>
            <a:srgbClr val="002D72"/>
          </a:solidFill>
          <a:latin typeface="Arial"/>
          <a:ea typeface="+mn-ea"/>
          <a:cs typeface="Arial"/>
          <a:sym typeface="Arial"/>
        </a:defRPr>
      </a:lvl1pPr>
      <a:lvl2pPr marL="422041" indent="-211021" algn="l" defTabSz="844083" rtl="0" eaLnBrk="1" latinLnBrk="0" hangingPunct="1">
        <a:spcBef>
          <a:spcPts val="354"/>
        </a:spcBef>
        <a:buClr>
          <a:srgbClr val="002D72"/>
        </a:buClr>
        <a:buFont typeface="Arial" pitchFamily="34" charset="0"/>
        <a:buChar char="•"/>
        <a:defRPr sz="1477" kern="1200" baseline="0">
          <a:solidFill>
            <a:srgbClr val="002D72"/>
          </a:solidFill>
          <a:latin typeface="Arial"/>
          <a:ea typeface="+mn-ea"/>
          <a:cs typeface="Arial"/>
          <a:sym typeface="Arial"/>
        </a:defRPr>
      </a:lvl2pPr>
      <a:lvl3pPr marL="844083" indent="-211021" algn="l" defTabSz="844083" rtl="0" eaLnBrk="1" latinLnBrk="0" hangingPunct="1">
        <a:spcBef>
          <a:spcPts val="354"/>
        </a:spcBef>
        <a:buClr>
          <a:srgbClr val="002D72"/>
        </a:buClr>
        <a:buFont typeface="Arial" pitchFamily="34" charset="0"/>
        <a:buChar char="–"/>
        <a:defRPr sz="1477" kern="1200" baseline="0">
          <a:solidFill>
            <a:srgbClr val="002D72"/>
          </a:solidFill>
          <a:latin typeface="Arial"/>
          <a:ea typeface="+mn-ea"/>
          <a:cs typeface="Arial"/>
          <a:sym typeface="Arial"/>
        </a:defRPr>
      </a:lvl3pPr>
      <a:lvl4pPr marL="1270521" indent="-215416" algn="l" defTabSz="844083" rtl="0" eaLnBrk="1" latinLnBrk="0" hangingPunct="1">
        <a:spcBef>
          <a:spcPts val="354"/>
        </a:spcBef>
        <a:buClr>
          <a:srgbClr val="002D72"/>
        </a:buClr>
        <a:buFont typeface="Arial" pitchFamily="34" charset="0"/>
        <a:buChar char="–"/>
        <a:defRPr sz="1477" kern="1200" baseline="0">
          <a:solidFill>
            <a:srgbClr val="002D72"/>
          </a:solidFill>
          <a:latin typeface="Arial"/>
          <a:ea typeface="+mn-ea"/>
          <a:cs typeface="Arial"/>
          <a:sym typeface="Arial"/>
        </a:defRPr>
      </a:lvl4pPr>
      <a:lvl5pPr marL="1900652" indent="-212487" algn="l" defTabSz="844083" rtl="0" eaLnBrk="1" latinLnBrk="0" hangingPunct="1">
        <a:spcBef>
          <a:spcPts val="354"/>
        </a:spcBef>
        <a:buClr>
          <a:srgbClr val="002D72"/>
        </a:buClr>
        <a:buFont typeface="Arial" pitchFamily="34" charset="0"/>
        <a:buChar char="–"/>
        <a:defRPr sz="1477" kern="1200" baseline="0">
          <a:solidFill>
            <a:srgbClr val="002D72"/>
          </a:solidFill>
          <a:latin typeface="Arial"/>
          <a:ea typeface="+mn-ea"/>
          <a:cs typeface="Arial"/>
          <a:sym typeface="Arial"/>
        </a:defRPr>
      </a:lvl5pPr>
      <a:lvl6pPr marL="2321227"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6pPr>
      <a:lvl7pPr marL="2743269"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7pPr>
      <a:lvl8pPr marL="3165310"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8pPr>
      <a:lvl9pPr marL="3587351"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9pPr>
    </p:bodyStyle>
    <p:otherStyle>
      <a:defPPr>
        <a:defRPr lang="en-US"/>
      </a:defPPr>
      <a:lvl1pPr marL="0" algn="l" defTabSz="844083" rtl="0" eaLnBrk="1" latinLnBrk="0" hangingPunct="1">
        <a:defRPr sz="1662" kern="1200">
          <a:solidFill>
            <a:schemeClr val="tx1"/>
          </a:solidFill>
          <a:latin typeface="+mn-lt"/>
          <a:ea typeface="+mn-ea"/>
          <a:cs typeface="+mn-cs"/>
        </a:defRPr>
      </a:lvl1pPr>
      <a:lvl2pPr marL="422041" algn="l" defTabSz="844083" rtl="0" eaLnBrk="1" latinLnBrk="0" hangingPunct="1">
        <a:defRPr sz="1662" kern="1200">
          <a:solidFill>
            <a:schemeClr val="tx1"/>
          </a:solidFill>
          <a:latin typeface="+mn-lt"/>
          <a:ea typeface="+mn-ea"/>
          <a:cs typeface="+mn-cs"/>
        </a:defRPr>
      </a:lvl2pPr>
      <a:lvl3pPr marL="844083" algn="l" defTabSz="844083" rtl="0" eaLnBrk="1" latinLnBrk="0" hangingPunct="1">
        <a:defRPr sz="1662" kern="1200">
          <a:solidFill>
            <a:schemeClr val="tx1"/>
          </a:solidFill>
          <a:latin typeface="+mn-lt"/>
          <a:ea typeface="+mn-ea"/>
          <a:cs typeface="+mn-cs"/>
        </a:defRPr>
      </a:lvl3pPr>
      <a:lvl4pPr marL="1266124" algn="l" defTabSz="844083" rtl="0" eaLnBrk="1" latinLnBrk="0" hangingPunct="1">
        <a:defRPr sz="1662" kern="1200">
          <a:solidFill>
            <a:schemeClr val="tx1"/>
          </a:solidFill>
          <a:latin typeface="+mn-lt"/>
          <a:ea typeface="+mn-ea"/>
          <a:cs typeface="+mn-cs"/>
        </a:defRPr>
      </a:lvl4pPr>
      <a:lvl5pPr marL="1688165" algn="l" defTabSz="844083" rtl="0" eaLnBrk="1" latinLnBrk="0" hangingPunct="1">
        <a:defRPr sz="1662" kern="1200">
          <a:solidFill>
            <a:schemeClr val="tx1"/>
          </a:solidFill>
          <a:latin typeface="+mn-lt"/>
          <a:ea typeface="+mn-ea"/>
          <a:cs typeface="+mn-cs"/>
        </a:defRPr>
      </a:lvl5pPr>
      <a:lvl6pPr marL="2110207" algn="l" defTabSz="844083" rtl="0" eaLnBrk="1" latinLnBrk="0" hangingPunct="1">
        <a:defRPr sz="1662" kern="1200">
          <a:solidFill>
            <a:schemeClr val="tx1"/>
          </a:solidFill>
          <a:latin typeface="+mn-lt"/>
          <a:ea typeface="+mn-ea"/>
          <a:cs typeface="+mn-cs"/>
        </a:defRPr>
      </a:lvl6pPr>
      <a:lvl7pPr marL="2532248" algn="l" defTabSz="844083" rtl="0" eaLnBrk="1" latinLnBrk="0" hangingPunct="1">
        <a:defRPr sz="1662" kern="1200">
          <a:solidFill>
            <a:schemeClr val="tx1"/>
          </a:solidFill>
          <a:latin typeface="+mn-lt"/>
          <a:ea typeface="+mn-ea"/>
          <a:cs typeface="+mn-cs"/>
        </a:defRPr>
      </a:lvl7pPr>
      <a:lvl8pPr marL="2954289" algn="l" defTabSz="844083" rtl="0" eaLnBrk="1" latinLnBrk="0" hangingPunct="1">
        <a:defRPr sz="1662" kern="1200">
          <a:solidFill>
            <a:schemeClr val="tx1"/>
          </a:solidFill>
          <a:latin typeface="+mn-lt"/>
          <a:ea typeface="+mn-ea"/>
          <a:cs typeface="+mn-cs"/>
        </a:defRPr>
      </a:lvl8pPr>
      <a:lvl9pPr marL="3376331" algn="l" defTabSz="844083" rtl="0" eaLnBrk="1" latinLnBrk="0" hangingPunct="1">
        <a:defRPr sz="1662"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2" name="Object 31" hidden="1"/>
          <p:cNvGraphicFramePr>
            <a:graphicFrameLocks noChangeAspect="1"/>
          </p:cNvGraphicFramePr>
          <p:nvPr>
            <p:custDataLst>
              <p:tags r:id="rId17"/>
            </p:custDataLst>
          </p:nvPr>
        </p:nvGraphicFramePr>
        <p:xfrm>
          <a:off x="1961" y="1595"/>
          <a:ext cx="1953" cy="1587"/>
        </p:xfrm>
        <a:graphic>
          <a:graphicData uri="http://schemas.openxmlformats.org/presentationml/2006/ole">
            <mc:AlternateContent xmlns:mc="http://schemas.openxmlformats.org/markup-compatibility/2006">
              <mc:Choice xmlns:v="urn:schemas-microsoft-com:vml" Requires="v">
                <p:oleObj spid="_x0000_s1880963" name="think-cell Slide" r:id="rId19" imgW="270" imgH="270" progId="TCLayout.ActiveDocument.1">
                  <p:embed/>
                </p:oleObj>
              </mc:Choice>
              <mc:Fallback>
                <p:oleObj name="think-cell Slide" r:id="rId19" imgW="270" imgH="270" progId="TCLayout.ActiveDocument.1">
                  <p:embed/>
                  <p:pic>
                    <p:nvPicPr>
                      <p:cNvPr id="32" name="Object 31" hidden="1"/>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1961" y="1595"/>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a:xfrm>
            <a:off x="562708" y="162000"/>
            <a:ext cx="11068061" cy="832104"/>
          </a:xfrm>
          <a:prstGeom prst="rect">
            <a:avLst/>
          </a:prstGeom>
        </p:spPr>
        <p:txBody>
          <a:bodyPr vert="horz" lIns="0" tIns="62045" rIns="0" bIns="62045" rtlCol="0" anchor="t" anchorCtr="0">
            <a:noAutofit/>
          </a:bodyPr>
          <a:lstStyle/>
          <a:p>
            <a:r>
              <a:rPr lang="en-US" noProof="0"/>
              <a:t>Click to edit Master title style</a:t>
            </a:r>
            <a:endParaRPr lang="en-US" noProof="0" dirty="0"/>
          </a:p>
        </p:txBody>
      </p:sp>
      <p:sp>
        <p:nvSpPr>
          <p:cNvPr id="7" name="FooterSimple"/>
          <p:cNvSpPr/>
          <p:nvPr userDrawn="1">
            <p:custDataLst>
              <p:tags r:id="rId18"/>
            </p:custDataLst>
          </p:nvPr>
        </p:nvSpPr>
        <p:spPr>
          <a:xfrm>
            <a:off x="393793" y="6719264"/>
            <a:ext cx="793108" cy="10772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oAutofit/>
          </a:bodyPr>
          <a:lstStyle/>
          <a:p>
            <a:pPr defTabSz="872470"/>
            <a:r>
              <a:rPr lang="en-US" sz="703">
                <a:solidFill>
                  <a:srgbClr val="808080"/>
                </a:solidFill>
                <a:cs typeface="Arial"/>
                <a:sym typeface="Arial"/>
              </a:rPr>
              <a:t>196301-97-20Dec17-CB-int-MEX.pptx</a:t>
            </a:r>
            <a:endParaRPr lang="en-US" sz="703" dirty="0">
              <a:solidFill>
                <a:srgbClr val="808080"/>
              </a:solidFill>
              <a:cs typeface="Arial"/>
              <a:sym typeface="Arial"/>
            </a:endParaRPr>
          </a:p>
        </p:txBody>
      </p:sp>
      <p:sp>
        <p:nvSpPr>
          <p:cNvPr id="13" name="Text Placeholder 12"/>
          <p:cNvSpPr>
            <a:spLocks noGrp="1"/>
          </p:cNvSpPr>
          <p:nvPr>
            <p:ph type="body" idx="1"/>
          </p:nvPr>
        </p:nvSpPr>
        <p:spPr>
          <a:xfrm>
            <a:off x="562707" y="1508761"/>
            <a:ext cx="11074088" cy="3997304"/>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Box 7"/>
          <p:cNvSpPr txBox="1"/>
          <p:nvPr userDrawn="1"/>
        </p:nvSpPr>
        <p:spPr>
          <a:xfrm>
            <a:off x="5841384" y="6271545"/>
            <a:ext cx="458115" cy="276999"/>
          </a:xfrm>
          <a:prstGeom prst="rect">
            <a:avLst/>
          </a:prstGeom>
          <a:noFill/>
          <a:ln/>
          <a:effectLst/>
        </p:spPr>
        <p:txBody>
          <a:bodyPr wrap="none" lIns="87250" tIns="52350" rIns="87250" bIns="43625" rtlCol="0" anchor="t" anchorCtr="0">
            <a:noAutofit/>
          </a:bodyPr>
          <a:lstStyle/>
          <a:p>
            <a:pPr algn="r" defTabSz="872470">
              <a:defRPr/>
            </a:pPr>
            <a:fld id="{8FDC6993-5875-43F1-AB5B-56FAFD3221C9}" type="slidenum">
              <a:rPr lang="en-US" sz="984" smtClean="0">
                <a:solidFill>
                  <a:srgbClr val="FFFFFF"/>
                </a:solidFill>
              </a:rPr>
              <a:pPr algn="r" defTabSz="872470">
                <a:defRPr/>
              </a:pPr>
              <a:t>‹#›</a:t>
            </a:fld>
            <a:endParaRPr lang="en-US" sz="984" dirty="0">
              <a:solidFill>
                <a:srgbClr val="FFFFFF"/>
              </a:solidFill>
            </a:endParaRPr>
          </a:p>
          <a:p>
            <a:pPr defTabSz="872470"/>
            <a:endParaRPr lang="en-US" sz="844" dirty="0">
              <a:solidFill>
                <a:srgbClr val="FFFFFF"/>
              </a:solidFill>
            </a:endParaRPr>
          </a:p>
        </p:txBody>
      </p:sp>
      <p:sp>
        <p:nvSpPr>
          <p:cNvPr id="12" name="Slide Number Placeholder 5"/>
          <p:cNvSpPr txBox="1">
            <a:spLocks/>
          </p:cNvSpPr>
          <p:nvPr userDrawn="1"/>
        </p:nvSpPr>
        <p:spPr>
          <a:xfrm>
            <a:off x="11288131" y="6448897"/>
            <a:ext cx="793995" cy="365125"/>
          </a:xfrm>
          <a:prstGeom prst="rect">
            <a:avLst/>
          </a:prstGeom>
        </p:spPr>
        <p:txBody>
          <a:bodyPr vert="horz" lIns="87250" tIns="43625" rIns="87250" bIns="43625"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FC7F43E-2420-6848-A2B2-B5C9DEF3CEAA}" type="slidenum">
              <a:rPr lang="en-US" sz="984" smtClean="0">
                <a:solidFill>
                  <a:prstClr val="black">
                    <a:tint val="75000"/>
                  </a:prstClr>
                </a:solidFill>
                <a:cs typeface="Arial" panose="020B0604020202020204" pitchFamily="34" charset="0"/>
              </a:rPr>
              <a:pPr/>
              <a:t>‹#›</a:t>
            </a:fld>
            <a:endParaRPr lang="en-US" sz="984" dirty="0">
              <a:solidFill>
                <a:prstClr val="black">
                  <a:tint val="75000"/>
                </a:prstClr>
              </a:solidFill>
              <a:cs typeface="Arial" panose="020B0604020202020204" pitchFamily="34" charset="0"/>
            </a:endParaRPr>
          </a:p>
        </p:txBody>
      </p:sp>
      <p:pic>
        <p:nvPicPr>
          <p:cNvPr id="14" name="Picture 13"/>
          <p:cNvPicPr>
            <a:picLocks noChangeAspect="1"/>
          </p:cNvPicPr>
          <p:nvPr userDrawn="1"/>
        </p:nvPicPr>
        <p:blipFill>
          <a:blip r:embed="rId21" cstate="print">
            <a:extLst>
              <a:ext uri="{28A0092B-C50C-407E-A947-70E740481C1C}">
                <a14:useLocalDpi xmlns:a14="http://schemas.microsoft.com/office/drawing/2010/main" val="0"/>
              </a:ext>
            </a:extLst>
          </a:blip>
          <a:stretch>
            <a:fillRect/>
          </a:stretch>
        </p:blipFill>
        <p:spPr>
          <a:xfrm>
            <a:off x="10505036" y="6552810"/>
            <a:ext cx="1076129" cy="141242"/>
          </a:xfrm>
          <a:prstGeom prst="rect">
            <a:avLst/>
          </a:prstGeom>
        </p:spPr>
      </p:pic>
      <p:pic>
        <p:nvPicPr>
          <p:cNvPr id="16" name="pasted-image.pdf" descr="pasted-image.pdf"/>
          <p:cNvPicPr>
            <a:picLocks noChangeAspect="1"/>
          </p:cNvPicPr>
          <p:nvPr userDrawn="1"/>
        </p:nvPicPr>
        <p:blipFill>
          <a:blip r:embed="rId22" cstate="print"/>
          <a:stretch>
            <a:fillRect/>
          </a:stretch>
        </p:blipFill>
        <p:spPr>
          <a:xfrm>
            <a:off x="393800" y="6416675"/>
            <a:ext cx="518061" cy="256674"/>
          </a:xfrm>
          <a:prstGeom prst="rect">
            <a:avLst/>
          </a:prstGeom>
          <a:ln w="12700">
            <a:miter lim="400000"/>
          </a:ln>
        </p:spPr>
      </p:pic>
    </p:spTree>
    <p:extLst>
      <p:ext uri="{BB962C8B-B14F-4D97-AF65-F5344CB8AC3E}">
        <p14:creationId xmlns:p14="http://schemas.microsoft.com/office/powerpoint/2010/main" val="2234117541"/>
      </p:ext>
    </p:extLst>
  </p:cSld>
  <p:clrMap bg1="lt1" tx1="dk1" bg2="lt2" tx2="dk2" accent1="accent1" accent2="accent2" accent3="accent3" accent4="accent4" accent5="accent5" accent6="accent6" hlink="hlink" folHlink="folHlink"/>
  <p:sldLayoutIdLst>
    <p:sldLayoutId id="2147484061" r:id="rId1"/>
    <p:sldLayoutId id="2147484062" r:id="rId2"/>
    <p:sldLayoutId id="2147484063" r:id="rId3"/>
    <p:sldLayoutId id="2147484064" r:id="rId4"/>
    <p:sldLayoutId id="2147484065" r:id="rId5"/>
    <p:sldLayoutId id="2147484066" r:id="rId6"/>
    <p:sldLayoutId id="2147484067" r:id="rId7"/>
    <p:sldLayoutId id="2147484068" r:id="rId8"/>
    <p:sldLayoutId id="2147484069" r:id="rId9"/>
    <p:sldLayoutId id="2147484070" r:id="rId10"/>
    <p:sldLayoutId id="2147484071" r:id="rId11"/>
    <p:sldLayoutId id="2147484072" r:id="rId12"/>
    <p:sldLayoutId id="2147484078" r:id="rId13"/>
    <p:sldLayoutId id="2147484079" r:id="rId14"/>
  </p:sldLayoutIdLst>
  <p:hf hdr="0" ftr="0" dt="0"/>
  <p:txStyles>
    <p:titleStyle>
      <a:lvl1pPr algn="l" defTabSz="872470" rtl="0" eaLnBrk="1" latinLnBrk="0" hangingPunct="1">
        <a:spcBef>
          <a:spcPct val="0"/>
        </a:spcBef>
        <a:buNone/>
        <a:defRPr sz="1898" b="1" kern="1200" baseline="0">
          <a:solidFill>
            <a:srgbClr val="4472C4"/>
          </a:solidFill>
          <a:latin typeface="Arial"/>
          <a:ea typeface="+mj-ea"/>
          <a:cs typeface="Arial"/>
          <a:sym typeface="Arial"/>
        </a:defRPr>
      </a:lvl1pPr>
    </p:titleStyle>
    <p:bodyStyle>
      <a:lvl1pPr marL="0" indent="0" algn="l" defTabSz="872470" rtl="0" eaLnBrk="1" latinLnBrk="0" hangingPunct="1">
        <a:spcBef>
          <a:spcPts val="366"/>
        </a:spcBef>
        <a:buFontTx/>
        <a:buNone/>
        <a:defRPr sz="1547" b="1" kern="1200" baseline="0">
          <a:solidFill>
            <a:srgbClr val="002D72"/>
          </a:solidFill>
          <a:latin typeface="Arial"/>
          <a:ea typeface="+mn-ea"/>
          <a:cs typeface="Arial"/>
          <a:sym typeface="Arial"/>
        </a:defRPr>
      </a:lvl1pPr>
      <a:lvl2pPr marL="436235" indent="-218118" algn="l" defTabSz="872470" rtl="0" eaLnBrk="1" latinLnBrk="0" hangingPunct="1">
        <a:spcBef>
          <a:spcPts val="366"/>
        </a:spcBef>
        <a:buClr>
          <a:srgbClr val="002D72"/>
        </a:buClr>
        <a:buFont typeface="Arial" pitchFamily="34" charset="0"/>
        <a:buChar char="•"/>
        <a:defRPr sz="1547" kern="1200" baseline="0">
          <a:solidFill>
            <a:srgbClr val="002D72"/>
          </a:solidFill>
          <a:latin typeface="Arial"/>
          <a:ea typeface="+mn-ea"/>
          <a:cs typeface="Arial"/>
          <a:sym typeface="Arial"/>
        </a:defRPr>
      </a:lvl2pPr>
      <a:lvl3pPr marL="872470" indent="-218118" algn="l" defTabSz="872470" rtl="0" eaLnBrk="1" latinLnBrk="0" hangingPunct="1">
        <a:spcBef>
          <a:spcPts val="366"/>
        </a:spcBef>
        <a:buClr>
          <a:srgbClr val="002D72"/>
        </a:buClr>
        <a:buFont typeface="Arial" pitchFamily="34" charset="0"/>
        <a:buChar char="–"/>
        <a:defRPr sz="1547" kern="1200" baseline="0">
          <a:solidFill>
            <a:srgbClr val="002D72"/>
          </a:solidFill>
          <a:latin typeface="Arial"/>
          <a:ea typeface="+mn-ea"/>
          <a:cs typeface="Arial"/>
          <a:sym typeface="Arial"/>
        </a:defRPr>
      </a:lvl3pPr>
      <a:lvl4pPr marL="1313252" indent="-222662" algn="l" defTabSz="872470" rtl="0" eaLnBrk="1" latinLnBrk="0" hangingPunct="1">
        <a:spcBef>
          <a:spcPts val="366"/>
        </a:spcBef>
        <a:buClr>
          <a:srgbClr val="002D72"/>
        </a:buClr>
        <a:buFont typeface="Arial" pitchFamily="34" charset="0"/>
        <a:buChar char="–"/>
        <a:defRPr sz="1547" kern="1200" baseline="0">
          <a:solidFill>
            <a:srgbClr val="002D72"/>
          </a:solidFill>
          <a:latin typeface="Arial"/>
          <a:ea typeface="+mn-ea"/>
          <a:cs typeface="Arial"/>
          <a:sym typeface="Arial"/>
        </a:defRPr>
      </a:lvl4pPr>
      <a:lvl5pPr marL="1964574" indent="-219633" algn="l" defTabSz="872470" rtl="0" eaLnBrk="1" latinLnBrk="0" hangingPunct="1">
        <a:spcBef>
          <a:spcPts val="366"/>
        </a:spcBef>
        <a:buClr>
          <a:srgbClr val="002D72"/>
        </a:buClr>
        <a:buFont typeface="Arial" pitchFamily="34" charset="0"/>
        <a:buChar char="–"/>
        <a:defRPr sz="1547" kern="1200" baseline="0">
          <a:solidFill>
            <a:srgbClr val="002D72"/>
          </a:solidFill>
          <a:latin typeface="Arial"/>
          <a:ea typeface="+mn-ea"/>
          <a:cs typeface="Arial"/>
          <a:sym typeface="Arial"/>
        </a:defRPr>
      </a:lvl5pPr>
      <a:lvl6pPr marL="2399294" indent="-218118" algn="l" defTabSz="872470" rtl="0" eaLnBrk="1" latinLnBrk="0" hangingPunct="1">
        <a:spcBef>
          <a:spcPct val="20000"/>
        </a:spcBef>
        <a:buFont typeface="Arial" pitchFamily="34" charset="0"/>
        <a:buChar char="•"/>
        <a:defRPr sz="1898" kern="1200">
          <a:solidFill>
            <a:schemeClr val="tx1"/>
          </a:solidFill>
          <a:latin typeface="+mn-lt"/>
          <a:ea typeface="+mn-ea"/>
          <a:cs typeface="+mn-cs"/>
        </a:defRPr>
      </a:lvl6pPr>
      <a:lvl7pPr marL="2835531" indent="-218118" algn="l" defTabSz="872470" rtl="0" eaLnBrk="1" latinLnBrk="0" hangingPunct="1">
        <a:spcBef>
          <a:spcPct val="20000"/>
        </a:spcBef>
        <a:buFont typeface="Arial" pitchFamily="34" charset="0"/>
        <a:buChar char="•"/>
        <a:defRPr sz="1898" kern="1200">
          <a:solidFill>
            <a:schemeClr val="tx1"/>
          </a:solidFill>
          <a:latin typeface="+mn-lt"/>
          <a:ea typeface="+mn-ea"/>
          <a:cs typeface="+mn-cs"/>
        </a:defRPr>
      </a:lvl7pPr>
      <a:lvl8pPr marL="3271765" indent="-218118" algn="l" defTabSz="872470" rtl="0" eaLnBrk="1" latinLnBrk="0" hangingPunct="1">
        <a:spcBef>
          <a:spcPct val="20000"/>
        </a:spcBef>
        <a:buFont typeface="Arial" pitchFamily="34" charset="0"/>
        <a:buChar char="•"/>
        <a:defRPr sz="1898" kern="1200">
          <a:solidFill>
            <a:schemeClr val="tx1"/>
          </a:solidFill>
          <a:latin typeface="+mn-lt"/>
          <a:ea typeface="+mn-ea"/>
          <a:cs typeface="+mn-cs"/>
        </a:defRPr>
      </a:lvl8pPr>
      <a:lvl9pPr marL="3708002" indent="-218118" algn="l" defTabSz="872470" rtl="0" eaLnBrk="1" latinLnBrk="0" hangingPunct="1">
        <a:spcBef>
          <a:spcPct val="20000"/>
        </a:spcBef>
        <a:buFont typeface="Arial" pitchFamily="34" charset="0"/>
        <a:buChar char="•"/>
        <a:defRPr sz="1898" kern="1200">
          <a:solidFill>
            <a:schemeClr val="tx1"/>
          </a:solidFill>
          <a:latin typeface="+mn-lt"/>
          <a:ea typeface="+mn-ea"/>
          <a:cs typeface="+mn-cs"/>
        </a:defRPr>
      </a:lvl9pPr>
    </p:bodyStyle>
    <p:otherStyle>
      <a:defPPr>
        <a:defRPr lang="en-US"/>
      </a:defPPr>
      <a:lvl1pPr marL="0" algn="l" defTabSz="872470" rtl="0" eaLnBrk="1" latinLnBrk="0" hangingPunct="1">
        <a:defRPr sz="1687" kern="1200">
          <a:solidFill>
            <a:schemeClr val="tx1"/>
          </a:solidFill>
          <a:latin typeface="+mn-lt"/>
          <a:ea typeface="+mn-ea"/>
          <a:cs typeface="+mn-cs"/>
        </a:defRPr>
      </a:lvl1pPr>
      <a:lvl2pPr marL="436235" algn="l" defTabSz="872470" rtl="0" eaLnBrk="1" latinLnBrk="0" hangingPunct="1">
        <a:defRPr sz="1687" kern="1200">
          <a:solidFill>
            <a:schemeClr val="tx1"/>
          </a:solidFill>
          <a:latin typeface="+mn-lt"/>
          <a:ea typeface="+mn-ea"/>
          <a:cs typeface="+mn-cs"/>
        </a:defRPr>
      </a:lvl2pPr>
      <a:lvl3pPr marL="872470" algn="l" defTabSz="872470" rtl="0" eaLnBrk="1" latinLnBrk="0" hangingPunct="1">
        <a:defRPr sz="1687" kern="1200">
          <a:solidFill>
            <a:schemeClr val="tx1"/>
          </a:solidFill>
          <a:latin typeface="+mn-lt"/>
          <a:ea typeface="+mn-ea"/>
          <a:cs typeface="+mn-cs"/>
        </a:defRPr>
      </a:lvl3pPr>
      <a:lvl4pPr marL="1308705" algn="l" defTabSz="872470" rtl="0" eaLnBrk="1" latinLnBrk="0" hangingPunct="1">
        <a:defRPr sz="1687" kern="1200">
          <a:solidFill>
            <a:schemeClr val="tx1"/>
          </a:solidFill>
          <a:latin typeface="+mn-lt"/>
          <a:ea typeface="+mn-ea"/>
          <a:cs typeface="+mn-cs"/>
        </a:defRPr>
      </a:lvl4pPr>
      <a:lvl5pPr marL="1744941" algn="l" defTabSz="872470" rtl="0" eaLnBrk="1" latinLnBrk="0" hangingPunct="1">
        <a:defRPr sz="1687" kern="1200">
          <a:solidFill>
            <a:schemeClr val="tx1"/>
          </a:solidFill>
          <a:latin typeface="+mn-lt"/>
          <a:ea typeface="+mn-ea"/>
          <a:cs typeface="+mn-cs"/>
        </a:defRPr>
      </a:lvl5pPr>
      <a:lvl6pPr marL="2181177" algn="l" defTabSz="872470" rtl="0" eaLnBrk="1" latinLnBrk="0" hangingPunct="1">
        <a:defRPr sz="1687" kern="1200">
          <a:solidFill>
            <a:schemeClr val="tx1"/>
          </a:solidFill>
          <a:latin typeface="+mn-lt"/>
          <a:ea typeface="+mn-ea"/>
          <a:cs typeface="+mn-cs"/>
        </a:defRPr>
      </a:lvl6pPr>
      <a:lvl7pPr marL="2617415" algn="l" defTabSz="872470" rtl="0" eaLnBrk="1" latinLnBrk="0" hangingPunct="1">
        <a:defRPr sz="1687" kern="1200">
          <a:solidFill>
            <a:schemeClr val="tx1"/>
          </a:solidFill>
          <a:latin typeface="+mn-lt"/>
          <a:ea typeface="+mn-ea"/>
          <a:cs typeface="+mn-cs"/>
        </a:defRPr>
      </a:lvl7pPr>
      <a:lvl8pPr marL="3053647" algn="l" defTabSz="872470" rtl="0" eaLnBrk="1" latinLnBrk="0" hangingPunct="1">
        <a:defRPr sz="1687" kern="1200">
          <a:solidFill>
            <a:schemeClr val="tx1"/>
          </a:solidFill>
          <a:latin typeface="+mn-lt"/>
          <a:ea typeface="+mn-ea"/>
          <a:cs typeface="+mn-cs"/>
        </a:defRPr>
      </a:lvl8pPr>
      <a:lvl9pPr marL="3489882" algn="l" defTabSz="872470" rtl="0" eaLnBrk="1" latinLnBrk="0" hangingPunct="1">
        <a:defRPr sz="1687"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107" name="Rectangle 83"/>
          <p:cNvSpPr>
            <a:spLocks noGrp="1" noChangeArrowheads="1"/>
          </p:cNvSpPr>
          <p:nvPr>
            <p:ph type="title"/>
          </p:nvPr>
        </p:nvSpPr>
        <p:spPr bwMode="black">
          <a:xfrm>
            <a:off x="316141" y="235947"/>
            <a:ext cx="11543545" cy="4953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p:spPr>
        <p:txBody>
          <a:bodyPr vert="horz" wrap="square" lIns="0" tIns="0" rIns="0" bIns="0" numCol="1" anchor="t" anchorCtr="0" compatLnSpc="1">
            <a:prstTxWarp prst="textNoShape">
              <a:avLst/>
            </a:prstTxWarp>
          </a:bodyPr>
          <a:lstStyle/>
          <a:p>
            <a:pPr lvl="0"/>
            <a:r>
              <a:rPr lang="en-US" dirty="0"/>
              <a:t>Click to edit Master title style</a:t>
            </a:r>
          </a:p>
        </p:txBody>
      </p:sp>
      <p:sp>
        <p:nvSpPr>
          <p:cNvPr id="1108" name="Rectangle 84"/>
          <p:cNvSpPr>
            <a:spLocks noGrp="1" noChangeArrowheads="1"/>
          </p:cNvSpPr>
          <p:nvPr>
            <p:ph type="body" idx="1"/>
          </p:nvPr>
        </p:nvSpPr>
        <p:spPr bwMode="black">
          <a:xfrm>
            <a:off x="315768" y="1320800"/>
            <a:ext cx="11552385" cy="49466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accent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p:spPr>
        <p:txBody>
          <a:bodyPr vert="horz" wrap="square" lIns="0" tIns="45720" rIns="91440" bIns="45720" numCol="1" anchor="t" anchorCtr="0" compatLnSpc="1">
            <a:prstTxWarp prst="textNoShape">
              <a:avLst/>
            </a:prstTxWarp>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Rectangle 85"/>
          <p:cNvSpPr txBox="1">
            <a:spLocks noChangeArrowheads="1"/>
          </p:cNvSpPr>
          <p:nvPr userDrawn="1"/>
        </p:nvSpPr>
        <p:spPr bwMode="black">
          <a:xfrm>
            <a:off x="316141" y="6492742"/>
            <a:ext cx="346075" cy="2746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vert="horz" wrap="square" lIns="0" tIns="0" rIns="0" bIns="0" numCol="1" anchor="ctr" anchorCtr="0" compatLnSpc="1">
            <a:prstTxWarp prst="textNoShape">
              <a:avLst/>
            </a:prstTxWarp>
          </a:bodyPr>
          <a:lstStyle>
            <a:defPPr>
              <a:defRPr lang="en-US"/>
            </a:defPPr>
            <a:lvl1pPr algn="l" rtl="0" fontAlgn="base">
              <a:spcBef>
                <a:spcPct val="0"/>
              </a:spcBef>
              <a:spcAft>
                <a:spcPct val="0"/>
              </a:spcAft>
              <a:defRPr sz="900" kern="1200" smtClean="0">
                <a:solidFill>
                  <a:schemeClr val="tx1"/>
                </a:solidFill>
                <a:latin typeface="Arial" pitchFamily="34" charset="0"/>
                <a:ea typeface="Geneva" pitchFamily="127" charset="-128"/>
                <a:cs typeface="Geneva" charset="0"/>
              </a:defRPr>
            </a:lvl1pPr>
            <a:lvl2pPr marL="457200" algn="l" rtl="0" fontAlgn="base">
              <a:spcBef>
                <a:spcPct val="0"/>
              </a:spcBef>
              <a:spcAft>
                <a:spcPct val="0"/>
              </a:spcAft>
              <a:defRPr sz="2400" kern="1200">
                <a:solidFill>
                  <a:schemeClr val="tx1"/>
                </a:solidFill>
                <a:latin typeface="Arial" pitchFamily="34" charset="0"/>
                <a:ea typeface="Geneva" pitchFamily="127" charset="-128"/>
                <a:cs typeface="+mn-cs"/>
              </a:defRPr>
            </a:lvl2pPr>
            <a:lvl3pPr marL="914400" algn="l" rtl="0" fontAlgn="base">
              <a:spcBef>
                <a:spcPct val="0"/>
              </a:spcBef>
              <a:spcAft>
                <a:spcPct val="0"/>
              </a:spcAft>
              <a:defRPr sz="2400" kern="1200">
                <a:solidFill>
                  <a:schemeClr val="tx1"/>
                </a:solidFill>
                <a:latin typeface="Arial" pitchFamily="34" charset="0"/>
                <a:ea typeface="Geneva" pitchFamily="127" charset="-128"/>
                <a:cs typeface="+mn-cs"/>
              </a:defRPr>
            </a:lvl3pPr>
            <a:lvl4pPr marL="1371600" algn="l" rtl="0" fontAlgn="base">
              <a:spcBef>
                <a:spcPct val="0"/>
              </a:spcBef>
              <a:spcAft>
                <a:spcPct val="0"/>
              </a:spcAft>
              <a:defRPr sz="2400" kern="1200">
                <a:solidFill>
                  <a:schemeClr val="tx1"/>
                </a:solidFill>
                <a:latin typeface="Arial" pitchFamily="34" charset="0"/>
                <a:ea typeface="Geneva" pitchFamily="127" charset="-128"/>
                <a:cs typeface="+mn-cs"/>
              </a:defRPr>
            </a:lvl4pPr>
            <a:lvl5pPr marL="1828800" algn="l" rtl="0" fontAlgn="base">
              <a:spcBef>
                <a:spcPct val="0"/>
              </a:spcBef>
              <a:spcAft>
                <a:spcPct val="0"/>
              </a:spcAft>
              <a:defRPr sz="2400" kern="1200">
                <a:solidFill>
                  <a:schemeClr val="tx1"/>
                </a:solidFill>
                <a:latin typeface="Arial" pitchFamily="34" charset="0"/>
                <a:ea typeface="Geneva" pitchFamily="127" charset="-128"/>
                <a:cs typeface="+mn-cs"/>
              </a:defRPr>
            </a:lvl5pPr>
            <a:lvl6pPr marL="2286000" algn="l" defTabSz="914400" rtl="0" eaLnBrk="1" latinLnBrk="0" hangingPunct="1">
              <a:defRPr sz="2400" kern="1200">
                <a:solidFill>
                  <a:schemeClr val="tx1"/>
                </a:solidFill>
                <a:latin typeface="Arial" pitchFamily="34" charset="0"/>
                <a:ea typeface="Geneva" pitchFamily="127" charset="-128"/>
                <a:cs typeface="+mn-cs"/>
              </a:defRPr>
            </a:lvl6pPr>
            <a:lvl7pPr marL="2743200" algn="l" defTabSz="914400" rtl="0" eaLnBrk="1" latinLnBrk="0" hangingPunct="1">
              <a:defRPr sz="2400" kern="1200">
                <a:solidFill>
                  <a:schemeClr val="tx1"/>
                </a:solidFill>
                <a:latin typeface="Arial" pitchFamily="34" charset="0"/>
                <a:ea typeface="Geneva" pitchFamily="127" charset="-128"/>
                <a:cs typeface="+mn-cs"/>
              </a:defRPr>
            </a:lvl7pPr>
            <a:lvl8pPr marL="3200400" algn="l" defTabSz="914400" rtl="0" eaLnBrk="1" latinLnBrk="0" hangingPunct="1">
              <a:defRPr sz="2400" kern="1200">
                <a:solidFill>
                  <a:schemeClr val="tx1"/>
                </a:solidFill>
                <a:latin typeface="Arial" pitchFamily="34" charset="0"/>
                <a:ea typeface="Geneva" pitchFamily="127" charset="-128"/>
                <a:cs typeface="+mn-cs"/>
              </a:defRPr>
            </a:lvl8pPr>
            <a:lvl9pPr marL="3657600" algn="l" defTabSz="914400" rtl="0" eaLnBrk="1" latinLnBrk="0" hangingPunct="1">
              <a:defRPr sz="2400" kern="1200">
                <a:solidFill>
                  <a:schemeClr val="tx1"/>
                </a:solidFill>
                <a:latin typeface="Arial" pitchFamily="34" charset="0"/>
                <a:ea typeface="Geneva" pitchFamily="127" charset="-128"/>
                <a:cs typeface="+mn-cs"/>
              </a:defRPr>
            </a:lvl9pPr>
          </a:lstStyle>
          <a:p>
            <a:pPr>
              <a:defRPr/>
            </a:pPr>
            <a:fld id="{410BB04A-6CB2-A14D-B6AF-586C8C166ED7}" type="slidenum">
              <a:rPr lang="en-US" sz="675" smtClean="0"/>
              <a:pPr>
                <a:defRPr/>
              </a:pPr>
              <a:t>‹#›</a:t>
            </a:fld>
            <a:endParaRPr lang="en-US" sz="675" dirty="0"/>
          </a:p>
        </p:txBody>
      </p:sp>
      <p:pic>
        <p:nvPicPr>
          <p:cNvPr id="8" name="Picture 7"/>
          <p:cNvPicPr>
            <a:picLocks noChangeAspect="1"/>
          </p:cNvPicPr>
          <p:nvPr userDrawn="1"/>
        </p:nvPicPr>
        <p:blipFill rotWithShape="1">
          <a:blip r:embed="rId10" cstate="print">
            <a:extLst>
              <a:ext uri="{28A0092B-C50C-407E-A947-70E740481C1C}">
                <a14:useLocalDpi xmlns:a14="http://schemas.microsoft.com/office/drawing/2010/main" val="0"/>
              </a:ext>
            </a:extLst>
          </a:blip>
          <a:srcRect/>
          <a:stretch/>
        </p:blipFill>
        <p:spPr>
          <a:xfrm>
            <a:off x="10265248" y="6492242"/>
            <a:ext cx="1700483" cy="324000"/>
          </a:xfrm>
          <a:prstGeom prst="rect">
            <a:avLst/>
          </a:prstGeom>
        </p:spPr>
      </p:pic>
    </p:spTree>
    <p:extLst>
      <p:ext uri="{BB962C8B-B14F-4D97-AF65-F5344CB8AC3E}">
        <p14:creationId xmlns:p14="http://schemas.microsoft.com/office/powerpoint/2010/main" val="2350374741"/>
      </p:ext>
    </p:extLst>
  </p:cSld>
  <p:clrMap bg1="lt1" tx1="dk1" bg2="lt2" tx2="dk2" accent1="accent1" accent2="accent2" accent3="accent3" accent4="accent4" accent5="accent5" accent6="accent6" hlink="hlink" folHlink="folHlink"/>
  <p:sldLayoutIdLst>
    <p:sldLayoutId id="2147484081" r:id="rId1"/>
    <p:sldLayoutId id="2147484082" r:id="rId2"/>
    <p:sldLayoutId id="2147484083" r:id="rId3"/>
    <p:sldLayoutId id="2147484084" r:id="rId4"/>
    <p:sldLayoutId id="2147484085" r:id="rId5"/>
    <p:sldLayoutId id="2147484086" r:id="rId6"/>
    <p:sldLayoutId id="2147484087" r:id="rId7"/>
    <p:sldLayoutId id="2147484088" r:id="rId8"/>
  </p:sldLayoutIdLst>
  <p:hf hdr="0" ftr="0" dt="0"/>
  <p:txStyles>
    <p:titleStyle>
      <a:lvl1pPr algn="l" rtl="0" eaLnBrk="1" fontAlgn="base" hangingPunct="1">
        <a:spcBef>
          <a:spcPct val="0"/>
        </a:spcBef>
        <a:spcAft>
          <a:spcPct val="0"/>
        </a:spcAft>
        <a:defRPr sz="1800">
          <a:solidFill>
            <a:schemeClr val="tx2"/>
          </a:solidFill>
          <a:latin typeface="+mj-lt"/>
          <a:ea typeface="ヒラギノ角ゴ Pro W3" charset="0"/>
          <a:cs typeface="Geneva" charset="0"/>
        </a:defRPr>
      </a:lvl1pPr>
      <a:lvl2pPr algn="l" rtl="0" eaLnBrk="1" fontAlgn="base" hangingPunct="1">
        <a:spcBef>
          <a:spcPct val="0"/>
        </a:spcBef>
        <a:spcAft>
          <a:spcPct val="0"/>
        </a:spcAft>
        <a:defRPr sz="1800">
          <a:solidFill>
            <a:schemeClr val="tx2"/>
          </a:solidFill>
          <a:latin typeface="Arial" charset="0"/>
          <a:ea typeface="ヒラギノ角ゴ Pro W3" charset="0"/>
          <a:cs typeface="Geneva" charset="0"/>
        </a:defRPr>
      </a:lvl2pPr>
      <a:lvl3pPr algn="l" rtl="0" eaLnBrk="1" fontAlgn="base" hangingPunct="1">
        <a:spcBef>
          <a:spcPct val="0"/>
        </a:spcBef>
        <a:spcAft>
          <a:spcPct val="0"/>
        </a:spcAft>
        <a:defRPr sz="1800">
          <a:solidFill>
            <a:schemeClr val="tx2"/>
          </a:solidFill>
          <a:latin typeface="Arial" charset="0"/>
          <a:ea typeface="ヒラギノ角ゴ Pro W3" charset="0"/>
          <a:cs typeface="Geneva" charset="0"/>
        </a:defRPr>
      </a:lvl3pPr>
      <a:lvl4pPr algn="l" rtl="0" eaLnBrk="1" fontAlgn="base" hangingPunct="1">
        <a:spcBef>
          <a:spcPct val="0"/>
        </a:spcBef>
        <a:spcAft>
          <a:spcPct val="0"/>
        </a:spcAft>
        <a:defRPr sz="1800">
          <a:solidFill>
            <a:schemeClr val="tx2"/>
          </a:solidFill>
          <a:latin typeface="Arial" charset="0"/>
          <a:ea typeface="ヒラギノ角ゴ Pro W3" charset="0"/>
          <a:cs typeface="Geneva" charset="0"/>
        </a:defRPr>
      </a:lvl4pPr>
      <a:lvl5pPr algn="l" rtl="0" eaLnBrk="1" fontAlgn="base" hangingPunct="1">
        <a:spcBef>
          <a:spcPct val="0"/>
        </a:spcBef>
        <a:spcAft>
          <a:spcPct val="0"/>
        </a:spcAft>
        <a:defRPr sz="1800">
          <a:solidFill>
            <a:schemeClr val="tx2"/>
          </a:solidFill>
          <a:latin typeface="Arial" charset="0"/>
          <a:ea typeface="ヒラギノ角ゴ Pro W3" charset="0"/>
          <a:cs typeface="Geneva" charset="0"/>
        </a:defRPr>
      </a:lvl5pPr>
      <a:lvl6pPr marL="342900" algn="l" rtl="0" eaLnBrk="1" fontAlgn="base" hangingPunct="1">
        <a:spcBef>
          <a:spcPct val="0"/>
        </a:spcBef>
        <a:spcAft>
          <a:spcPct val="0"/>
        </a:spcAft>
        <a:defRPr sz="1800">
          <a:solidFill>
            <a:srgbClr val="004785"/>
          </a:solidFill>
          <a:latin typeface="Arial" charset="0"/>
          <a:ea typeface="Geneva" charset="0"/>
        </a:defRPr>
      </a:lvl6pPr>
      <a:lvl7pPr marL="685800" algn="l" rtl="0" eaLnBrk="1" fontAlgn="base" hangingPunct="1">
        <a:spcBef>
          <a:spcPct val="0"/>
        </a:spcBef>
        <a:spcAft>
          <a:spcPct val="0"/>
        </a:spcAft>
        <a:defRPr sz="1800">
          <a:solidFill>
            <a:srgbClr val="004785"/>
          </a:solidFill>
          <a:latin typeface="Arial" charset="0"/>
          <a:ea typeface="Geneva" charset="0"/>
        </a:defRPr>
      </a:lvl7pPr>
      <a:lvl8pPr marL="1028700" algn="l" rtl="0" eaLnBrk="1" fontAlgn="base" hangingPunct="1">
        <a:spcBef>
          <a:spcPct val="0"/>
        </a:spcBef>
        <a:spcAft>
          <a:spcPct val="0"/>
        </a:spcAft>
        <a:defRPr sz="1800">
          <a:solidFill>
            <a:srgbClr val="004785"/>
          </a:solidFill>
          <a:latin typeface="Arial" charset="0"/>
          <a:ea typeface="Geneva" charset="0"/>
        </a:defRPr>
      </a:lvl8pPr>
      <a:lvl9pPr marL="1371600" algn="l" rtl="0" eaLnBrk="1" fontAlgn="base" hangingPunct="1">
        <a:spcBef>
          <a:spcPct val="0"/>
        </a:spcBef>
        <a:spcAft>
          <a:spcPct val="0"/>
        </a:spcAft>
        <a:defRPr sz="1800">
          <a:solidFill>
            <a:srgbClr val="004785"/>
          </a:solidFill>
          <a:latin typeface="Arial" charset="0"/>
          <a:ea typeface="Geneva" charset="0"/>
        </a:defRPr>
      </a:lvl9pPr>
    </p:titleStyle>
    <p:bodyStyle>
      <a:lvl1pPr marL="216694" indent="-216694" algn="l" rtl="0" eaLnBrk="1" fontAlgn="base" hangingPunct="1">
        <a:lnSpc>
          <a:spcPct val="95000"/>
        </a:lnSpc>
        <a:spcBef>
          <a:spcPct val="75000"/>
        </a:spcBef>
        <a:spcAft>
          <a:spcPct val="20000"/>
        </a:spcAft>
        <a:buChar char="•"/>
        <a:defRPr>
          <a:solidFill>
            <a:schemeClr val="tx1"/>
          </a:solidFill>
          <a:latin typeface="+mn-lt"/>
          <a:ea typeface="ヒラギノ角ゴ Pro W3" charset="0"/>
          <a:cs typeface="Geneva" charset="0"/>
        </a:defRPr>
      </a:lvl1pPr>
      <a:lvl2pPr marL="475060" indent="-172641" algn="l" rtl="0" eaLnBrk="1" fontAlgn="base" hangingPunct="1">
        <a:lnSpc>
          <a:spcPct val="95000"/>
        </a:lnSpc>
        <a:spcBef>
          <a:spcPct val="20000"/>
        </a:spcBef>
        <a:spcAft>
          <a:spcPct val="20000"/>
        </a:spcAft>
        <a:buFont typeface="Arial" pitchFamily="34" charset="0"/>
        <a:buChar char="–"/>
        <a:defRPr>
          <a:solidFill>
            <a:schemeClr val="tx1"/>
          </a:solidFill>
          <a:latin typeface="+mn-lt"/>
          <a:ea typeface="+mn-ea"/>
          <a:cs typeface="Geneva" charset="0"/>
        </a:defRPr>
      </a:lvl2pPr>
      <a:lvl3pPr marL="731044" indent="-170260" algn="l" rtl="0" eaLnBrk="1" fontAlgn="base" hangingPunct="1">
        <a:lnSpc>
          <a:spcPct val="95000"/>
        </a:lnSpc>
        <a:spcBef>
          <a:spcPct val="20000"/>
        </a:spcBef>
        <a:spcAft>
          <a:spcPct val="20000"/>
        </a:spcAft>
        <a:buFont typeface="Arial" pitchFamily="34" charset="0"/>
        <a:buChar char="•"/>
        <a:defRPr>
          <a:solidFill>
            <a:schemeClr val="tx1"/>
          </a:solidFill>
          <a:latin typeface="+mn-lt"/>
          <a:ea typeface="+mn-ea"/>
          <a:cs typeface="Geneva" charset="0"/>
        </a:defRPr>
      </a:lvl3pPr>
      <a:lvl4pPr marL="984647" indent="-167879" algn="l" rtl="0" eaLnBrk="1" fontAlgn="base" hangingPunct="1">
        <a:lnSpc>
          <a:spcPct val="95000"/>
        </a:lnSpc>
        <a:spcBef>
          <a:spcPct val="20000"/>
        </a:spcBef>
        <a:spcAft>
          <a:spcPct val="20000"/>
        </a:spcAft>
        <a:buFont typeface="Arial" pitchFamily="34" charset="0"/>
        <a:buChar char="–"/>
        <a:defRPr>
          <a:solidFill>
            <a:schemeClr val="tx1"/>
          </a:solidFill>
          <a:latin typeface="+mn-lt"/>
          <a:ea typeface="+mn-ea"/>
          <a:cs typeface="Geneva" charset="0"/>
        </a:defRPr>
      </a:lvl4pPr>
      <a:lvl5pPr marL="1238250" indent="-167879" algn="l" rtl="0" eaLnBrk="1" fontAlgn="base" hangingPunct="1">
        <a:lnSpc>
          <a:spcPct val="95000"/>
        </a:lnSpc>
        <a:spcBef>
          <a:spcPct val="20000"/>
        </a:spcBef>
        <a:spcAft>
          <a:spcPct val="20000"/>
        </a:spcAft>
        <a:buFont typeface="Arial" pitchFamily="34" charset="0"/>
        <a:buChar char="•"/>
        <a:defRPr>
          <a:solidFill>
            <a:schemeClr val="tx1"/>
          </a:solidFill>
          <a:latin typeface="+mn-lt"/>
          <a:ea typeface="+mn-ea"/>
          <a:cs typeface="Geneva" charset="0"/>
        </a:defRPr>
      </a:lvl5pPr>
      <a:lvl6pPr marL="1581150" indent="-167879" algn="l" rtl="0" eaLnBrk="1" fontAlgn="base" hangingPunct="1">
        <a:lnSpc>
          <a:spcPct val="95000"/>
        </a:lnSpc>
        <a:spcBef>
          <a:spcPct val="20000"/>
        </a:spcBef>
        <a:spcAft>
          <a:spcPct val="20000"/>
        </a:spcAft>
        <a:buFont typeface="Arial" charset="0"/>
        <a:buChar char="•"/>
        <a:defRPr sz="1200">
          <a:solidFill>
            <a:schemeClr val="tx1"/>
          </a:solidFill>
          <a:latin typeface="+mn-lt"/>
          <a:ea typeface="+mn-ea"/>
        </a:defRPr>
      </a:lvl6pPr>
      <a:lvl7pPr marL="1924050" indent="-167879" algn="l" rtl="0" eaLnBrk="1" fontAlgn="base" hangingPunct="1">
        <a:lnSpc>
          <a:spcPct val="95000"/>
        </a:lnSpc>
        <a:spcBef>
          <a:spcPct val="20000"/>
        </a:spcBef>
        <a:spcAft>
          <a:spcPct val="20000"/>
        </a:spcAft>
        <a:buFont typeface="Arial" charset="0"/>
        <a:buChar char="•"/>
        <a:defRPr sz="1200">
          <a:solidFill>
            <a:schemeClr val="tx1"/>
          </a:solidFill>
          <a:latin typeface="+mn-lt"/>
          <a:ea typeface="+mn-ea"/>
        </a:defRPr>
      </a:lvl7pPr>
      <a:lvl8pPr marL="2266950" indent="-167879" algn="l" rtl="0" eaLnBrk="1" fontAlgn="base" hangingPunct="1">
        <a:lnSpc>
          <a:spcPct val="95000"/>
        </a:lnSpc>
        <a:spcBef>
          <a:spcPct val="20000"/>
        </a:spcBef>
        <a:spcAft>
          <a:spcPct val="20000"/>
        </a:spcAft>
        <a:buFont typeface="Arial" charset="0"/>
        <a:buChar char="•"/>
        <a:defRPr sz="1200">
          <a:solidFill>
            <a:schemeClr val="tx1"/>
          </a:solidFill>
          <a:latin typeface="+mn-lt"/>
          <a:ea typeface="+mn-ea"/>
        </a:defRPr>
      </a:lvl8pPr>
      <a:lvl9pPr marL="2609850" indent="-167879" algn="l" rtl="0" eaLnBrk="1" fontAlgn="base" hangingPunct="1">
        <a:lnSpc>
          <a:spcPct val="95000"/>
        </a:lnSpc>
        <a:spcBef>
          <a:spcPct val="20000"/>
        </a:spcBef>
        <a:spcAft>
          <a:spcPct val="20000"/>
        </a:spcAft>
        <a:buFont typeface="Arial" charset="0"/>
        <a:buChar char="•"/>
        <a:defRPr sz="1200">
          <a:solidFill>
            <a:schemeClr val="tx1"/>
          </a:solidFill>
          <a:latin typeface="+mn-lt"/>
          <a:ea typeface="+mn-ea"/>
        </a:defRPr>
      </a:lvl9pPr>
    </p:bodyStyle>
    <p:otherStyle>
      <a:defPPr>
        <a:defRPr lang="en-US"/>
      </a:defPPr>
      <a:lvl1pPr marL="0" algn="l" defTabSz="342900" rtl="0" eaLnBrk="1" latinLnBrk="0" hangingPunct="1">
        <a:defRPr sz="1350" kern="1200">
          <a:solidFill>
            <a:schemeClr val="tx1"/>
          </a:solidFill>
          <a:latin typeface="+mn-lt"/>
          <a:ea typeface="+mn-ea"/>
          <a:cs typeface="+mn-cs"/>
        </a:defRPr>
      </a:lvl1pPr>
      <a:lvl2pPr marL="342900" algn="l" defTabSz="342900" rtl="0" eaLnBrk="1" latinLnBrk="0" hangingPunct="1">
        <a:defRPr sz="1350" kern="1200">
          <a:solidFill>
            <a:schemeClr val="tx1"/>
          </a:solidFill>
          <a:latin typeface="+mn-lt"/>
          <a:ea typeface="+mn-ea"/>
          <a:cs typeface="+mn-cs"/>
        </a:defRPr>
      </a:lvl2pPr>
      <a:lvl3pPr marL="685800" algn="l" defTabSz="342900" rtl="0" eaLnBrk="1" latinLnBrk="0" hangingPunct="1">
        <a:defRPr sz="1350" kern="1200">
          <a:solidFill>
            <a:schemeClr val="tx1"/>
          </a:solidFill>
          <a:latin typeface="+mn-lt"/>
          <a:ea typeface="+mn-ea"/>
          <a:cs typeface="+mn-cs"/>
        </a:defRPr>
      </a:lvl3pPr>
      <a:lvl4pPr marL="1028700" algn="l" defTabSz="342900" rtl="0" eaLnBrk="1" latinLnBrk="0" hangingPunct="1">
        <a:defRPr sz="1350" kern="1200">
          <a:solidFill>
            <a:schemeClr val="tx1"/>
          </a:solidFill>
          <a:latin typeface="+mn-lt"/>
          <a:ea typeface="+mn-ea"/>
          <a:cs typeface="+mn-cs"/>
        </a:defRPr>
      </a:lvl4pPr>
      <a:lvl5pPr marL="1371600" algn="l" defTabSz="342900" rtl="0" eaLnBrk="1" latinLnBrk="0" hangingPunct="1">
        <a:defRPr sz="1350" kern="1200">
          <a:solidFill>
            <a:schemeClr val="tx1"/>
          </a:solidFill>
          <a:latin typeface="+mn-lt"/>
          <a:ea typeface="+mn-ea"/>
          <a:cs typeface="+mn-cs"/>
        </a:defRPr>
      </a:lvl5pPr>
      <a:lvl6pPr marL="1714500" algn="l" defTabSz="342900" rtl="0" eaLnBrk="1" latinLnBrk="0" hangingPunct="1">
        <a:defRPr sz="1350" kern="1200">
          <a:solidFill>
            <a:schemeClr val="tx1"/>
          </a:solidFill>
          <a:latin typeface="+mn-lt"/>
          <a:ea typeface="+mn-ea"/>
          <a:cs typeface="+mn-cs"/>
        </a:defRPr>
      </a:lvl6pPr>
      <a:lvl7pPr marL="2057400" algn="l" defTabSz="342900" rtl="0" eaLnBrk="1" latinLnBrk="0" hangingPunct="1">
        <a:defRPr sz="1350" kern="1200">
          <a:solidFill>
            <a:schemeClr val="tx1"/>
          </a:solidFill>
          <a:latin typeface="+mn-lt"/>
          <a:ea typeface="+mn-ea"/>
          <a:cs typeface="+mn-cs"/>
        </a:defRPr>
      </a:lvl7pPr>
      <a:lvl8pPr marL="2400300" algn="l" defTabSz="342900" rtl="0" eaLnBrk="1" latinLnBrk="0" hangingPunct="1">
        <a:defRPr sz="1350" kern="1200">
          <a:solidFill>
            <a:schemeClr val="tx1"/>
          </a:solidFill>
          <a:latin typeface="+mn-lt"/>
          <a:ea typeface="+mn-ea"/>
          <a:cs typeface="+mn-cs"/>
        </a:defRPr>
      </a:lvl8pPr>
      <a:lvl9pPr marL="2743200" algn="l" defTabSz="342900" rtl="0" eaLnBrk="1" latinLnBrk="0" hangingPunct="1">
        <a:defRPr sz="135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107" name="Rectangle 83"/>
          <p:cNvSpPr>
            <a:spLocks noGrp="1" noChangeArrowheads="1"/>
          </p:cNvSpPr>
          <p:nvPr>
            <p:ph type="title"/>
          </p:nvPr>
        </p:nvSpPr>
        <p:spPr bwMode="black">
          <a:xfrm>
            <a:off x="316141" y="235947"/>
            <a:ext cx="11543545" cy="4953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vert="horz" wrap="square" lIns="0" tIns="0" rIns="0" bIns="0" numCol="1" anchor="t" anchorCtr="0" compatLnSpc="1">
            <a:prstTxWarp prst="textNoShape">
              <a:avLst/>
            </a:prstTxWarp>
          </a:bodyPr>
          <a:lstStyle/>
          <a:p>
            <a:pPr lvl="0"/>
            <a:r>
              <a:rPr lang="en-US" dirty="0"/>
              <a:t>Click to edit Master title style</a:t>
            </a:r>
          </a:p>
        </p:txBody>
      </p:sp>
      <p:sp>
        <p:nvSpPr>
          <p:cNvPr id="1108" name="Rectangle 84"/>
          <p:cNvSpPr>
            <a:spLocks noGrp="1" noChangeArrowheads="1"/>
          </p:cNvSpPr>
          <p:nvPr>
            <p:ph type="body" idx="1"/>
          </p:nvPr>
        </p:nvSpPr>
        <p:spPr bwMode="black">
          <a:xfrm>
            <a:off x="315768" y="1320800"/>
            <a:ext cx="11552385" cy="49466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accent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vert="horz" wrap="square" lIns="0" tIns="45720" rIns="91440" bIns="45720" numCol="1" anchor="t" anchorCtr="0" compatLnSpc="1">
            <a:prstTxWarp prst="textNoShape">
              <a:avLst/>
            </a:prstTxWarp>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Rectangle 85"/>
          <p:cNvSpPr txBox="1">
            <a:spLocks noChangeArrowheads="1"/>
          </p:cNvSpPr>
          <p:nvPr userDrawn="1"/>
        </p:nvSpPr>
        <p:spPr bwMode="black">
          <a:xfrm>
            <a:off x="316141" y="6492742"/>
            <a:ext cx="346075" cy="2746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p:spPr>
        <p:txBody>
          <a:bodyPr vert="horz" wrap="square" lIns="0" tIns="0" rIns="0" bIns="0" numCol="1" anchor="ctr" anchorCtr="0" compatLnSpc="1">
            <a:prstTxWarp prst="textNoShape">
              <a:avLst/>
            </a:prstTxWarp>
          </a:bodyPr>
          <a:lstStyle>
            <a:defPPr>
              <a:defRPr lang="en-US"/>
            </a:defPPr>
            <a:lvl1pPr algn="l" rtl="0" fontAlgn="base">
              <a:spcBef>
                <a:spcPct val="0"/>
              </a:spcBef>
              <a:spcAft>
                <a:spcPct val="0"/>
              </a:spcAft>
              <a:defRPr sz="900" kern="1200" smtClean="0">
                <a:solidFill>
                  <a:schemeClr val="tx1"/>
                </a:solidFill>
                <a:latin typeface="Arial" pitchFamily="34" charset="0"/>
                <a:ea typeface="Geneva" pitchFamily="127" charset="-128"/>
                <a:cs typeface="Geneva" charset="0"/>
              </a:defRPr>
            </a:lvl1pPr>
            <a:lvl2pPr marL="457200" algn="l" rtl="0" fontAlgn="base">
              <a:spcBef>
                <a:spcPct val="0"/>
              </a:spcBef>
              <a:spcAft>
                <a:spcPct val="0"/>
              </a:spcAft>
              <a:defRPr sz="2400" kern="1200">
                <a:solidFill>
                  <a:schemeClr val="tx1"/>
                </a:solidFill>
                <a:latin typeface="Arial" pitchFamily="34" charset="0"/>
                <a:ea typeface="Geneva" pitchFamily="127" charset="-128"/>
                <a:cs typeface="+mn-cs"/>
              </a:defRPr>
            </a:lvl2pPr>
            <a:lvl3pPr marL="914400" algn="l" rtl="0" fontAlgn="base">
              <a:spcBef>
                <a:spcPct val="0"/>
              </a:spcBef>
              <a:spcAft>
                <a:spcPct val="0"/>
              </a:spcAft>
              <a:defRPr sz="2400" kern="1200">
                <a:solidFill>
                  <a:schemeClr val="tx1"/>
                </a:solidFill>
                <a:latin typeface="Arial" pitchFamily="34" charset="0"/>
                <a:ea typeface="Geneva" pitchFamily="127" charset="-128"/>
                <a:cs typeface="+mn-cs"/>
              </a:defRPr>
            </a:lvl3pPr>
            <a:lvl4pPr marL="1371600" algn="l" rtl="0" fontAlgn="base">
              <a:spcBef>
                <a:spcPct val="0"/>
              </a:spcBef>
              <a:spcAft>
                <a:spcPct val="0"/>
              </a:spcAft>
              <a:defRPr sz="2400" kern="1200">
                <a:solidFill>
                  <a:schemeClr val="tx1"/>
                </a:solidFill>
                <a:latin typeface="Arial" pitchFamily="34" charset="0"/>
                <a:ea typeface="Geneva" pitchFamily="127" charset="-128"/>
                <a:cs typeface="+mn-cs"/>
              </a:defRPr>
            </a:lvl4pPr>
            <a:lvl5pPr marL="1828800" algn="l" rtl="0" fontAlgn="base">
              <a:spcBef>
                <a:spcPct val="0"/>
              </a:spcBef>
              <a:spcAft>
                <a:spcPct val="0"/>
              </a:spcAft>
              <a:defRPr sz="2400" kern="1200">
                <a:solidFill>
                  <a:schemeClr val="tx1"/>
                </a:solidFill>
                <a:latin typeface="Arial" pitchFamily="34" charset="0"/>
                <a:ea typeface="Geneva" pitchFamily="127" charset="-128"/>
                <a:cs typeface="+mn-cs"/>
              </a:defRPr>
            </a:lvl5pPr>
            <a:lvl6pPr marL="2286000" algn="l" defTabSz="914400" rtl="0" eaLnBrk="1" latinLnBrk="0" hangingPunct="1">
              <a:defRPr sz="2400" kern="1200">
                <a:solidFill>
                  <a:schemeClr val="tx1"/>
                </a:solidFill>
                <a:latin typeface="Arial" pitchFamily="34" charset="0"/>
                <a:ea typeface="Geneva" pitchFamily="127" charset="-128"/>
                <a:cs typeface="+mn-cs"/>
              </a:defRPr>
            </a:lvl6pPr>
            <a:lvl7pPr marL="2743200" algn="l" defTabSz="914400" rtl="0" eaLnBrk="1" latinLnBrk="0" hangingPunct="1">
              <a:defRPr sz="2400" kern="1200">
                <a:solidFill>
                  <a:schemeClr val="tx1"/>
                </a:solidFill>
                <a:latin typeface="Arial" pitchFamily="34" charset="0"/>
                <a:ea typeface="Geneva" pitchFamily="127" charset="-128"/>
                <a:cs typeface="+mn-cs"/>
              </a:defRPr>
            </a:lvl7pPr>
            <a:lvl8pPr marL="3200400" algn="l" defTabSz="914400" rtl="0" eaLnBrk="1" latinLnBrk="0" hangingPunct="1">
              <a:defRPr sz="2400" kern="1200">
                <a:solidFill>
                  <a:schemeClr val="tx1"/>
                </a:solidFill>
                <a:latin typeface="Arial" pitchFamily="34" charset="0"/>
                <a:ea typeface="Geneva" pitchFamily="127" charset="-128"/>
                <a:cs typeface="+mn-cs"/>
              </a:defRPr>
            </a:lvl8pPr>
            <a:lvl9pPr marL="3657600" algn="l" defTabSz="914400" rtl="0" eaLnBrk="1" latinLnBrk="0" hangingPunct="1">
              <a:defRPr sz="2400" kern="1200">
                <a:solidFill>
                  <a:schemeClr val="tx1"/>
                </a:solidFill>
                <a:latin typeface="Arial" pitchFamily="34" charset="0"/>
                <a:ea typeface="Geneva" pitchFamily="127" charset="-128"/>
                <a:cs typeface="+mn-cs"/>
              </a:defRPr>
            </a:lvl9pPr>
          </a:lstStyle>
          <a:p>
            <a:pPr>
              <a:defRPr/>
            </a:pPr>
            <a:fld id="{410BB04A-6CB2-A14D-B6AF-586C8C166ED7}" type="slidenum">
              <a:rPr lang="en-US" sz="675" smtClean="0"/>
              <a:pPr>
                <a:defRPr/>
              </a:pPr>
              <a:t>‹#›</a:t>
            </a:fld>
            <a:endParaRPr lang="en-US" sz="675" dirty="0"/>
          </a:p>
        </p:txBody>
      </p:sp>
      <p:pic>
        <p:nvPicPr>
          <p:cNvPr id="8" name="Picture 7"/>
          <p:cNvPicPr>
            <a:picLocks noChangeAspect="1"/>
          </p:cNvPicPr>
          <p:nvPr userDrawn="1"/>
        </p:nvPicPr>
        <p:blipFill rotWithShape="1">
          <a:blip r:embed="rId12" cstate="print">
            <a:extLst>
              <a:ext uri="{28A0092B-C50C-407E-A947-70E740481C1C}">
                <a14:useLocalDpi xmlns:a14="http://schemas.microsoft.com/office/drawing/2010/main" val="0"/>
              </a:ext>
            </a:extLst>
          </a:blip>
          <a:srcRect/>
          <a:stretch/>
        </p:blipFill>
        <p:spPr>
          <a:xfrm>
            <a:off x="10265248" y="6492242"/>
            <a:ext cx="1700483" cy="324000"/>
          </a:xfrm>
          <a:prstGeom prst="rect">
            <a:avLst/>
          </a:prstGeom>
        </p:spPr>
      </p:pic>
    </p:spTree>
    <p:extLst>
      <p:ext uri="{BB962C8B-B14F-4D97-AF65-F5344CB8AC3E}">
        <p14:creationId xmlns:p14="http://schemas.microsoft.com/office/powerpoint/2010/main" val="3623884017"/>
      </p:ext>
    </p:extLst>
  </p:cSld>
  <p:clrMap bg1="lt1" tx1="dk1" bg2="lt2" tx2="dk2" accent1="accent1" accent2="accent2" accent3="accent3" accent4="accent4" accent5="accent5" accent6="accent6" hlink="hlink" folHlink="folHlink"/>
  <p:sldLayoutIdLst>
    <p:sldLayoutId id="2147484099" r:id="rId1"/>
    <p:sldLayoutId id="2147484100" r:id="rId2"/>
    <p:sldLayoutId id="2147484101" r:id="rId3"/>
    <p:sldLayoutId id="2147484102" r:id="rId4"/>
    <p:sldLayoutId id="2147484103" r:id="rId5"/>
    <p:sldLayoutId id="2147484104" r:id="rId6"/>
    <p:sldLayoutId id="2147484105" r:id="rId7"/>
    <p:sldLayoutId id="2147484106" r:id="rId8"/>
    <p:sldLayoutId id="2147484195" r:id="rId9"/>
    <p:sldLayoutId id="2147484196" r:id="rId10"/>
  </p:sldLayoutIdLst>
  <p:hf hdr="0" ftr="0" dt="0"/>
  <p:txStyles>
    <p:titleStyle>
      <a:lvl1pPr algn="l" rtl="0" eaLnBrk="1" fontAlgn="base" hangingPunct="1">
        <a:spcBef>
          <a:spcPct val="0"/>
        </a:spcBef>
        <a:spcAft>
          <a:spcPct val="0"/>
        </a:spcAft>
        <a:defRPr sz="1800">
          <a:solidFill>
            <a:schemeClr val="tx2"/>
          </a:solidFill>
          <a:latin typeface="+mj-lt"/>
          <a:ea typeface="ヒラギノ角ゴ Pro W3" charset="0"/>
          <a:cs typeface="Geneva" charset="0"/>
        </a:defRPr>
      </a:lvl1pPr>
      <a:lvl2pPr algn="l" rtl="0" eaLnBrk="1" fontAlgn="base" hangingPunct="1">
        <a:spcBef>
          <a:spcPct val="0"/>
        </a:spcBef>
        <a:spcAft>
          <a:spcPct val="0"/>
        </a:spcAft>
        <a:defRPr sz="1800">
          <a:solidFill>
            <a:schemeClr val="tx2"/>
          </a:solidFill>
          <a:latin typeface="Arial" charset="0"/>
          <a:ea typeface="ヒラギノ角ゴ Pro W3" charset="0"/>
          <a:cs typeface="Geneva" charset="0"/>
        </a:defRPr>
      </a:lvl2pPr>
      <a:lvl3pPr algn="l" rtl="0" eaLnBrk="1" fontAlgn="base" hangingPunct="1">
        <a:spcBef>
          <a:spcPct val="0"/>
        </a:spcBef>
        <a:spcAft>
          <a:spcPct val="0"/>
        </a:spcAft>
        <a:defRPr sz="1800">
          <a:solidFill>
            <a:schemeClr val="tx2"/>
          </a:solidFill>
          <a:latin typeface="Arial" charset="0"/>
          <a:ea typeface="ヒラギノ角ゴ Pro W3" charset="0"/>
          <a:cs typeface="Geneva" charset="0"/>
        </a:defRPr>
      </a:lvl3pPr>
      <a:lvl4pPr algn="l" rtl="0" eaLnBrk="1" fontAlgn="base" hangingPunct="1">
        <a:spcBef>
          <a:spcPct val="0"/>
        </a:spcBef>
        <a:spcAft>
          <a:spcPct val="0"/>
        </a:spcAft>
        <a:defRPr sz="1800">
          <a:solidFill>
            <a:schemeClr val="tx2"/>
          </a:solidFill>
          <a:latin typeface="Arial" charset="0"/>
          <a:ea typeface="ヒラギノ角ゴ Pro W3" charset="0"/>
          <a:cs typeface="Geneva" charset="0"/>
        </a:defRPr>
      </a:lvl4pPr>
      <a:lvl5pPr algn="l" rtl="0" eaLnBrk="1" fontAlgn="base" hangingPunct="1">
        <a:spcBef>
          <a:spcPct val="0"/>
        </a:spcBef>
        <a:spcAft>
          <a:spcPct val="0"/>
        </a:spcAft>
        <a:defRPr sz="1800">
          <a:solidFill>
            <a:schemeClr val="tx2"/>
          </a:solidFill>
          <a:latin typeface="Arial" charset="0"/>
          <a:ea typeface="ヒラギノ角ゴ Pro W3" charset="0"/>
          <a:cs typeface="Geneva" charset="0"/>
        </a:defRPr>
      </a:lvl5pPr>
      <a:lvl6pPr marL="342900" algn="l" rtl="0" eaLnBrk="1" fontAlgn="base" hangingPunct="1">
        <a:spcBef>
          <a:spcPct val="0"/>
        </a:spcBef>
        <a:spcAft>
          <a:spcPct val="0"/>
        </a:spcAft>
        <a:defRPr sz="1800">
          <a:solidFill>
            <a:srgbClr val="004785"/>
          </a:solidFill>
          <a:latin typeface="Arial" charset="0"/>
          <a:ea typeface="Geneva" charset="0"/>
        </a:defRPr>
      </a:lvl6pPr>
      <a:lvl7pPr marL="685800" algn="l" rtl="0" eaLnBrk="1" fontAlgn="base" hangingPunct="1">
        <a:spcBef>
          <a:spcPct val="0"/>
        </a:spcBef>
        <a:spcAft>
          <a:spcPct val="0"/>
        </a:spcAft>
        <a:defRPr sz="1800">
          <a:solidFill>
            <a:srgbClr val="004785"/>
          </a:solidFill>
          <a:latin typeface="Arial" charset="0"/>
          <a:ea typeface="Geneva" charset="0"/>
        </a:defRPr>
      </a:lvl7pPr>
      <a:lvl8pPr marL="1028700" algn="l" rtl="0" eaLnBrk="1" fontAlgn="base" hangingPunct="1">
        <a:spcBef>
          <a:spcPct val="0"/>
        </a:spcBef>
        <a:spcAft>
          <a:spcPct val="0"/>
        </a:spcAft>
        <a:defRPr sz="1800">
          <a:solidFill>
            <a:srgbClr val="004785"/>
          </a:solidFill>
          <a:latin typeface="Arial" charset="0"/>
          <a:ea typeface="Geneva" charset="0"/>
        </a:defRPr>
      </a:lvl8pPr>
      <a:lvl9pPr marL="1371600" algn="l" rtl="0" eaLnBrk="1" fontAlgn="base" hangingPunct="1">
        <a:spcBef>
          <a:spcPct val="0"/>
        </a:spcBef>
        <a:spcAft>
          <a:spcPct val="0"/>
        </a:spcAft>
        <a:defRPr sz="1800">
          <a:solidFill>
            <a:srgbClr val="004785"/>
          </a:solidFill>
          <a:latin typeface="Arial" charset="0"/>
          <a:ea typeface="Geneva" charset="0"/>
        </a:defRPr>
      </a:lvl9pPr>
    </p:titleStyle>
    <p:bodyStyle>
      <a:lvl1pPr marL="216694" indent="-216694" algn="l" rtl="0" eaLnBrk="1" fontAlgn="base" hangingPunct="1">
        <a:lnSpc>
          <a:spcPct val="95000"/>
        </a:lnSpc>
        <a:spcBef>
          <a:spcPct val="75000"/>
        </a:spcBef>
        <a:spcAft>
          <a:spcPct val="20000"/>
        </a:spcAft>
        <a:buChar char="•"/>
        <a:defRPr>
          <a:solidFill>
            <a:schemeClr val="tx1"/>
          </a:solidFill>
          <a:latin typeface="+mn-lt"/>
          <a:ea typeface="ヒラギノ角ゴ Pro W3" charset="0"/>
          <a:cs typeface="Geneva" charset="0"/>
        </a:defRPr>
      </a:lvl1pPr>
      <a:lvl2pPr marL="475060" indent="-172641" algn="l" rtl="0" eaLnBrk="1" fontAlgn="base" hangingPunct="1">
        <a:lnSpc>
          <a:spcPct val="95000"/>
        </a:lnSpc>
        <a:spcBef>
          <a:spcPct val="20000"/>
        </a:spcBef>
        <a:spcAft>
          <a:spcPct val="20000"/>
        </a:spcAft>
        <a:buFont typeface="Arial" pitchFamily="34" charset="0"/>
        <a:buChar char="–"/>
        <a:defRPr>
          <a:solidFill>
            <a:schemeClr val="tx1"/>
          </a:solidFill>
          <a:latin typeface="+mn-lt"/>
          <a:ea typeface="+mn-ea"/>
          <a:cs typeface="Geneva" charset="0"/>
        </a:defRPr>
      </a:lvl2pPr>
      <a:lvl3pPr marL="731044" indent="-170260" algn="l" rtl="0" eaLnBrk="1" fontAlgn="base" hangingPunct="1">
        <a:lnSpc>
          <a:spcPct val="95000"/>
        </a:lnSpc>
        <a:spcBef>
          <a:spcPct val="20000"/>
        </a:spcBef>
        <a:spcAft>
          <a:spcPct val="20000"/>
        </a:spcAft>
        <a:buFont typeface="Arial" pitchFamily="34" charset="0"/>
        <a:buChar char="•"/>
        <a:defRPr>
          <a:solidFill>
            <a:schemeClr val="tx1"/>
          </a:solidFill>
          <a:latin typeface="+mn-lt"/>
          <a:ea typeface="+mn-ea"/>
          <a:cs typeface="Geneva" charset="0"/>
        </a:defRPr>
      </a:lvl3pPr>
      <a:lvl4pPr marL="984647" indent="-167879" algn="l" rtl="0" eaLnBrk="1" fontAlgn="base" hangingPunct="1">
        <a:lnSpc>
          <a:spcPct val="95000"/>
        </a:lnSpc>
        <a:spcBef>
          <a:spcPct val="20000"/>
        </a:spcBef>
        <a:spcAft>
          <a:spcPct val="20000"/>
        </a:spcAft>
        <a:buFont typeface="Arial" pitchFamily="34" charset="0"/>
        <a:buChar char="–"/>
        <a:defRPr>
          <a:solidFill>
            <a:schemeClr val="tx1"/>
          </a:solidFill>
          <a:latin typeface="+mn-lt"/>
          <a:ea typeface="+mn-ea"/>
          <a:cs typeface="Geneva" charset="0"/>
        </a:defRPr>
      </a:lvl4pPr>
      <a:lvl5pPr marL="1238250" indent="-167879" algn="l" rtl="0" eaLnBrk="1" fontAlgn="base" hangingPunct="1">
        <a:lnSpc>
          <a:spcPct val="95000"/>
        </a:lnSpc>
        <a:spcBef>
          <a:spcPct val="20000"/>
        </a:spcBef>
        <a:spcAft>
          <a:spcPct val="20000"/>
        </a:spcAft>
        <a:buFont typeface="Arial" pitchFamily="34" charset="0"/>
        <a:buChar char="•"/>
        <a:defRPr>
          <a:solidFill>
            <a:schemeClr val="tx1"/>
          </a:solidFill>
          <a:latin typeface="+mn-lt"/>
          <a:ea typeface="+mn-ea"/>
          <a:cs typeface="Geneva" charset="0"/>
        </a:defRPr>
      </a:lvl5pPr>
      <a:lvl6pPr marL="1581150" indent="-167879" algn="l" rtl="0" eaLnBrk="1" fontAlgn="base" hangingPunct="1">
        <a:lnSpc>
          <a:spcPct val="95000"/>
        </a:lnSpc>
        <a:spcBef>
          <a:spcPct val="20000"/>
        </a:spcBef>
        <a:spcAft>
          <a:spcPct val="20000"/>
        </a:spcAft>
        <a:buFont typeface="Arial" charset="0"/>
        <a:buChar char="•"/>
        <a:defRPr sz="1200">
          <a:solidFill>
            <a:schemeClr val="tx1"/>
          </a:solidFill>
          <a:latin typeface="+mn-lt"/>
          <a:ea typeface="+mn-ea"/>
        </a:defRPr>
      </a:lvl6pPr>
      <a:lvl7pPr marL="1924050" indent="-167879" algn="l" rtl="0" eaLnBrk="1" fontAlgn="base" hangingPunct="1">
        <a:lnSpc>
          <a:spcPct val="95000"/>
        </a:lnSpc>
        <a:spcBef>
          <a:spcPct val="20000"/>
        </a:spcBef>
        <a:spcAft>
          <a:spcPct val="20000"/>
        </a:spcAft>
        <a:buFont typeface="Arial" charset="0"/>
        <a:buChar char="•"/>
        <a:defRPr sz="1200">
          <a:solidFill>
            <a:schemeClr val="tx1"/>
          </a:solidFill>
          <a:latin typeface="+mn-lt"/>
          <a:ea typeface="+mn-ea"/>
        </a:defRPr>
      </a:lvl7pPr>
      <a:lvl8pPr marL="2266950" indent="-167879" algn="l" rtl="0" eaLnBrk="1" fontAlgn="base" hangingPunct="1">
        <a:lnSpc>
          <a:spcPct val="95000"/>
        </a:lnSpc>
        <a:spcBef>
          <a:spcPct val="20000"/>
        </a:spcBef>
        <a:spcAft>
          <a:spcPct val="20000"/>
        </a:spcAft>
        <a:buFont typeface="Arial" charset="0"/>
        <a:buChar char="•"/>
        <a:defRPr sz="1200">
          <a:solidFill>
            <a:schemeClr val="tx1"/>
          </a:solidFill>
          <a:latin typeface="+mn-lt"/>
          <a:ea typeface="+mn-ea"/>
        </a:defRPr>
      </a:lvl8pPr>
      <a:lvl9pPr marL="2609850" indent="-167879" algn="l" rtl="0" eaLnBrk="1" fontAlgn="base" hangingPunct="1">
        <a:lnSpc>
          <a:spcPct val="95000"/>
        </a:lnSpc>
        <a:spcBef>
          <a:spcPct val="20000"/>
        </a:spcBef>
        <a:spcAft>
          <a:spcPct val="20000"/>
        </a:spcAft>
        <a:buFont typeface="Arial" charset="0"/>
        <a:buChar char="•"/>
        <a:defRPr sz="1200">
          <a:solidFill>
            <a:schemeClr val="tx1"/>
          </a:solidFill>
          <a:latin typeface="+mn-lt"/>
          <a:ea typeface="+mn-ea"/>
        </a:defRPr>
      </a:lvl9pPr>
    </p:bodyStyle>
    <p:otherStyle>
      <a:defPPr>
        <a:defRPr lang="en-US"/>
      </a:defPPr>
      <a:lvl1pPr marL="0" algn="l" defTabSz="342900" rtl="0" eaLnBrk="1" latinLnBrk="0" hangingPunct="1">
        <a:defRPr sz="1350" kern="1200">
          <a:solidFill>
            <a:schemeClr val="tx1"/>
          </a:solidFill>
          <a:latin typeface="+mn-lt"/>
          <a:ea typeface="+mn-ea"/>
          <a:cs typeface="+mn-cs"/>
        </a:defRPr>
      </a:lvl1pPr>
      <a:lvl2pPr marL="342900" algn="l" defTabSz="342900" rtl="0" eaLnBrk="1" latinLnBrk="0" hangingPunct="1">
        <a:defRPr sz="1350" kern="1200">
          <a:solidFill>
            <a:schemeClr val="tx1"/>
          </a:solidFill>
          <a:latin typeface="+mn-lt"/>
          <a:ea typeface="+mn-ea"/>
          <a:cs typeface="+mn-cs"/>
        </a:defRPr>
      </a:lvl2pPr>
      <a:lvl3pPr marL="685800" algn="l" defTabSz="342900" rtl="0" eaLnBrk="1" latinLnBrk="0" hangingPunct="1">
        <a:defRPr sz="1350" kern="1200">
          <a:solidFill>
            <a:schemeClr val="tx1"/>
          </a:solidFill>
          <a:latin typeface="+mn-lt"/>
          <a:ea typeface="+mn-ea"/>
          <a:cs typeface="+mn-cs"/>
        </a:defRPr>
      </a:lvl3pPr>
      <a:lvl4pPr marL="1028700" algn="l" defTabSz="342900" rtl="0" eaLnBrk="1" latinLnBrk="0" hangingPunct="1">
        <a:defRPr sz="1350" kern="1200">
          <a:solidFill>
            <a:schemeClr val="tx1"/>
          </a:solidFill>
          <a:latin typeface="+mn-lt"/>
          <a:ea typeface="+mn-ea"/>
          <a:cs typeface="+mn-cs"/>
        </a:defRPr>
      </a:lvl4pPr>
      <a:lvl5pPr marL="1371600" algn="l" defTabSz="342900" rtl="0" eaLnBrk="1" latinLnBrk="0" hangingPunct="1">
        <a:defRPr sz="1350" kern="1200">
          <a:solidFill>
            <a:schemeClr val="tx1"/>
          </a:solidFill>
          <a:latin typeface="+mn-lt"/>
          <a:ea typeface="+mn-ea"/>
          <a:cs typeface="+mn-cs"/>
        </a:defRPr>
      </a:lvl5pPr>
      <a:lvl6pPr marL="1714500" algn="l" defTabSz="342900" rtl="0" eaLnBrk="1" latinLnBrk="0" hangingPunct="1">
        <a:defRPr sz="1350" kern="1200">
          <a:solidFill>
            <a:schemeClr val="tx1"/>
          </a:solidFill>
          <a:latin typeface="+mn-lt"/>
          <a:ea typeface="+mn-ea"/>
          <a:cs typeface="+mn-cs"/>
        </a:defRPr>
      </a:lvl6pPr>
      <a:lvl7pPr marL="2057400" algn="l" defTabSz="342900" rtl="0" eaLnBrk="1" latinLnBrk="0" hangingPunct="1">
        <a:defRPr sz="1350" kern="1200">
          <a:solidFill>
            <a:schemeClr val="tx1"/>
          </a:solidFill>
          <a:latin typeface="+mn-lt"/>
          <a:ea typeface="+mn-ea"/>
          <a:cs typeface="+mn-cs"/>
        </a:defRPr>
      </a:lvl7pPr>
      <a:lvl8pPr marL="2400300" algn="l" defTabSz="342900" rtl="0" eaLnBrk="1" latinLnBrk="0" hangingPunct="1">
        <a:defRPr sz="1350" kern="1200">
          <a:solidFill>
            <a:schemeClr val="tx1"/>
          </a:solidFill>
          <a:latin typeface="+mn-lt"/>
          <a:ea typeface="+mn-ea"/>
          <a:cs typeface="+mn-cs"/>
        </a:defRPr>
      </a:lvl8pPr>
      <a:lvl9pPr marL="2743200" algn="l" defTabSz="342900" rtl="0" eaLnBrk="1" latinLnBrk="0" hangingPunct="1">
        <a:defRPr sz="1350"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107" name="Rectangle 83"/>
          <p:cNvSpPr>
            <a:spLocks noGrp="1" noChangeArrowheads="1"/>
          </p:cNvSpPr>
          <p:nvPr>
            <p:ph type="title"/>
          </p:nvPr>
        </p:nvSpPr>
        <p:spPr bwMode="black">
          <a:xfrm>
            <a:off x="316141" y="235947"/>
            <a:ext cx="11543545" cy="4953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vert="horz" wrap="square" lIns="0" tIns="0" rIns="0" bIns="0" numCol="1" anchor="t" anchorCtr="0" compatLnSpc="1">
            <a:prstTxWarp prst="textNoShape">
              <a:avLst/>
            </a:prstTxWarp>
          </a:bodyPr>
          <a:lstStyle/>
          <a:p>
            <a:pPr lvl="0"/>
            <a:r>
              <a:rPr lang="en-US" dirty="0"/>
              <a:t>Click to edit Master title style</a:t>
            </a:r>
          </a:p>
        </p:txBody>
      </p:sp>
      <p:sp>
        <p:nvSpPr>
          <p:cNvPr id="1108" name="Rectangle 84"/>
          <p:cNvSpPr>
            <a:spLocks noGrp="1" noChangeArrowheads="1"/>
          </p:cNvSpPr>
          <p:nvPr>
            <p:ph type="body" idx="1"/>
          </p:nvPr>
        </p:nvSpPr>
        <p:spPr bwMode="black">
          <a:xfrm>
            <a:off x="315768" y="1320800"/>
            <a:ext cx="11552385" cy="49466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accent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vert="horz" wrap="square" lIns="0" tIns="45720" rIns="91440" bIns="45720" numCol="1" anchor="t" anchorCtr="0" compatLnSpc="1">
            <a:prstTxWarp prst="textNoShape">
              <a:avLst/>
            </a:prstTxWarp>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Rectangle 85"/>
          <p:cNvSpPr txBox="1">
            <a:spLocks noChangeArrowheads="1"/>
          </p:cNvSpPr>
          <p:nvPr userDrawn="1"/>
        </p:nvSpPr>
        <p:spPr bwMode="black">
          <a:xfrm>
            <a:off x="316141" y="6492742"/>
            <a:ext cx="346075" cy="2746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p:spPr>
        <p:txBody>
          <a:bodyPr vert="horz" wrap="square" lIns="0" tIns="0" rIns="0" bIns="0" numCol="1" anchor="ctr" anchorCtr="0" compatLnSpc="1">
            <a:prstTxWarp prst="textNoShape">
              <a:avLst/>
            </a:prstTxWarp>
          </a:bodyPr>
          <a:lstStyle>
            <a:defPPr>
              <a:defRPr lang="en-US"/>
            </a:defPPr>
            <a:lvl1pPr algn="l" rtl="0" fontAlgn="base">
              <a:spcBef>
                <a:spcPct val="0"/>
              </a:spcBef>
              <a:spcAft>
                <a:spcPct val="0"/>
              </a:spcAft>
              <a:defRPr sz="900" kern="1200" smtClean="0">
                <a:solidFill>
                  <a:schemeClr val="tx1"/>
                </a:solidFill>
                <a:latin typeface="Arial" pitchFamily="34" charset="0"/>
                <a:ea typeface="Geneva" pitchFamily="127" charset="-128"/>
                <a:cs typeface="Geneva" charset="0"/>
              </a:defRPr>
            </a:lvl1pPr>
            <a:lvl2pPr marL="457200" algn="l" rtl="0" fontAlgn="base">
              <a:spcBef>
                <a:spcPct val="0"/>
              </a:spcBef>
              <a:spcAft>
                <a:spcPct val="0"/>
              </a:spcAft>
              <a:defRPr sz="2400" kern="1200">
                <a:solidFill>
                  <a:schemeClr val="tx1"/>
                </a:solidFill>
                <a:latin typeface="Arial" pitchFamily="34" charset="0"/>
                <a:ea typeface="Geneva" pitchFamily="127" charset="-128"/>
                <a:cs typeface="+mn-cs"/>
              </a:defRPr>
            </a:lvl2pPr>
            <a:lvl3pPr marL="914400" algn="l" rtl="0" fontAlgn="base">
              <a:spcBef>
                <a:spcPct val="0"/>
              </a:spcBef>
              <a:spcAft>
                <a:spcPct val="0"/>
              </a:spcAft>
              <a:defRPr sz="2400" kern="1200">
                <a:solidFill>
                  <a:schemeClr val="tx1"/>
                </a:solidFill>
                <a:latin typeface="Arial" pitchFamily="34" charset="0"/>
                <a:ea typeface="Geneva" pitchFamily="127" charset="-128"/>
                <a:cs typeface="+mn-cs"/>
              </a:defRPr>
            </a:lvl3pPr>
            <a:lvl4pPr marL="1371600" algn="l" rtl="0" fontAlgn="base">
              <a:spcBef>
                <a:spcPct val="0"/>
              </a:spcBef>
              <a:spcAft>
                <a:spcPct val="0"/>
              </a:spcAft>
              <a:defRPr sz="2400" kern="1200">
                <a:solidFill>
                  <a:schemeClr val="tx1"/>
                </a:solidFill>
                <a:latin typeface="Arial" pitchFamily="34" charset="0"/>
                <a:ea typeface="Geneva" pitchFamily="127" charset="-128"/>
                <a:cs typeface="+mn-cs"/>
              </a:defRPr>
            </a:lvl4pPr>
            <a:lvl5pPr marL="1828800" algn="l" rtl="0" fontAlgn="base">
              <a:spcBef>
                <a:spcPct val="0"/>
              </a:spcBef>
              <a:spcAft>
                <a:spcPct val="0"/>
              </a:spcAft>
              <a:defRPr sz="2400" kern="1200">
                <a:solidFill>
                  <a:schemeClr val="tx1"/>
                </a:solidFill>
                <a:latin typeface="Arial" pitchFamily="34" charset="0"/>
                <a:ea typeface="Geneva" pitchFamily="127" charset="-128"/>
                <a:cs typeface="+mn-cs"/>
              </a:defRPr>
            </a:lvl5pPr>
            <a:lvl6pPr marL="2286000" algn="l" defTabSz="914400" rtl="0" eaLnBrk="1" latinLnBrk="0" hangingPunct="1">
              <a:defRPr sz="2400" kern="1200">
                <a:solidFill>
                  <a:schemeClr val="tx1"/>
                </a:solidFill>
                <a:latin typeface="Arial" pitchFamily="34" charset="0"/>
                <a:ea typeface="Geneva" pitchFamily="127" charset="-128"/>
                <a:cs typeface="+mn-cs"/>
              </a:defRPr>
            </a:lvl6pPr>
            <a:lvl7pPr marL="2743200" algn="l" defTabSz="914400" rtl="0" eaLnBrk="1" latinLnBrk="0" hangingPunct="1">
              <a:defRPr sz="2400" kern="1200">
                <a:solidFill>
                  <a:schemeClr val="tx1"/>
                </a:solidFill>
                <a:latin typeface="Arial" pitchFamily="34" charset="0"/>
                <a:ea typeface="Geneva" pitchFamily="127" charset="-128"/>
                <a:cs typeface="+mn-cs"/>
              </a:defRPr>
            </a:lvl7pPr>
            <a:lvl8pPr marL="3200400" algn="l" defTabSz="914400" rtl="0" eaLnBrk="1" latinLnBrk="0" hangingPunct="1">
              <a:defRPr sz="2400" kern="1200">
                <a:solidFill>
                  <a:schemeClr val="tx1"/>
                </a:solidFill>
                <a:latin typeface="Arial" pitchFamily="34" charset="0"/>
                <a:ea typeface="Geneva" pitchFamily="127" charset="-128"/>
                <a:cs typeface="+mn-cs"/>
              </a:defRPr>
            </a:lvl8pPr>
            <a:lvl9pPr marL="3657600" algn="l" defTabSz="914400" rtl="0" eaLnBrk="1" latinLnBrk="0" hangingPunct="1">
              <a:defRPr sz="2400" kern="1200">
                <a:solidFill>
                  <a:schemeClr val="tx1"/>
                </a:solidFill>
                <a:latin typeface="Arial" pitchFamily="34" charset="0"/>
                <a:ea typeface="Geneva" pitchFamily="127" charset="-128"/>
                <a:cs typeface="+mn-cs"/>
              </a:defRPr>
            </a:lvl9pPr>
          </a:lstStyle>
          <a:p>
            <a:pPr>
              <a:defRPr/>
            </a:pPr>
            <a:fld id="{410BB04A-6CB2-A14D-B6AF-586C8C166ED7}" type="slidenum">
              <a:rPr lang="en-US" sz="675" smtClean="0"/>
              <a:pPr>
                <a:defRPr/>
              </a:pPr>
              <a:t>‹#›</a:t>
            </a:fld>
            <a:endParaRPr lang="en-US" sz="675" dirty="0"/>
          </a:p>
        </p:txBody>
      </p:sp>
      <p:pic>
        <p:nvPicPr>
          <p:cNvPr id="8" name="Picture 7"/>
          <p:cNvPicPr>
            <a:picLocks noChangeAspect="1"/>
          </p:cNvPicPr>
          <p:nvPr userDrawn="1"/>
        </p:nvPicPr>
        <p:blipFill rotWithShape="1">
          <a:blip r:embed="rId19" cstate="print">
            <a:extLst>
              <a:ext uri="{28A0092B-C50C-407E-A947-70E740481C1C}">
                <a14:useLocalDpi xmlns:a14="http://schemas.microsoft.com/office/drawing/2010/main" val="0"/>
              </a:ext>
            </a:extLst>
          </a:blip>
          <a:srcRect/>
          <a:stretch/>
        </p:blipFill>
        <p:spPr>
          <a:xfrm>
            <a:off x="10265248" y="6492242"/>
            <a:ext cx="1700483" cy="324000"/>
          </a:xfrm>
          <a:prstGeom prst="rect">
            <a:avLst/>
          </a:prstGeom>
        </p:spPr>
      </p:pic>
    </p:spTree>
    <p:extLst>
      <p:ext uri="{BB962C8B-B14F-4D97-AF65-F5344CB8AC3E}">
        <p14:creationId xmlns:p14="http://schemas.microsoft.com/office/powerpoint/2010/main" val="3567485042"/>
      </p:ext>
    </p:extLst>
  </p:cSld>
  <p:clrMap bg1="lt1" tx1="dk1" bg2="lt2" tx2="dk2" accent1="accent1" accent2="accent2" accent3="accent3" accent4="accent4" accent5="accent5" accent6="accent6" hlink="hlink" folHlink="folHlink"/>
  <p:sldLayoutIdLst>
    <p:sldLayoutId id="2147484108" r:id="rId1"/>
    <p:sldLayoutId id="2147484109" r:id="rId2"/>
    <p:sldLayoutId id="2147484110" r:id="rId3"/>
    <p:sldLayoutId id="2147484111" r:id="rId4"/>
    <p:sldLayoutId id="2147484112" r:id="rId5"/>
    <p:sldLayoutId id="2147484113" r:id="rId6"/>
    <p:sldLayoutId id="2147484114" r:id="rId7"/>
    <p:sldLayoutId id="2147484115" r:id="rId8"/>
    <p:sldLayoutId id="2147484179" r:id="rId9"/>
    <p:sldLayoutId id="2147484180" r:id="rId10"/>
    <p:sldLayoutId id="2147483792" r:id="rId11"/>
    <p:sldLayoutId id="2147483793" r:id="rId12"/>
    <p:sldLayoutId id="2147483794" r:id="rId13"/>
    <p:sldLayoutId id="2147483795" r:id="rId14"/>
    <p:sldLayoutId id="2147483796" r:id="rId15"/>
    <p:sldLayoutId id="2147483797" r:id="rId16"/>
    <p:sldLayoutId id="2147484130" r:id="rId17"/>
  </p:sldLayoutIdLst>
  <p:hf hdr="0" ftr="0" dt="0"/>
  <p:txStyles>
    <p:titleStyle>
      <a:lvl1pPr algn="l" rtl="0" eaLnBrk="1" fontAlgn="base" hangingPunct="1">
        <a:spcBef>
          <a:spcPct val="0"/>
        </a:spcBef>
        <a:spcAft>
          <a:spcPct val="0"/>
        </a:spcAft>
        <a:defRPr sz="1800">
          <a:solidFill>
            <a:schemeClr val="tx2"/>
          </a:solidFill>
          <a:latin typeface="+mj-lt"/>
          <a:ea typeface="ヒラギノ角ゴ Pro W3" charset="0"/>
          <a:cs typeface="Geneva" charset="0"/>
        </a:defRPr>
      </a:lvl1pPr>
      <a:lvl2pPr algn="l" rtl="0" eaLnBrk="1" fontAlgn="base" hangingPunct="1">
        <a:spcBef>
          <a:spcPct val="0"/>
        </a:spcBef>
        <a:spcAft>
          <a:spcPct val="0"/>
        </a:spcAft>
        <a:defRPr sz="1800">
          <a:solidFill>
            <a:schemeClr val="tx2"/>
          </a:solidFill>
          <a:latin typeface="Arial" charset="0"/>
          <a:ea typeface="ヒラギノ角ゴ Pro W3" charset="0"/>
          <a:cs typeface="Geneva" charset="0"/>
        </a:defRPr>
      </a:lvl2pPr>
      <a:lvl3pPr algn="l" rtl="0" eaLnBrk="1" fontAlgn="base" hangingPunct="1">
        <a:spcBef>
          <a:spcPct val="0"/>
        </a:spcBef>
        <a:spcAft>
          <a:spcPct val="0"/>
        </a:spcAft>
        <a:defRPr sz="1800">
          <a:solidFill>
            <a:schemeClr val="tx2"/>
          </a:solidFill>
          <a:latin typeface="Arial" charset="0"/>
          <a:ea typeface="ヒラギノ角ゴ Pro W3" charset="0"/>
          <a:cs typeface="Geneva" charset="0"/>
        </a:defRPr>
      </a:lvl3pPr>
      <a:lvl4pPr algn="l" rtl="0" eaLnBrk="1" fontAlgn="base" hangingPunct="1">
        <a:spcBef>
          <a:spcPct val="0"/>
        </a:spcBef>
        <a:spcAft>
          <a:spcPct val="0"/>
        </a:spcAft>
        <a:defRPr sz="1800">
          <a:solidFill>
            <a:schemeClr val="tx2"/>
          </a:solidFill>
          <a:latin typeface="Arial" charset="0"/>
          <a:ea typeface="ヒラギノ角ゴ Pro W3" charset="0"/>
          <a:cs typeface="Geneva" charset="0"/>
        </a:defRPr>
      </a:lvl4pPr>
      <a:lvl5pPr algn="l" rtl="0" eaLnBrk="1" fontAlgn="base" hangingPunct="1">
        <a:spcBef>
          <a:spcPct val="0"/>
        </a:spcBef>
        <a:spcAft>
          <a:spcPct val="0"/>
        </a:spcAft>
        <a:defRPr sz="1800">
          <a:solidFill>
            <a:schemeClr val="tx2"/>
          </a:solidFill>
          <a:latin typeface="Arial" charset="0"/>
          <a:ea typeface="ヒラギノ角ゴ Pro W3" charset="0"/>
          <a:cs typeface="Geneva" charset="0"/>
        </a:defRPr>
      </a:lvl5pPr>
      <a:lvl6pPr marL="342900" algn="l" rtl="0" eaLnBrk="1" fontAlgn="base" hangingPunct="1">
        <a:spcBef>
          <a:spcPct val="0"/>
        </a:spcBef>
        <a:spcAft>
          <a:spcPct val="0"/>
        </a:spcAft>
        <a:defRPr sz="1800">
          <a:solidFill>
            <a:srgbClr val="004785"/>
          </a:solidFill>
          <a:latin typeface="Arial" charset="0"/>
          <a:ea typeface="Geneva" charset="0"/>
        </a:defRPr>
      </a:lvl6pPr>
      <a:lvl7pPr marL="685800" algn="l" rtl="0" eaLnBrk="1" fontAlgn="base" hangingPunct="1">
        <a:spcBef>
          <a:spcPct val="0"/>
        </a:spcBef>
        <a:spcAft>
          <a:spcPct val="0"/>
        </a:spcAft>
        <a:defRPr sz="1800">
          <a:solidFill>
            <a:srgbClr val="004785"/>
          </a:solidFill>
          <a:latin typeface="Arial" charset="0"/>
          <a:ea typeface="Geneva" charset="0"/>
        </a:defRPr>
      </a:lvl7pPr>
      <a:lvl8pPr marL="1028700" algn="l" rtl="0" eaLnBrk="1" fontAlgn="base" hangingPunct="1">
        <a:spcBef>
          <a:spcPct val="0"/>
        </a:spcBef>
        <a:spcAft>
          <a:spcPct val="0"/>
        </a:spcAft>
        <a:defRPr sz="1800">
          <a:solidFill>
            <a:srgbClr val="004785"/>
          </a:solidFill>
          <a:latin typeface="Arial" charset="0"/>
          <a:ea typeface="Geneva" charset="0"/>
        </a:defRPr>
      </a:lvl8pPr>
      <a:lvl9pPr marL="1371600" algn="l" rtl="0" eaLnBrk="1" fontAlgn="base" hangingPunct="1">
        <a:spcBef>
          <a:spcPct val="0"/>
        </a:spcBef>
        <a:spcAft>
          <a:spcPct val="0"/>
        </a:spcAft>
        <a:defRPr sz="1800">
          <a:solidFill>
            <a:srgbClr val="004785"/>
          </a:solidFill>
          <a:latin typeface="Arial" charset="0"/>
          <a:ea typeface="Geneva" charset="0"/>
        </a:defRPr>
      </a:lvl9pPr>
    </p:titleStyle>
    <p:bodyStyle>
      <a:lvl1pPr marL="216694" indent="-216694" algn="l" rtl="0" eaLnBrk="1" fontAlgn="base" hangingPunct="1">
        <a:lnSpc>
          <a:spcPct val="95000"/>
        </a:lnSpc>
        <a:spcBef>
          <a:spcPct val="75000"/>
        </a:spcBef>
        <a:spcAft>
          <a:spcPct val="20000"/>
        </a:spcAft>
        <a:buChar char="•"/>
        <a:defRPr>
          <a:solidFill>
            <a:schemeClr val="tx1"/>
          </a:solidFill>
          <a:latin typeface="+mn-lt"/>
          <a:ea typeface="ヒラギノ角ゴ Pro W3" charset="0"/>
          <a:cs typeface="Geneva" charset="0"/>
        </a:defRPr>
      </a:lvl1pPr>
      <a:lvl2pPr marL="475060" indent="-172641" algn="l" rtl="0" eaLnBrk="1" fontAlgn="base" hangingPunct="1">
        <a:lnSpc>
          <a:spcPct val="95000"/>
        </a:lnSpc>
        <a:spcBef>
          <a:spcPct val="20000"/>
        </a:spcBef>
        <a:spcAft>
          <a:spcPct val="20000"/>
        </a:spcAft>
        <a:buFont typeface="Arial" pitchFamily="34" charset="0"/>
        <a:buChar char="–"/>
        <a:defRPr>
          <a:solidFill>
            <a:schemeClr val="tx1"/>
          </a:solidFill>
          <a:latin typeface="+mn-lt"/>
          <a:ea typeface="+mn-ea"/>
          <a:cs typeface="Geneva" charset="0"/>
        </a:defRPr>
      </a:lvl2pPr>
      <a:lvl3pPr marL="731044" indent="-170260" algn="l" rtl="0" eaLnBrk="1" fontAlgn="base" hangingPunct="1">
        <a:lnSpc>
          <a:spcPct val="95000"/>
        </a:lnSpc>
        <a:spcBef>
          <a:spcPct val="20000"/>
        </a:spcBef>
        <a:spcAft>
          <a:spcPct val="20000"/>
        </a:spcAft>
        <a:buFont typeface="Arial" pitchFamily="34" charset="0"/>
        <a:buChar char="•"/>
        <a:defRPr>
          <a:solidFill>
            <a:schemeClr val="tx1"/>
          </a:solidFill>
          <a:latin typeface="+mn-lt"/>
          <a:ea typeface="+mn-ea"/>
          <a:cs typeface="Geneva" charset="0"/>
        </a:defRPr>
      </a:lvl3pPr>
      <a:lvl4pPr marL="984647" indent="-167879" algn="l" rtl="0" eaLnBrk="1" fontAlgn="base" hangingPunct="1">
        <a:lnSpc>
          <a:spcPct val="95000"/>
        </a:lnSpc>
        <a:spcBef>
          <a:spcPct val="20000"/>
        </a:spcBef>
        <a:spcAft>
          <a:spcPct val="20000"/>
        </a:spcAft>
        <a:buFont typeface="Arial" pitchFamily="34" charset="0"/>
        <a:buChar char="–"/>
        <a:defRPr>
          <a:solidFill>
            <a:schemeClr val="tx1"/>
          </a:solidFill>
          <a:latin typeface="+mn-lt"/>
          <a:ea typeface="+mn-ea"/>
          <a:cs typeface="Geneva" charset="0"/>
        </a:defRPr>
      </a:lvl4pPr>
      <a:lvl5pPr marL="1238250" indent="-167879" algn="l" rtl="0" eaLnBrk="1" fontAlgn="base" hangingPunct="1">
        <a:lnSpc>
          <a:spcPct val="95000"/>
        </a:lnSpc>
        <a:spcBef>
          <a:spcPct val="20000"/>
        </a:spcBef>
        <a:spcAft>
          <a:spcPct val="20000"/>
        </a:spcAft>
        <a:buFont typeface="Arial" pitchFamily="34" charset="0"/>
        <a:buChar char="•"/>
        <a:defRPr>
          <a:solidFill>
            <a:schemeClr val="tx1"/>
          </a:solidFill>
          <a:latin typeface="+mn-lt"/>
          <a:ea typeface="+mn-ea"/>
          <a:cs typeface="Geneva" charset="0"/>
        </a:defRPr>
      </a:lvl5pPr>
      <a:lvl6pPr marL="1581150" indent="-167879" algn="l" rtl="0" eaLnBrk="1" fontAlgn="base" hangingPunct="1">
        <a:lnSpc>
          <a:spcPct val="95000"/>
        </a:lnSpc>
        <a:spcBef>
          <a:spcPct val="20000"/>
        </a:spcBef>
        <a:spcAft>
          <a:spcPct val="20000"/>
        </a:spcAft>
        <a:buFont typeface="Arial" charset="0"/>
        <a:buChar char="•"/>
        <a:defRPr sz="1200">
          <a:solidFill>
            <a:schemeClr val="tx1"/>
          </a:solidFill>
          <a:latin typeface="+mn-lt"/>
          <a:ea typeface="+mn-ea"/>
        </a:defRPr>
      </a:lvl6pPr>
      <a:lvl7pPr marL="1924050" indent="-167879" algn="l" rtl="0" eaLnBrk="1" fontAlgn="base" hangingPunct="1">
        <a:lnSpc>
          <a:spcPct val="95000"/>
        </a:lnSpc>
        <a:spcBef>
          <a:spcPct val="20000"/>
        </a:spcBef>
        <a:spcAft>
          <a:spcPct val="20000"/>
        </a:spcAft>
        <a:buFont typeface="Arial" charset="0"/>
        <a:buChar char="•"/>
        <a:defRPr sz="1200">
          <a:solidFill>
            <a:schemeClr val="tx1"/>
          </a:solidFill>
          <a:latin typeface="+mn-lt"/>
          <a:ea typeface="+mn-ea"/>
        </a:defRPr>
      </a:lvl7pPr>
      <a:lvl8pPr marL="2266950" indent="-167879" algn="l" rtl="0" eaLnBrk="1" fontAlgn="base" hangingPunct="1">
        <a:lnSpc>
          <a:spcPct val="95000"/>
        </a:lnSpc>
        <a:spcBef>
          <a:spcPct val="20000"/>
        </a:spcBef>
        <a:spcAft>
          <a:spcPct val="20000"/>
        </a:spcAft>
        <a:buFont typeface="Arial" charset="0"/>
        <a:buChar char="•"/>
        <a:defRPr sz="1200">
          <a:solidFill>
            <a:schemeClr val="tx1"/>
          </a:solidFill>
          <a:latin typeface="+mn-lt"/>
          <a:ea typeface="+mn-ea"/>
        </a:defRPr>
      </a:lvl8pPr>
      <a:lvl9pPr marL="2609850" indent="-167879" algn="l" rtl="0" eaLnBrk="1" fontAlgn="base" hangingPunct="1">
        <a:lnSpc>
          <a:spcPct val="95000"/>
        </a:lnSpc>
        <a:spcBef>
          <a:spcPct val="20000"/>
        </a:spcBef>
        <a:spcAft>
          <a:spcPct val="20000"/>
        </a:spcAft>
        <a:buFont typeface="Arial" charset="0"/>
        <a:buChar char="•"/>
        <a:defRPr sz="1200">
          <a:solidFill>
            <a:schemeClr val="tx1"/>
          </a:solidFill>
          <a:latin typeface="+mn-lt"/>
          <a:ea typeface="+mn-ea"/>
        </a:defRPr>
      </a:lvl9pPr>
    </p:bodyStyle>
    <p:otherStyle>
      <a:defPPr>
        <a:defRPr lang="en-US"/>
      </a:defPPr>
      <a:lvl1pPr marL="0" algn="l" defTabSz="342900" rtl="0" eaLnBrk="1" latinLnBrk="0" hangingPunct="1">
        <a:defRPr sz="1350" kern="1200">
          <a:solidFill>
            <a:schemeClr val="tx1"/>
          </a:solidFill>
          <a:latin typeface="+mn-lt"/>
          <a:ea typeface="+mn-ea"/>
          <a:cs typeface="+mn-cs"/>
        </a:defRPr>
      </a:lvl1pPr>
      <a:lvl2pPr marL="342900" algn="l" defTabSz="342900" rtl="0" eaLnBrk="1" latinLnBrk="0" hangingPunct="1">
        <a:defRPr sz="1350" kern="1200">
          <a:solidFill>
            <a:schemeClr val="tx1"/>
          </a:solidFill>
          <a:latin typeface="+mn-lt"/>
          <a:ea typeface="+mn-ea"/>
          <a:cs typeface="+mn-cs"/>
        </a:defRPr>
      </a:lvl2pPr>
      <a:lvl3pPr marL="685800" algn="l" defTabSz="342900" rtl="0" eaLnBrk="1" latinLnBrk="0" hangingPunct="1">
        <a:defRPr sz="1350" kern="1200">
          <a:solidFill>
            <a:schemeClr val="tx1"/>
          </a:solidFill>
          <a:latin typeface="+mn-lt"/>
          <a:ea typeface="+mn-ea"/>
          <a:cs typeface="+mn-cs"/>
        </a:defRPr>
      </a:lvl3pPr>
      <a:lvl4pPr marL="1028700" algn="l" defTabSz="342900" rtl="0" eaLnBrk="1" latinLnBrk="0" hangingPunct="1">
        <a:defRPr sz="1350" kern="1200">
          <a:solidFill>
            <a:schemeClr val="tx1"/>
          </a:solidFill>
          <a:latin typeface="+mn-lt"/>
          <a:ea typeface="+mn-ea"/>
          <a:cs typeface="+mn-cs"/>
        </a:defRPr>
      </a:lvl4pPr>
      <a:lvl5pPr marL="1371600" algn="l" defTabSz="342900" rtl="0" eaLnBrk="1" latinLnBrk="0" hangingPunct="1">
        <a:defRPr sz="1350" kern="1200">
          <a:solidFill>
            <a:schemeClr val="tx1"/>
          </a:solidFill>
          <a:latin typeface="+mn-lt"/>
          <a:ea typeface="+mn-ea"/>
          <a:cs typeface="+mn-cs"/>
        </a:defRPr>
      </a:lvl5pPr>
      <a:lvl6pPr marL="1714500" algn="l" defTabSz="342900" rtl="0" eaLnBrk="1" latinLnBrk="0" hangingPunct="1">
        <a:defRPr sz="1350" kern="1200">
          <a:solidFill>
            <a:schemeClr val="tx1"/>
          </a:solidFill>
          <a:latin typeface="+mn-lt"/>
          <a:ea typeface="+mn-ea"/>
          <a:cs typeface="+mn-cs"/>
        </a:defRPr>
      </a:lvl6pPr>
      <a:lvl7pPr marL="2057400" algn="l" defTabSz="342900" rtl="0" eaLnBrk="1" latinLnBrk="0" hangingPunct="1">
        <a:defRPr sz="1350" kern="1200">
          <a:solidFill>
            <a:schemeClr val="tx1"/>
          </a:solidFill>
          <a:latin typeface="+mn-lt"/>
          <a:ea typeface="+mn-ea"/>
          <a:cs typeface="+mn-cs"/>
        </a:defRPr>
      </a:lvl7pPr>
      <a:lvl8pPr marL="2400300" algn="l" defTabSz="342900" rtl="0" eaLnBrk="1" latinLnBrk="0" hangingPunct="1">
        <a:defRPr sz="1350" kern="1200">
          <a:solidFill>
            <a:schemeClr val="tx1"/>
          </a:solidFill>
          <a:latin typeface="+mn-lt"/>
          <a:ea typeface="+mn-ea"/>
          <a:cs typeface="+mn-cs"/>
        </a:defRPr>
      </a:lvl8pPr>
      <a:lvl9pPr marL="2743200" algn="l" defTabSz="342900" rtl="0" eaLnBrk="1" latinLnBrk="0" hangingPunct="1">
        <a:defRPr sz="1350" kern="1200">
          <a:solidFill>
            <a:schemeClr val="tx1"/>
          </a:solidFill>
          <a:latin typeface="+mn-lt"/>
          <a:ea typeface="+mn-ea"/>
          <a:cs typeface="+mn-cs"/>
        </a:defRPr>
      </a:lvl9pPr>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2" name="Object 31" hidden="1"/>
          <p:cNvGraphicFramePr>
            <a:graphicFrameLocks noChangeAspect="1"/>
          </p:cNvGraphicFramePr>
          <p:nvPr>
            <p:custDataLst>
              <p:tags r:id="rId21"/>
            </p:custDataLst>
          </p:nvPr>
        </p:nvGraphicFramePr>
        <p:xfrm>
          <a:off x="1956" y="1591"/>
          <a:ext cx="1953" cy="1587"/>
        </p:xfrm>
        <a:graphic>
          <a:graphicData uri="http://schemas.openxmlformats.org/presentationml/2006/ole">
            <mc:AlternateContent xmlns:mc="http://schemas.openxmlformats.org/markup-compatibility/2006">
              <mc:Choice xmlns:v="urn:schemas-microsoft-com:vml" Requires="v">
                <p:oleObj spid="_x0000_s2050820" name="think-cell Slide" r:id="rId23" imgW="270" imgH="270" progId="TCLayout.ActiveDocument.1">
                  <p:embed/>
                </p:oleObj>
              </mc:Choice>
              <mc:Fallback>
                <p:oleObj name="think-cell Slide" r:id="rId23" imgW="270" imgH="270" progId="TCLayout.ActiveDocument.1">
                  <p:embed/>
                  <p:pic>
                    <p:nvPicPr>
                      <p:cNvPr id="32" name="Object 31" hidden="1"/>
                      <p:cNvPicPr>
                        <a:picLocks noChangeAspect="1" noChangeArrowheads="1"/>
                      </p:cNvPicPr>
                      <p:nvPr/>
                    </p:nvPicPr>
                    <p:blipFill>
                      <a:blip r:embed="rId24">
                        <a:extLst>
                          <a:ext uri="{28A0092B-C50C-407E-A947-70E740481C1C}">
                            <a14:useLocalDpi xmlns:a14="http://schemas.microsoft.com/office/drawing/2010/main" val="0"/>
                          </a:ext>
                        </a:extLst>
                      </a:blip>
                      <a:srcRect/>
                      <a:stretch>
                        <a:fillRect/>
                      </a:stretch>
                    </p:blipFill>
                    <p:spPr bwMode="auto">
                      <a:xfrm>
                        <a:off x="1956" y="1591"/>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a:xfrm>
            <a:off x="562707" y="162000"/>
            <a:ext cx="11068063" cy="832104"/>
          </a:xfrm>
          <a:prstGeom prst="rect">
            <a:avLst/>
          </a:prstGeom>
        </p:spPr>
        <p:txBody>
          <a:bodyPr vert="horz" lIns="0" tIns="45720" rIns="0" bIns="45720" rtlCol="0" anchor="t" anchorCtr="0">
            <a:noAutofit/>
          </a:bodyPr>
          <a:lstStyle/>
          <a:p>
            <a:r>
              <a:rPr lang="en-US" noProof="0" dirty="0"/>
              <a:t>Click to edit Master title style</a:t>
            </a:r>
          </a:p>
        </p:txBody>
      </p:sp>
      <p:sp>
        <p:nvSpPr>
          <p:cNvPr id="7" name="FooterSimple"/>
          <p:cNvSpPr/>
          <p:nvPr userDrawn="1">
            <p:custDataLst>
              <p:tags r:id="rId22"/>
            </p:custDataLst>
          </p:nvPr>
        </p:nvSpPr>
        <p:spPr>
          <a:xfrm>
            <a:off x="393793" y="6719264"/>
            <a:ext cx="793108" cy="10772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oAutofit/>
          </a:bodyPr>
          <a:lstStyle/>
          <a:p>
            <a:pPr algn="l"/>
            <a:r>
              <a:rPr lang="fr-FR" sz="525" noProof="0">
                <a:solidFill>
                  <a:srgbClr val="808080"/>
                </a:solidFill>
                <a:latin typeface="Arial"/>
                <a:cs typeface="Arial"/>
                <a:sym typeface="Arial"/>
              </a:rPr>
              <a:t>20171204 - MX2020 KPI Structure v4.pptx</a:t>
            </a:r>
            <a:endParaRPr lang="en-US" sz="525" noProof="0" dirty="0">
              <a:solidFill>
                <a:srgbClr val="808080"/>
              </a:solidFill>
              <a:latin typeface="Arial"/>
              <a:cs typeface="Arial"/>
              <a:sym typeface="Arial"/>
            </a:endParaRPr>
          </a:p>
        </p:txBody>
      </p:sp>
      <p:sp>
        <p:nvSpPr>
          <p:cNvPr id="13" name="Text Placeholder 12"/>
          <p:cNvSpPr>
            <a:spLocks noGrp="1"/>
          </p:cNvSpPr>
          <p:nvPr>
            <p:ph type="body" idx="1"/>
          </p:nvPr>
        </p:nvSpPr>
        <p:spPr>
          <a:xfrm>
            <a:off x="562708" y="1508760"/>
            <a:ext cx="11074087" cy="3997304"/>
          </a:xfrm>
          <a:prstGeom prst="rect">
            <a:avLst/>
          </a:prstGeom>
        </p:spPr>
        <p:txBody>
          <a:bodyPr vert="horz" lIns="0" tIns="0" rIns="0" bIns="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Box 7"/>
          <p:cNvSpPr txBox="1"/>
          <p:nvPr userDrawn="1"/>
        </p:nvSpPr>
        <p:spPr>
          <a:xfrm>
            <a:off x="5841384" y="6271546"/>
            <a:ext cx="458115" cy="276999"/>
          </a:xfrm>
          <a:prstGeom prst="rect">
            <a:avLst/>
          </a:prstGeom>
          <a:noFill/>
          <a:ln/>
          <a:effectLst/>
        </p:spPr>
        <p:txBody>
          <a:bodyPr wrap="none" lIns="68580" tIns="41148" rIns="68580" bIns="34290" rtlCol="0" anchor="t" anchorCtr="0">
            <a:noAutofit/>
          </a:bodyPr>
          <a:lstStyle/>
          <a:p>
            <a:pPr marL="0" marR="0" lvl="0" indent="0" algn="r" defTabSz="685800" rtl="0" eaLnBrk="1" fontAlgn="auto" latinLnBrk="0" hangingPunct="1">
              <a:lnSpc>
                <a:spcPct val="100000"/>
              </a:lnSpc>
              <a:spcBef>
                <a:spcPts val="0"/>
              </a:spcBef>
              <a:spcAft>
                <a:spcPts val="0"/>
              </a:spcAft>
              <a:buClrTx/>
              <a:buSzTx/>
              <a:buFontTx/>
              <a:buNone/>
              <a:tabLst/>
              <a:defRPr/>
            </a:pPr>
            <a:fld id="{8FDC6993-5875-43F1-AB5B-56FAFD3221C9}" type="slidenum">
              <a:rPr lang="en-US" sz="750" kern="1200" baseline="0" noProof="0" smtClean="0">
                <a:solidFill>
                  <a:schemeClr val="bg1"/>
                </a:solidFill>
                <a:latin typeface="Arial"/>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a:t>
            </a:fld>
            <a:endParaRPr lang="en-US" sz="750" kern="1200" baseline="0" noProof="0" dirty="0">
              <a:solidFill>
                <a:schemeClr val="bg1"/>
              </a:solidFill>
              <a:latin typeface="Arial"/>
              <a:ea typeface="+mn-ea"/>
              <a:cs typeface="+mn-cs"/>
            </a:endParaRPr>
          </a:p>
          <a:p>
            <a:endParaRPr lang="en-US" sz="675" dirty="0">
              <a:solidFill>
                <a:schemeClr val="bg1"/>
              </a:solidFill>
              <a:latin typeface="Arial"/>
            </a:endParaRPr>
          </a:p>
        </p:txBody>
      </p:sp>
      <p:sp>
        <p:nvSpPr>
          <p:cNvPr id="12" name="Slide Number Placeholder 5"/>
          <p:cNvSpPr txBox="1">
            <a:spLocks/>
          </p:cNvSpPr>
          <p:nvPr userDrawn="1"/>
        </p:nvSpPr>
        <p:spPr>
          <a:xfrm>
            <a:off x="11288132" y="6448893"/>
            <a:ext cx="793995" cy="365125"/>
          </a:xfrm>
          <a:prstGeom prst="rect">
            <a:avLst/>
          </a:prstGeom>
        </p:spPr>
        <p:txBody>
          <a:bodyPr vert="horz" lIns="68580" tIns="34290" rIns="68580" bIns="3429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FC7F43E-2420-6848-A2B2-B5C9DEF3CEAA}" type="slidenum">
              <a:rPr lang="en-US" sz="750" smtClean="0">
                <a:solidFill>
                  <a:prstClr val="black">
                    <a:tint val="75000"/>
                  </a:prstClr>
                </a:solidFill>
                <a:latin typeface="Arial" panose="020B0604020202020204" pitchFamily="34" charset="0"/>
                <a:cs typeface="Arial" panose="020B0604020202020204" pitchFamily="34" charset="0"/>
              </a:rPr>
              <a:pPr/>
              <a:t>‹#›</a:t>
            </a:fld>
            <a:endParaRPr lang="en-US" sz="750" dirty="0">
              <a:solidFill>
                <a:prstClr val="black">
                  <a:tint val="75000"/>
                </a:prstClr>
              </a:solidFill>
              <a:latin typeface="Arial" panose="020B0604020202020204" pitchFamily="34" charset="0"/>
              <a:cs typeface="Arial" panose="020B0604020202020204" pitchFamily="34" charset="0"/>
            </a:endParaRPr>
          </a:p>
        </p:txBody>
      </p:sp>
      <p:pic>
        <p:nvPicPr>
          <p:cNvPr id="14" name="Picture 13"/>
          <p:cNvPicPr>
            <a:picLocks noChangeAspect="1"/>
          </p:cNvPicPr>
          <p:nvPr userDrawn="1"/>
        </p:nvPicPr>
        <p:blipFill>
          <a:blip r:embed="rId25" cstate="print">
            <a:extLst>
              <a:ext uri="{28A0092B-C50C-407E-A947-70E740481C1C}">
                <a14:useLocalDpi xmlns:a14="http://schemas.microsoft.com/office/drawing/2010/main" val="0"/>
              </a:ext>
            </a:extLst>
          </a:blip>
          <a:stretch>
            <a:fillRect/>
          </a:stretch>
        </p:blipFill>
        <p:spPr>
          <a:xfrm>
            <a:off x="10505029" y="6552810"/>
            <a:ext cx="1076129" cy="141242"/>
          </a:xfrm>
          <a:prstGeom prst="rect">
            <a:avLst/>
          </a:prstGeom>
        </p:spPr>
      </p:pic>
      <p:pic>
        <p:nvPicPr>
          <p:cNvPr id="16" name="pasted-image.pdf" descr="pasted-image.pdf"/>
          <p:cNvPicPr>
            <a:picLocks noChangeAspect="1"/>
          </p:cNvPicPr>
          <p:nvPr userDrawn="1"/>
        </p:nvPicPr>
        <p:blipFill>
          <a:blip r:embed="rId26" cstate="print"/>
          <a:stretch>
            <a:fillRect/>
          </a:stretch>
        </p:blipFill>
        <p:spPr>
          <a:xfrm>
            <a:off x="393793" y="6416675"/>
            <a:ext cx="518063" cy="256674"/>
          </a:xfrm>
          <a:prstGeom prst="rect">
            <a:avLst/>
          </a:prstGeom>
          <a:ln w="12700">
            <a:miter lim="400000"/>
          </a:ln>
        </p:spPr>
      </p:pic>
    </p:spTree>
    <p:extLst>
      <p:ext uri="{BB962C8B-B14F-4D97-AF65-F5344CB8AC3E}">
        <p14:creationId xmlns:p14="http://schemas.microsoft.com/office/powerpoint/2010/main" val="88648035"/>
      </p:ext>
    </p:extLst>
  </p:cSld>
  <p:clrMap bg1="lt1" tx1="dk1" bg2="lt2" tx2="dk2" accent1="accent1" accent2="accent2" accent3="accent3" accent4="accent4" accent5="accent5" accent6="accent6" hlink="hlink" folHlink="folHlink"/>
  <p:sldLayoutIdLst>
    <p:sldLayoutId id="2147484117" r:id="rId1"/>
    <p:sldLayoutId id="2147484118" r:id="rId2"/>
    <p:sldLayoutId id="2147484119" r:id="rId3"/>
    <p:sldLayoutId id="2147484120" r:id="rId4"/>
    <p:sldLayoutId id="2147484121" r:id="rId5"/>
    <p:sldLayoutId id="2147484122" r:id="rId6"/>
    <p:sldLayoutId id="2147484123" r:id="rId7"/>
    <p:sldLayoutId id="2147484124" r:id="rId8"/>
    <p:sldLayoutId id="2147484125" r:id="rId9"/>
    <p:sldLayoutId id="2147484126" r:id="rId10"/>
    <p:sldLayoutId id="2147484127" r:id="rId11"/>
    <p:sldLayoutId id="2147484129" r:id="rId12"/>
    <p:sldLayoutId id="2147483954" r:id="rId13"/>
    <p:sldLayoutId id="2147483956" r:id="rId14"/>
    <p:sldLayoutId id="2147483957" r:id="rId15"/>
    <p:sldLayoutId id="2147483958" r:id="rId16"/>
    <p:sldLayoutId id="2147483960" r:id="rId17"/>
    <p:sldLayoutId id="2147483961" r:id="rId18"/>
  </p:sldLayoutIdLst>
  <p:hf hdr="0" ftr="0" dt="0"/>
  <p:txStyles>
    <p:titleStyle>
      <a:lvl1pPr algn="l" defTabSz="685800" rtl="0" eaLnBrk="1" latinLnBrk="0" hangingPunct="1">
        <a:spcBef>
          <a:spcPct val="0"/>
        </a:spcBef>
        <a:buNone/>
        <a:defRPr sz="1500" b="1" kern="1200" baseline="0">
          <a:solidFill>
            <a:srgbClr val="4472C4"/>
          </a:solidFill>
          <a:latin typeface="Arial"/>
          <a:ea typeface="+mj-ea"/>
          <a:cs typeface="Arial"/>
          <a:sym typeface="Arial"/>
        </a:defRPr>
      </a:lvl1pPr>
    </p:titleStyle>
    <p:bodyStyle>
      <a:lvl1pPr marL="0" indent="0" algn="l" defTabSz="685800" rtl="0" eaLnBrk="1" latinLnBrk="0" hangingPunct="1">
        <a:spcBef>
          <a:spcPts val="288"/>
        </a:spcBef>
        <a:buFontTx/>
        <a:buNone/>
        <a:defRPr sz="1200" b="1" kern="1200" baseline="0">
          <a:solidFill>
            <a:srgbClr val="002D72"/>
          </a:solidFill>
          <a:latin typeface="Arial"/>
          <a:ea typeface="+mn-ea"/>
          <a:cs typeface="Arial"/>
          <a:sym typeface="Arial"/>
        </a:defRPr>
      </a:lvl1pPr>
      <a:lvl2pPr marL="342900" indent="-171450" algn="l" defTabSz="685800" rtl="0" eaLnBrk="1" latinLnBrk="0" hangingPunct="1">
        <a:spcBef>
          <a:spcPts val="288"/>
        </a:spcBef>
        <a:buClr>
          <a:srgbClr val="002D72"/>
        </a:buClr>
        <a:buFont typeface="Arial" pitchFamily="34" charset="0"/>
        <a:buChar char="•"/>
        <a:defRPr sz="1200" kern="1200" baseline="0">
          <a:solidFill>
            <a:srgbClr val="002D72"/>
          </a:solidFill>
          <a:latin typeface="Arial"/>
          <a:ea typeface="+mn-ea"/>
          <a:cs typeface="Arial"/>
          <a:sym typeface="Arial"/>
        </a:defRPr>
      </a:lvl2pPr>
      <a:lvl3pPr marL="685800" indent="-171450" algn="l" defTabSz="685800" rtl="0" eaLnBrk="1" latinLnBrk="0" hangingPunct="1">
        <a:spcBef>
          <a:spcPts val="288"/>
        </a:spcBef>
        <a:buClr>
          <a:srgbClr val="002D72"/>
        </a:buClr>
        <a:buFont typeface="Arial" pitchFamily="34" charset="0"/>
        <a:buChar char="–"/>
        <a:defRPr sz="1200" kern="1200" baseline="0">
          <a:solidFill>
            <a:srgbClr val="002D72"/>
          </a:solidFill>
          <a:latin typeface="Arial"/>
          <a:ea typeface="+mn-ea"/>
          <a:cs typeface="Arial"/>
          <a:sym typeface="Arial"/>
        </a:defRPr>
      </a:lvl3pPr>
      <a:lvl4pPr marL="1032272" indent="-175022" algn="l" defTabSz="685800" rtl="0" eaLnBrk="1" latinLnBrk="0" hangingPunct="1">
        <a:spcBef>
          <a:spcPts val="288"/>
        </a:spcBef>
        <a:buClr>
          <a:srgbClr val="002D72"/>
        </a:buClr>
        <a:buFont typeface="Arial" pitchFamily="34" charset="0"/>
        <a:buChar char="–"/>
        <a:defRPr sz="1200" kern="1200" baseline="0">
          <a:solidFill>
            <a:srgbClr val="002D72"/>
          </a:solidFill>
          <a:latin typeface="Arial"/>
          <a:ea typeface="+mn-ea"/>
          <a:cs typeface="Arial"/>
          <a:sym typeface="Arial"/>
        </a:defRPr>
      </a:lvl4pPr>
      <a:lvl5pPr marL="1544241" indent="-172641" algn="l" defTabSz="685800" rtl="0" eaLnBrk="1" latinLnBrk="0" hangingPunct="1">
        <a:spcBef>
          <a:spcPts val="288"/>
        </a:spcBef>
        <a:buClr>
          <a:srgbClr val="002D72"/>
        </a:buClr>
        <a:buFont typeface="Arial" pitchFamily="34" charset="0"/>
        <a:buChar char="–"/>
        <a:defRPr sz="1200" kern="1200" baseline="0">
          <a:solidFill>
            <a:srgbClr val="002D72"/>
          </a:solidFill>
          <a:latin typeface="Arial"/>
          <a:ea typeface="+mn-ea"/>
          <a:cs typeface="Arial"/>
          <a:sym typeface="Arial"/>
        </a:defRPr>
      </a:lvl5pPr>
      <a:lvl6pPr marL="18859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2" name="Object 31" hidden="1"/>
          <p:cNvGraphicFramePr>
            <a:graphicFrameLocks noChangeAspect="1"/>
          </p:cNvGraphicFramePr>
          <p:nvPr>
            <p:custDataLst>
              <p:tags r:id="rId17"/>
            </p:custDataLst>
          </p:nvPr>
        </p:nvGraphicFramePr>
        <p:xfrm>
          <a:off x="2020" y="1642"/>
          <a:ext cx="1953" cy="1587"/>
        </p:xfrm>
        <a:graphic>
          <a:graphicData uri="http://schemas.openxmlformats.org/presentationml/2006/ole">
            <mc:AlternateContent xmlns:mc="http://schemas.openxmlformats.org/markup-compatibility/2006">
              <mc:Choice xmlns:v="urn:schemas-microsoft-com:vml" Requires="v">
                <p:oleObj spid="_x0000_s2206452" name="think-cell Slide" r:id="rId19" imgW="270" imgH="270" progId="TCLayout.ActiveDocument.1">
                  <p:embed/>
                </p:oleObj>
              </mc:Choice>
              <mc:Fallback>
                <p:oleObj name="think-cell Slide" r:id="rId19" imgW="270" imgH="270" progId="TCLayout.ActiveDocument.1">
                  <p:embed/>
                  <p:pic>
                    <p:nvPicPr>
                      <p:cNvPr id="32" name="Object 31" hidden="1"/>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2020" y="1642"/>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a:xfrm>
            <a:off x="562708" y="162000"/>
            <a:ext cx="11068061" cy="832104"/>
          </a:xfrm>
          <a:prstGeom prst="rect">
            <a:avLst/>
          </a:prstGeom>
        </p:spPr>
        <p:txBody>
          <a:bodyPr vert="horz" lIns="0" tIns="61853" rIns="0" bIns="61853" rtlCol="0" anchor="t" anchorCtr="0">
            <a:noAutofit/>
          </a:bodyPr>
          <a:lstStyle/>
          <a:p>
            <a:r>
              <a:rPr lang="en-US" noProof="0"/>
              <a:t>Click to edit Master title style</a:t>
            </a:r>
            <a:endParaRPr lang="en-US" noProof="0" dirty="0"/>
          </a:p>
        </p:txBody>
      </p:sp>
      <p:sp>
        <p:nvSpPr>
          <p:cNvPr id="7" name="FooterSimple"/>
          <p:cNvSpPr/>
          <p:nvPr userDrawn="1">
            <p:custDataLst>
              <p:tags r:id="rId18"/>
            </p:custDataLst>
          </p:nvPr>
        </p:nvSpPr>
        <p:spPr>
          <a:xfrm>
            <a:off x="393793" y="6719264"/>
            <a:ext cx="793108" cy="10772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oAutofit/>
          </a:bodyPr>
          <a:lstStyle/>
          <a:p>
            <a:pPr defTabSz="869793"/>
            <a:r>
              <a:rPr lang="en-US" sz="703">
                <a:solidFill>
                  <a:srgbClr val="808080"/>
                </a:solidFill>
                <a:cs typeface="Arial"/>
                <a:sym typeface="Arial"/>
              </a:rPr>
              <a:t>196301-97-20Dec17-CB-int-MEX.pptx</a:t>
            </a:r>
            <a:endParaRPr lang="en-US" sz="703" dirty="0">
              <a:solidFill>
                <a:srgbClr val="808080"/>
              </a:solidFill>
              <a:cs typeface="Arial"/>
              <a:sym typeface="Arial"/>
            </a:endParaRPr>
          </a:p>
        </p:txBody>
      </p:sp>
      <p:sp>
        <p:nvSpPr>
          <p:cNvPr id="13" name="Text Placeholder 12"/>
          <p:cNvSpPr>
            <a:spLocks noGrp="1"/>
          </p:cNvSpPr>
          <p:nvPr>
            <p:ph type="body" idx="1"/>
          </p:nvPr>
        </p:nvSpPr>
        <p:spPr>
          <a:xfrm>
            <a:off x="562707" y="1508761"/>
            <a:ext cx="11074088" cy="3997304"/>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Box 7"/>
          <p:cNvSpPr txBox="1"/>
          <p:nvPr userDrawn="1"/>
        </p:nvSpPr>
        <p:spPr>
          <a:xfrm>
            <a:off x="5841384" y="6271545"/>
            <a:ext cx="458115" cy="276999"/>
          </a:xfrm>
          <a:prstGeom prst="rect">
            <a:avLst/>
          </a:prstGeom>
          <a:noFill/>
          <a:ln/>
          <a:effectLst/>
        </p:spPr>
        <p:txBody>
          <a:bodyPr wrap="none" lIns="86981" tIns="52192" rIns="86981" bIns="43490" rtlCol="0" anchor="t" anchorCtr="0">
            <a:noAutofit/>
          </a:bodyPr>
          <a:lstStyle/>
          <a:p>
            <a:pPr algn="r" defTabSz="869793">
              <a:defRPr/>
            </a:pPr>
            <a:fld id="{8FDC6993-5875-43F1-AB5B-56FAFD3221C9}" type="slidenum">
              <a:rPr lang="en-US" sz="984" smtClean="0">
                <a:solidFill>
                  <a:srgbClr val="FFFFFF"/>
                </a:solidFill>
              </a:rPr>
              <a:pPr algn="r" defTabSz="869793">
                <a:defRPr/>
              </a:pPr>
              <a:t>‹#›</a:t>
            </a:fld>
            <a:endParaRPr lang="en-US" sz="984" dirty="0">
              <a:solidFill>
                <a:srgbClr val="FFFFFF"/>
              </a:solidFill>
            </a:endParaRPr>
          </a:p>
          <a:p>
            <a:pPr defTabSz="869793"/>
            <a:endParaRPr lang="en-US" sz="844" dirty="0">
              <a:solidFill>
                <a:srgbClr val="FFFFFF"/>
              </a:solidFill>
            </a:endParaRPr>
          </a:p>
        </p:txBody>
      </p:sp>
      <p:sp>
        <p:nvSpPr>
          <p:cNvPr id="12" name="Slide Number Placeholder 5"/>
          <p:cNvSpPr txBox="1">
            <a:spLocks/>
          </p:cNvSpPr>
          <p:nvPr userDrawn="1"/>
        </p:nvSpPr>
        <p:spPr>
          <a:xfrm>
            <a:off x="11288131" y="6448944"/>
            <a:ext cx="793995" cy="365125"/>
          </a:xfrm>
          <a:prstGeom prst="rect">
            <a:avLst/>
          </a:prstGeom>
        </p:spPr>
        <p:txBody>
          <a:bodyPr vert="horz" lIns="86981" tIns="43490" rIns="86981" bIns="4349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FC7F43E-2420-6848-A2B2-B5C9DEF3CEAA}" type="slidenum">
              <a:rPr lang="en-US" sz="984" smtClean="0">
                <a:solidFill>
                  <a:prstClr val="black">
                    <a:tint val="75000"/>
                  </a:prstClr>
                </a:solidFill>
                <a:cs typeface="Arial" panose="020B0604020202020204" pitchFamily="34" charset="0"/>
              </a:rPr>
              <a:pPr/>
              <a:t>‹#›</a:t>
            </a:fld>
            <a:endParaRPr lang="en-US" sz="984" dirty="0">
              <a:solidFill>
                <a:prstClr val="black">
                  <a:tint val="75000"/>
                </a:prstClr>
              </a:solidFill>
              <a:cs typeface="Arial" panose="020B0604020202020204" pitchFamily="34" charset="0"/>
            </a:endParaRPr>
          </a:p>
        </p:txBody>
      </p:sp>
      <p:pic>
        <p:nvPicPr>
          <p:cNvPr id="14" name="Picture 13"/>
          <p:cNvPicPr>
            <a:picLocks noChangeAspect="1"/>
          </p:cNvPicPr>
          <p:nvPr userDrawn="1"/>
        </p:nvPicPr>
        <p:blipFill>
          <a:blip r:embed="rId21" cstate="print">
            <a:extLst>
              <a:ext uri="{28A0092B-C50C-407E-A947-70E740481C1C}">
                <a14:useLocalDpi xmlns:a14="http://schemas.microsoft.com/office/drawing/2010/main" val="0"/>
              </a:ext>
            </a:extLst>
          </a:blip>
          <a:stretch>
            <a:fillRect/>
          </a:stretch>
        </p:blipFill>
        <p:spPr>
          <a:xfrm>
            <a:off x="10505094" y="6552810"/>
            <a:ext cx="1076129" cy="141242"/>
          </a:xfrm>
          <a:prstGeom prst="rect">
            <a:avLst/>
          </a:prstGeom>
        </p:spPr>
      </p:pic>
      <p:pic>
        <p:nvPicPr>
          <p:cNvPr id="16" name="pasted-image.pdf" descr="pasted-image.pdf"/>
          <p:cNvPicPr>
            <a:picLocks noChangeAspect="1"/>
          </p:cNvPicPr>
          <p:nvPr userDrawn="1"/>
        </p:nvPicPr>
        <p:blipFill>
          <a:blip r:embed="rId22" cstate="print"/>
          <a:stretch>
            <a:fillRect/>
          </a:stretch>
        </p:blipFill>
        <p:spPr>
          <a:xfrm>
            <a:off x="393858" y="6416675"/>
            <a:ext cx="518061" cy="256674"/>
          </a:xfrm>
          <a:prstGeom prst="rect">
            <a:avLst/>
          </a:prstGeom>
          <a:ln w="12700">
            <a:miter lim="400000"/>
          </a:ln>
        </p:spPr>
      </p:pic>
      <p:sp>
        <p:nvSpPr>
          <p:cNvPr id="10" name="Rectangle 9"/>
          <p:cNvSpPr/>
          <p:nvPr userDrawn="1"/>
        </p:nvSpPr>
        <p:spPr>
          <a:xfrm>
            <a:off x="357863" y="6719991"/>
            <a:ext cx="2092500" cy="126563"/>
          </a:xfrm>
          <a:prstGeom prst="rect">
            <a:avLst/>
          </a:prstGeom>
          <a:solidFill>
            <a:schemeClr val="bg1"/>
          </a:solidFill>
          <a:ln w="952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tIns="63281" bIns="63281" rtlCol="0" anchor="ctr" anchorCtr="0"/>
          <a:lstStyle/>
          <a:p>
            <a:pPr algn="ctr"/>
            <a:endParaRPr lang="en-US" sz="984" dirty="0">
              <a:solidFill>
                <a:srgbClr val="002D72"/>
              </a:solidFill>
              <a:latin typeface="Arial" pitchFamily="34" charset="0"/>
              <a:cs typeface="Arial" pitchFamily="34" charset="0"/>
            </a:endParaRPr>
          </a:p>
        </p:txBody>
      </p:sp>
    </p:spTree>
    <p:extLst>
      <p:ext uri="{BB962C8B-B14F-4D97-AF65-F5344CB8AC3E}">
        <p14:creationId xmlns:p14="http://schemas.microsoft.com/office/powerpoint/2010/main" val="891066675"/>
      </p:ext>
    </p:extLst>
  </p:cSld>
  <p:clrMap bg1="lt1" tx1="dk1" bg2="lt2" tx2="dk2" accent1="accent1" accent2="accent2" accent3="accent3" accent4="accent4" accent5="accent5" accent6="accent6" hlink="hlink" folHlink="folHlink"/>
  <p:sldLayoutIdLst>
    <p:sldLayoutId id="2147484132" r:id="rId1"/>
    <p:sldLayoutId id="2147484133" r:id="rId2"/>
    <p:sldLayoutId id="2147484134" r:id="rId3"/>
    <p:sldLayoutId id="2147484135" r:id="rId4"/>
    <p:sldLayoutId id="2147484136" r:id="rId5"/>
    <p:sldLayoutId id="2147484137" r:id="rId6"/>
    <p:sldLayoutId id="2147484138" r:id="rId7"/>
    <p:sldLayoutId id="2147484139" r:id="rId8"/>
    <p:sldLayoutId id="2147484140" r:id="rId9"/>
    <p:sldLayoutId id="2147484141" r:id="rId10"/>
    <p:sldLayoutId id="2147484142" r:id="rId11"/>
    <p:sldLayoutId id="2147484143" r:id="rId12"/>
    <p:sldLayoutId id="2147484149" r:id="rId13"/>
    <p:sldLayoutId id="2147484150" r:id="rId14"/>
  </p:sldLayoutIdLst>
  <p:hf hdr="0" ftr="0" dt="0"/>
  <p:txStyles>
    <p:titleStyle>
      <a:lvl1pPr algn="l" defTabSz="869793" rtl="0" eaLnBrk="1" latinLnBrk="0" hangingPunct="1">
        <a:spcBef>
          <a:spcPct val="0"/>
        </a:spcBef>
        <a:buNone/>
        <a:defRPr sz="1898" b="1" kern="1200" baseline="0">
          <a:solidFill>
            <a:srgbClr val="4472C4"/>
          </a:solidFill>
          <a:latin typeface="Arial"/>
          <a:ea typeface="+mj-ea"/>
          <a:cs typeface="Arial"/>
          <a:sym typeface="Arial"/>
        </a:defRPr>
      </a:lvl1pPr>
    </p:titleStyle>
    <p:bodyStyle>
      <a:lvl1pPr marL="0" indent="0" algn="l" defTabSz="869793" rtl="0" eaLnBrk="1" latinLnBrk="0" hangingPunct="1">
        <a:spcBef>
          <a:spcPts val="366"/>
        </a:spcBef>
        <a:buFontTx/>
        <a:buNone/>
        <a:defRPr sz="1547" b="1" kern="1200" baseline="0">
          <a:solidFill>
            <a:srgbClr val="002D72"/>
          </a:solidFill>
          <a:latin typeface="Arial"/>
          <a:ea typeface="+mn-ea"/>
          <a:cs typeface="Arial"/>
          <a:sym typeface="Arial"/>
        </a:defRPr>
      </a:lvl1pPr>
      <a:lvl2pPr marL="434889" indent="-217445" algn="l" defTabSz="869793" rtl="0" eaLnBrk="1" latinLnBrk="0" hangingPunct="1">
        <a:spcBef>
          <a:spcPts val="366"/>
        </a:spcBef>
        <a:buClr>
          <a:srgbClr val="002D72"/>
        </a:buClr>
        <a:buFont typeface="Arial" pitchFamily="34" charset="0"/>
        <a:buChar char="•"/>
        <a:defRPr sz="1547" kern="1200" baseline="0">
          <a:solidFill>
            <a:srgbClr val="002D72"/>
          </a:solidFill>
          <a:latin typeface="Arial"/>
          <a:ea typeface="+mn-ea"/>
          <a:cs typeface="Arial"/>
          <a:sym typeface="Arial"/>
        </a:defRPr>
      </a:lvl2pPr>
      <a:lvl3pPr marL="869793" indent="-217445" algn="l" defTabSz="869793" rtl="0" eaLnBrk="1" latinLnBrk="0" hangingPunct="1">
        <a:spcBef>
          <a:spcPts val="366"/>
        </a:spcBef>
        <a:buClr>
          <a:srgbClr val="002D72"/>
        </a:buClr>
        <a:buFont typeface="Arial" pitchFamily="34" charset="0"/>
        <a:buChar char="–"/>
        <a:defRPr sz="1547" kern="1200" baseline="0">
          <a:solidFill>
            <a:srgbClr val="002D72"/>
          </a:solidFill>
          <a:latin typeface="Arial"/>
          <a:ea typeface="+mn-ea"/>
          <a:cs typeface="Arial"/>
          <a:sym typeface="Arial"/>
        </a:defRPr>
      </a:lvl3pPr>
      <a:lvl4pPr marL="1309214" indent="-221979" algn="l" defTabSz="869793" rtl="0" eaLnBrk="1" latinLnBrk="0" hangingPunct="1">
        <a:spcBef>
          <a:spcPts val="366"/>
        </a:spcBef>
        <a:buClr>
          <a:srgbClr val="002D72"/>
        </a:buClr>
        <a:buFont typeface="Arial" pitchFamily="34" charset="0"/>
        <a:buChar char="–"/>
        <a:defRPr sz="1547" kern="1200" baseline="0">
          <a:solidFill>
            <a:srgbClr val="002D72"/>
          </a:solidFill>
          <a:latin typeface="Arial"/>
          <a:ea typeface="+mn-ea"/>
          <a:cs typeface="Arial"/>
          <a:sym typeface="Arial"/>
        </a:defRPr>
      </a:lvl4pPr>
      <a:lvl5pPr marL="1958543" indent="-218960" algn="l" defTabSz="869793" rtl="0" eaLnBrk="1" latinLnBrk="0" hangingPunct="1">
        <a:spcBef>
          <a:spcPts val="366"/>
        </a:spcBef>
        <a:buClr>
          <a:srgbClr val="002D72"/>
        </a:buClr>
        <a:buFont typeface="Arial" pitchFamily="34" charset="0"/>
        <a:buChar char="–"/>
        <a:defRPr sz="1547" kern="1200" baseline="0">
          <a:solidFill>
            <a:srgbClr val="002D72"/>
          </a:solidFill>
          <a:latin typeface="Arial"/>
          <a:ea typeface="+mn-ea"/>
          <a:cs typeface="Arial"/>
          <a:sym typeface="Arial"/>
        </a:defRPr>
      </a:lvl5pPr>
      <a:lvl6pPr marL="2391893" indent="-217445" algn="l" defTabSz="869793" rtl="0" eaLnBrk="1" latinLnBrk="0" hangingPunct="1">
        <a:spcBef>
          <a:spcPct val="20000"/>
        </a:spcBef>
        <a:buFont typeface="Arial" pitchFamily="34" charset="0"/>
        <a:buChar char="•"/>
        <a:defRPr sz="1898" kern="1200">
          <a:solidFill>
            <a:schemeClr val="tx1"/>
          </a:solidFill>
          <a:latin typeface="+mn-lt"/>
          <a:ea typeface="+mn-ea"/>
          <a:cs typeface="+mn-cs"/>
        </a:defRPr>
      </a:lvl6pPr>
      <a:lvl7pPr marL="2826814" indent="-217445" algn="l" defTabSz="869793" rtl="0" eaLnBrk="1" latinLnBrk="0" hangingPunct="1">
        <a:spcBef>
          <a:spcPct val="20000"/>
        </a:spcBef>
        <a:buFont typeface="Arial" pitchFamily="34" charset="0"/>
        <a:buChar char="•"/>
        <a:defRPr sz="1898" kern="1200">
          <a:solidFill>
            <a:schemeClr val="tx1"/>
          </a:solidFill>
          <a:latin typeface="+mn-lt"/>
          <a:ea typeface="+mn-ea"/>
          <a:cs typeface="+mn-cs"/>
        </a:defRPr>
      </a:lvl7pPr>
      <a:lvl8pPr marL="3261713" indent="-217445" algn="l" defTabSz="869793" rtl="0" eaLnBrk="1" latinLnBrk="0" hangingPunct="1">
        <a:spcBef>
          <a:spcPct val="20000"/>
        </a:spcBef>
        <a:buFont typeface="Arial" pitchFamily="34" charset="0"/>
        <a:buChar char="•"/>
        <a:defRPr sz="1898" kern="1200">
          <a:solidFill>
            <a:schemeClr val="tx1"/>
          </a:solidFill>
          <a:latin typeface="+mn-lt"/>
          <a:ea typeface="+mn-ea"/>
          <a:cs typeface="+mn-cs"/>
        </a:defRPr>
      </a:lvl8pPr>
      <a:lvl9pPr marL="3696603" indent="-217445" algn="l" defTabSz="869793" rtl="0" eaLnBrk="1" latinLnBrk="0" hangingPunct="1">
        <a:spcBef>
          <a:spcPct val="20000"/>
        </a:spcBef>
        <a:buFont typeface="Arial" pitchFamily="34" charset="0"/>
        <a:buChar char="•"/>
        <a:defRPr sz="1898" kern="1200">
          <a:solidFill>
            <a:schemeClr val="tx1"/>
          </a:solidFill>
          <a:latin typeface="+mn-lt"/>
          <a:ea typeface="+mn-ea"/>
          <a:cs typeface="+mn-cs"/>
        </a:defRPr>
      </a:lvl9pPr>
    </p:bodyStyle>
    <p:otherStyle>
      <a:defPPr>
        <a:defRPr lang="en-US"/>
      </a:defPPr>
      <a:lvl1pPr marL="0" algn="l" defTabSz="869793" rtl="0" eaLnBrk="1" latinLnBrk="0" hangingPunct="1">
        <a:defRPr sz="1687" kern="1200">
          <a:solidFill>
            <a:schemeClr val="tx1"/>
          </a:solidFill>
          <a:latin typeface="+mn-lt"/>
          <a:ea typeface="+mn-ea"/>
          <a:cs typeface="+mn-cs"/>
        </a:defRPr>
      </a:lvl1pPr>
      <a:lvl2pPr marL="434889" algn="l" defTabSz="869793" rtl="0" eaLnBrk="1" latinLnBrk="0" hangingPunct="1">
        <a:defRPr sz="1687" kern="1200">
          <a:solidFill>
            <a:schemeClr val="tx1"/>
          </a:solidFill>
          <a:latin typeface="+mn-lt"/>
          <a:ea typeface="+mn-ea"/>
          <a:cs typeface="+mn-cs"/>
        </a:defRPr>
      </a:lvl2pPr>
      <a:lvl3pPr marL="869793" algn="l" defTabSz="869793" rtl="0" eaLnBrk="1" latinLnBrk="0" hangingPunct="1">
        <a:defRPr sz="1687" kern="1200">
          <a:solidFill>
            <a:schemeClr val="tx1"/>
          </a:solidFill>
          <a:latin typeface="+mn-lt"/>
          <a:ea typeface="+mn-ea"/>
          <a:cs typeface="+mn-cs"/>
        </a:defRPr>
      </a:lvl3pPr>
      <a:lvl4pPr marL="1304690" algn="l" defTabSz="869793" rtl="0" eaLnBrk="1" latinLnBrk="0" hangingPunct="1">
        <a:defRPr sz="1687" kern="1200">
          <a:solidFill>
            <a:schemeClr val="tx1"/>
          </a:solidFill>
          <a:latin typeface="+mn-lt"/>
          <a:ea typeface="+mn-ea"/>
          <a:cs typeface="+mn-cs"/>
        </a:defRPr>
      </a:lvl4pPr>
      <a:lvl5pPr marL="1739569" algn="l" defTabSz="869793" rtl="0" eaLnBrk="1" latinLnBrk="0" hangingPunct="1">
        <a:defRPr sz="1687" kern="1200">
          <a:solidFill>
            <a:schemeClr val="tx1"/>
          </a:solidFill>
          <a:latin typeface="+mn-lt"/>
          <a:ea typeface="+mn-ea"/>
          <a:cs typeface="+mn-cs"/>
        </a:defRPr>
      </a:lvl5pPr>
      <a:lvl6pPr marL="2174474" algn="l" defTabSz="869793" rtl="0" eaLnBrk="1" latinLnBrk="0" hangingPunct="1">
        <a:defRPr sz="1687" kern="1200">
          <a:solidFill>
            <a:schemeClr val="tx1"/>
          </a:solidFill>
          <a:latin typeface="+mn-lt"/>
          <a:ea typeface="+mn-ea"/>
          <a:cs typeface="+mn-cs"/>
        </a:defRPr>
      </a:lvl6pPr>
      <a:lvl7pPr marL="2609385" algn="l" defTabSz="869793" rtl="0" eaLnBrk="1" latinLnBrk="0" hangingPunct="1">
        <a:defRPr sz="1687" kern="1200">
          <a:solidFill>
            <a:schemeClr val="tx1"/>
          </a:solidFill>
          <a:latin typeface="+mn-lt"/>
          <a:ea typeface="+mn-ea"/>
          <a:cs typeface="+mn-cs"/>
        </a:defRPr>
      </a:lvl7pPr>
      <a:lvl8pPr marL="3044256" algn="l" defTabSz="869793" rtl="0" eaLnBrk="1" latinLnBrk="0" hangingPunct="1">
        <a:defRPr sz="1687" kern="1200">
          <a:solidFill>
            <a:schemeClr val="tx1"/>
          </a:solidFill>
          <a:latin typeface="+mn-lt"/>
          <a:ea typeface="+mn-ea"/>
          <a:cs typeface="+mn-cs"/>
        </a:defRPr>
      </a:lvl8pPr>
      <a:lvl9pPr marL="3479155" algn="l" defTabSz="869793" rtl="0" eaLnBrk="1" latinLnBrk="0" hangingPunct="1">
        <a:defRPr sz="1687" kern="1200">
          <a:solidFill>
            <a:schemeClr val="tx1"/>
          </a:solidFill>
          <a:latin typeface="+mn-lt"/>
          <a:ea typeface="+mn-ea"/>
          <a:cs typeface="+mn-cs"/>
        </a:defRPr>
      </a:lvl9pPr>
    </p:otherStyle>
  </p:txStyles>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55"/>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61048" name="think-cell Slide" r:id="rId56" imgW="270" imgH="270" progId="TCLayout.ActiveDocument.1">
                  <p:embed/>
                </p:oleObj>
              </mc:Choice>
              <mc:Fallback>
                <p:oleObj name="think-cell Slide" r:id="rId56" imgW="270" imgH="270" progId="TCLayout.ActiveDocument.1">
                  <p:embed/>
                  <p:pic>
                    <p:nvPicPr>
                      <p:cNvPr id="2" name="Object 1" hidden="1"/>
                      <p:cNvPicPr/>
                      <p:nvPr/>
                    </p:nvPicPr>
                    <p:blipFill>
                      <a:blip r:embed="rId57"/>
                      <a:stretch>
                        <a:fillRect/>
                      </a:stretch>
                    </p:blipFill>
                    <p:spPr>
                      <a:xfrm>
                        <a:off x="1588" y="1588"/>
                        <a:ext cx="1587" cy="1587"/>
                      </a:xfrm>
                      <a:prstGeom prst="rect">
                        <a:avLst/>
                      </a:prstGeom>
                    </p:spPr>
                  </p:pic>
                </p:oleObj>
              </mc:Fallback>
            </mc:AlternateContent>
          </a:graphicData>
        </a:graphic>
      </p:graphicFrame>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dirty="0"/>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Level six</a:t>
            </a:r>
          </a:p>
          <a:p>
            <a:pPr lvl="6"/>
            <a:r>
              <a:rPr lang="en-US" dirty="0"/>
              <a:t>Level seven</a:t>
            </a:r>
          </a:p>
          <a:p>
            <a:pPr lvl="7"/>
            <a:r>
              <a:rPr lang="en-US" dirty="0"/>
              <a:t>Level eight</a:t>
            </a:r>
          </a:p>
          <a:p>
            <a:pPr lvl="8"/>
            <a:r>
              <a:rPr lang="en-US" dirty="0"/>
              <a:t>Level nine</a:t>
            </a:r>
          </a:p>
        </p:txBody>
      </p:sp>
    </p:spTree>
    <p:extLst>
      <p:ext uri="{BB962C8B-B14F-4D97-AF65-F5344CB8AC3E}">
        <p14:creationId xmlns:p14="http://schemas.microsoft.com/office/powerpoint/2010/main" val="3332497686"/>
      </p:ext>
    </p:extLst>
  </p:cSld>
  <p:clrMap bg1="lt1" tx1="dk1" bg2="lt2" tx2="dk2" accent1="accent1" accent2="accent2" accent3="accent3" accent4="accent4" accent5="accent5" accent6="accent6" hlink="hlink" folHlink="folHlink"/>
  <p:sldLayoutIdLst>
    <p:sldLayoutId id="2147484206" r:id="rId1"/>
    <p:sldLayoutId id="2147484207" r:id="rId2"/>
    <p:sldLayoutId id="2147484208" r:id="rId3"/>
    <p:sldLayoutId id="2147484209" r:id="rId4"/>
    <p:sldLayoutId id="2147484210" r:id="rId5"/>
    <p:sldLayoutId id="2147484211" r:id="rId6"/>
    <p:sldLayoutId id="2147484212" r:id="rId7"/>
    <p:sldLayoutId id="2147484213" r:id="rId8"/>
    <p:sldLayoutId id="2147484214" r:id="rId9"/>
    <p:sldLayoutId id="2147484215" r:id="rId10"/>
    <p:sldLayoutId id="2147484216" r:id="rId11"/>
    <p:sldLayoutId id="2147484217" r:id="rId12"/>
    <p:sldLayoutId id="2147484218" r:id="rId13"/>
    <p:sldLayoutId id="2147484219" r:id="rId14"/>
    <p:sldLayoutId id="2147484220" r:id="rId15"/>
    <p:sldLayoutId id="2147484221" r:id="rId16"/>
    <p:sldLayoutId id="2147484222" r:id="rId17"/>
    <p:sldLayoutId id="2147484223" r:id="rId18"/>
    <p:sldLayoutId id="2147484224" r:id="rId19"/>
    <p:sldLayoutId id="2147484225" r:id="rId20"/>
    <p:sldLayoutId id="2147484226" r:id="rId21"/>
    <p:sldLayoutId id="2147484227" r:id="rId22"/>
    <p:sldLayoutId id="2147484228" r:id="rId23"/>
    <p:sldLayoutId id="2147484229" r:id="rId24"/>
    <p:sldLayoutId id="2147484230" r:id="rId25"/>
    <p:sldLayoutId id="2147484231" r:id="rId26"/>
    <p:sldLayoutId id="2147484232" r:id="rId27"/>
    <p:sldLayoutId id="2147484233" r:id="rId28"/>
    <p:sldLayoutId id="2147484234" r:id="rId29"/>
    <p:sldLayoutId id="2147484235" r:id="rId30"/>
    <p:sldLayoutId id="2147484236" r:id="rId31"/>
    <p:sldLayoutId id="2147484237" r:id="rId32"/>
    <p:sldLayoutId id="2147484238" r:id="rId33"/>
    <p:sldLayoutId id="2147484239" r:id="rId34"/>
    <p:sldLayoutId id="2147484240" r:id="rId35"/>
    <p:sldLayoutId id="2147484241" r:id="rId36"/>
    <p:sldLayoutId id="2147484242" r:id="rId37"/>
    <p:sldLayoutId id="2147484243" r:id="rId38"/>
    <p:sldLayoutId id="2147484244" r:id="rId39"/>
    <p:sldLayoutId id="2147484245" r:id="rId40"/>
    <p:sldLayoutId id="2147484246" r:id="rId41"/>
    <p:sldLayoutId id="2147484247" r:id="rId42"/>
    <p:sldLayoutId id="2147484248" r:id="rId43"/>
    <p:sldLayoutId id="2147484249" r:id="rId44"/>
    <p:sldLayoutId id="2147484250" r:id="rId45"/>
    <p:sldLayoutId id="2147484251" r:id="rId46"/>
    <p:sldLayoutId id="2147484252" r:id="rId47"/>
    <p:sldLayoutId id="2147484253" r:id="rId48"/>
    <p:sldLayoutId id="2147484254" r:id="rId49"/>
    <p:sldLayoutId id="2147484255" r:id="rId50"/>
    <p:sldLayoutId id="2147484256" r:id="rId51"/>
    <p:sldLayoutId id="2147484257" r:id="rId52"/>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400" kern="1200">
          <a:solidFill>
            <a:srgbClr val="4472C4"/>
          </a:solidFill>
          <a:latin typeface="+mj-lt"/>
          <a:ea typeface="+mj-ea"/>
          <a:cs typeface="+mj-cs"/>
          <a:sym typeface="Trebuchet MS" panose="020B0603020202020204" pitchFamily="34" charset="0"/>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p15:clr>
            <a:srgbClr val="F26B43"/>
          </p15:clr>
        </p15:guide>
        <p15:guide id="2" pos="396">
          <p15:clr>
            <a:srgbClr val="F26B43"/>
          </p15:clr>
        </p15:guide>
        <p15:guide id="3" pos="7284">
          <p15:clr>
            <a:srgbClr val="F26B43"/>
          </p15:clr>
        </p15:guide>
        <p15:guide id="4" orient="horz" pos="3881">
          <p15:clr>
            <a:srgbClr val="F26B43"/>
          </p15:clr>
        </p15:guide>
      </p15:sldGuideLst>
    </p:ext>
  </p:extLst>
</p:sldMaster>
</file>

<file path=ppt/slideMasters/slideMaster1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2" name="Object 31" hidden="1"/>
          <p:cNvGraphicFramePr>
            <a:graphicFrameLocks noChangeAspect="1"/>
          </p:cNvGraphicFramePr>
          <p:nvPr>
            <p:custDataLst>
              <p:tags r:id="rId17"/>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500142" name="think-cell Slide" r:id="rId18" imgW="270" imgH="270" progId="TCLayout.ActiveDocument.1">
                  <p:embed/>
                </p:oleObj>
              </mc:Choice>
              <mc:Fallback>
                <p:oleObj name="think-cell Slide" r:id="rId18" imgW="270" imgH="270" progId="TCLayout.ActiveDocument.1">
                  <p:embed/>
                  <p:pic>
                    <p:nvPicPr>
                      <p:cNvPr id="32" name="Object 31" hidden="1"/>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a:xfrm>
            <a:off x="562708" y="162000"/>
            <a:ext cx="11068061" cy="832104"/>
          </a:xfrm>
          <a:prstGeom prst="rect">
            <a:avLst/>
          </a:prstGeom>
        </p:spPr>
        <p:txBody>
          <a:bodyPr vert="horz" lIns="0" tIns="45720" rIns="0" bIns="45720" rtlCol="0" anchor="t" anchorCtr="0">
            <a:noAutofit/>
          </a:bodyPr>
          <a:lstStyle/>
          <a:p>
            <a:r>
              <a:rPr lang="en-US" noProof="0" dirty="0"/>
              <a:t>Click to edit Master title style</a:t>
            </a:r>
          </a:p>
        </p:txBody>
      </p:sp>
      <p:sp>
        <p:nvSpPr>
          <p:cNvPr id="7" name="FooterSimple"/>
          <p:cNvSpPr/>
          <p:nvPr userDrawn="1"/>
        </p:nvSpPr>
        <p:spPr>
          <a:xfrm>
            <a:off x="393793" y="6719264"/>
            <a:ext cx="793108" cy="10772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oAutofit/>
          </a:bodyPr>
          <a:lstStyle/>
          <a:p>
            <a:pPr algn="l"/>
            <a:r>
              <a:rPr lang="en-US" sz="646" noProof="0">
                <a:solidFill>
                  <a:srgbClr val="808080"/>
                </a:solidFill>
                <a:latin typeface="Arial"/>
                <a:cs typeface="Arial"/>
                <a:sym typeface="Arial"/>
              </a:rPr>
              <a:t>Blank.potx</a:t>
            </a:r>
            <a:endParaRPr lang="en-US" sz="646" noProof="0" dirty="0">
              <a:solidFill>
                <a:srgbClr val="808080"/>
              </a:solidFill>
              <a:latin typeface="Arial"/>
              <a:cs typeface="Arial"/>
              <a:sym typeface="Arial"/>
            </a:endParaRPr>
          </a:p>
        </p:txBody>
      </p:sp>
      <p:sp>
        <p:nvSpPr>
          <p:cNvPr id="13" name="Text Placeholder 12"/>
          <p:cNvSpPr>
            <a:spLocks noGrp="1"/>
          </p:cNvSpPr>
          <p:nvPr>
            <p:ph type="body" idx="1"/>
          </p:nvPr>
        </p:nvSpPr>
        <p:spPr>
          <a:xfrm>
            <a:off x="562708" y="1508760"/>
            <a:ext cx="11074088" cy="3997304"/>
          </a:xfrm>
          <a:prstGeom prst="rect">
            <a:avLst/>
          </a:prstGeom>
        </p:spPr>
        <p:txBody>
          <a:bodyPr vert="horz" lIns="0" tIns="0" rIns="0" bIns="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Box 7"/>
          <p:cNvSpPr txBox="1"/>
          <p:nvPr userDrawn="1"/>
        </p:nvSpPr>
        <p:spPr>
          <a:xfrm>
            <a:off x="5841383" y="6271545"/>
            <a:ext cx="458115" cy="276999"/>
          </a:xfrm>
          <a:prstGeom prst="rect">
            <a:avLst/>
          </a:prstGeom>
          <a:noFill/>
          <a:ln/>
          <a:effectLst/>
        </p:spPr>
        <p:txBody>
          <a:bodyPr wrap="none" lIns="84406" tIns="50644" rIns="84406" bIns="42203" rtlCol="0" anchor="t" anchorCtr="0">
            <a:noAutofit/>
          </a:bodyPr>
          <a:lstStyle/>
          <a:p>
            <a:pPr marL="0" marR="0" lvl="0" indent="0" algn="r" defTabSz="844083" rtl="0" eaLnBrk="1" fontAlgn="auto" latinLnBrk="0" hangingPunct="1">
              <a:lnSpc>
                <a:spcPct val="100000"/>
              </a:lnSpc>
              <a:spcBef>
                <a:spcPts val="0"/>
              </a:spcBef>
              <a:spcAft>
                <a:spcPts val="0"/>
              </a:spcAft>
              <a:buClrTx/>
              <a:buSzTx/>
              <a:buFontTx/>
              <a:buNone/>
              <a:tabLst/>
              <a:defRPr/>
            </a:pPr>
            <a:fld id="{8FDC6993-5875-43F1-AB5B-56FAFD3221C9}" type="slidenum">
              <a:rPr lang="en-US" sz="923" kern="1200" baseline="0" noProof="0" smtClean="0">
                <a:solidFill>
                  <a:schemeClr val="bg1"/>
                </a:solidFill>
                <a:latin typeface="Arial"/>
                <a:ea typeface="+mn-ea"/>
                <a:cs typeface="+mn-cs"/>
              </a:rPr>
              <a:pPr marL="0" marR="0" lvl="0" indent="0" algn="r" defTabSz="844083" rtl="0" eaLnBrk="1" fontAlgn="auto" latinLnBrk="0" hangingPunct="1">
                <a:lnSpc>
                  <a:spcPct val="100000"/>
                </a:lnSpc>
                <a:spcBef>
                  <a:spcPts val="0"/>
                </a:spcBef>
                <a:spcAft>
                  <a:spcPts val="0"/>
                </a:spcAft>
                <a:buClrTx/>
                <a:buSzTx/>
                <a:buFontTx/>
                <a:buNone/>
                <a:tabLst/>
                <a:defRPr/>
              </a:pPr>
              <a:t>‹#›</a:t>
            </a:fld>
            <a:endParaRPr lang="en-US" sz="923" kern="1200" baseline="0" noProof="0" dirty="0">
              <a:solidFill>
                <a:schemeClr val="bg1"/>
              </a:solidFill>
              <a:latin typeface="Arial"/>
              <a:ea typeface="+mn-ea"/>
              <a:cs typeface="+mn-cs"/>
            </a:endParaRPr>
          </a:p>
          <a:p>
            <a:endParaRPr lang="en-US" sz="831" dirty="0">
              <a:solidFill>
                <a:schemeClr val="bg1"/>
              </a:solidFill>
              <a:latin typeface="Arial"/>
            </a:endParaRPr>
          </a:p>
        </p:txBody>
      </p:sp>
      <p:sp>
        <p:nvSpPr>
          <p:cNvPr id="12" name="Slide Number Placeholder 5"/>
          <p:cNvSpPr txBox="1">
            <a:spLocks/>
          </p:cNvSpPr>
          <p:nvPr userDrawn="1"/>
        </p:nvSpPr>
        <p:spPr>
          <a:xfrm>
            <a:off x="11288131" y="6448892"/>
            <a:ext cx="793995" cy="365125"/>
          </a:xfrm>
          <a:prstGeom prst="rect">
            <a:avLst/>
          </a:prstGeom>
        </p:spPr>
        <p:txBody>
          <a:bodyPr vert="horz" lIns="84406" tIns="42203" rIns="84406" bIns="42203"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FC7F43E-2420-6848-A2B2-B5C9DEF3CEAA}" type="slidenum">
              <a:rPr lang="en-US" sz="923" smtClean="0">
                <a:solidFill>
                  <a:prstClr val="black">
                    <a:tint val="75000"/>
                  </a:prstClr>
                </a:solidFill>
                <a:latin typeface="Arial" panose="020B0604020202020204" pitchFamily="34" charset="0"/>
                <a:cs typeface="Arial" panose="020B0604020202020204" pitchFamily="34" charset="0"/>
              </a:rPr>
              <a:pPr/>
              <a:t>‹#›</a:t>
            </a:fld>
            <a:endParaRPr lang="en-US" sz="923" dirty="0">
              <a:solidFill>
                <a:prstClr val="black">
                  <a:tint val="75000"/>
                </a:prstClr>
              </a:solidFill>
              <a:latin typeface="Arial" panose="020B0604020202020204" pitchFamily="34" charset="0"/>
              <a:cs typeface="Arial" panose="020B0604020202020204" pitchFamily="34" charset="0"/>
            </a:endParaRPr>
          </a:p>
        </p:txBody>
      </p:sp>
      <p:pic>
        <p:nvPicPr>
          <p:cNvPr id="14" name="Picture 13"/>
          <p:cNvPicPr>
            <a:picLocks noChangeAspect="1"/>
          </p:cNvPicPr>
          <p:nvPr userDrawn="1"/>
        </p:nvPicPr>
        <p:blipFill>
          <a:blip r:embed="rId20" cstate="print">
            <a:extLst>
              <a:ext uri="{28A0092B-C50C-407E-A947-70E740481C1C}">
                <a14:useLocalDpi xmlns:a14="http://schemas.microsoft.com/office/drawing/2010/main" val="0"/>
              </a:ext>
            </a:extLst>
          </a:blip>
          <a:stretch>
            <a:fillRect/>
          </a:stretch>
        </p:blipFill>
        <p:spPr>
          <a:xfrm>
            <a:off x="10505029" y="6552810"/>
            <a:ext cx="1076129" cy="141242"/>
          </a:xfrm>
          <a:prstGeom prst="rect">
            <a:avLst/>
          </a:prstGeom>
        </p:spPr>
      </p:pic>
      <p:pic>
        <p:nvPicPr>
          <p:cNvPr id="16" name="pasted-image.pdf" descr="pasted-image.pdf"/>
          <p:cNvPicPr>
            <a:picLocks noChangeAspect="1"/>
          </p:cNvPicPr>
          <p:nvPr userDrawn="1"/>
        </p:nvPicPr>
        <p:blipFill>
          <a:blip r:embed="rId21" cstate="print"/>
          <a:stretch>
            <a:fillRect/>
          </a:stretch>
        </p:blipFill>
        <p:spPr>
          <a:xfrm>
            <a:off x="393794" y="6416675"/>
            <a:ext cx="518061" cy="256674"/>
          </a:xfrm>
          <a:prstGeom prst="rect">
            <a:avLst/>
          </a:prstGeom>
          <a:ln w="12700">
            <a:miter lim="400000"/>
          </a:ln>
        </p:spPr>
      </p:pic>
    </p:spTree>
    <p:extLst>
      <p:ext uri="{BB962C8B-B14F-4D97-AF65-F5344CB8AC3E}">
        <p14:creationId xmlns:p14="http://schemas.microsoft.com/office/powerpoint/2010/main" val="1836369753"/>
      </p:ext>
    </p:extLst>
  </p:cSld>
  <p:clrMap bg1="lt1" tx1="dk1" bg2="lt2" tx2="dk2" accent1="accent1" accent2="accent2" accent3="accent3" accent4="accent4" accent5="accent5" accent6="accent6" hlink="hlink" folHlink="folHlink"/>
  <p:sldLayoutIdLst>
    <p:sldLayoutId id="2147484274" r:id="rId1"/>
    <p:sldLayoutId id="2147484275" r:id="rId2"/>
    <p:sldLayoutId id="2147484276" r:id="rId3"/>
    <p:sldLayoutId id="2147484277" r:id="rId4"/>
    <p:sldLayoutId id="2147484278" r:id="rId5"/>
    <p:sldLayoutId id="2147484279" r:id="rId6"/>
    <p:sldLayoutId id="2147484280" r:id="rId7"/>
    <p:sldLayoutId id="2147484281" r:id="rId8"/>
    <p:sldLayoutId id="2147484282" r:id="rId9"/>
    <p:sldLayoutId id="2147484283" r:id="rId10"/>
    <p:sldLayoutId id="2147484284" r:id="rId11"/>
    <p:sldLayoutId id="2147484285" r:id="rId12"/>
    <p:sldLayoutId id="2147484286" r:id="rId13"/>
    <p:sldLayoutId id="2147484287" r:id="rId14"/>
  </p:sldLayoutIdLst>
  <p:hf hdr="0" ftr="0" dt="0"/>
  <p:txStyles>
    <p:titleStyle>
      <a:lvl1pPr algn="l" defTabSz="844083" rtl="0" eaLnBrk="1" latinLnBrk="0" hangingPunct="1">
        <a:spcBef>
          <a:spcPct val="0"/>
        </a:spcBef>
        <a:buNone/>
        <a:defRPr sz="1846" b="1" kern="1200" baseline="0">
          <a:solidFill>
            <a:srgbClr val="4472C4"/>
          </a:solidFill>
          <a:latin typeface="Arial"/>
          <a:ea typeface="+mj-ea"/>
          <a:cs typeface="Arial"/>
          <a:sym typeface="Arial"/>
        </a:defRPr>
      </a:lvl1pPr>
    </p:titleStyle>
    <p:bodyStyle>
      <a:lvl1pPr marL="0" indent="0" algn="l" defTabSz="844083" rtl="0" eaLnBrk="1" latinLnBrk="0" hangingPunct="1">
        <a:spcBef>
          <a:spcPts val="354"/>
        </a:spcBef>
        <a:buFontTx/>
        <a:buNone/>
        <a:defRPr sz="1477" b="1" kern="1200" baseline="0">
          <a:solidFill>
            <a:srgbClr val="002D72"/>
          </a:solidFill>
          <a:latin typeface="Arial"/>
          <a:ea typeface="+mn-ea"/>
          <a:cs typeface="Arial"/>
          <a:sym typeface="Arial"/>
        </a:defRPr>
      </a:lvl1pPr>
      <a:lvl2pPr marL="422041" indent="-211021" algn="l" defTabSz="844083" rtl="0" eaLnBrk="1" latinLnBrk="0" hangingPunct="1">
        <a:spcBef>
          <a:spcPts val="354"/>
        </a:spcBef>
        <a:buClr>
          <a:srgbClr val="002D72"/>
        </a:buClr>
        <a:buFont typeface="Arial" pitchFamily="34" charset="0"/>
        <a:buChar char="•"/>
        <a:defRPr sz="1477" kern="1200" baseline="0">
          <a:solidFill>
            <a:srgbClr val="002D72"/>
          </a:solidFill>
          <a:latin typeface="Arial"/>
          <a:ea typeface="+mn-ea"/>
          <a:cs typeface="Arial"/>
          <a:sym typeface="Arial"/>
        </a:defRPr>
      </a:lvl2pPr>
      <a:lvl3pPr marL="844083" indent="-211021" algn="l" defTabSz="844083" rtl="0" eaLnBrk="1" latinLnBrk="0" hangingPunct="1">
        <a:spcBef>
          <a:spcPts val="354"/>
        </a:spcBef>
        <a:buClr>
          <a:srgbClr val="002D72"/>
        </a:buClr>
        <a:buFont typeface="Arial" pitchFamily="34" charset="0"/>
        <a:buChar char="–"/>
        <a:defRPr sz="1477" kern="1200" baseline="0">
          <a:solidFill>
            <a:srgbClr val="002D72"/>
          </a:solidFill>
          <a:latin typeface="Arial"/>
          <a:ea typeface="+mn-ea"/>
          <a:cs typeface="Arial"/>
          <a:sym typeface="Arial"/>
        </a:defRPr>
      </a:lvl3pPr>
      <a:lvl4pPr marL="1270521" indent="-215416" algn="l" defTabSz="844083" rtl="0" eaLnBrk="1" latinLnBrk="0" hangingPunct="1">
        <a:spcBef>
          <a:spcPts val="354"/>
        </a:spcBef>
        <a:buClr>
          <a:srgbClr val="002D72"/>
        </a:buClr>
        <a:buFont typeface="Arial" pitchFamily="34" charset="0"/>
        <a:buChar char="–"/>
        <a:defRPr sz="1477" kern="1200" baseline="0">
          <a:solidFill>
            <a:srgbClr val="002D72"/>
          </a:solidFill>
          <a:latin typeface="Arial"/>
          <a:ea typeface="+mn-ea"/>
          <a:cs typeface="Arial"/>
          <a:sym typeface="Arial"/>
        </a:defRPr>
      </a:lvl4pPr>
      <a:lvl5pPr marL="1900652" indent="-212487" algn="l" defTabSz="844083" rtl="0" eaLnBrk="1" latinLnBrk="0" hangingPunct="1">
        <a:spcBef>
          <a:spcPts val="354"/>
        </a:spcBef>
        <a:buClr>
          <a:srgbClr val="002D72"/>
        </a:buClr>
        <a:buFont typeface="Arial" pitchFamily="34" charset="0"/>
        <a:buChar char="–"/>
        <a:defRPr sz="1477" kern="1200" baseline="0">
          <a:solidFill>
            <a:srgbClr val="002D72"/>
          </a:solidFill>
          <a:latin typeface="Arial"/>
          <a:ea typeface="+mn-ea"/>
          <a:cs typeface="Arial"/>
          <a:sym typeface="Arial"/>
        </a:defRPr>
      </a:lvl5pPr>
      <a:lvl6pPr marL="2321227"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6pPr>
      <a:lvl7pPr marL="2743269"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7pPr>
      <a:lvl8pPr marL="3165310"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8pPr>
      <a:lvl9pPr marL="3587351"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9pPr>
    </p:bodyStyle>
    <p:otherStyle>
      <a:defPPr>
        <a:defRPr lang="en-US"/>
      </a:defPPr>
      <a:lvl1pPr marL="0" algn="l" defTabSz="844083" rtl="0" eaLnBrk="1" latinLnBrk="0" hangingPunct="1">
        <a:defRPr sz="1662" kern="1200">
          <a:solidFill>
            <a:schemeClr val="tx1"/>
          </a:solidFill>
          <a:latin typeface="+mn-lt"/>
          <a:ea typeface="+mn-ea"/>
          <a:cs typeface="+mn-cs"/>
        </a:defRPr>
      </a:lvl1pPr>
      <a:lvl2pPr marL="422041" algn="l" defTabSz="844083" rtl="0" eaLnBrk="1" latinLnBrk="0" hangingPunct="1">
        <a:defRPr sz="1662" kern="1200">
          <a:solidFill>
            <a:schemeClr val="tx1"/>
          </a:solidFill>
          <a:latin typeface="+mn-lt"/>
          <a:ea typeface="+mn-ea"/>
          <a:cs typeface="+mn-cs"/>
        </a:defRPr>
      </a:lvl2pPr>
      <a:lvl3pPr marL="844083" algn="l" defTabSz="844083" rtl="0" eaLnBrk="1" latinLnBrk="0" hangingPunct="1">
        <a:defRPr sz="1662" kern="1200">
          <a:solidFill>
            <a:schemeClr val="tx1"/>
          </a:solidFill>
          <a:latin typeface="+mn-lt"/>
          <a:ea typeface="+mn-ea"/>
          <a:cs typeface="+mn-cs"/>
        </a:defRPr>
      </a:lvl3pPr>
      <a:lvl4pPr marL="1266124" algn="l" defTabSz="844083" rtl="0" eaLnBrk="1" latinLnBrk="0" hangingPunct="1">
        <a:defRPr sz="1662" kern="1200">
          <a:solidFill>
            <a:schemeClr val="tx1"/>
          </a:solidFill>
          <a:latin typeface="+mn-lt"/>
          <a:ea typeface="+mn-ea"/>
          <a:cs typeface="+mn-cs"/>
        </a:defRPr>
      </a:lvl4pPr>
      <a:lvl5pPr marL="1688165" algn="l" defTabSz="844083" rtl="0" eaLnBrk="1" latinLnBrk="0" hangingPunct="1">
        <a:defRPr sz="1662" kern="1200">
          <a:solidFill>
            <a:schemeClr val="tx1"/>
          </a:solidFill>
          <a:latin typeface="+mn-lt"/>
          <a:ea typeface="+mn-ea"/>
          <a:cs typeface="+mn-cs"/>
        </a:defRPr>
      </a:lvl5pPr>
      <a:lvl6pPr marL="2110207" algn="l" defTabSz="844083" rtl="0" eaLnBrk="1" latinLnBrk="0" hangingPunct="1">
        <a:defRPr sz="1662" kern="1200">
          <a:solidFill>
            <a:schemeClr val="tx1"/>
          </a:solidFill>
          <a:latin typeface="+mn-lt"/>
          <a:ea typeface="+mn-ea"/>
          <a:cs typeface="+mn-cs"/>
        </a:defRPr>
      </a:lvl6pPr>
      <a:lvl7pPr marL="2532248" algn="l" defTabSz="844083" rtl="0" eaLnBrk="1" latinLnBrk="0" hangingPunct="1">
        <a:defRPr sz="1662" kern="1200">
          <a:solidFill>
            <a:schemeClr val="tx1"/>
          </a:solidFill>
          <a:latin typeface="+mn-lt"/>
          <a:ea typeface="+mn-ea"/>
          <a:cs typeface="+mn-cs"/>
        </a:defRPr>
      </a:lvl7pPr>
      <a:lvl8pPr marL="2954289" algn="l" defTabSz="844083" rtl="0" eaLnBrk="1" latinLnBrk="0" hangingPunct="1">
        <a:defRPr sz="1662" kern="1200">
          <a:solidFill>
            <a:schemeClr val="tx1"/>
          </a:solidFill>
          <a:latin typeface="+mn-lt"/>
          <a:ea typeface="+mn-ea"/>
          <a:cs typeface="+mn-cs"/>
        </a:defRPr>
      </a:lvl8pPr>
      <a:lvl9pPr marL="3376331" algn="l" defTabSz="844083" rtl="0" eaLnBrk="1" latinLnBrk="0" hangingPunct="1">
        <a:defRPr sz="1662"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544482" y="350115"/>
            <a:ext cx="11230029" cy="6302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es-MX"/>
              <a:t>Click to edit Master title style</a:t>
            </a:r>
          </a:p>
        </p:txBody>
      </p:sp>
      <p:sp>
        <p:nvSpPr>
          <p:cNvPr id="1027" name="Text Placeholder 2"/>
          <p:cNvSpPr>
            <a:spLocks noGrp="1"/>
          </p:cNvSpPr>
          <p:nvPr>
            <p:ph type="body" idx="1"/>
          </p:nvPr>
        </p:nvSpPr>
        <p:spPr bwMode="auto">
          <a:xfrm>
            <a:off x="540628" y="1190382"/>
            <a:ext cx="11230029" cy="52194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es-MX"/>
              <a:t>Click to edit Master text styles</a:t>
            </a:r>
          </a:p>
          <a:p>
            <a:pPr lvl="1"/>
            <a:r>
              <a:rPr lang="en-US" altLang="es-MX"/>
              <a:t>Second level</a:t>
            </a:r>
          </a:p>
          <a:p>
            <a:pPr lvl="2"/>
            <a:r>
              <a:rPr lang="en-US" altLang="es-MX"/>
              <a:t>Third level</a:t>
            </a:r>
          </a:p>
          <a:p>
            <a:pPr lvl="3"/>
            <a:r>
              <a:rPr lang="en-US" altLang="es-MX"/>
              <a:t>Fourth level</a:t>
            </a:r>
          </a:p>
          <a:p>
            <a:pPr lvl="4"/>
            <a:r>
              <a:rPr lang="en-US" altLang="es-MX"/>
              <a:t>Fifth level</a:t>
            </a:r>
          </a:p>
        </p:txBody>
      </p:sp>
      <p:sp>
        <p:nvSpPr>
          <p:cNvPr id="7" name="Slide Number Placeholder 9"/>
          <p:cNvSpPr>
            <a:spLocks noGrp="1"/>
          </p:cNvSpPr>
          <p:nvPr>
            <p:ph type="sldNum" sz="quarter" idx="4"/>
          </p:nvPr>
        </p:nvSpPr>
        <p:spPr>
          <a:xfrm>
            <a:off x="554099" y="6554108"/>
            <a:ext cx="377092" cy="144247"/>
          </a:xfrm>
          <a:prstGeom prst="rect">
            <a:avLst/>
          </a:prstGeom>
        </p:spPr>
        <p:txBody>
          <a:bodyPr vert="horz" wrap="square" lIns="0" tIns="0" rIns="0" bIns="0" numCol="1" anchor="t" anchorCtr="0" compatLnSpc="1">
            <a:prstTxWarp prst="textNoShape">
              <a:avLst/>
            </a:prstTxWarp>
            <a:noAutofit/>
          </a:bodyPr>
          <a:lstStyle>
            <a:lvl1pPr eaLnBrk="1" hangingPunct="1">
              <a:lnSpc>
                <a:spcPts val="1077"/>
              </a:lnSpc>
              <a:defRPr sz="900" b="1">
                <a:solidFill>
                  <a:schemeClr val="tx2"/>
                </a:solidFill>
              </a:defRPr>
            </a:lvl1pPr>
          </a:lstStyle>
          <a:p>
            <a:pPr fontAlgn="base">
              <a:spcBef>
                <a:spcPct val="0"/>
              </a:spcBef>
              <a:spcAft>
                <a:spcPct val="0"/>
              </a:spcAft>
              <a:defRPr/>
            </a:pPr>
            <a:fld id="{69B70FD9-93A3-4F7E-AEAC-A89C9DCACB4E}" type="slidenum">
              <a:rPr lang="en-US" altLang="es-MX">
                <a:solidFill>
                  <a:srgbClr val="002776"/>
                </a:solidFill>
                <a:cs typeface="Arial" panose="020B0604020202020204" pitchFamily="34" charset="0"/>
              </a:rPr>
              <a:pPr fontAlgn="base">
                <a:spcBef>
                  <a:spcPct val="0"/>
                </a:spcBef>
                <a:spcAft>
                  <a:spcPct val="0"/>
                </a:spcAft>
                <a:defRPr/>
              </a:pPr>
              <a:t>‹#›</a:t>
            </a:fld>
            <a:endParaRPr lang="en-US" altLang="es-MX" dirty="0">
              <a:solidFill>
                <a:srgbClr val="002776"/>
              </a:solidFill>
              <a:cs typeface="Arial" panose="020B0604020202020204" pitchFamily="34" charset="0"/>
            </a:endParaRPr>
          </a:p>
        </p:txBody>
      </p:sp>
      <p:sp>
        <p:nvSpPr>
          <p:cNvPr id="10" name="Footer Placeholder 10"/>
          <p:cNvSpPr>
            <a:spLocks noGrp="1"/>
          </p:cNvSpPr>
          <p:nvPr>
            <p:ph type="ftr" sz="quarter" idx="3"/>
          </p:nvPr>
        </p:nvSpPr>
        <p:spPr>
          <a:xfrm>
            <a:off x="1029309" y="6554108"/>
            <a:ext cx="5756424" cy="144247"/>
          </a:xfrm>
          <a:prstGeom prst="rect">
            <a:avLst/>
          </a:prstGeom>
        </p:spPr>
        <p:txBody>
          <a:bodyPr vert="horz" wrap="square" lIns="0" tIns="0" rIns="0" bIns="0" numCol="1" anchor="t" anchorCtr="0" compatLnSpc="1">
            <a:prstTxWarp prst="textNoShape">
              <a:avLst/>
            </a:prstTxWarp>
            <a:noAutofit/>
          </a:bodyPr>
          <a:lstStyle>
            <a:lvl1pPr eaLnBrk="1" hangingPunct="1">
              <a:lnSpc>
                <a:spcPts val="1077"/>
              </a:lnSpc>
              <a:defRPr sz="900">
                <a:solidFill>
                  <a:schemeClr val="tx2"/>
                </a:solidFill>
                <a:latin typeface="Arial" pitchFamily="34" charset="0"/>
                <a:cs typeface="Arial" pitchFamily="34" charset="0"/>
              </a:defRPr>
            </a:lvl1pPr>
          </a:lstStyle>
          <a:p>
            <a:pPr fontAlgn="base">
              <a:spcBef>
                <a:spcPct val="0"/>
              </a:spcBef>
              <a:spcAft>
                <a:spcPct val="0"/>
              </a:spcAft>
              <a:defRPr/>
            </a:pPr>
            <a:r>
              <a:rPr lang="en-US" dirty="0">
                <a:solidFill>
                  <a:srgbClr val="002776"/>
                </a:solidFill>
              </a:rPr>
              <a:t>Footer</a:t>
            </a:r>
          </a:p>
        </p:txBody>
      </p:sp>
    </p:spTree>
    <p:extLst>
      <p:ext uri="{BB962C8B-B14F-4D97-AF65-F5344CB8AC3E}">
        <p14:creationId xmlns:p14="http://schemas.microsoft.com/office/powerpoint/2010/main" val="1664491822"/>
      </p:ext>
    </p:extLst>
  </p:cSld>
  <p:clrMap bg1="lt1" tx1="dk1" bg2="lt2" tx2="dk2" accent1="accent1" accent2="accent2" accent3="accent3" accent4="accent4" accent5="accent5" accent6="accent6" hlink="hlink" folHlink="folHlink"/>
  <p:sldLayoutIdLst>
    <p:sldLayoutId id="2147483707" r:id="rId1"/>
    <p:sldLayoutId id="2147483708" r:id="rId2"/>
    <p:sldLayoutId id="2147483709" r:id="rId3"/>
  </p:sldLayoutIdLst>
  <p:hf hdr="0" ftr="0" dt="0"/>
  <p:txStyles>
    <p:titleStyle>
      <a:lvl1pPr algn="l" defTabSz="913964" rtl="0" eaLnBrk="0" fontAlgn="base" hangingPunct="0">
        <a:lnSpc>
          <a:spcPts val="3050"/>
        </a:lnSpc>
        <a:spcBef>
          <a:spcPct val="0"/>
        </a:spcBef>
        <a:spcAft>
          <a:spcPct val="0"/>
        </a:spcAft>
        <a:defRPr sz="2200" b="1">
          <a:solidFill>
            <a:schemeClr val="tx2"/>
          </a:solidFill>
          <a:latin typeface="+mj-lt"/>
          <a:ea typeface="+mj-ea"/>
          <a:cs typeface="+mj-cs"/>
        </a:defRPr>
      </a:lvl1pPr>
      <a:lvl2pPr algn="l" defTabSz="913964" rtl="0" eaLnBrk="0" fontAlgn="base" hangingPunct="0">
        <a:lnSpc>
          <a:spcPts val="3050"/>
        </a:lnSpc>
        <a:spcBef>
          <a:spcPct val="0"/>
        </a:spcBef>
        <a:spcAft>
          <a:spcPct val="0"/>
        </a:spcAft>
        <a:defRPr sz="2200" b="1">
          <a:solidFill>
            <a:schemeClr val="tx2"/>
          </a:solidFill>
          <a:latin typeface="Arial" pitchFamily="34" charset="0"/>
        </a:defRPr>
      </a:lvl2pPr>
      <a:lvl3pPr algn="l" defTabSz="913964" rtl="0" eaLnBrk="0" fontAlgn="base" hangingPunct="0">
        <a:lnSpc>
          <a:spcPts val="3050"/>
        </a:lnSpc>
        <a:spcBef>
          <a:spcPct val="0"/>
        </a:spcBef>
        <a:spcAft>
          <a:spcPct val="0"/>
        </a:spcAft>
        <a:defRPr sz="2200" b="1">
          <a:solidFill>
            <a:schemeClr val="tx2"/>
          </a:solidFill>
          <a:latin typeface="Arial" pitchFamily="34" charset="0"/>
        </a:defRPr>
      </a:lvl3pPr>
      <a:lvl4pPr algn="l" defTabSz="913964" rtl="0" eaLnBrk="0" fontAlgn="base" hangingPunct="0">
        <a:lnSpc>
          <a:spcPts val="3050"/>
        </a:lnSpc>
        <a:spcBef>
          <a:spcPct val="0"/>
        </a:spcBef>
        <a:spcAft>
          <a:spcPct val="0"/>
        </a:spcAft>
        <a:defRPr sz="2200" b="1">
          <a:solidFill>
            <a:schemeClr val="tx2"/>
          </a:solidFill>
          <a:latin typeface="Arial" pitchFamily="34" charset="0"/>
        </a:defRPr>
      </a:lvl4pPr>
      <a:lvl5pPr algn="l" defTabSz="913964" rtl="0" eaLnBrk="0" fontAlgn="base" hangingPunct="0">
        <a:lnSpc>
          <a:spcPts val="3050"/>
        </a:lnSpc>
        <a:spcBef>
          <a:spcPct val="0"/>
        </a:spcBef>
        <a:spcAft>
          <a:spcPct val="0"/>
        </a:spcAft>
        <a:defRPr sz="2200" b="1">
          <a:solidFill>
            <a:schemeClr val="tx2"/>
          </a:solidFill>
          <a:latin typeface="Arial" pitchFamily="34" charset="0"/>
        </a:defRPr>
      </a:lvl5pPr>
      <a:lvl6pPr marL="410002" algn="l" defTabSz="913964" rtl="0" eaLnBrk="1" fontAlgn="base" hangingPunct="1">
        <a:lnSpc>
          <a:spcPts val="3050"/>
        </a:lnSpc>
        <a:spcBef>
          <a:spcPct val="0"/>
        </a:spcBef>
        <a:spcAft>
          <a:spcPct val="0"/>
        </a:spcAft>
        <a:defRPr sz="2200" b="1">
          <a:solidFill>
            <a:schemeClr val="tx2"/>
          </a:solidFill>
          <a:latin typeface="Arial" pitchFamily="34" charset="0"/>
        </a:defRPr>
      </a:lvl6pPr>
      <a:lvl7pPr marL="820007" algn="l" defTabSz="913964" rtl="0" eaLnBrk="1" fontAlgn="base" hangingPunct="1">
        <a:lnSpc>
          <a:spcPts val="3050"/>
        </a:lnSpc>
        <a:spcBef>
          <a:spcPct val="0"/>
        </a:spcBef>
        <a:spcAft>
          <a:spcPct val="0"/>
        </a:spcAft>
        <a:defRPr sz="2200" b="1">
          <a:solidFill>
            <a:schemeClr val="tx2"/>
          </a:solidFill>
          <a:latin typeface="Arial" pitchFamily="34" charset="0"/>
        </a:defRPr>
      </a:lvl7pPr>
      <a:lvl8pPr marL="1230009" algn="l" defTabSz="913964" rtl="0" eaLnBrk="1" fontAlgn="base" hangingPunct="1">
        <a:lnSpc>
          <a:spcPts val="3050"/>
        </a:lnSpc>
        <a:spcBef>
          <a:spcPct val="0"/>
        </a:spcBef>
        <a:spcAft>
          <a:spcPct val="0"/>
        </a:spcAft>
        <a:defRPr sz="2200" b="1">
          <a:solidFill>
            <a:schemeClr val="tx2"/>
          </a:solidFill>
          <a:latin typeface="Arial" pitchFamily="34" charset="0"/>
        </a:defRPr>
      </a:lvl8pPr>
      <a:lvl9pPr marL="1640010" algn="l" defTabSz="913964" rtl="0" eaLnBrk="1" fontAlgn="base" hangingPunct="1">
        <a:lnSpc>
          <a:spcPts val="3050"/>
        </a:lnSpc>
        <a:spcBef>
          <a:spcPct val="0"/>
        </a:spcBef>
        <a:spcAft>
          <a:spcPct val="0"/>
        </a:spcAft>
        <a:defRPr sz="2200" b="1">
          <a:solidFill>
            <a:schemeClr val="tx2"/>
          </a:solidFill>
          <a:latin typeface="Arial" pitchFamily="34" charset="0"/>
        </a:defRPr>
      </a:lvl9pPr>
    </p:titleStyle>
    <p:bodyStyle>
      <a:lvl1pPr marL="307503" indent="-307503" algn="l" defTabSz="913964" rtl="0" eaLnBrk="0" fontAlgn="base" hangingPunct="0">
        <a:spcBef>
          <a:spcPct val="0"/>
        </a:spcBef>
        <a:spcAft>
          <a:spcPts val="269"/>
        </a:spcAft>
        <a:buFont typeface="Arial" panose="020B0604020202020204" pitchFamily="34" charset="0"/>
        <a:defRPr>
          <a:solidFill>
            <a:schemeClr val="tx2"/>
          </a:solidFill>
          <a:latin typeface="+mn-lt"/>
          <a:ea typeface="+mn-ea"/>
          <a:cs typeface="+mn-cs"/>
        </a:defRPr>
      </a:lvl1pPr>
      <a:lvl2pPr marL="182223" indent="-182223" algn="l" defTabSz="913964" rtl="0" eaLnBrk="0" fontAlgn="base" hangingPunct="0">
        <a:spcBef>
          <a:spcPct val="0"/>
        </a:spcBef>
        <a:spcAft>
          <a:spcPts val="269"/>
        </a:spcAft>
        <a:buFont typeface="Arial" panose="020B0604020202020204" pitchFamily="34" charset="0"/>
        <a:buChar char="•"/>
        <a:defRPr>
          <a:solidFill>
            <a:schemeClr val="tx2"/>
          </a:solidFill>
          <a:latin typeface="+mn-lt"/>
        </a:defRPr>
      </a:lvl2pPr>
      <a:lvl3pPr marL="357330" indent="-175106" algn="l" defTabSz="913964" rtl="0" eaLnBrk="0" fontAlgn="base" hangingPunct="0">
        <a:spcBef>
          <a:spcPct val="0"/>
        </a:spcBef>
        <a:spcAft>
          <a:spcPts val="269"/>
        </a:spcAft>
        <a:buFont typeface="Arial" panose="020B0604020202020204" pitchFamily="34" charset="0"/>
        <a:buChar char="‒"/>
        <a:defRPr>
          <a:solidFill>
            <a:schemeClr val="tx2"/>
          </a:solidFill>
          <a:latin typeface="+mn-lt"/>
        </a:defRPr>
      </a:lvl3pPr>
      <a:lvl4pPr marL="539553" indent="-182223" algn="l" defTabSz="913964" rtl="0" eaLnBrk="0" fontAlgn="base" hangingPunct="0">
        <a:spcBef>
          <a:spcPct val="0"/>
        </a:spcBef>
        <a:spcAft>
          <a:spcPts val="538"/>
        </a:spcAft>
        <a:buFont typeface="Arial" panose="020B0604020202020204" pitchFamily="34" charset="0"/>
        <a:buChar char="•"/>
        <a:defRPr sz="1400">
          <a:solidFill>
            <a:schemeClr val="tx2"/>
          </a:solidFill>
          <a:latin typeface="+mn-lt"/>
        </a:defRPr>
      </a:lvl4pPr>
      <a:lvl5pPr marL="711811" indent="-172260" algn="l" defTabSz="913964" rtl="0" eaLnBrk="0" fontAlgn="base" hangingPunct="0">
        <a:spcBef>
          <a:spcPct val="0"/>
        </a:spcBef>
        <a:spcAft>
          <a:spcPts val="538"/>
        </a:spcAft>
        <a:buFont typeface="Arial" panose="020B0604020202020204" pitchFamily="34" charset="0"/>
        <a:buChar char="‒"/>
        <a:defRPr sz="1400">
          <a:solidFill>
            <a:schemeClr val="tx2"/>
          </a:solidFill>
          <a:latin typeface="+mn-lt"/>
        </a:defRPr>
      </a:lvl5pPr>
      <a:lvl6pPr marL="1121812" indent="-172260" algn="l" defTabSz="913964" rtl="0" eaLnBrk="1" fontAlgn="base" hangingPunct="1">
        <a:spcBef>
          <a:spcPct val="0"/>
        </a:spcBef>
        <a:spcAft>
          <a:spcPts val="538"/>
        </a:spcAft>
        <a:buFont typeface="Arial" pitchFamily="34" charset="0"/>
        <a:buChar char="‒"/>
        <a:defRPr sz="1400">
          <a:solidFill>
            <a:schemeClr val="tx2"/>
          </a:solidFill>
          <a:latin typeface="+mn-lt"/>
        </a:defRPr>
      </a:lvl6pPr>
      <a:lvl7pPr marL="1531816" indent="-172260" algn="l" defTabSz="913964" rtl="0" eaLnBrk="1" fontAlgn="base" hangingPunct="1">
        <a:spcBef>
          <a:spcPct val="0"/>
        </a:spcBef>
        <a:spcAft>
          <a:spcPts val="538"/>
        </a:spcAft>
        <a:buFont typeface="Arial" pitchFamily="34" charset="0"/>
        <a:buChar char="‒"/>
        <a:defRPr sz="1400">
          <a:solidFill>
            <a:schemeClr val="tx2"/>
          </a:solidFill>
          <a:latin typeface="+mn-lt"/>
        </a:defRPr>
      </a:lvl7pPr>
      <a:lvl8pPr marL="1941818" indent="-172260" algn="l" defTabSz="913964" rtl="0" eaLnBrk="1" fontAlgn="base" hangingPunct="1">
        <a:spcBef>
          <a:spcPct val="0"/>
        </a:spcBef>
        <a:spcAft>
          <a:spcPts val="538"/>
        </a:spcAft>
        <a:buFont typeface="Arial" pitchFamily="34" charset="0"/>
        <a:buChar char="‒"/>
        <a:defRPr sz="1400">
          <a:solidFill>
            <a:schemeClr val="tx2"/>
          </a:solidFill>
          <a:latin typeface="+mn-lt"/>
        </a:defRPr>
      </a:lvl8pPr>
      <a:lvl9pPr marL="2351820" indent="-172260" algn="l" defTabSz="913964" rtl="0" eaLnBrk="1" fontAlgn="base" hangingPunct="1">
        <a:spcBef>
          <a:spcPct val="0"/>
        </a:spcBef>
        <a:spcAft>
          <a:spcPts val="538"/>
        </a:spcAft>
        <a:buFont typeface="Arial" pitchFamily="34" charset="0"/>
        <a:buChar char="‒"/>
        <a:defRPr sz="1400">
          <a:solidFill>
            <a:schemeClr val="tx2"/>
          </a:solidFill>
          <a:latin typeface="+mn-lt"/>
        </a:defRPr>
      </a:lvl9pPr>
    </p:bodyStyle>
    <p:otherStyle>
      <a:defPPr>
        <a:defRPr lang="es-MX"/>
      </a:defPPr>
      <a:lvl1pPr marL="0" algn="l" defTabSz="820007" rtl="0" eaLnBrk="1" latinLnBrk="0" hangingPunct="1">
        <a:defRPr sz="1600" kern="1200">
          <a:solidFill>
            <a:schemeClr val="tx1"/>
          </a:solidFill>
          <a:latin typeface="+mn-lt"/>
          <a:ea typeface="+mn-ea"/>
          <a:cs typeface="+mn-cs"/>
        </a:defRPr>
      </a:lvl1pPr>
      <a:lvl2pPr marL="410002" algn="l" defTabSz="820007" rtl="0" eaLnBrk="1" latinLnBrk="0" hangingPunct="1">
        <a:defRPr sz="1600" kern="1200">
          <a:solidFill>
            <a:schemeClr val="tx1"/>
          </a:solidFill>
          <a:latin typeface="+mn-lt"/>
          <a:ea typeface="+mn-ea"/>
          <a:cs typeface="+mn-cs"/>
        </a:defRPr>
      </a:lvl2pPr>
      <a:lvl3pPr marL="820007" algn="l" defTabSz="820007" rtl="0" eaLnBrk="1" latinLnBrk="0" hangingPunct="1">
        <a:defRPr sz="1600" kern="1200">
          <a:solidFill>
            <a:schemeClr val="tx1"/>
          </a:solidFill>
          <a:latin typeface="+mn-lt"/>
          <a:ea typeface="+mn-ea"/>
          <a:cs typeface="+mn-cs"/>
        </a:defRPr>
      </a:lvl3pPr>
      <a:lvl4pPr marL="1230009" algn="l" defTabSz="820007" rtl="0" eaLnBrk="1" latinLnBrk="0" hangingPunct="1">
        <a:defRPr sz="1600" kern="1200">
          <a:solidFill>
            <a:schemeClr val="tx1"/>
          </a:solidFill>
          <a:latin typeface="+mn-lt"/>
          <a:ea typeface="+mn-ea"/>
          <a:cs typeface="+mn-cs"/>
        </a:defRPr>
      </a:lvl4pPr>
      <a:lvl5pPr marL="1640010" algn="l" defTabSz="820007" rtl="0" eaLnBrk="1" latinLnBrk="0" hangingPunct="1">
        <a:defRPr sz="1600" kern="1200">
          <a:solidFill>
            <a:schemeClr val="tx1"/>
          </a:solidFill>
          <a:latin typeface="+mn-lt"/>
          <a:ea typeface="+mn-ea"/>
          <a:cs typeface="+mn-cs"/>
        </a:defRPr>
      </a:lvl5pPr>
      <a:lvl6pPr marL="2050013" algn="l" defTabSz="820007" rtl="0" eaLnBrk="1" latinLnBrk="0" hangingPunct="1">
        <a:defRPr sz="1600" kern="1200">
          <a:solidFill>
            <a:schemeClr val="tx1"/>
          </a:solidFill>
          <a:latin typeface="+mn-lt"/>
          <a:ea typeface="+mn-ea"/>
          <a:cs typeface="+mn-cs"/>
        </a:defRPr>
      </a:lvl6pPr>
      <a:lvl7pPr marL="2460016" algn="l" defTabSz="820007" rtl="0" eaLnBrk="1" latinLnBrk="0" hangingPunct="1">
        <a:defRPr sz="1600" kern="1200">
          <a:solidFill>
            <a:schemeClr val="tx1"/>
          </a:solidFill>
          <a:latin typeface="+mn-lt"/>
          <a:ea typeface="+mn-ea"/>
          <a:cs typeface="+mn-cs"/>
        </a:defRPr>
      </a:lvl7pPr>
      <a:lvl8pPr marL="2870018" algn="l" defTabSz="820007" rtl="0" eaLnBrk="1" latinLnBrk="0" hangingPunct="1">
        <a:defRPr sz="1600" kern="1200">
          <a:solidFill>
            <a:schemeClr val="tx1"/>
          </a:solidFill>
          <a:latin typeface="+mn-lt"/>
          <a:ea typeface="+mn-ea"/>
          <a:cs typeface="+mn-cs"/>
        </a:defRPr>
      </a:lvl8pPr>
      <a:lvl9pPr marL="3280021" algn="l" defTabSz="820007" rtl="0" eaLnBrk="1" latinLnBrk="0" hangingPunct="1">
        <a:defRPr sz="1600" kern="1200">
          <a:solidFill>
            <a:schemeClr val="tx1"/>
          </a:solidFill>
          <a:latin typeface="+mn-lt"/>
          <a:ea typeface="+mn-ea"/>
          <a:cs typeface="+mn-cs"/>
        </a:defRPr>
      </a:lvl9pPr>
    </p:otherStyle>
  </p:txStyles>
</p:sldMaster>
</file>

<file path=ppt/slideMasters/slideMaster2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2" name="Object 31" hidden="1"/>
          <p:cNvGraphicFramePr>
            <a:graphicFrameLocks noChangeAspect="1"/>
          </p:cNvGraphicFramePr>
          <p:nvPr>
            <p:custDataLst>
              <p:tags r:id="rId18"/>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735628" name="think-cell Slide" r:id="rId19" imgW="270" imgH="270" progId="TCLayout.ActiveDocument.1">
                  <p:embed/>
                </p:oleObj>
              </mc:Choice>
              <mc:Fallback>
                <p:oleObj name="think-cell Slide" r:id="rId19" imgW="270" imgH="270" progId="TCLayout.ActiveDocument.1">
                  <p:embed/>
                  <p:pic>
                    <p:nvPicPr>
                      <p:cNvPr id="32" name="Object 31" hidden="1"/>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a:xfrm>
            <a:off x="562708" y="162000"/>
            <a:ext cx="11068061" cy="832104"/>
          </a:xfrm>
          <a:prstGeom prst="rect">
            <a:avLst/>
          </a:prstGeom>
        </p:spPr>
        <p:txBody>
          <a:bodyPr vert="horz" lIns="0" tIns="45720" rIns="0" bIns="45720" rtlCol="0" anchor="t" anchorCtr="0">
            <a:noAutofit/>
          </a:bodyPr>
          <a:lstStyle/>
          <a:p>
            <a:r>
              <a:rPr lang="en-US" noProof="0" dirty="0"/>
              <a:t>Click to edit Master title style</a:t>
            </a:r>
          </a:p>
        </p:txBody>
      </p:sp>
      <p:sp>
        <p:nvSpPr>
          <p:cNvPr id="7" name="FooterSimple"/>
          <p:cNvSpPr/>
          <p:nvPr userDrawn="1"/>
        </p:nvSpPr>
        <p:spPr>
          <a:xfrm>
            <a:off x="393793" y="6719264"/>
            <a:ext cx="793108" cy="10772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oAutofit/>
          </a:bodyPr>
          <a:lstStyle/>
          <a:p>
            <a:pPr algn="l"/>
            <a:r>
              <a:rPr lang="en-US" sz="646" noProof="0">
                <a:solidFill>
                  <a:srgbClr val="808080"/>
                </a:solidFill>
                <a:latin typeface="Arial"/>
                <a:cs typeface="Arial"/>
                <a:sym typeface="Arial"/>
              </a:rPr>
              <a:t>Blank.potx</a:t>
            </a:r>
            <a:endParaRPr lang="en-US" sz="646" noProof="0" dirty="0">
              <a:solidFill>
                <a:srgbClr val="808080"/>
              </a:solidFill>
              <a:latin typeface="Arial"/>
              <a:cs typeface="Arial"/>
              <a:sym typeface="Arial"/>
            </a:endParaRPr>
          </a:p>
        </p:txBody>
      </p:sp>
      <p:sp>
        <p:nvSpPr>
          <p:cNvPr id="13" name="Text Placeholder 12"/>
          <p:cNvSpPr>
            <a:spLocks noGrp="1"/>
          </p:cNvSpPr>
          <p:nvPr>
            <p:ph type="body" idx="1"/>
          </p:nvPr>
        </p:nvSpPr>
        <p:spPr>
          <a:xfrm>
            <a:off x="562708" y="1508760"/>
            <a:ext cx="11074088" cy="3997304"/>
          </a:xfrm>
          <a:prstGeom prst="rect">
            <a:avLst/>
          </a:prstGeom>
        </p:spPr>
        <p:txBody>
          <a:bodyPr vert="horz" lIns="0" tIns="0" rIns="0" bIns="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Box 7"/>
          <p:cNvSpPr txBox="1"/>
          <p:nvPr userDrawn="1"/>
        </p:nvSpPr>
        <p:spPr>
          <a:xfrm>
            <a:off x="5841383" y="6271545"/>
            <a:ext cx="458115" cy="276999"/>
          </a:xfrm>
          <a:prstGeom prst="rect">
            <a:avLst/>
          </a:prstGeom>
          <a:noFill/>
          <a:ln/>
          <a:effectLst/>
        </p:spPr>
        <p:txBody>
          <a:bodyPr wrap="none" lIns="84406" tIns="50644" rIns="84406" bIns="42203" rtlCol="0" anchor="t" anchorCtr="0">
            <a:noAutofit/>
          </a:bodyPr>
          <a:lstStyle/>
          <a:p>
            <a:pPr marL="0" marR="0" lvl="0" indent="0" algn="r" defTabSz="844083" rtl="0" eaLnBrk="1" fontAlgn="auto" latinLnBrk="0" hangingPunct="1">
              <a:lnSpc>
                <a:spcPct val="100000"/>
              </a:lnSpc>
              <a:spcBef>
                <a:spcPts val="0"/>
              </a:spcBef>
              <a:spcAft>
                <a:spcPts val="0"/>
              </a:spcAft>
              <a:buClrTx/>
              <a:buSzTx/>
              <a:buFontTx/>
              <a:buNone/>
              <a:tabLst/>
              <a:defRPr/>
            </a:pPr>
            <a:fld id="{8FDC6993-5875-43F1-AB5B-56FAFD3221C9}" type="slidenum">
              <a:rPr lang="en-US" sz="923" kern="1200" baseline="0" noProof="0" smtClean="0">
                <a:solidFill>
                  <a:schemeClr val="bg1"/>
                </a:solidFill>
                <a:latin typeface="Arial"/>
                <a:ea typeface="+mn-ea"/>
                <a:cs typeface="+mn-cs"/>
              </a:rPr>
              <a:pPr marL="0" marR="0" lvl="0" indent="0" algn="r" defTabSz="844083" rtl="0" eaLnBrk="1" fontAlgn="auto" latinLnBrk="0" hangingPunct="1">
                <a:lnSpc>
                  <a:spcPct val="100000"/>
                </a:lnSpc>
                <a:spcBef>
                  <a:spcPts val="0"/>
                </a:spcBef>
                <a:spcAft>
                  <a:spcPts val="0"/>
                </a:spcAft>
                <a:buClrTx/>
                <a:buSzTx/>
                <a:buFontTx/>
                <a:buNone/>
                <a:tabLst/>
                <a:defRPr/>
              </a:pPr>
              <a:t>‹#›</a:t>
            </a:fld>
            <a:endParaRPr lang="en-US" sz="923" kern="1200" baseline="0" noProof="0" dirty="0">
              <a:solidFill>
                <a:schemeClr val="bg1"/>
              </a:solidFill>
              <a:latin typeface="Arial"/>
              <a:ea typeface="+mn-ea"/>
              <a:cs typeface="+mn-cs"/>
            </a:endParaRPr>
          </a:p>
          <a:p>
            <a:endParaRPr lang="en-US" sz="831" dirty="0">
              <a:solidFill>
                <a:schemeClr val="bg1"/>
              </a:solidFill>
              <a:latin typeface="Arial"/>
            </a:endParaRPr>
          </a:p>
        </p:txBody>
      </p:sp>
      <p:sp>
        <p:nvSpPr>
          <p:cNvPr id="12" name="Slide Number Placeholder 5"/>
          <p:cNvSpPr txBox="1">
            <a:spLocks/>
          </p:cNvSpPr>
          <p:nvPr userDrawn="1"/>
        </p:nvSpPr>
        <p:spPr>
          <a:xfrm>
            <a:off x="11288131" y="6448892"/>
            <a:ext cx="793995" cy="365125"/>
          </a:xfrm>
          <a:prstGeom prst="rect">
            <a:avLst/>
          </a:prstGeom>
        </p:spPr>
        <p:txBody>
          <a:bodyPr vert="horz" lIns="84406" tIns="42203" rIns="84406" bIns="42203"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FC7F43E-2420-6848-A2B2-B5C9DEF3CEAA}" type="slidenum">
              <a:rPr lang="en-US" sz="923" smtClean="0">
                <a:solidFill>
                  <a:prstClr val="black">
                    <a:tint val="75000"/>
                  </a:prstClr>
                </a:solidFill>
                <a:latin typeface="Arial" panose="020B0604020202020204" pitchFamily="34" charset="0"/>
                <a:cs typeface="Arial" panose="020B0604020202020204" pitchFamily="34" charset="0"/>
              </a:rPr>
              <a:pPr/>
              <a:t>‹#›</a:t>
            </a:fld>
            <a:endParaRPr lang="en-US" sz="923" dirty="0">
              <a:solidFill>
                <a:prstClr val="black">
                  <a:tint val="75000"/>
                </a:prstClr>
              </a:solidFill>
              <a:latin typeface="Arial" panose="020B0604020202020204" pitchFamily="34" charset="0"/>
              <a:cs typeface="Arial" panose="020B0604020202020204" pitchFamily="34" charset="0"/>
            </a:endParaRPr>
          </a:p>
        </p:txBody>
      </p:sp>
      <p:pic>
        <p:nvPicPr>
          <p:cNvPr id="14" name="Picture 13"/>
          <p:cNvPicPr>
            <a:picLocks noChangeAspect="1"/>
          </p:cNvPicPr>
          <p:nvPr userDrawn="1"/>
        </p:nvPicPr>
        <p:blipFill>
          <a:blip r:embed="rId21" cstate="print">
            <a:extLst>
              <a:ext uri="{28A0092B-C50C-407E-A947-70E740481C1C}">
                <a14:useLocalDpi xmlns:a14="http://schemas.microsoft.com/office/drawing/2010/main" val="0"/>
              </a:ext>
            </a:extLst>
          </a:blip>
          <a:stretch>
            <a:fillRect/>
          </a:stretch>
        </p:blipFill>
        <p:spPr>
          <a:xfrm>
            <a:off x="10505029" y="6552810"/>
            <a:ext cx="1076129" cy="141242"/>
          </a:xfrm>
          <a:prstGeom prst="rect">
            <a:avLst/>
          </a:prstGeom>
        </p:spPr>
      </p:pic>
      <p:pic>
        <p:nvPicPr>
          <p:cNvPr id="16" name="pasted-image.pdf" descr="pasted-image.pdf"/>
          <p:cNvPicPr>
            <a:picLocks noChangeAspect="1"/>
          </p:cNvPicPr>
          <p:nvPr userDrawn="1"/>
        </p:nvPicPr>
        <p:blipFill>
          <a:blip r:embed="rId22" cstate="print"/>
          <a:stretch>
            <a:fillRect/>
          </a:stretch>
        </p:blipFill>
        <p:spPr>
          <a:xfrm>
            <a:off x="393794" y="6416675"/>
            <a:ext cx="518061" cy="256674"/>
          </a:xfrm>
          <a:prstGeom prst="rect">
            <a:avLst/>
          </a:prstGeom>
          <a:ln w="12700">
            <a:miter lim="400000"/>
          </a:ln>
        </p:spPr>
      </p:pic>
    </p:spTree>
    <p:extLst>
      <p:ext uri="{BB962C8B-B14F-4D97-AF65-F5344CB8AC3E}">
        <p14:creationId xmlns:p14="http://schemas.microsoft.com/office/powerpoint/2010/main" val="380119926"/>
      </p:ext>
    </p:extLst>
  </p:cSld>
  <p:clrMap bg1="lt1" tx1="dk1" bg2="lt2" tx2="dk2" accent1="accent1" accent2="accent2" accent3="accent3" accent4="accent4" accent5="accent5" accent6="accent6" hlink="hlink" folHlink="folHlink"/>
  <p:sldLayoutIdLst>
    <p:sldLayoutId id="2147484310" r:id="rId1"/>
    <p:sldLayoutId id="2147484311" r:id="rId2"/>
    <p:sldLayoutId id="2147484312" r:id="rId3"/>
    <p:sldLayoutId id="2147484313" r:id="rId4"/>
    <p:sldLayoutId id="2147484314" r:id="rId5"/>
    <p:sldLayoutId id="2147484315" r:id="rId6"/>
    <p:sldLayoutId id="2147484316" r:id="rId7"/>
    <p:sldLayoutId id="2147484317" r:id="rId8"/>
    <p:sldLayoutId id="2147484318" r:id="rId9"/>
    <p:sldLayoutId id="2147484319" r:id="rId10"/>
    <p:sldLayoutId id="2147484320" r:id="rId11"/>
    <p:sldLayoutId id="2147484321" r:id="rId12"/>
    <p:sldLayoutId id="2147484322" r:id="rId13"/>
    <p:sldLayoutId id="2147484323" r:id="rId14"/>
    <p:sldLayoutId id="2147484325" r:id="rId15"/>
  </p:sldLayoutIdLst>
  <p:hf hdr="0" ftr="0" dt="0"/>
  <p:txStyles>
    <p:titleStyle>
      <a:lvl1pPr algn="l" defTabSz="844083" rtl="0" eaLnBrk="1" latinLnBrk="0" hangingPunct="1">
        <a:spcBef>
          <a:spcPct val="0"/>
        </a:spcBef>
        <a:buNone/>
        <a:defRPr sz="1846" b="1" kern="1200" baseline="0">
          <a:solidFill>
            <a:srgbClr val="4472C4"/>
          </a:solidFill>
          <a:latin typeface="Arial"/>
          <a:ea typeface="+mj-ea"/>
          <a:cs typeface="Arial"/>
          <a:sym typeface="Arial"/>
        </a:defRPr>
      </a:lvl1pPr>
    </p:titleStyle>
    <p:bodyStyle>
      <a:lvl1pPr marL="0" indent="0" algn="l" defTabSz="844083" rtl="0" eaLnBrk="1" latinLnBrk="0" hangingPunct="1">
        <a:spcBef>
          <a:spcPts val="354"/>
        </a:spcBef>
        <a:buFontTx/>
        <a:buNone/>
        <a:defRPr sz="1477" b="1" kern="1200" baseline="0">
          <a:solidFill>
            <a:srgbClr val="002D72"/>
          </a:solidFill>
          <a:latin typeface="Arial"/>
          <a:ea typeface="+mn-ea"/>
          <a:cs typeface="Arial"/>
          <a:sym typeface="Arial"/>
        </a:defRPr>
      </a:lvl1pPr>
      <a:lvl2pPr marL="422041" indent="-211021" algn="l" defTabSz="844083" rtl="0" eaLnBrk="1" latinLnBrk="0" hangingPunct="1">
        <a:spcBef>
          <a:spcPts val="354"/>
        </a:spcBef>
        <a:buClr>
          <a:srgbClr val="002D72"/>
        </a:buClr>
        <a:buFont typeface="Arial" pitchFamily="34" charset="0"/>
        <a:buChar char="•"/>
        <a:defRPr sz="1477" kern="1200" baseline="0">
          <a:solidFill>
            <a:srgbClr val="002D72"/>
          </a:solidFill>
          <a:latin typeface="Arial"/>
          <a:ea typeface="+mn-ea"/>
          <a:cs typeface="Arial"/>
          <a:sym typeface="Arial"/>
        </a:defRPr>
      </a:lvl2pPr>
      <a:lvl3pPr marL="844083" indent="-211021" algn="l" defTabSz="844083" rtl="0" eaLnBrk="1" latinLnBrk="0" hangingPunct="1">
        <a:spcBef>
          <a:spcPts val="354"/>
        </a:spcBef>
        <a:buClr>
          <a:srgbClr val="002D72"/>
        </a:buClr>
        <a:buFont typeface="Arial" pitchFamily="34" charset="0"/>
        <a:buChar char="–"/>
        <a:defRPr sz="1477" kern="1200" baseline="0">
          <a:solidFill>
            <a:srgbClr val="002D72"/>
          </a:solidFill>
          <a:latin typeface="Arial"/>
          <a:ea typeface="+mn-ea"/>
          <a:cs typeface="Arial"/>
          <a:sym typeface="Arial"/>
        </a:defRPr>
      </a:lvl3pPr>
      <a:lvl4pPr marL="1270521" indent="-215416" algn="l" defTabSz="844083" rtl="0" eaLnBrk="1" latinLnBrk="0" hangingPunct="1">
        <a:spcBef>
          <a:spcPts val="354"/>
        </a:spcBef>
        <a:buClr>
          <a:srgbClr val="002D72"/>
        </a:buClr>
        <a:buFont typeface="Arial" pitchFamily="34" charset="0"/>
        <a:buChar char="–"/>
        <a:defRPr sz="1477" kern="1200" baseline="0">
          <a:solidFill>
            <a:srgbClr val="002D72"/>
          </a:solidFill>
          <a:latin typeface="Arial"/>
          <a:ea typeface="+mn-ea"/>
          <a:cs typeface="Arial"/>
          <a:sym typeface="Arial"/>
        </a:defRPr>
      </a:lvl4pPr>
      <a:lvl5pPr marL="1900652" indent="-212487" algn="l" defTabSz="844083" rtl="0" eaLnBrk="1" latinLnBrk="0" hangingPunct="1">
        <a:spcBef>
          <a:spcPts val="354"/>
        </a:spcBef>
        <a:buClr>
          <a:srgbClr val="002D72"/>
        </a:buClr>
        <a:buFont typeface="Arial" pitchFamily="34" charset="0"/>
        <a:buChar char="–"/>
        <a:defRPr sz="1477" kern="1200" baseline="0">
          <a:solidFill>
            <a:srgbClr val="002D72"/>
          </a:solidFill>
          <a:latin typeface="Arial"/>
          <a:ea typeface="+mn-ea"/>
          <a:cs typeface="Arial"/>
          <a:sym typeface="Arial"/>
        </a:defRPr>
      </a:lvl5pPr>
      <a:lvl6pPr marL="2321227"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6pPr>
      <a:lvl7pPr marL="2743269"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7pPr>
      <a:lvl8pPr marL="3165310"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8pPr>
      <a:lvl9pPr marL="3587351"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9pPr>
    </p:bodyStyle>
    <p:otherStyle>
      <a:defPPr>
        <a:defRPr lang="en-US"/>
      </a:defPPr>
      <a:lvl1pPr marL="0" algn="l" defTabSz="844083" rtl="0" eaLnBrk="1" latinLnBrk="0" hangingPunct="1">
        <a:defRPr sz="1662" kern="1200">
          <a:solidFill>
            <a:schemeClr val="tx1"/>
          </a:solidFill>
          <a:latin typeface="+mn-lt"/>
          <a:ea typeface="+mn-ea"/>
          <a:cs typeface="+mn-cs"/>
        </a:defRPr>
      </a:lvl1pPr>
      <a:lvl2pPr marL="422041" algn="l" defTabSz="844083" rtl="0" eaLnBrk="1" latinLnBrk="0" hangingPunct="1">
        <a:defRPr sz="1662" kern="1200">
          <a:solidFill>
            <a:schemeClr val="tx1"/>
          </a:solidFill>
          <a:latin typeface="+mn-lt"/>
          <a:ea typeface="+mn-ea"/>
          <a:cs typeface="+mn-cs"/>
        </a:defRPr>
      </a:lvl2pPr>
      <a:lvl3pPr marL="844083" algn="l" defTabSz="844083" rtl="0" eaLnBrk="1" latinLnBrk="0" hangingPunct="1">
        <a:defRPr sz="1662" kern="1200">
          <a:solidFill>
            <a:schemeClr val="tx1"/>
          </a:solidFill>
          <a:latin typeface="+mn-lt"/>
          <a:ea typeface="+mn-ea"/>
          <a:cs typeface="+mn-cs"/>
        </a:defRPr>
      </a:lvl3pPr>
      <a:lvl4pPr marL="1266124" algn="l" defTabSz="844083" rtl="0" eaLnBrk="1" latinLnBrk="0" hangingPunct="1">
        <a:defRPr sz="1662" kern="1200">
          <a:solidFill>
            <a:schemeClr val="tx1"/>
          </a:solidFill>
          <a:latin typeface="+mn-lt"/>
          <a:ea typeface="+mn-ea"/>
          <a:cs typeface="+mn-cs"/>
        </a:defRPr>
      </a:lvl4pPr>
      <a:lvl5pPr marL="1688165" algn="l" defTabSz="844083" rtl="0" eaLnBrk="1" latinLnBrk="0" hangingPunct="1">
        <a:defRPr sz="1662" kern="1200">
          <a:solidFill>
            <a:schemeClr val="tx1"/>
          </a:solidFill>
          <a:latin typeface="+mn-lt"/>
          <a:ea typeface="+mn-ea"/>
          <a:cs typeface="+mn-cs"/>
        </a:defRPr>
      </a:lvl5pPr>
      <a:lvl6pPr marL="2110207" algn="l" defTabSz="844083" rtl="0" eaLnBrk="1" latinLnBrk="0" hangingPunct="1">
        <a:defRPr sz="1662" kern="1200">
          <a:solidFill>
            <a:schemeClr val="tx1"/>
          </a:solidFill>
          <a:latin typeface="+mn-lt"/>
          <a:ea typeface="+mn-ea"/>
          <a:cs typeface="+mn-cs"/>
        </a:defRPr>
      </a:lvl6pPr>
      <a:lvl7pPr marL="2532248" algn="l" defTabSz="844083" rtl="0" eaLnBrk="1" latinLnBrk="0" hangingPunct="1">
        <a:defRPr sz="1662" kern="1200">
          <a:solidFill>
            <a:schemeClr val="tx1"/>
          </a:solidFill>
          <a:latin typeface="+mn-lt"/>
          <a:ea typeface="+mn-ea"/>
          <a:cs typeface="+mn-cs"/>
        </a:defRPr>
      </a:lvl7pPr>
      <a:lvl8pPr marL="2954289" algn="l" defTabSz="844083" rtl="0" eaLnBrk="1" latinLnBrk="0" hangingPunct="1">
        <a:defRPr sz="1662" kern="1200">
          <a:solidFill>
            <a:schemeClr val="tx1"/>
          </a:solidFill>
          <a:latin typeface="+mn-lt"/>
          <a:ea typeface="+mn-ea"/>
          <a:cs typeface="+mn-cs"/>
        </a:defRPr>
      </a:lvl8pPr>
      <a:lvl9pPr marL="3376331" algn="l" defTabSz="844083" rtl="0" eaLnBrk="1" latinLnBrk="0" hangingPunct="1">
        <a:defRPr sz="1662" kern="1200">
          <a:solidFill>
            <a:schemeClr val="tx1"/>
          </a:solidFill>
          <a:latin typeface="+mn-lt"/>
          <a:ea typeface="+mn-ea"/>
          <a:cs typeface="+mn-cs"/>
        </a:defRPr>
      </a:lvl9pPr>
    </p:otherStyle>
  </p:txStyles>
</p:sldMaster>
</file>

<file path=ppt/slideMasters/slideMaster2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2" name="Object 31" hidden="1"/>
          <p:cNvGraphicFramePr>
            <a:graphicFrameLocks noChangeAspect="1"/>
          </p:cNvGraphicFramePr>
          <p:nvPr>
            <p:custDataLst>
              <p:tags r:id="rId15"/>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797030" name="think-cell Slide" r:id="rId16" imgW="270" imgH="270" progId="TCLayout.ActiveDocument.1">
                  <p:embed/>
                </p:oleObj>
              </mc:Choice>
              <mc:Fallback>
                <p:oleObj name="think-cell Slide" r:id="rId16" imgW="270" imgH="270" progId="TCLayout.ActiveDocument.1">
                  <p:embed/>
                  <p:pic>
                    <p:nvPicPr>
                      <p:cNvPr id="32" name="Object 31" hidden="1"/>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a:xfrm>
            <a:off x="562708" y="162000"/>
            <a:ext cx="11068061" cy="832104"/>
          </a:xfrm>
          <a:prstGeom prst="rect">
            <a:avLst/>
          </a:prstGeom>
        </p:spPr>
        <p:txBody>
          <a:bodyPr vert="horz" lIns="0" tIns="45720" rIns="0" bIns="45720" rtlCol="0" anchor="t" anchorCtr="0">
            <a:noAutofit/>
          </a:bodyPr>
          <a:lstStyle/>
          <a:p>
            <a:r>
              <a:rPr lang="en-US" noProof="0" dirty="0"/>
              <a:t>Click to edit Master title style</a:t>
            </a:r>
          </a:p>
        </p:txBody>
      </p:sp>
      <p:sp>
        <p:nvSpPr>
          <p:cNvPr id="7" name="FooterSimple"/>
          <p:cNvSpPr/>
          <p:nvPr userDrawn="1"/>
        </p:nvSpPr>
        <p:spPr>
          <a:xfrm>
            <a:off x="393793" y="6719264"/>
            <a:ext cx="793108" cy="10772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oAutofit/>
          </a:bodyPr>
          <a:lstStyle/>
          <a:p>
            <a:pPr algn="l"/>
            <a:r>
              <a:rPr lang="en-US" sz="646" noProof="0">
                <a:solidFill>
                  <a:srgbClr val="808080"/>
                </a:solidFill>
                <a:latin typeface="Arial"/>
                <a:cs typeface="Arial"/>
                <a:sym typeface="Arial"/>
              </a:rPr>
              <a:t>Blank.potx</a:t>
            </a:r>
            <a:endParaRPr lang="en-US" sz="646" noProof="0" dirty="0">
              <a:solidFill>
                <a:srgbClr val="808080"/>
              </a:solidFill>
              <a:latin typeface="Arial"/>
              <a:cs typeface="Arial"/>
              <a:sym typeface="Arial"/>
            </a:endParaRPr>
          </a:p>
        </p:txBody>
      </p:sp>
      <p:sp>
        <p:nvSpPr>
          <p:cNvPr id="13" name="Text Placeholder 12"/>
          <p:cNvSpPr>
            <a:spLocks noGrp="1"/>
          </p:cNvSpPr>
          <p:nvPr>
            <p:ph type="body" idx="1"/>
          </p:nvPr>
        </p:nvSpPr>
        <p:spPr>
          <a:xfrm>
            <a:off x="562708" y="1508760"/>
            <a:ext cx="11074088" cy="3997304"/>
          </a:xfrm>
          <a:prstGeom prst="rect">
            <a:avLst/>
          </a:prstGeom>
        </p:spPr>
        <p:txBody>
          <a:bodyPr vert="horz" lIns="0" tIns="0" rIns="0" bIns="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Box 7"/>
          <p:cNvSpPr txBox="1"/>
          <p:nvPr userDrawn="1"/>
        </p:nvSpPr>
        <p:spPr>
          <a:xfrm>
            <a:off x="5841383" y="6271545"/>
            <a:ext cx="458115" cy="276999"/>
          </a:xfrm>
          <a:prstGeom prst="rect">
            <a:avLst/>
          </a:prstGeom>
          <a:noFill/>
          <a:ln/>
          <a:effectLst/>
        </p:spPr>
        <p:txBody>
          <a:bodyPr wrap="none" lIns="84406" tIns="50644" rIns="84406" bIns="42203" rtlCol="0" anchor="t" anchorCtr="0">
            <a:noAutofit/>
          </a:bodyPr>
          <a:lstStyle/>
          <a:p>
            <a:pPr marL="0" marR="0" lvl="0" indent="0" algn="r" defTabSz="844083" rtl="0" eaLnBrk="1" fontAlgn="auto" latinLnBrk="0" hangingPunct="1">
              <a:lnSpc>
                <a:spcPct val="100000"/>
              </a:lnSpc>
              <a:spcBef>
                <a:spcPts val="0"/>
              </a:spcBef>
              <a:spcAft>
                <a:spcPts val="0"/>
              </a:spcAft>
              <a:buClrTx/>
              <a:buSzTx/>
              <a:buFontTx/>
              <a:buNone/>
              <a:tabLst/>
              <a:defRPr/>
            </a:pPr>
            <a:fld id="{8FDC6993-5875-43F1-AB5B-56FAFD3221C9}" type="slidenum">
              <a:rPr lang="en-US" sz="923" kern="1200" baseline="0" noProof="0" smtClean="0">
                <a:solidFill>
                  <a:schemeClr val="bg1"/>
                </a:solidFill>
                <a:latin typeface="Arial"/>
                <a:ea typeface="+mn-ea"/>
                <a:cs typeface="+mn-cs"/>
              </a:rPr>
              <a:pPr marL="0" marR="0" lvl="0" indent="0" algn="r" defTabSz="844083" rtl="0" eaLnBrk="1" fontAlgn="auto" latinLnBrk="0" hangingPunct="1">
                <a:lnSpc>
                  <a:spcPct val="100000"/>
                </a:lnSpc>
                <a:spcBef>
                  <a:spcPts val="0"/>
                </a:spcBef>
                <a:spcAft>
                  <a:spcPts val="0"/>
                </a:spcAft>
                <a:buClrTx/>
                <a:buSzTx/>
                <a:buFontTx/>
                <a:buNone/>
                <a:tabLst/>
                <a:defRPr/>
              </a:pPr>
              <a:t>‹#›</a:t>
            </a:fld>
            <a:endParaRPr lang="en-US" sz="923" kern="1200" baseline="0" noProof="0" dirty="0">
              <a:solidFill>
                <a:schemeClr val="bg1"/>
              </a:solidFill>
              <a:latin typeface="Arial"/>
              <a:ea typeface="+mn-ea"/>
              <a:cs typeface="+mn-cs"/>
            </a:endParaRPr>
          </a:p>
          <a:p>
            <a:endParaRPr lang="en-US" sz="831" dirty="0">
              <a:solidFill>
                <a:schemeClr val="bg1"/>
              </a:solidFill>
              <a:latin typeface="Arial"/>
            </a:endParaRPr>
          </a:p>
        </p:txBody>
      </p:sp>
      <p:sp>
        <p:nvSpPr>
          <p:cNvPr id="12" name="Slide Number Placeholder 5"/>
          <p:cNvSpPr txBox="1">
            <a:spLocks/>
          </p:cNvSpPr>
          <p:nvPr userDrawn="1"/>
        </p:nvSpPr>
        <p:spPr>
          <a:xfrm>
            <a:off x="11288131" y="6448892"/>
            <a:ext cx="793995" cy="365125"/>
          </a:xfrm>
          <a:prstGeom prst="rect">
            <a:avLst/>
          </a:prstGeom>
        </p:spPr>
        <p:txBody>
          <a:bodyPr vert="horz" lIns="84406" tIns="42203" rIns="84406" bIns="42203"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FC7F43E-2420-6848-A2B2-B5C9DEF3CEAA}" type="slidenum">
              <a:rPr lang="en-US" sz="923" smtClean="0">
                <a:solidFill>
                  <a:prstClr val="black">
                    <a:tint val="75000"/>
                  </a:prstClr>
                </a:solidFill>
                <a:latin typeface="Arial" panose="020B0604020202020204" pitchFamily="34" charset="0"/>
                <a:cs typeface="Arial" panose="020B0604020202020204" pitchFamily="34" charset="0"/>
              </a:rPr>
              <a:pPr/>
              <a:t>‹#›</a:t>
            </a:fld>
            <a:endParaRPr lang="en-US" sz="923" dirty="0">
              <a:solidFill>
                <a:prstClr val="black">
                  <a:tint val="75000"/>
                </a:prstClr>
              </a:solidFill>
              <a:latin typeface="Arial" panose="020B0604020202020204" pitchFamily="34" charset="0"/>
              <a:cs typeface="Arial" panose="020B0604020202020204" pitchFamily="34" charset="0"/>
            </a:endParaRPr>
          </a:p>
        </p:txBody>
      </p:sp>
      <p:pic>
        <p:nvPicPr>
          <p:cNvPr id="14" name="Picture 13"/>
          <p:cNvPicPr>
            <a:picLocks noChangeAspect="1"/>
          </p:cNvPicPr>
          <p:nvPr userDrawn="1"/>
        </p:nvPicPr>
        <p:blipFill>
          <a:blip r:embed="rId18" cstate="print">
            <a:extLst>
              <a:ext uri="{28A0092B-C50C-407E-A947-70E740481C1C}">
                <a14:useLocalDpi xmlns:a14="http://schemas.microsoft.com/office/drawing/2010/main" val="0"/>
              </a:ext>
            </a:extLst>
          </a:blip>
          <a:stretch>
            <a:fillRect/>
          </a:stretch>
        </p:blipFill>
        <p:spPr>
          <a:xfrm>
            <a:off x="10505029" y="6552810"/>
            <a:ext cx="1076129" cy="141242"/>
          </a:xfrm>
          <a:prstGeom prst="rect">
            <a:avLst/>
          </a:prstGeom>
        </p:spPr>
      </p:pic>
      <p:pic>
        <p:nvPicPr>
          <p:cNvPr id="16" name="pasted-image.pdf" descr="pasted-image.pdf"/>
          <p:cNvPicPr>
            <a:picLocks noChangeAspect="1"/>
          </p:cNvPicPr>
          <p:nvPr userDrawn="1"/>
        </p:nvPicPr>
        <p:blipFill>
          <a:blip r:embed="rId19" cstate="print"/>
          <a:stretch>
            <a:fillRect/>
          </a:stretch>
        </p:blipFill>
        <p:spPr>
          <a:xfrm>
            <a:off x="393794" y="6416675"/>
            <a:ext cx="518061" cy="256674"/>
          </a:xfrm>
          <a:prstGeom prst="rect">
            <a:avLst/>
          </a:prstGeom>
          <a:ln w="12700">
            <a:miter lim="400000"/>
          </a:ln>
        </p:spPr>
      </p:pic>
    </p:spTree>
    <p:extLst>
      <p:ext uri="{BB962C8B-B14F-4D97-AF65-F5344CB8AC3E}">
        <p14:creationId xmlns:p14="http://schemas.microsoft.com/office/powerpoint/2010/main" val="3452426151"/>
      </p:ext>
    </p:extLst>
  </p:cSld>
  <p:clrMap bg1="lt1" tx1="dk1" bg2="lt2" tx2="dk2" accent1="accent1" accent2="accent2" accent3="accent3" accent4="accent4" accent5="accent5" accent6="accent6" hlink="hlink" folHlink="folHlink"/>
  <p:sldLayoutIdLst>
    <p:sldLayoutId id="2147484377" r:id="rId1"/>
    <p:sldLayoutId id="2147484378" r:id="rId2"/>
    <p:sldLayoutId id="2147484379" r:id="rId3"/>
    <p:sldLayoutId id="2147484380" r:id="rId4"/>
    <p:sldLayoutId id="2147484381" r:id="rId5"/>
    <p:sldLayoutId id="2147484382" r:id="rId6"/>
    <p:sldLayoutId id="2147484383" r:id="rId7"/>
    <p:sldLayoutId id="2147484384" r:id="rId8"/>
    <p:sldLayoutId id="2147484385" r:id="rId9"/>
    <p:sldLayoutId id="2147484386" r:id="rId10"/>
    <p:sldLayoutId id="2147484387" r:id="rId11"/>
    <p:sldLayoutId id="2147484388" r:id="rId12"/>
  </p:sldLayoutIdLst>
  <p:hf hdr="0" ftr="0" dt="0"/>
  <p:txStyles>
    <p:titleStyle>
      <a:lvl1pPr algn="l" defTabSz="844083" rtl="0" eaLnBrk="1" latinLnBrk="0" hangingPunct="1">
        <a:spcBef>
          <a:spcPct val="0"/>
        </a:spcBef>
        <a:buNone/>
        <a:defRPr sz="1846" b="1" kern="1200" baseline="0">
          <a:solidFill>
            <a:srgbClr val="4472C4"/>
          </a:solidFill>
          <a:latin typeface="Arial"/>
          <a:ea typeface="+mj-ea"/>
          <a:cs typeface="Arial"/>
          <a:sym typeface="Arial"/>
        </a:defRPr>
      </a:lvl1pPr>
    </p:titleStyle>
    <p:bodyStyle>
      <a:lvl1pPr marL="0" indent="0" algn="l" defTabSz="844083" rtl="0" eaLnBrk="1" latinLnBrk="0" hangingPunct="1">
        <a:spcBef>
          <a:spcPts val="354"/>
        </a:spcBef>
        <a:buFontTx/>
        <a:buNone/>
        <a:defRPr sz="1477" b="1" kern="1200" baseline="0">
          <a:solidFill>
            <a:srgbClr val="002D72"/>
          </a:solidFill>
          <a:latin typeface="Arial"/>
          <a:ea typeface="+mn-ea"/>
          <a:cs typeface="Arial"/>
          <a:sym typeface="Arial"/>
        </a:defRPr>
      </a:lvl1pPr>
      <a:lvl2pPr marL="422041" indent="-211021" algn="l" defTabSz="844083" rtl="0" eaLnBrk="1" latinLnBrk="0" hangingPunct="1">
        <a:spcBef>
          <a:spcPts val="354"/>
        </a:spcBef>
        <a:buClr>
          <a:srgbClr val="002D72"/>
        </a:buClr>
        <a:buFont typeface="Arial" pitchFamily="34" charset="0"/>
        <a:buChar char="•"/>
        <a:defRPr sz="1477" kern="1200" baseline="0">
          <a:solidFill>
            <a:srgbClr val="002D72"/>
          </a:solidFill>
          <a:latin typeface="Arial"/>
          <a:ea typeface="+mn-ea"/>
          <a:cs typeface="Arial"/>
          <a:sym typeface="Arial"/>
        </a:defRPr>
      </a:lvl2pPr>
      <a:lvl3pPr marL="844083" indent="-211021" algn="l" defTabSz="844083" rtl="0" eaLnBrk="1" latinLnBrk="0" hangingPunct="1">
        <a:spcBef>
          <a:spcPts val="354"/>
        </a:spcBef>
        <a:buClr>
          <a:srgbClr val="002D72"/>
        </a:buClr>
        <a:buFont typeface="Arial" pitchFamily="34" charset="0"/>
        <a:buChar char="–"/>
        <a:defRPr sz="1477" kern="1200" baseline="0">
          <a:solidFill>
            <a:srgbClr val="002D72"/>
          </a:solidFill>
          <a:latin typeface="Arial"/>
          <a:ea typeface="+mn-ea"/>
          <a:cs typeface="Arial"/>
          <a:sym typeface="Arial"/>
        </a:defRPr>
      </a:lvl3pPr>
      <a:lvl4pPr marL="1270521" indent="-215416" algn="l" defTabSz="844083" rtl="0" eaLnBrk="1" latinLnBrk="0" hangingPunct="1">
        <a:spcBef>
          <a:spcPts val="354"/>
        </a:spcBef>
        <a:buClr>
          <a:srgbClr val="002D72"/>
        </a:buClr>
        <a:buFont typeface="Arial" pitchFamily="34" charset="0"/>
        <a:buChar char="–"/>
        <a:defRPr sz="1477" kern="1200" baseline="0">
          <a:solidFill>
            <a:srgbClr val="002D72"/>
          </a:solidFill>
          <a:latin typeface="Arial"/>
          <a:ea typeface="+mn-ea"/>
          <a:cs typeface="Arial"/>
          <a:sym typeface="Arial"/>
        </a:defRPr>
      </a:lvl4pPr>
      <a:lvl5pPr marL="1900652" indent="-212487" algn="l" defTabSz="844083" rtl="0" eaLnBrk="1" latinLnBrk="0" hangingPunct="1">
        <a:spcBef>
          <a:spcPts val="354"/>
        </a:spcBef>
        <a:buClr>
          <a:srgbClr val="002D72"/>
        </a:buClr>
        <a:buFont typeface="Arial" pitchFamily="34" charset="0"/>
        <a:buChar char="–"/>
        <a:defRPr sz="1477" kern="1200" baseline="0">
          <a:solidFill>
            <a:srgbClr val="002D72"/>
          </a:solidFill>
          <a:latin typeface="Arial"/>
          <a:ea typeface="+mn-ea"/>
          <a:cs typeface="Arial"/>
          <a:sym typeface="Arial"/>
        </a:defRPr>
      </a:lvl5pPr>
      <a:lvl6pPr marL="2321227"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6pPr>
      <a:lvl7pPr marL="2743269"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7pPr>
      <a:lvl8pPr marL="3165310"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8pPr>
      <a:lvl9pPr marL="3587351"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9pPr>
    </p:bodyStyle>
    <p:otherStyle>
      <a:defPPr>
        <a:defRPr lang="en-US"/>
      </a:defPPr>
      <a:lvl1pPr marL="0" algn="l" defTabSz="844083" rtl="0" eaLnBrk="1" latinLnBrk="0" hangingPunct="1">
        <a:defRPr sz="1662" kern="1200">
          <a:solidFill>
            <a:schemeClr val="tx1"/>
          </a:solidFill>
          <a:latin typeface="+mn-lt"/>
          <a:ea typeface="+mn-ea"/>
          <a:cs typeface="+mn-cs"/>
        </a:defRPr>
      </a:lvl1pPr>
      <a:lvl2pPr marL="422041" algn="l" defTabSz="844083" rtl="0" eaLnBrk="1" latinLnBrk="0" hangingPunct="1">
        <a:defRPr sz="1662" kern="1200">
          <a:solidFill>
            <a:schemeClr val="tx1"/>
          </a:solidFill>
          <a:latin typeface="+mn-lt"/>
          <a:ea typeface="+mn-ea"/>
          <a:cs typeface="+mn-cs"/>
        </a:defRPr>
      </a:lvl2pPr>
      <a:lvl3pPr marL="844083" algn="l" defTabSz="844083" rtl="0" eaLnBrk="1" latinLnBrk="0" hangingPunct="1">
        <a:defRPr sz="1662" kern="1200">
          <a:solidFill>
            <a:schemeClr val="tx1"/>
          </a:solidFill>
          <a:latin typeface="+mn-lt"/>
          <a:ea typeface="+mn-ea"/>
          <a:cs typeface="+mn-cs"/>
        </a:defRPr>
      </a:lvl3pPr>
      <a:lvl4pPr marL="1266124" algn="l" defTabSz="844083" rtl="0" eaLnBrk="1" latinLnBrk="0" hangingPunct="1">
        <a:defRPr sz="1662" kern="1200">
          <a:solidFill>
            <a:schemeClr val="tx1"/>
          </a:solidFill>
          <a:latin typeface="+mn-lt"/>
          <a:ea typeface="+mn-ea"/>
          <a:cs typeface="+mn-cs"/>
        </a:defRPr>
      </a:lvl4pPr>
      <a:lvl5pPr marL="1688165" algn="l" defTabSz="844083" rtl="0" eaLnBrk="1" latinLnBrk="0" hangingPunct="1">
        <a:defRPr sz="1662" kern="1200">
          <a:solidFill>
            <a:schemeClr val="tx1"/>
          </a:solidFill>
          <a:latin typeface="+mn-lt"/>
          <a:ea typeface="+mn-ea"/>
          <a:cs typeface="+mn-cs"/>
        </a:defRPr>
      </a:lvl5pPr>
      <a:lvl6pPr marL="2110207" algn="l" defTabSz="844083" rtl="0" eaLnBrk="1" latinLnBrk="0" hangingPunct="1">
        <a:defRPr sz="1662" kern="1200">
          <a:solidFill>
            <a:schemeClr val="tx1"/>
          </a:solidFill>
          <a:latin typeface="+mn-lt"/>
          <a:ea typeface="+mn-ea"/>
          <a:cs typeface="+mn-cs"/>
        </a:defRPr>
      </a:lvl6pPr>
      <a:lvl7pPr marL="2532248" algn="l" defTabSz="844083" rtl="0" eaLnBrk="1" latinLnBrk="0" hangingPunct="1">
        <a:defRPr sz="1662" kern="1200">
          <a:solidFill>
            <a:schemeClr val="tx1"/>
          </a:solidFill>
          <a:latin typeface="+mn-lt"/>
          <a:ea typeface="+mn-ea"/>
          <a:cs typeface="+mn-cs"/>
        </a:defRPr>
      </a:lvl7pPr>
      <a:lvl8pPr marL="2954289" algn="l" defTabSz="844083" rtl="0" eaLnBrk="1" latinLnBrk="0" hangingPunct="1">
        <a:defRPr sz="1662" kern="1200">
          <a:solidFill>
            <a:schemeClr val="tx1"/>
          </a:solidFill>
          <a:latin typeface="+mn-lt"/>
          <a:ea typeface="+mn-ea"/>
          <a:cs typeface="+mn-cs"/>
        </a:defRPr>
      </a:lvl8pPr>
      <a:lvl9pPr marL="3376331" algn="l" defTabSz="844083" rtl="0" eaLnBrk="1" latinLnBrk="0" hangingPunct="1">
        <a:defRPr sz="1662" kern="1200">
          <a:solidFill>
            <a:schemeClr val="tx1"/>
          </a:solidFill>
          <a:latin typeface="+mn-lt"/>
          <a:ea typeface="+mn-ea"/>
          <a:cs typeface="+mn-cs"/>
        </a:defRPr>
      </a:lvl9pPr>
    </p:otherStyle>
  </p:txStyles>
</p:sldMaster>
</file>

<file path=ppt/slideMasters/slideMaster2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2" name="Object 31" hidden="1"/>
          <p:cNvGraphicFramePr>
            <a:graphicFrameLocks noChangeAspect="1"/>
          </p:cNvGraphicFramePr>
          <p:nvPr>
            <p:custDataLst>
              <p:tags r:id="rId17"/>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846146" name="think-cell Slide" r:id="rId18" imgW="270" imgH="270" progId="TCLayout.ActiveDocument.1">
                  <p:embed/>
                </p:oleObj>
              </mc:Choice>
              <mc:Fallback>
                <p:oleObj name="think-cell Slide" r:id="rId18" imgW="270" imgH="270" progId="TCLayout.ActiveDocument.1">
                  <p:embed/>
                  <p:pic>
                    <p:nvPicPr>
                      <p:cNvPr id="32" name="Object 31" hidden="1"/>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a:xfrm>
            <a:off x="562708" y="162000"/>
            <a:ext cx="11068061" cy="832104"/>
          </a:xfrm>
          <a:prstGeom prst="rect">
            <a:avLst/>
          </a:prstGeom>
        </p:spPr>
        <p:txBody>
          <a:bodyPr vert="horz" lIns="0" tIns="45720" rIns="0" bIns="45720" rtlCol="0" anchor="t" anchorCtr="0">
            <a:noAutofit/>
          </a:bodyPr>
          <a:lstStyle/>
          <a:p>
            <a:r>
              <a:rPr lang="en-US" noProof="0" dirty="0"/>
              <a:t>Click to edit Master title style</a:t>
            </a:r>
          </a:p>
        </p:txBody>
      </p:sp>
      <p:sp>
        <p:nvSpPr>
          <p:cNvPr id="7" name="FooterSimple"/>
          <p:cNvSpPr/>
          <p:nvPr userDrawn="1"/>
        </p:nvSpPr>
        <p:spPr>
          <a:xfrm>
            <a:off x="393793" y="6719264"/>
            <a:ext cx="793108" cy="10772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oAutofit/>
          </a:bodyPr>
          <a:lstStyle/>
          <a:p>
            <a:pPr algn="l"/>
            <a:r>
              <a:rPr lang="en-US" sz="646" noProof="0">
                <a:solidFill>
                  <a:srgbClr val="808080"/>
                </a:solidFill>
                <a:latin typeface="Arial"/>
                <a:cs typeface="Arial"/>
                <a:sym typeface="Arial"/>
              </a:rPr>
              <a:t>Blank.potx</a:t>
            </a:r>
            <a:endParaRPr lang="en-US" sz="646" noProof="0" dirty="0">
              <a:solidFill>
                <a:srgbClr val="808080"/>
              </a:solidFill>
              <a:latin typeface="Arial"/>
              <a:cs typeface="Arial"/>
              <a:sym typeface="Arial"/>
            </a:endParaRPr>
          </a:p>
        </p:txBody>
      </p:sp>
      <p:sp>
        <p:nvSpPr>
          <p:cNvPr id="13" name="Text Placeholder 12"/>
          <p:cNvSpPr>
            <a:spLocks noGrp="1"/>
          </p:cNvSpPr>
          <p:nvPr>
            <p:ph type="body" idx="1"/>
          </p:nvPr>
        </p:nvSpPr>
        <p:spPr>
          <a:xfrm>
            <a:off x="562708" y="1508760"/>
            <a:ext cx="11074088" cy="3997304"/>
          </a:xfrm>
          <a:prstGeom prst="rect">
            <a:avLst/>
          </a:prstGeom>
        </p:spPr>
        <p:txBody>
          <a:bodyPr vert="horz" lIns="0" tIns="0" rIns="0" bIns="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Box 7"/>
          <p:cNvSpPr txBox="1"/>
          <p:nvPr userDrawn="1"/>
        </p:nvSpPr>
        <p:spPr>
          <a:xfrm>
            <a:off x="5841383" y="6271545"/>
            <a:ext cx="458115" cy="276999"/>
          </a:xfrm>
          <a:prstGeom prst="rect">
            <a:avLst/>
          </a:prstGeom>
          <a:noFill/>
          <a:ln/>
          <a:effectLst/>
        </p:spPr>
        <p:txBody>
          <a:bodyPr wrap="none" lIns="84406" tIns="50644" rIns="84406" bIns="42203" rtlCol="0" anchor="t" anchorCtr="0">
            <a:noAutofit/>
          </a:bodyPr>
          <a:lstStyle/>
          <a:p>
            <a:pPr marL="0" marR="0" lvl="0" indent="0" algn="r" defTabSz="844083" rtl="0" eaLnBrk="1" fontAlgn="auto" latinLnBrk="0" hangingPunct="1">
              <a:lnSpc>
                <a:spcPct val="100000"/>
              </a:lnSpc>
              <a:spcBef>
                <a:spcPts val="0"/>
              </a:spcBef>
              <a:spcAft>
                <a:spcPts val="0"/>
              </a:spcAft>
              <a:buClrTx/>
              <a:buSzTx/>
              <a:buFontTx/>
              <a:buNone/>
              <a:tabLst/>
              <a:defRPr/>
            </a:pPr>
            <a:fld id="{8FDC6993-5875-43F1-AB5B-56FAFD3221C9}" type="slidenum">
              <a:rPr lang="en-US" sz="923" kern="1200" baseline="0" noProof="0" smtClean="0">
                <a:solidFill>
                  <a:schemeClr val="bg1"/>
                </a:solidFill>
                <a:latin typeface="Arial"/>
                <a:ea typeface="+mn-ea"/>
                <a:cs typeface="+mn-cs"/>
              </a:rPr>
              <a:pPr marL="0" marR="0" lvl="0" indent="0" algn="r" defTabSz="844083" rtl="0" eaLnBrk="1" fontAlgn="auto" latinLnBrk="0" hangingPunct="1">
                <a:lnSpc>
                  <a:spcPct val="100000"/>
                </a:lnSpc>
                <a:spcBef>
                  <a:spcPts val="0"/>
                </a:spcBef>
                <a:spcAft>
                  <a:spcPts val="0"/>
                </a:spcAft>
                <a:buClrTx/>
                <a:buSzTx/>
                <a:buFontTx/>
                <a:buNone/>
                <a:tabLst/>
                <a:defRPr/>
              </a:pPr>
              <a:t>‹#›</a:t>
            </a:fld>
            <a:endParaRPr lang="en-US" sz="923" kern="1200" baseline="0" noProof="0" dirty="0">
              <a:solidFill>
                <a:schemeClr val="bg1"/>
              </a:solidFill>
              <a:latin typeface="Arial"/>
              <a:ea typeface="+mn-ea"/>
              <a:cs typeface="+mn-cs"/>
            </a:endParaRPr>
          </a:p>
          <a:p>
            <a:endParaRPr lang="en-US" sz="831" dirty="0">
              <a:solidFill>
                <a:schemeClr val="bg1"/>
              </a:solidFill>
              <a:latin typeface="Arial"/>
            </a:endParaRPr>
          </a:p>
        </p:txBody>
      </p:sp>
      <p:sp>
        <p:nvSpPr>
          <p:cNvPr id="12" name="Slide Number Placeholder 5"/>
          <p:cNvSpPr txBox="1">
            <a:spLocks/>
          </p:cNvSpPr>
          <p:nvPr userDrawn="1"/>
        </p:nvSpPr>
        <p:spPr>
          <a:xfrm>
            <a:off x="11288131" y="6448892"/>
            <a:ext cx="793995" cy="365125"/>
          </a:xfrm>
          <a:prstGeom prst="rect">
            <a:avLst/>
          </a:prstGeom>
        </p:spPr>
        <p:txBody>
          <a:bodyPr vert="horz" lIns="84406" tIns="42203" rIns="84406" bIns="42203"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FC7F43E-2420-6848-A2B2-B5C9DEF3CEAA}" type="slidenum">
              <a:rPr lang="en-US" sz="923" smtClean="0">
                <a:solidFill>
                  <a:prstClr val="black">
                    <a:tint val="75000"/>
                  </a:prstClr>
                </a:solidFill>
                <a:latin typeface="Arial" panose="020B0604020202020204" pitchFamily="34" charset="0"/>
                <a:cs typeface="Arial" panose="020B0604020202020204" pitchFamily="34" charset="0"/>
              </a:rPr>
              <a:pPr/>
              <a:t>‹#›</a:t>
            </a:fld>
            <a:endParaRPr lang="en-US" sz="923" dirty="0">
              <a:solidFill>
                <a:prstClr val="black">
                  <a:tint val="75000"/>
                </a:prstClr>
              </a:solidFill>
              <a:latin typeface="Arial" panose="020B0604020202020204" pitchFamily="34" charset="0"/>
              <a:cs typeface="Arial" panose="020B0604020202020204" pitchFamily="34" charset="0"/>
            </a:endParaRPr>
          </a:p>
        </p:txBody>
      </p:sp>
      <p:pic>
        <p:nvPicPr>
          <p:cNvPr id="14" name="Picture 13"/>
          <p:cNvPicPr>
            <a:picLocks noChangeAspect="1"/>
          </p:cNvPicPr>
          <p:nvPr userDrawn="1"/>
        </p:nvPicPr>
        <p:blipFill>
          <a:blip r:embed="rId20" cstate="print">
            <a:extLst>
              <a:ext uri="{28A0092B-C50C-407E-A947-70E740481C1C}">
                <a14:useLocalDpi xmlns:a14="http://schemas.microsoft.com/office/drawing/2010/main" val="0"/>
              </a:ext>
            </a:extLst>
          </a:blip>
          <a:stretch>
            <a:fillRect/>
          </a:stretch>
        </p:blipFill>
        <p:spPr>
          <a:xfrm>
            <a:off x="10505029" y="6552810"/>
            <a:ext cx="1076129" cy="141242"/>
          </a:xfrm>
          <a:prstGeom prst="rect">
            <a:avLst/>
          </a:prstGeom>
        </p:spPr>
      </p:pic>
      <p:pic>
        <p:nvPicPr>
          <p:cNvPr id="16" name="pasted-image.pdf" descr="pasted-image.pdf"/>
          <p:cNvPicPr>
            <a:picLocks noChangeAspect="1"/>
          </p:cNvPicPr>
          <p:nvPr userDrawn="1"/>
        </p:nvPicPr>
        <p:blipFill>
          <a:blip r:embed="rId21" cstate="print"/>
          <a:stretch>
            <a:fillRect/>
          </a:stretch>
        </p:blipFill>
        <p:spPr>
          <a:xfrm>
            <a:off x="393794" y="6416675"/>
            <a:ext cx="518061" cy="256674"/>
          </a:xfrm>
          <a:prstGeom prst="rect">
            <a:avLst/>
          </a:prstGeom>
          <a:ln w="12700">
            <a:miter lim="400000"/>
          </a:ln>
        </p:spPr>
      </p:pic>
    </p:spTree>
    <p:extLst>
      <p:ext uri="{BB962C8B-B14F-4D97-AF65-F5344CB8AC3E}">
        <p14:creationId xmlns:p14="http://schemas.microsoft.com/office/powerpoint/2010/main" val="465095899"/>
      </p:ext>
    </p:extLst>
  </p:cSld>
  <p:clrMap bg1="lt1" tx1="dk1" bg2="lt2" tx2="dk2" accent1="accent1" accent2="accent2" accent3="accent3" accent4="accent4" accent5="accent5" accent6="accent6" hlink="hlink" folHlink="folHlink"/>
  <p:sldLayoutIdLst>
    <p:sldLayoutId id="2147484419" r:id="rId1"/>
    <p:sldLayoutId id="2147484420" r:id="rId2"/>
    <p:sldLayoutId id="2147484421" r:id="rId3"/>
    <p:sldLayoutId id="2147484422" r:id="rId4"/>
    <p:sldLayoutId id="2147484423" r:id="rId5"/>
    <p:sldLayoutId id="2147484424" r:id="rId6"/>
    <p:sldLayoutId id="2147484425" r:id="rId7"/>
    <p:sldLayoutId id="2147484426" r:id="rId8"/>
    <p:sldLayoutId id="2147484427" r:id="rId9"/>
    <p:sldLayoutId id="2147484428" r:id="rId10"/>
    <p:sldLayoutId id="2147484429" r:id="rId11"/>
    <p:sldLayoutId id="2147484430" r:id="rId12"/>
    <p:sldLayoutId id="2147484431" r:id="rId13"/>
    <p:sldLayoutId id="2147484432" r:id="rId14"/>
  </p:sldLayoutIdLst>
  <p:hf hdr="0" ftr="0" dt="0"/>
  <p:txStyles>
    <p:titleStyle>
      <a:lvl1pPr algn="l" defTabSz="844083" rtl="0" eaLnBrk="1" latinLnBrk="0" hangingPunct="1">
        <a:spcBef>
          <a:spcPct val="0"/>
        </a:spcBef>
        <a:buNone/>
        <a:defRPr sz="1846" b="1" kern="1200" baseline="0">
          <a:solidFill>
            <a:srgbClr val="4472C4"/>
          </a:solidFill>
          <a:latin typeface="Arial"/>
          <a:ea typeface="+mj-ea"/>
          <a:cs typeface="Arial"/>
          <a:sym typeface="Arial"/>
        </a:defRPr>
      </a:lvl1pPr>
    </p:titleStyle>
    <p:bodyStyle>
      <a:lvl1pPr marL="0" indent="0" algn="l" defTabSz="844083" rtl="0" eaLnBrk="1" latinLnBrk="0" hangingPunct="1">
        <a:spcBef>
          <a:spcPts val="354"/>
        </a:spcBef>
        <a:buFontTx/>
        <a:buNone/>
        <a:defRPr sz="1477" b="1" kern="1200" baseline="0">
          <a:solidFill>
            <a:srgbClr val="002D72"/>
          </a:solidFill>
          <a:latin typeface="Arial"/>
          <a:ea typeface="+mn-ea"/>
          <a:cs typeface="Arial"/>
          <a:sym typeface="Arial"/>
        </a:defRPr>
      </a:lvl1pPr>
      <a:lvl2pPr marL="422041" indent="-211021" algn="l" defTabSz="844083" rtl="0" eaLnBrk="1" latinLnBrk="0" hangingPunct="1">
        <a:spcBef>
          <a:spcPts val="354"/>
        </a:spcBef>
        <a:buClr>
          <a:srgbClr val="002D72"/>
        </a:buClr>
        <a:buFont typeface="Arial" pitchFamily="34" charset="0"/>
        <a:buChar char="•"/>
        <a:defRPr sz="1477" kern="1200" baseline="0">
          <a:solidFill>
            <a:srgbClr val="002D72"/>
          </a:solidFill>
          <a:latin typeface="Arial"/>
          <a:ea typeface="+mn-ea"/>
          <a:cs typeface="Arial"/>
          <a:sym typeface="Arial"/>
        </a:defRPr>
      </a:lvl2pPr>
      <a:lvl3pPr marL="844083" indent="-211021" algn="l" defTabSz="844083" rtl="0" eaLnBrk="1" latinLnBrk="0" hangingPunct="1">
        <a:spcBef>
          <a:spcPts val="354"/>
        </a:spcBef>
        <a:buClr>
          <a:srgbClr val="002D72"/>
        </a:buClr>
        <a:buFont typeface="Arial" pitchFamily="34" charset="0"/>
        <a:buChar char="–"/>
        <a:defRPr sz="1477" kern="1200" baseline="0">
          <a:solidFill>
            <a:srgbClr val="002D72"/>
          </a:solidFill>
          <a:latin typeface="Arial"/>
          <a:ea typeface="+mn-ea"/>
          <a:cs typeface="Arial"/>
          <a:sym typeface="Arial"/>
        </a:defRPr>
      </a:lvl3pPr>
      <a:lvl4pPr marL="1270521" indent="-215416" algn="l" defTabSz="844083" rtl="0" eaLnBrk="1" latinLnBrk="0" hangingPunct="1">
        <a:spcBef>
          <a:spcPts val="354"/>
        </a:spcBef>
        <a:buClr>
          <a:srgbClr val="002D72"/>
        </a:buClr>
        <a:buFont typeface="Arial" pitchFamily="34" charset="0"/>
        <a:buChar char="–"/>
        <a:defRPr sz="1477" kern="1200" baseline="0">
          <a:solidFill>
            <a:srgbClr val="002D72"/>
          </a:solidFill>
          <a:latin typeface="Arial"/>
          <a:ea typeface="+mn-ea"/>
          <a:cs typeface="Arial"/>
          <a:sym typeface="Arial"/>
        </a:defRPr>
      </a:lvl4pPr>
      <a:lvl5pPr marL="1900652" indent="-212487" algn="l" defTabSz="844083" rtl="0" eaLnBrk="1" latinLnBrk="0" hangingPunct="1">
        <a:spcBef>
          <a:spcPts val="354"/>
        </a:spcBef>
        <a:buClr>
          <a:srgbClr val="002D72"/>
        </a:buClr>
        <a:buFont typeface="Arial" pitchFamily="34" charset="0"/>
        <a:buChar char="–"/>
        <a:defRPr sz="1477" kern="1200" baseline="0">
          <a:solidFill>
            <a:srgbClr val="002D72"/>
          </a:solidFill>
          <a:latin typeface="Arial"/>
          <a:ea typeface="+mn-ea"/>
          <a:cs typeface="Arial"/>
          <a:sym typeface="Arial"/>
        </a:defRPr>
      </a:lvl5pPr>
      <a:lvl6pPr marL="2321227"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6pPr>
      <a:lvl7pPr marL="2743269"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7pPr>
      <a:lvl8pPr marL="3165310"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8pPr>
      <a:lvl9pPr marL="3587351"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9pPr>
    </p:bodyStyle>
    <p:otherStyle>
      <a:defPPr>
        <a:defRPr lang="en-US"/>
      </a:defPPr>
      <a:lvl1pPr marL="0" algn="l" defTabSz="844083" rtl="0" eaLnBrk="1" latinLnBrk="0" hangingPunct="1">
        <a:defRPr sz="1662" kern="1200">
          <a:solidFill>
            <a:schemeClr val="tx1"/>
          </a:solidFill>
          <a:latin typeface="+mn-lt"/>
          <a:ea typeface="+mn-ea"/>
          <a:cs typeface="+mn-cs"/>
        </a:defRPr>
      </a:lvl1pPr>
      <a:lvl2pPr marL="422041" algn="l" defTabSz="844083" rtl="0" eaLnBrk="1" latinLnBrk="0" hangingPunct="1">
        <a:defRPr sz="1662" kern="1200">
          <a:solidFill>
            <a:schemeClr val="tx1"/>
          </a:solidFill>
          <a:latin typeface="+mn-lt"/>
          <a:ea typeface="+mn-ea"/>
          <a:cs typeface="+mn-cs"/>
        </a:defRPr>
      </a:lvl2pPr>
      <a:lvl3pPr marL="844083" algn="l" defTabSz="844083" rtl="0" eaLnBrk="1" latinLnBrk="0" hangingPunct="1">
        <a:defRPr sz="1662" kern="1200">
          <a:solidFill>
            <a:schemeClr val="tx1"/>
          </a:solidFill>
          <a:latin typeface="+mn-lt"/>
          <a:ea typeface="+mn-ea"/>
          <a:cs typeface="+mn-cs"/>
        </a:defRPr>
      </a:lvl3pPr>
      <a:lvl4pPr marL="1266124" algn="l" defTabSz="844083" rtl="0" eaLnBrk="1" latinLnBrk="0" hangingPunct="1">
        <a:defRPr sz="1662" kern="1200">
          <a:solidFill>
            <a:schemeClr val="tx1"/>
          </a:solidFill>
          <a:latin typeface="+mn-lt"/>
          <a:ea typeface="+mn-ea"/>
          <a:cs typeface="+mn-cs"/>
        </a:defRPr>
      </a:lvl4pPr>
      <a:lvl5pPr marL="1688165" algn="l" defTabSz="844083" rtl="0" eaLnBrk="1" latinLnBrk="0" hangingPunct="1">
        <a:defRPr sz="1662" kern="1200">
          <a:solidFill>
            <a:schemeClr val="tx1"/>
          </a:solidFill>
          <a:latin typeface="+mn-lt"/>
          <a:ea typeface="+mn-ea"/>
          <a:cs typeface="+mn-cs"/>
        </a:defRPr>
      </a:lvl5pPr>
      <a:lvl6pPr marL="2110207" algn="l" defTabSz="844083" rtl="0" eaLnBrk="1" latinLnBrk="0" hangingPunct="1">
        <a:defRPr sz="1662" kern="1200">
          <a:solidFill>
            <a:schemeClr val="tx1"/>
          </a:solidFill>
          <a:latin typeface="+mn-lt"/>
          <a:ea typeface="+mn-ea"/>
          <a:cs typeface="+mn-cs"/>
        </a:defRPr>
      </a:lvl6pPr>
      <a:lvl7pPr marL="2532248" algn="l" defTabSz="844083" rtl="0" eaLnBrk="1" latinLnBrk="0" hangingPunct="1">
        <a:defRPr sz="1662" kern="1200">
          <a:solidFill>
            <a:schemeClr val="tx1"/>
          </a:solidFill>
          <a:latin typeface="+mn-lt"/>
          <a:ea typeface="+mn-ea"/>
          <a:cs typeface="+mn-cs"/>
        </a:defRPr>
      </a:lvl7pPr>
      <a:lvl8pPr marL="2954289" algn="l" defTabSz="844083" rtl="0" eaLnBrk="1" latinLnBrk="0" hangingPunct="1">
        <a:defRPr sz="1662" kern="1200">
          <a:solidFill>
            <a:schemeClr val="tx1"/>
          </a:solidFill>
          <a:latin typeface="+mn-lt"/>
          <a:ea typeface="+mn-ea"/>
          <a:cs typeface="+mn-cs"/>
        </a:defRPr>
      </a:lvl8pPr>
      <a:lvl9pPr marL="3376331" algn="l" defTabSz="844083" rtl="0" eaLnBrk="1" latinLnBrk="0" hangingPunct="1">
        <a:defRPr sz="1662" kern="1200">
          <a:solidFill>
            <a:schemeClr val="tx1"/>
          </a:solidFill>
          <a:latin typeface="+mn-lt"/>
          <a:ea typeface="+mn-ea"/>
          <a:cs typeface="+mn-cs"/>
        </a:defRPr>
      </a:lvl9pPr>
    </p:otherStyle>
  </p:txStyles>
</p:sldMaster>
</file>

<file path=ppt/slideMasters/slideMaster2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2" name="Object 31" hidden="1"/>
          <p:cNvGraphicFramePr>
            <a:graphicFrameLocks noChangeAspect="1"/>
          </p:cNvGraphicFramePr>
          <p:nvPr>
            <p:custDataLst>
              <p:tags r:id="rId16"/>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882758" name="think-cell Slide" r:id="rId17" imgW="270" imgH="270" progId="TCLayout.ActiveDocument.1">
                  <p:embed/>
                </p:oleObj>
              </mc:Choice>
              <mc:Fallback>
                <p:oleObj name="think-cell Slide" r:id="rId17" imgW="270" imgH="270" progId="TCLayout.ActiveDocument.1">
                  <p:embed/>
                  <p:pic>
                    <p:nvPicPr>
                      <p:cNvPr id="32" name="Object 31" hidden="1"/>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a:xfrm>
            <a:off x="562708" y="162000"/>
            <a:ext cx="11068061" cy="832104"/>
          </a:xfrm>
          <a:prstGeom prst="rect">
            <a:avLst/>
          </a:prstGeom>
        </p:spPr>
        <p:txBody>
          <a:bodyPr vert="horz" lIns="0" tIns="45720" rIns="0" bIns="45720" rtlCol="0" anchor="t" anchorCtr="0">
            <a:noAutofit/>
          </a:bodyPr>
          <a:lstStyle/>
          <a:p>
            <a:r>
              <a:rPr lang="en-US" noProof="0" dirty="0"/>
              <a:t>Click to edit Master title style</a:t>
            </a:r>
          </a:p>
        </p:txBody>
      </p:sp>
      <p:sp>
        <p:nvSpPr>
          <p:cNvPr id="7" name="FooterSimple"/>
          <p:cNvSpPr/>
          <p:nvPr userDrawn="1"/>
        </p:nvSpPr>
        <p:spPr>
          <a:xfrm>
            <a:off x="393793" y="6719264"/>
            <a:ext cx="793108" cy="10772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oAutofit/>
          </a:bodyPr>
          <a:lstStyle/>
          <a:p>
            <a:pPr algn="l"/>
            <a:r>
              <a:rPr lang="en-US" sz="646" noProof="0">
                <a:solidFill>
                  <a:srgbClr val="808080"/>
                </a:solidFill>
                <a:latin typeface="Arial"/>
                <a:cs typeface="Arial"/>
                <a:sym typeface="Arial"/>
              </a:rPr>
              <a:t>Blank.potx</a:t>
            </a:r>
            <a:endParaRPr lang="en-US" sz="646" noProof="0" dirty="0">
              <a:solidFill>
                <a:srgbClr val="808080"/>
              </a:solidFill>
              <a:latin typeface="Arial"/>
              <a:cs typeface="Arial"/>
              <a:sym typeface="Arial"/>
            </a:endParaRPr>
          </a:p>
        </p:txBody>
      </p:sp>
      <p:sp>
        <p:nvSpPr>
          <p:cNvPr id="13" name="Text Placeholder 12"/>
          <p:cNvSpPr>
            <a:spLocks noGrp="1"/>
          </p:cNvSpPr>
          <p:nvPr>
            <p:ph type="body" idx="1"/>
          </p:nvPr>
        </p:nvSpPr>
        <p:spPr>
          <a:xfrm>
            <a:off x="562708" y="1508760"/>
            <a:ext cx="11074088" cy="3997304"/>
          </a:xfrm>
          <a:prstGeom prst="rect">
            <a:avLst/>
          </a:prstGeom>
        </p:spPr>
        <p:txBody>
          <a:bodyPr vert="horz" lIns="0" tIns="0" rIns="0" bIns="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Box 7"/>
          <p:cNvSpPr txBox="1"/>
          <p:nvPr userDrawn="1"/>
        </p:nvSpPr>
        <p:spPr>
          <a:xfrm>
            <a:off x="5841383" y="6271545"/>
            <a:ext cx="458115" cy="276999"/>
          </a:xfrm>
          <a:prstGeom prst="rect">
            <a:avLst/>
          </a:prstGeom>
          <a:noFill/>
          <a:ln/>
          <a:effectLst/>
        </p:spPr>
        <p:txBody>
          <a:bodyPr wrap="none" lIns="84406" tIns="50644" rIns="84406" bIns="42203" rtlCol="0" anchor="t" anchorCtr="0">
            <a:noAutofit/>
          </a:bodyPr>
          <a:lstStyle/>
          <a:p>
            <a:pPr marL="0" marR="0" lvl="0" indent="0" algn="r" defTabSz="844083" rtl="0" eaLnBrk="1" fontAlgn="auto" latinLnBrk="0" hangingPunct="1">
              <a:lnSpc>
                <a:spcPct val="100000"/>
              </a:lnSpc>
              <a:spcBef>
                <a:spcPts val="0"/>
              </a:spcBef>
              <a:spcAft>
                <a:spcPts val="0"/>
              </a:spcAft>
              <a:buClrTx/>
              <a:buSzTx/>
              <a:buFontTx/>
              <a:buNone/>
              <a:tabLst/>
              <a:defRPr/>
            </a:pPr>
            <a:fld id="{8FDC6993-5875-43F1-AB5B-56FAFD3221C9}" type="slidenum">
              <a:rPr lang="en-US" sz="923" kern="1200" baseline="0" noProof="0" smtClean="0">
                <a:solidFill>
                  <a:schemeClr val="bg1"/>
                </a:solidFill>
                <a:latin typeface="Arial"/>
                <a:ea typeface="+mn-ea"/>
                <a:cs typeface="+mn-cs"/>
              </a:rPr>
              <a:pPr marL="0" marR="0" lvl="0" indent="0" algn="r" defTabSz="844083" rtl="0" eaLnBrk="1" fontAlgn="auto" latinLnBrk="0" hangingPunct="1">
                <a:lnSpc>
                  <a:spcPct val="100000"/>
                </a:lnSpc>
                <a:spcBef>
                  <a:spcPts val="0"/>
                </a:spcBef>
                <a:spcAft>
                  <a:spcPts val="0"/>
                </a:spcAft>
                <a:buClrTx/>
                <a:buSzTx/>
                <a:buFontTx/>
                <a:buNone/>
                <a:tabLst/>
                <a:defRPr/>
              </a:pPr>
              <a:t>‹#›</a:t>
            </a:fld>
            <a:endParaRPr lang="en-US" sz="923" kern="1200" baseline="0" noProof="0" dirty="0">
              <a:solidFill>
                <a:schemeClr val="bg1"/>
              </a:solidFill>
              <a:latin typeface="Arial"/>
              <a:ea typeface="+mn-ea"/>
              <a:cs typeface="+mn-cs"/>
            </a:endParaRPr>
          </a:p>
          <a:p>
            <a:endParaRPr lang="en-US" sz="831" dirty="0">
              <a:solidFill>
                <a:schemeClr val="bg1"/>
              </a:solidFill>
              <a:latin typeface="Arial"/>
            </a:endParaRPr>
          </a:p>
        </p:txBody>
      </p:sp>
      <p:sp>
        <p:nvSpPr>
          <p:cNvPr id="12" name="Slide Number Placeholder 5"/>
          <p:cNvSpPr txBox="1">
            <a:spLocks/>
          </p:cNvSpPr>
          <p:nvPr userDrawn="1"/>
        </p:nvSpPr>
        <p:spPr>
          <a:xfrm>
            <a:off x="11288131" y="6448892"/>
            <a:ext cx="793995" cy="365125"/>
          </a:xfrm>
          <a:prstGeom prst="rect">
            <a:avLst/>
          </a:prstGeom>
        </p:spPr>
        <p:txBody>
          <a:bodyPr vert="horz" lIns="84406" tIns="42203" rIns="84406" bIns="42203"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FC7F43E-2420-6848-A2B2-B5C9DEF3CEAA}" type="slidenum">
              <a:rPr lang="en-US" sz="923" smtClean="0">
                <a:solidFill>
                  <a:prstClr val="black">
                    <a:tint val="75000"/>
                  </a:prstClr>
                </a:solidFill>
                <a:latin typeface="Arial" panose="020B0604020202020204" pitchFamily="34" charset="0"/>
                <a:cs typeface="Arial" panose="020B0604020202020204" pitchFamily="34" charset="0"/>
              </a:rPr>
              <a:pPr/>
              <a:t>‹#›</a:t>
            </a:fld>
            <a:endParaRPr lang="en-US" sz="923" dirty="0">
              <a:solidFill>
                <a:prstClr val="black">
                  <a:tint val="75000"/>
                </a:prstClr>
              </a:solidFill>
              <a:latin typeface="Arial" panose="020B0604020202020204" pitchFamily="34" charset="0"/>
              <a:cs typeface="Arial" panose="020B0604020202020204" pitchFamily="34" charset="0"/>
            </a:endParaRPr>
          </a:p>
        </p:txBody>
      </p:sp>
      <p:pic>
        <p:nvPicPr>
          <p:cNvPr id="14" name="Picture 13"/>
          <p:cNvPicPr>
            <a:picLocks noChangeAspect="1"/>
          </p:cNvPicPr>
          <p:nvPr userDrawn="1"/>
        </p:nvPicPr>
        <p:blipFill>
          <a:blip r:embed="rId19" cstate="print">
            <a:extLst>
              <a:ext uri="{28A0092B-C50C-407E-A947-70E740481C1C}">
                <a14:useLocalDpi xmlns:a14="http://schemas.microsoft.com/office/drawing/2010/main" val="0"/>
              </a:ext>
            </a:extLst>
          </a:blip>
          <a:stretch>
            <a:fillRect/>
          </a:stretch>
        </p:blipFill>
        <p:spPr>
          <a:xfrm>
            <a:off x="10505029" y="6552810"/>
            <a:ext cx="1076129" cy="141242"/>
          </a:xfrm>
          <a:prstGeom prst="rect">
            <a:avLst/>
          </a:prstGeom>
        </p:spPr>
      </p:pic>
      <p:pic>
        <p:nvPicPr>
          <p:cNvPr id="16" name="pasted-image.pdf" descr="pasted-image.pdf"/>
          <p:cNvPicPr>
            <a:picLocks noChangeAspect="1"/>
          </p:cNvPicPr>
          <p:nvPr userDrawn="1"/>
        </p:nvPicPr>
        <p:blipFill>
          <a:blip r:embed="rId20" cstate="print"/>
          <a:stretch>
            <a:fillRect/>
          </a:stretch>
        </p:blipFill>
        <p:spPr>
          <a:xfrm>
            <a:off x="393794" y="6416675"/>
            <a:ext cx="518061" cy="256674"/>
          </a:xfrm>
          <a:prstGeom prst="rect">
            <a:avLst/>
          </a:prstGeom>
          <a:ln w="12700">
            <a:miter lim="400000"/>
          </a:ln>
        </p:spPr>
      </p:pic>
    </p:spTree>
    <p:extLst>
      <p:ext uri="{BB962C8B-B14F-4D97-AF65-F5344CB8AC3E}">
        <p14:creationId xmlns:p14="http://schemas.microsoft.com/office/powerpoint/2010/main" val="1826202105"/>
      </p:ext>
    </p:extLst>
  </p:cSld>
  <p:clrMap bg1="lt1" tx1="dk1" bg2="lt2" tx2="dk2" accent1="accent1" accent2="accent2" accent3="accent3" accent4="accent4" accent5="accent5" accent6="accent6" hlink="hlink" folHlink="folHlink"/>
  <p:sldLayoutIdLst>
    <p:sldLayoutId id="2147484494" r:id="rId1"/>
    <p:sldLayoutId id="2147484495" r:id="rId2"/>
    <p:sldLayoutId id="2147484496" r:id="rId3"/>
    <p:sldLayoutId id="2147484497" r:id="rId4"/>
    <p:sldLayoutId id="2147484498" r:id="rId5"/>
    <p:sldLayoutId id="2147484499" r:id="rId6"/>
    <p:sldLayoutId id="2147484500" r:id="rId7"/>
    <p:sldLayoutId id="2147484501" r:id="rId8"/>
    <p:sldLayoutId id="2147484502" r:id="rId9"/>
    <p:sldLayoutId id="2147484503" r:id="rId10"/>
    <p:sldLayoutId id="2147484504" r:id="rId11"/>
    <p:sldLayoutId id="2147484505" r:id="rId12"/>
    <p:sldLayoutId id="2147484506" r:id="rId13"/>
  </p:sldLayoutIdLst>
  <p:hf hdr="0" ftr="0" dt="0"/>
  <p:txStyles>
    <p:titleStyle>
      <a:lvl1pPr algn="l" defTabSz="844083" rtl="0" eaLnBrk="1" latinLnBrk="0" hangingPunct="1">
        <a:spcBef>
          <a:spcPct val="0"/>
        </a:spcBef>
        <a:buNone/>
        <a:defRPr sz="1846" b="1" kern="1200" baseline="0">
          <a:solidFill>
            <a:srgbClr val="4472C4"/>
          </a:solidFill>
          <a:latin typeface="Arial"/>
          <a:ea typeface="+mj-ea"/>
          <a:cs typeface="Arial"/>
          <a:sym typeface="Arial"/>
        </a:defRPr>
      </a:lvl1pPr>
    </p:titleStyle>
    <p:bodyStyle>
      <a:lvl1pPr marL="0" indent="0" algn="l" defTabSz="844083" rtl="0" eaLnBrk="1" latinLnBrk="0" hangingPunct="1">
        <a:spcBef>
          <a:spcPts val="354"/>
        </a:spcBef>
        <a:buFontTx/>
        <a:buNone/>
        <a:defRPr sz="1477" b="1" kern="1200" baseline="0">
          <a:solidFill>
            <a:srgbClr val="002D72"/>
          </a:solidFill>
          <a:latin typeface="Arial"/>
          <a:ea typeface="+mn-ea"/>
          <a:cs typeface="Arial"/>
          <a:sym typeface="Arial"/>
        </a:defRPr>
      </a:lvl1pPr>
      <a:lvl2pPr marL="422041" indent="-211021" algn="l" defTabSz="844083" rtl="0" eaLnBrk="1" latinLnBrk="0" hangingPunct="1">
        <a:spcBef>
          <a:spcPts val="354"/>
        </a:spcBef>
        <a:buClr>
          <a:srgbClr val="002D72"/>
        </a:buClr>
        <a:buFont typeface="Arial" pitchFamily="34" charset="0"/>
        <a:buChar char="•"/>
        <a:defRPr sz="1477" kern="1200" baseline="0">
          <a:solidFill>
            <a:srgbClr val="002D72"/>
          </a:solidFill>
          <a:latin typeface="Arial"/>
          <a:ea typeface="+mn-ea"/>
          <a:cs typeface="Arial"/>
          <a:sym typeface="Arial"/>
        </a:defRPr>
      </a:lvl2pPr>
      <a:lvl3pPr marL="844083" indent="-211021" algn="l" defTabSz="844083" rtl="0" eaLnBrk="1" latinLnBrk="0" hangingPunct="1">
        <a:spcBef>
          <a:spcPts val="354"/>
        </a:spcBef>
        <a:buClr>
          <a:srgbClr val="002D72"/>
        </a:buClr>
        <a:buFont typeface="Arial" pitchFamily="34" charset="0"/>
        <a:buChar char="–"/>
        <a:defRPr sz="1477" kern="1200" baseline="0">
          <a:solidFill>
            <a:srgbClr val="002D72"/>
          </a:solidFill>
          <a:latin typeface="Arial"/>
          <a:ea typeface="+mn-ea"/>
          <a:cs typeface="Arial"/>
          <a:sym typeface="Arial"/>
        </a:defRPr>
      </a:lvl3pPr>
      <a:lvl4pPr marL="1270521" indent="-215416" algn="l" defTabSz="844083" rtl="0" eaLnBrk="1" latinLnBrk="0" hangingPunct="1">
        <a:spcBef>
          <a:spcPts val="354"/>
        </a:spcBef>
        <a:buClr>
          <a:srgbClr val="002D72"/>
        </a:buClr>
        <a:buFont typeface="Arial" pitchFamily="34" charset="0"/>
        <a:buChar char="–"/>
        <a:defRPr sz="1477" kern="1200" baseline="0">
          <a:solidFill>
            <a:srgbClr val="002D72"/>
          </a:solidFill>
          <a:latin typeface="Arial"/>
          <a:ea typeface="+mn-ea"/>
          <a:cs typeface="Arial"/>
          <a:sym typeface="Arial"/>
        </a:defRPr>
      </a:lvl4pPr>
      <a:lvl5pPr marL="1900652" indent="-212487" algn="l" defTabSz="844083" rtl="0" eaLnBrk="1" latinLnBrk="0" hangingPunct="1">
        <a:spcBef>
          <a:spcPts val="354"/>
        </a:spcBef>
        <a:buClr>
          <a:srgbClr val="002D72"/>
        </a:buClr>
        <a:buFont typeface="Arial" pitchFamily="34" charset="0"/>
        <a:buChar char="–"/>
        <a:defRPr sz="1477" kern="1200" baseline="0">
          <a:solidFill>
            <a:srgbClr val="002D72"/>
          </a:solidFill>
          <a:latin typeface="Arial"/>
          <a:ea typeface="+mn-ea"/>
          <a:cs typeface="Arial"/>
          <a:sym typeface="Arial"/>
        </a:defRPr>
      </a:lvl5pPr>
      <a:lvl6pPr marL="2321227"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6pPr>
      <a:lvl7pPr marL="2743269"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7pPr>
      <a:lvl8pPr marL="3165310"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8pPr>
      <a:lvl9pPr marL="3587351"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9pPr>
    </p:bodyStyle>
    <p:otherStyle>
      <a:defPPr>
        <a:defRPr lang="en-US"/>
      </a:defPPr>
      <a:lvl1pPr marL="0" algn="l" defTabSz="844083" rtl="0" eaLnBrk="1" latinLnBrk="0" hangingPunct="1">
        <a:defRPr sz="1662" kern="1200">
          <a:solidFill>
            <a:schemeClr val="tx1"/>
          </a:solidFill>
          <a:latin typeface="+mn-lt"/>
          <a:ea typeface="+mn-ea"/>
          <a:cs typeface="+mn-cs"/>
        </a:defRPr>
      </a:lvl1pPr>
      <a:lvl2pPr marL="422041" algn="l" defTabSz="844083" rtl="0" eaLnBrk="1" latinLnBrk="0" hangingPunct="1">
        <a:defRPr sz="1662" kern="1200">
          <a:solidFill>
            <a:schemeClr val="tx1"/>
          </a:solidFill>
          <a:latin typeface="+mn-lt"/>
          <a:ea typeface="+mn-ea"/>
          <a:cs typeface="+mn-cs"/>
        </a:defRPr>
      </a:lvl2pPr>
      <a:lvl3pPr marL="844083" algn="l" defTabSz="844083" rtl="0" eaLnBrk="1" latinLnBrk="0" hangingPunct="1">
        <a:defRPr sz="1662" kern="1200">
          <a:solidFill>
            <a:schemeClr val="tx1"/>
          </a:solidFill>
          <a:latin typeface="+mn-lt"/>
          <a:ea typeface="+mn-ea"/>
          <a:cs typeface="+mn-cs"/>
        </a:defRPr>
      </a:lvl3pPr>
      <a:lvl4pPr marL="1266124" algn="l" defTabSz="844083" rtl="0" eaLnBrk="1" latinLnBrk="0" hangingPunct="1">
        <a:defRPr sz="1662" kern="1200">
          <a:solidFill>
            <a:schemeClr val="tx1"/>
          </a:solidFill>
          <a:latin typeface="+mn-lt"/>
          <a:ea typeface="+mn-ea"/>
          <a:cs typeface="+mn-cs"/>
        </a:defRPr>
      </a:lvl4pPr>
      <a:lvl5pPr marL="1688165" algn="l" defTabSz="844083" rtl="0" eaLnBrk="1" latinLnBrk="0" hangingPunct="1">
        <a:defRPr sz="1662" kern="1200">
          <a:solidFill>
            <a:schemeClr val="tx1"/>
          </a:solidFill>
          <a:latin typeface="+mn-lt"/>
          <a:ea typeface="+mn-ea"/>
          <a:cs typeface="+mn-cs"/>
        </a:defRPr>
      </a:lvl5pPr>
      <a:lvl6pPr marL="2110207" algn="l" defTabSz="844083" rtl="0" eaLnBrk="1" latinLnBrk="0" hangingPunct="1">
        <a:defRPr sz="1662" kern="1200">
          <a:solidFill>
            <a:schemeClr val="tx1"/>
          </a:solidFill>
          <a:latin typeface="+mn-lt"/>
          <a:ea typeface="+mn-ea"/>
          <a:cs typeface="+mn-cs"/>
        </a:defRPr>
      </a:lvl6pPr>
      <a:lvl7pPr marL="2532248" algn="l" defTabSz="844083" rtl="0" eaLnBrk="1" latinLnBrk="0" hangingPunct="1">
        <a:defRPr sz="1662" kern="1200">
          <a:solidFill>
            <a:schemeClr val="tx1"/>
          </a:solidFill>
          <a:latin typeface="+mn-lt"/>
          <a:ea typeface="+mn-ea"/>
          <a:cs typeface="+mn-cs"/>
        </a:defRPr>
      </a:lvl7pPr>
      <a:lvl8pPr marL="2954289" algn="l" defTabSz="844083" rtl="0" eaLnBrk="1" latinLnBrk="0" hangingPunct="1">
        <a:defRPr sz="1662" kern="1200">
          <a:solidFill>
            <a:schemeClr val="tx1"/>
          </a:solidFill>
          <a:latin typeface="+mn-lt"/>
          <a:ea typeface="+mn-ea"/>
          <a:cs typeface="+mn-cs"/>
        </a:defRPr>
      </a:lvl8pPr>
      <a:lvl9pPr marL="3376331" algn="l" defTabSz="844083" rtl="0" eaLnBrk="1" latinLnBrk="0" hangingPunct="1">
        <a:defRPr sz="1662" kern="1200">
          <a:solidFill>
            <a:schemeClr val="tx1"/>
          </a:solidFill>
          <a:latin typeface="+mn-lt"/>
          <a:ea typeface="+mn-ea"/>
          <a:cs typeface="+mn-cs"/>
        </a:defRPr>
      </a:lvl9pPr>
    </p:otherStyle>
  </p:txStyles>
</p:sldMaster>
</file>

<file path=ppt/slideMasters/slideMaster2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2" name="Object 31" hidden="1"/>
          <p:cNvGraphicFramePr>
            <a:graphicFrameLocks noChangeAspect="1"/>
          </p:cNvGraphicFramePr>
          <p:nvPr>
            <p:custDataLst>
              <p:tags r:id="rId17"/>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907293" name="think-cell Slide" r:id="rId18" imgW="270" imgH="270" progId="TCLayout.ActiveDocument.1">
                  <p:embed/>
                </p:oleObj>
              </mc:Choice>
              <mc:Fallback>
                <p:oleObj name="think-cell Slide" r:id="rId18" imgW="270" imgH="270" progId="TCLayout.ActiveDocument.1">
                  <p:embed/>
                  <p:pic>
                    <p:nvPicPr>
                      <p:cNvPr id="32" name="Object 31" hidden="1"/>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a:xfrm>
            <a:off x="562708" y="162000"/>
            <a:ext cx="11068061" cy="832104"/>
          </a:xfrm>
          <a:prstGeom prst="rect">
            <a:avLst/>
          </a:prstGeom>
        </p:spPr>
        <p:txBody>
          <a:bodyPr vert="horz" lIns="0" tIns="45720" rIns="0" bIns="45720" rtlCol="0" anchor="t" anchorCtr="0">
            <a:noAutofit/>
          </a:bodyPr>
          <a:lstStyle/>
          <a:p>
            <a:r>
              <a:rPr lang="en-US" noProof="0" dirty="0"/>
              <a:t>Click to edit Master title style</a:t>
            </a:r>
          </a:p>
        </p:txBody>
      </p:sp>
      <p:sp>
        <p:nvSpPr>
          <p:cNvPr id="7" name="FooterSimple"/>
          <p:cNvSpPr/>
          <p:nvPr userDrawn="1"/>
        </p:nvSpPr>
        <p:spPr>
          <a:xfrm>
            <a:off x="393793" y="6719264"/>
            <a:ext cx="793108" cy="10772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oAutofit/>
          </a:bodyPr>
          <a:lstStyle/>
          <a:p>
            <a:pPr algn="l"/>
            <a:r>
              <a:rPr lang="en-US" sz="646" noProof="0">
                <a:solidFill>
                  <a:srgbClr val="808080"/>
                </a:solidFill>
                <a:latin typeface="Arial"/>
                <a:cs typeface="Arial"/>
                <a:sym typeface="Arial"/>
              </a:rPr>
              <a:t>Blank.potx</a:t>
            </a:r>
            <a:endParaRPr lang="en-US" sz="646" noProof="0" dirty="0">
              <a:solidFill>
                <a:srgbClr val="808080"/>
              </a:solidFill>
              <a:latin typeface="Arial"/>
              <a:cs typeface="Arial"/>
              <a:sym typeface="Arial"/>
            </a:endParaRPr>
          </a:p>
        </p:txBody>
      </p:sp>
      <p:sp>
        <p:nvSpPr>
          <p:cNvPr id="13" name="Text Placeholder 12"/>
          <p:cNvSpPr>
            <a:spLocks noGrp="1"/>
          </p:cNvSpPr>
          <p:nvPr>
            <p:ph type="body" idx="1"/>
          </p:nvPr>
        </p:nvSpPr>
        <p:spPr>
          <a:xfrm>
            <a:off x="562708" y="1508760"/>
            <a:ext cx="11074088" cy="3997304"/>
          </a:xfrm>
          <a:prstGeom prst="rect">
            <a:avLst/>
          </a:prstGeom>
        </p:spPr>
        <p:txBody>
          <a:bodyPr vert="horz" lIns="0" tIns="0" rIns="0" bIns="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Box 7"/>
          <p:cNvSpPr txBox="1"/>
          <p:nvPr userDrawn="1"/>
        </p:nvSpPr>
        <p:spPr>
          <a:xfrm>
            <a:off x="5841383" y="6271545"/>
            <a:ext cx="458115" cy="276999"/>
          </a:xfrm>
          <a:prstGeom prst="rect">
            <a:avLst/>
          </a:prstGeom>
          <a:noFill/>
          <a:ln/>
          <a:effectLst/>
        </p:spPr>
        <p:txBody>
          <a:bodyPr wrap="none" lIns="84406" tIns="50644" rIns="84406" bIns="42203" rtlCol="0" anchor="t" anchorCtr="0">
            <a:noAutofit/>
          </a:bodyPr>
          <a:lstStyle/>
          <a:p>
            <a:pPr marL="0" marR="0" lvl="0" indent="0" algn="r" defTabSz="844083" rtl="0" eaLnBrk="1" fontAlgn="auto" latinLnBrk="0" hangingPunct="1">
              <a:lnSpc>
                <a:spcPct val="100000"/>
              </a:lnSpc>
              <a:spcBef>
                <a:spcPts val="0"/>
              </a:spcBef>
              <a:spcAft>
                <a:spcPts val="0"/>
              </a:spcAft>
              <a:buClrTx/>
              <a:buSzTx/>
              <a:buFontTx/>
              <a:buNone/>
              <a:tabLst/>
              <a:defRPr/>
            </a:pPr>
            <a:fld id="{8FDC6993-5875-43F1-AB5B-56FAFD3221C9}" type="slidenum">
              <a:rPr lang="en-US" sz="923" kern="1200" baseline="0" noProof="0" smtClean="0">
                <a:solidFill>
                  <a:schemeClr val="bg1"/>
                </a:solidFill>
                <a:latin typeface="Arial"/>
                <a:ea typeface="+mn-ea"/>
                <a:cs typeface="+mn-cs"/>
              </a:rPr>
              <a:pPr marL="0" marR="0" lvl="0" indent="0" algn="r" defTabSz="844083" rtl="0" eaLnBrk="1" fontAlgn="auto" latinLnBrk="0" hangingPunct="1">
                <a:lnSpc>
                  <a:spcPct val="100000"/>
                </a:lnSpc>
                <a:spcBef>
                  <a:spcPts val="0"/>
                </a:spcBef>
                <a:spcAft>
                  <a:spcPts val="0"/>
                </a:spcAft>
                <a:buClrTx/>
                <a:buSzTx/>
                <a:buFontTx/>
                <a:buNone/>
                <a:tabLst/>
                <a:defRPr/>
              </a:pPr>
              <a:t>‹#›</a:t>
            </a:fld>
            <a:endParaRPr lang="en-US" sz="923" kern="1200" baseline="0" noProof="0" dirty="0">
              <a:solidFill>
                <a:schemeClr val="bg1"/>
              </a:solidFill>
              <a:latin typeface="Arial"/>
              <a:ea typeface="+mn-ea"/>
              <a:cs typeface="+mn-cs"/>
            </a:endParaRPr>
          </a:p>
          <a:p>
            <a:endParaRPr lang="en-US" sz="831" dirty="0">
              <a:solidFill>
                <a:schemeClr val="bg1"/>
              </a:solidFill>
              <a:latin typeface="Arial"/>
            </a:endParaRPr>
          </a:p>
        </p:txBody>
      </p:sp>
      <p:sp>
        <p:nvSpPr>
          <p:cNvPr id="12" name="Slide Number Placeholder 5"/>
          <p:cNvSpPr txBox="1">
            <a:spLocks/>
          </p:cNvSpPr>
          <p:nvPr userDrawn="1"/>
        </p:nvSpPr>
        <p:spPr>
          <a:xfrm>
            <a:off x="11288131" y="6448892"/>
            <a:ext cx="793995" cy="365125"/>
          </a:xfrm>
          <a:prstGeom prst="rect">
            <a:avLst/>
          </a:prstGeom>
        </p:spPr>
        <p:txBody>
          <a:bodyPr vert="horz" lIns="84406" tIns="42203" rIns="84406" bIns="42203"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FC7F43E-2420-6848-A2B2-B5C9DEF3CEAA}" type="slidenum">
              <a:rPr lang="en-US" sz="923" smtClean="0">
                <a:solidFill>
                  <a:prstClr val="black">
                    <a:tint val="75000"/>
                  </a:prstClr>
                </a:solidFill>
                <a:latin typeface="Arial" panose="020B0604020202020204" pitchFamily="34" charset="0"/>
                <a:cs typeface="Arial" panose="020B0604020202020204" pitchFamily="34" charset="0"/>
              </a:rPr>
              <a:pPr/>
              <a:t>‹#›</a:t>
            </a:fld>
            <a:endParaRPr lang="en-US" sz="923" dirty="0">
              <a:solidFill>
                <a:prstClr val="black">
                  <a:tint val="75000"/>
                </a:prstClr>
              </a:solidFill>
              <a:latin typeface="Arial" panose="020B0604020202020204" pitchFamily="34" charset="0"/>
              <a:cs typeface="Arial" panose="020B0604020202020204" pitchFamily="34" charset="0"/>
            </a:endParaRPr>
          </a:p>
        </p:txBody>
      </p:sp>
      <p:pic>
        <p:nvPicPr>
          <p:cNvPr id="14" name="Picture 13"/>
          <p:cNvPicPr>
            <a:picLocks noChangeAspect="1"/>
          </p:cNvPicPr>
          <p:nvPr userDrawn="1"/>
        </p:nvPicPr>
        <p:blipFill>
          <a:blip r:embed="rId20" cstate="print">
            <a:extLst>
              <a:ext uri="{28A0092B-C50C-407E-A947-70E740481C1C}">
                <a14:useLocalDpi xmlns:a14="http://schemas.microsoft.com/office/drawing/2010/main" val="0"/>
              </a:ext>
            </a:extLst>
          </a:blip>
          <a:stretch>
            <a:fillRect/>
          </a:stretch>
        </p:blipFill>
        <p:spPr>
          <a:xfrm>
            <a:off x="10505029" y="6552810"/>
            <a:ext cx="1076129" cy="141242"/>
          </a:xfrm>
          <a:prstGeom prst="rect">
            <a:avLst/>
          </a:prstGeom>
        </p:spPr>
      </p:pic>
      <p:pic>
        <p:nvPicPr>
          <p:cNvPr id="16" name="pasted-image.pdf" descr="pasted-image.pdf"/>
          <p:cNvPicPr>
            <a:picLocks noChangeAspect="1"/>
          </p:cNvPicPr>
          <p:nvPr userDrawn="1"/>
        </p:nvPicPr>
        <p:blipFill>
          <a:blip r:embed="rId21" cstate="print"/>
          <a:stretch>
            <a:fillRect/>
          </a:stretch>
        </p:blipFill>
        <p:spPr>
          <a:xfrm>
            <a:off x="393794" y="6416675"/>
            <a:ext cx="518061" cy="256674"/>
          </a:xfrm>
          <a:prstGeom prst="rect">
            <a:avLst/>
          </a:prstGeom>
          <a:ln w="12700">
            <a:miter lim="400000"/>
          </a:ln>
        </p:spPr>
      </p:pic>
    </p:spTree>
    <p:extLst>
      <p:ext uri="{BB962C8B-B14F-4D97-AF65-F5344CB8AC3E}">
        <p14:creationId xmlns:p14="http://schemas.microsoft.com/office/powerpoint/2010/main" val="3355680654"/>
      </p:ext>
    </p:extLst>
  </p:cSld>
  <p:clrMap bg1="lt1" tx1="dk1" bg2="lt2" tx2="dk2" accent1="accent1" accent2="accent2" accent3="accent3" accent4="accent4" accent5="accent5" accent6="accent6" hlink="hlink" folHlink="folHlink"/>
  <p:sldLayoutIdLst>
    <p:sldLayoutId id="2147484539" r:id="rId1"/>
    <p:sldLayoutId id="2147484540" r:id="rId2"/>
    <p:sldLayoutId id="2147484541" r:id="rId3"/>
    <p:sldLayoutId id="2147484542" r:id="rId4"/>
    <p:sldLayoutId id="2147484543" r:id="rId5"/>
    <p:sldLayoutId id="2147484544" r:id="rId6"/>
    <p:sldLayoutId id="2147484545" r:id="rId7"/>
    <p:sldLayoutId id="2147484546" r:id="rId8"/>
    <p:sldLayoutId id="2147484547" r:id="rId9"/>
    <p:sldLayoutId id="2147484548" r:id="rId10"/>
    <p:sldLayoutId id="2147484549" r:id="rId11"/>
    <p:sldLayoutId id="2147484550" r:id="rId12"/>
    <p:sldLayoutId id="2147484551" r:id="rId13"/>
    <p:sldLayoutId id="2147484552" r:id="rId14"/>
  </p:sldLayoutIdLst>
  <p:hf hdr="0" ftr="0" dt="0"/>
  <p:txStyles>
    <p:titleStyle>
      <a:lvl1pPr algn="l" defTabSz="844083" rtl="0" eaLnBrk="1" latinLnBrk="0" hangingPunct="1">
        <a:spcBef>
          <a:spcPct val="0"/>
        </a:spcBef>
        <a:buNone/>
        <a:defRPr sz="1846" b="1" kern="1200" baseline="0">
          <a:solidFill>
            <a:srgbClr val="4472C4"/>
          </a:solidFill>
          <a:latin typeface="Arial"/>
          <a:ea typeface="+mj-ea"/>
          <a:cs typeface="Arial"/>
          <a:sym typeface="Arial"/>
        </a:defRPr>
      </a:lvl1pPr>
    </p:titleStyle>
    <p:bodyStyle>
      <a:lvl1pPr marL="0" indent="0" algn="l" defTabSz="844083" rtl="0" eaLnBrk="1" latinLnBrk="0" hangingPunct="1">
        <a:spcBef>
          <a:spcPts val="354"/>
        </a:spcBef>
        <a:buFontTx/>
        <a:buNone/>
        <a:defRPr sz="1477" b="1" kern="1200" baseline="0">
          <a:solidFill>
            <a:srgbClr val="002D72"/>
          </a:solidFill>
          <a:latin typeface="Arial"/>
          <a:ea typeface="+mn-ea"/>
          <a:cs typeface="Arial"/>
          <a:sym typeface="Arial"/>
        </a:defRPr>
      </a:lvl1pPr>
      <a:lvl2pPr marL="422041" indent="-211021" algn="l" defTabSz="844083" rtl="0" eaLnBrk="1" latinLnBrk="0" hangingPunct="1">
        <a:spcBef>
          <a:spcPts val="354"/>
        </a:spcBef>
        <a:buClr>
          <a:srgbClr val="002D72"/>
        </a:buClr>
        <a:buFont typeface="Arial" pitchFamily="34" charset="0"/>
        <a:buChar char="•"/>
        <a:defRPr sz="1477" kern="1200" baseline="0">
          <a:solidFill>
            <a:srgbClr val="002D72"/>
          </a:solidFill>
          <a:latin typeface="Arial"/>
          <a:ea typeface="+mn-ea"/>
          <a:cs typeface="Arial"/>
          <a:sym typeface="Arial"/>
        </a:defRPr>
      </a:lvl2pPr>
      <a:lvl3pPr marL="844083" indent="-211021" algn="l" defTabSz="844083" rtl="0" eaLnBrk="1" latinLnBrk="0" hangingPunct="1">
        <a:spcBef>
          <a:spcPts val="354"/>
        </a:spcBef>
        <a:buClr>
          <a:srgbClr val="002D72"/>
        </a:buClr>
        <a:buFont typeface="Arial" pitchFamily="34" charset="0"/>
        <a:buChar char="–"/>
        <a:defRPr sz="1477" kern="1200" baseline="0">
          <a:solidFill>
            <a:srgbClr val="002D72"/>
          </a:solidFill>
          <a:latin typeface="Arial"/>
          <a:ea typeface="+mn-ea"/>
          <a:cs typeface="Arial"/>
          <a:sym typeface="Arial"/>
        </a:defRPr>
      </a:lvl3pPr>
      <a:lvl4pPr marL="1270521" indent="-215416" algn="l" defTabSz="844083" rtl="0" eaLnBrk="1" latinLnBrk="0" hangingPunct="1">
        <a:spcBef>
          <a:spcPts val="354"/>
        </a:spcBef>
        <a:buClr>
          <a:srgbClr val="002D72"/>
        </a:buClr>
        <a:buFont typeface="Arial" pitchFamily="34" charset="0"/>
        <a:buChar char="–"/>
        <a:defRPr sz="1477" kern="1200" baseline="0">
          <a:solidFill>
            <a:srgbClr val="002D72"/>
          </a:solidFill>
          <a:latin typeface="Arial"/>
          <a:ea typeface="+mn-ea"/>
          <a:cs typeface="Arial"/>
          <a:sym typeface="Arial"/>
        </a:defRPr>
      </a:lvl4pPr>
      <a:lvl5pPr marL="1900652" indent="-212487" algn="l" defTabSz="844083" rtl="0" eaLnBrk="1" latinLnBrk="0" hangingPunct="1">
        <a:spcBef>
          <a:spcPts val="354"/>
        </a:spcBef>
        <a:buClr>
          <a:srgbClr val="002D72"/>
        </a:buClr>
        <a:buFont typeface="Arial" pitchFamily="34" charset="0"/>
        <a:buChar char="–"/>
        <a:defRPr sz="1477" kern="1200" baseline="0">
          <a:solidFill>
            <a:srgbClr val="002D72"/>
          </a:solidFill>
          <a:latin typeface="Arial"/>
          <a:ea typeface="+mn-ea"/>
          <a:cs typeface="Arial"/>
          <a:sym typeface="Arial"/>
        </a:defRPr>
      </a:lvl5pPr>
      <a:lvl6pPr marL="2321227"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6pPr>
      <a:lvl7pPr marL="2743269"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7pPr>
      <a:lvl8pPr marL="3165310"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8pPr>
      <a:lvl9pPr marL="3587351"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9pPr>
    </p:bodyStyle>
    <p:otherStyle>
      <a:defPPr>
        <a:defRPr lang="en-US"/>
      </a:defPPr>
      <a:lvl1pPr marL="0" algn="l" defTabSz="844083" rtl="0" eaLnBrk="1" latinLnBrk="0" hangingPunct="1">
        <a:defRPr sz="1662" kern="1200">
          <a:solidFill>
            <a:schemeClr val="tx1"/>
          </a:solidFill>
          <a:latin typeface="+mn-lt"/>
          <a:ea typeface="+mn-ea"/>
          <a:cs typeface="+mn-cs"/>
        </a:defRPr>
      </a:lvl1pPr>
      <a:lvl2pPr marL="422041" algn="l" defTabSz="844083" rtl="0" eaLnBrk="1" latinLnBrk="0" hangingPunct="1">
        <a:defRPr sz="1662" kern="1200">
          <a:solidFill>
            <a:schemeClr val="tx1"/>
          </a:solidFill>
          <a:latin typeface="+mn-lt"/>
          <a:ea typeface="+mn-ea"/>
          <a:cs typeface="+mn-cs"/>
        </a:defRPr>
      </a:lvl2pPr>
      <a:lvl3pPr marL="844083" algn="l" defTabSz="844083" rtl="0" eaLnBrk="1" latinLnBrk="0" hangingPunct="1">
        <a:defRPr sz="1662" kern="1200">
          <a:solidFill>
            <a:schemeClr val="tx1"/>
          </a:solidFill>
          <a:latin typeface="+mn-lt"/>
          <a:ea typeface="+mn-ea"/>
          <a:cs typeface="+mn-cs"/>
        </a:defRPr>
      </a:lvl3pPr>
      <a:lvl4pPr marL="1266124" algn="l" defTabSz="844083" rtl="0" eaLnBrk="1" latinLnBrk="0" hangingPunct="1">
        <a:defRPr sz="1662" kern="1200">
          <a:solidFill>
            <a:schemeClr val="tx1"/>
          </a:solidFill>
          <a:latin typeface="+mn-lt"/>
          <a:ea typeface="+mn-ea"/>
          <a:cs typeface="+mn-cs"/>
        </a:defRPr>
      </a:lvl4pPr>
      <a:lvl5pPr marL="1688165" algn="l" defTabSz="844083" rtl="0" eaLnBrk="1" latinLnBrk="0" hangingPunct="1">
        <a:defRPr sz="1662" kern="1200">
          <a:solidFill>
            <a:schemeClr val="tx1"/>
          </a:solidFill>
          <a:latin typeface="+mn-lt"/>
          <a:ea typeface="+mn-ea"/>
          <a:cs typeface="+mn-cs"/>
        </a:defRPr>
      </a:lvl5pPr>
      <a:lvl6pPr marL="2110207" algn="l" defTabSz="844083" rtl="0" eaLnBrk="1" latinLnBrk="0" hangingPunct="1">
        <a:defRPr sz="1662" kern="1200">
          <a:solidFill>
            <a:schemeClr val="tx1"/>
          </a:solidFill>
          <a:latin typeface="+mn-lt"/>
          <a:ea typeface="+mn-ea"/>
          <a:cs typeface="+mn-cs"/>
        </a:defRPr>
      </a:lvl6pPr>
      <a:lvl7pPr marL="2532248" algn="l" defTabSz="844083" rtl="0" eaLnBrk="1" latinLnBrk="0" hangingPunct="1">
        <a:defRPr sz="1662" kern="1200">
          <a:solidFill>
            <a:schemeClr val="tx1"/>
          </a:solidFill>
          <a:latin typeface="+mn-lt"/>
          <a:ea typeface="+mn-ea"/>
          <a:cs typeface="+mn-cs"/>
        </a:defRPr>
      </a:lvl7pPr>
      <a:lvl8pPr marL="2954289" algn="l" defTabSz="844083" rtl="0" eaLnBrk="1" latinLnBrk="0" hangingPunct="1">
        <a:defRPr sz="1662" kern="1200">
          <a:solidFill>
            <a:schemeClr val="tx1"/>
          </a:solidFill>
          <a:latin typeface="+mn-lt"/>
          <a:ea typeface="+mn-ea"/>
          <a:cs typeface="+mn-cs"/>
        </a:defRPr>
      </a:lvl8pPr>
      <a:lvl9pPr marL="3376331" algn="l" defTabSz="844083" rtl="0" eaLnBrk="1" latinLnBrk="0" hangingPunct="1">
        <a:defRPr sz="1662"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544478" y="350113"/>
            <a:ext cx="11230029" cy="6302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es-MX"/>
              <a:t>Click to edit Master title style</a:t>
            </a:r>
          </a:p>
        </p:txBody>
      </p:sp>
      <p:sp>
        <p:nvSpPr>
          <p:cNvPr id="1027" name="Text Placeholder 2"/>
          <p:cNvSpPr>
            <a:spLocks noGrp="1"/>
          </p:cNvSpPr>
          <p:nvPr>
            <p:ph type="body" idx="1"/>
          </p:nvPr>
        </p:nvSpPr>
        <p:spPr bwMode="auto">
          <a:xfrm>
            <a:off x="540628" y="1190382"/>
            <a:ext cx="11230029" cy="52194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es-MX"/>
              <a:t>Click to edit Master text styles</a:t>
            </a:r>
          </a:p>
          <a:p>
            <a:pPr lvl="1"/>
            <a:r>
              <a:rPr lang="en-US" altLang="es-MX"/>
              <a:t>Second level</a:t>
            </a:r>
          </a:p>
          <a:p>
            <a:pPr lvl="2"/>
            <a:r>
              <a:rPr lang="en-US" altLang="es-MX"/>
              <a:t>Third level</a:t>
            </a:r>
          </a:p>
          <a:p>
            <a:pPr lvl="3"/>
            <a:r>
              <a:rPr lang="en-US" altLang="es-MX"/>
              <a:t>Fourth level</a:t>
            </a:r>
          </a:p>
          <a:p>
            <a:pPr lvl="4"/>
            <a:r>
              <a:rPr lang="en-US" altLang="es-MX"/>
              <a:t>Fifth level</a:t>
            </a:r>
          </a:p>
        </p:txBody>
      </p:sp>
      <p:sp>
        <p:nvSpPr>
          <p:cNvPr id="7" name="Slide Number Placeholder 9"/>
          <p:cNvSpPr>
            <a:spLocks noGrp="1"/>
          </p:cNvSpPr>
          <p:nvPr>
            <p:ph type="sldNum" sz="quarter" idx="4"/>
          </p:nvPr>
        </p:nvSpPr>
        <p:spPr>
          <a:xfrm>
            <a:off x="554097" y="6554105"/>
            <a:ext cx="377092" cy="144247"/>
          </a:xfrm>
          <a:prstGeom prst="rect">
            <a:avLst/>
          </a:prstGeom>
        </p:spPr>
        <p:txBody>
          <a:bodyPr vert="horz" wrap="square" lIns="0" tIns="0" rIns="0" bIns="0" numCol="1" anchor="t" anchorCtr="0" compatLnSpc="1">
            <a:prstTxWarp prst="textNoShape">
              <a:avLst/>
            </a:prstTxWarp>
            <a:noAutofit/>
          </a:bodyPr>
          <a:lstStyle>
            <a:lvl1pPr eaLnBrk="1" hangingPunct="1">
              <a:lnSpc>
                <a:spcPts val="1077"/>
              </a:lnSpc>
              <a:defRPr sz="900" b="1">
                <a:solidFill>
                  <a:schemeClr val="tx2"/>
                </a:solidFill>
              </a:defRPr>
            </a:lvl1pPr>
          </a:lstStyle>
          <a:p>
            <a:pPr defTabSz="914400" fontAlgn="base">
              <a:spcBef>
                <a:spcPct val="0"/>
              </a:spcBef>
              <a:spcAft>
                <a:spcPct val="0"/>
              </a:spcAft>
              <a:defRPr/>
            </a:pPr>
            <a:fld id="{69B70FD9-93A3-4F7E-AEAC-A89C9DCACB4E}" type="slidenum">
              <a:rPr lang="en-US" altLang="es-MX" smtClean="0">
                <a:solidFill>
                  <a:srgbClr val="002776"/>
                </a:solidFill>
                <a:cs typeface="Arial" panose="020B0604020202020204" pitchFamily="34" charset="0"/>
              </a:rPr>
              <a:pPr defTabSz="914400" fontAlgn="base">
                <a:spcBef>
                  <a:spcPct val="0"/>
                </a:spcBef>
                <a:spcAft>
                  <a:spcPct val="0"/>
                </a:spcAft>
                <a:defRPr/>
              </a:pPr>
              <a:t>‹#›</a:t>
            </a:fld>
            <a:endParaRPr lang="en-US" altLang="es-MX" dirty="0">
              <a:solidFill>
                <a:srgbClr val="002776"/>
              </a:solidFill>
              <a:cs typeface="Arial" panose="020B0604020202020204" pitchFamily="34" charset="0"/>
            </a:endParaRPr>
          </a:p>
        </p:txBody>
      </p:sp>
      <p:sp>
        <p:nvSpPr>
          <p:cNvPr id="10" name="Footer Placeholder 10"/>
          <p:cNvSpPr>
            <a:spLocks noGrp="1"/>
          </p:cNvSpPr>
          <p:nvPr>
            <p:ph type="ftr" sz="quarter" idx="3"/>
          </p:nvPr>
        </p:nvSpPr>
        <p:spPr>
          <a:xfrm>
            <a:off x="1029309" y="6554105"/>
            <a:ext cx="5756424" cy="144247"/>
          </a:xfrm>
          <a:prstGeom prst="rect">
            <a:avLst/>
          </a:prstGeom>
        </p:spPr>
        <p:txBody>
          <a:bodyPr vert="horz" wrap="square" lIns="0" tIns="0" rIns="0" bIns="0" numCol="1" anchor="t" anchorCtr="0" compatLnSpc="1">
            <a:prstTxWarp prst="textNoShape">
              <a:avLst/>
            </a:prstTxWarp>
            <a:noAutofit/>
          </a:bodyPr>
          <a:lstStyle>
            <a:lvl1pPr eaLnBrk="1" hangingPunct="1">
              <a:lnSpc>
                <a:spcPts val="1077"/>
              </a:lnSpc>
              <a:defRPr sz="900">
                <a:solidFill>
                  <a:schemeClr val="tx2"/>
                </a:solidFill>
                <a:latin typeface="Arial" pitchFamily="34" charset="0"/>
                <a:cs typeface="Arial" pitchFamily="34" charset="0"/>
              </a:defRPr>
            </a:lvl1pPr>
          </a:lstStyle>
          <a:p>
            <a:pPr defTabSz="914400" fontAlgn="base">
              <a:spcBef>
                <a:spcPct val="0"/>
              </a:spcBef>
              <a:spcAft>
                <a:spcPct val="0"/>
              </a:spcAft>
              <a:defRPr/>
            </a:pPr>
            <a:r>
              <a:rPr lang="en-US">
                <a:solidFill>
                  <a:srgbClr val="002776"/>
                </a:solidFill>
              </a:rPr>
              <a:t>Footer</a:t>
            </a:r>
            <a:endParaRPr lang="en-US" dirty="0">
              <a:solidFill>
                <a:srgbClr val="002776"/>
              </a:solidFill>
            </a:endParaRPr>
          </a:p>
        </p:txBody>
      </p:sp>
    </p:spTree>
    <p:extLst>
      <p:ext uri="{BB962C8B-B14F-4D97-AF65-F5344CB8AC3E}">
        <p14:creationId xmlns:p14="http://schemas.microsoft.com/office/powerpoint/2010/main" val="1875524242"/>
      </p:ext>
    </p:extLst>
  </p:cSld>
  <p:clrMap bg1="lt1" tx1="dk1" bg2="lt2" tx2="dk2" accent1="accent1" accent2="accent2" accent3="accent3" accent4="accent4" accent5="accent5" accent6="accent6" hlink="hlink" folHlink="folHlink"/>
  <p:sldLayoutIdLst>
    <p:sldLayoutId id="2147483711" r:id="rId1"/>
    <p:sldLayoutId id="2147483712" r:id="rId2"/>
    <p:sldLayoutId id="2147483713" r:id="rId3"/>
  </p:sldLayoutIdLst>
  <p:hf hdr="0" ftr="0" dt="0"/>
  <p:txStyles>
    <p:titleStyle>
      <a:lvl1pPr algn="l" defTabSz="914404" rtl="0" eaLnBrk="0" fontAlgn="base" hangingPunct="0">
        <a:lnSpc>
          <a:spcPts val="3050"/>
        </a:lnSpc>
        <a:spcBef>
          <a:spcPct val="0"/>
        </a:spcBef>
        <a:spcAft>
          <a:spcPct val="0"/>
        </a:spcAft>
        <a:defRPr sz="2200" b="1">
          <a:solidFill>
            <a:schemeClr val="tx2"/>
          </a:solidFill>
          <a:latin typeface="+mj-lt"/>
          <a:ea typeface="+mj-ea"/>
          <a:cs typeface="+mj-cs"/>
        </a:defRPr>
      </a:lvl1pPr>
      <a:lvl2pPr algn="l" defTabSz="914404" rtl="0" eaLnBrk="0" fontAlgn="base" hangingPunct="0">
        <a:lnSpc>
          <a:spcPts val="3050"/>
        </a:lnSpc>
        <a:spcBef>
          <a:spcPct val="0"/>
        </a:spcBef>
        <a:spcAft>
          <a:spcPct val="0"/>
        </a:spcAft>
        <a:defRPr sz="2200" b="1">
          <a:solidFill>
            <a:schemeClr val="tx2"/>
          </a:solidFill>
          <a:latin typeface="Arial" pitchFamily="34" charset="0"/>
        </a:defRPr>
      </a:lvl2pPr>
      <a:lvl3pPr algn="l" defTabSz="914404" rtl="0" eaLnBrk="0" fontAlgn="base" hangingPunct="0">
        <a:lnSpc>
          <a:spcPts val="3050"/>
        </a:lnSpc>
        <a:spcBef>
          <a:spcPct val="0"/>
        </a:spcBef>
        <a:spcAft>
          <a:spcPct val="0"/>
        </a:spcAft>
        <a:defRPr sz="2200" b="1">
          <a:solidFill>
            <a:schemeClr val="tx2"/>
          </a:solidFill>
          <a:latin typeface="Arial" pitchFamily="34" charset="0"/>
        </a:defRPr>
      </a:lvl3pPr>
      <a:lvl4pPr algn="l" defTabSz="914404" rtl="0" eaLnBrk="0" fontAlgn="base" hangingPunct="0">
        <a:lnSpc>
          <a:spcPts val="3050"/>
        </a:lnSpc>
        <a:spcBef>
          <a:spcPct val="0"/>
        </a:spcBef>
        <a:spcAft>
          <a:spcPct val="0"/>
        </a:spcAft>
        <a:defRPr sz="2200" b="1">
          <a:solidFill>
            <a:schemeClr val="tx2"/>
          </a:solidFill>
          <a:latin typeface="Arial" pitchFamily="34" charset="0"/>
        </a:defRPr>
      </a:lvl4pPr>
      <a:lvl5pPr algn="l" defTabSz="914404" rtl="0" eaLnBrk="0" fontAlgn="base" hangingPunct="0">
        <a:lnSpc>
          <a:spcPts val="3050"/>
        </a:lnSpc>
        <a:spcBef>
          <a:spcPct val="0"/>
        </a:spcBef>
        <a:spcAft>
          <a:spcPct val="0"/>
        </a:spcAft>
        <a:defRPr sz="2200" b="1">
          <a:solidFill>
            <a:schemeClr val="tx2"/>
          </a:solidFill>
          <a:latin typeface="Arial" pitchFamily="34" charset="0"/>
        </a:defRPr>
      </a:lvl5pPr>
      <a:lvl6pPr marL="410200" algn="l" defTabSz="914404" rtl="0" eaLnBrk="1" fontAlgn="base" hangingPunct="1">
        <a:lnSpc>
          <a:spcPts val="3050"/>
        </a:lnSpc>
        <a:spcBef>
          <a:spcPct val="0"/>
        </a:spcBef>
        <a:spcAft>
          <a:spcPct val="0"/>
        </a:spcAft>
        <a:defRPr sz="2200" b="1">
          <a:solidFill>
            <a:schemeClr val="tx2"/>
          </a:solidFill>
          <a:latin typeface="Arial" pitchFamily="34" charset="0"/>
        </a:defRPr>
      </a:lvl6pPr>
      <a:lvl7pPr marL="820400" algn="l" defTabSz="914404" rtl="0" eaLnBrk="1" fontAlgn="base" hangingPunct="1">
        <a:lnSpc>
          <a:spcPts val="3050"/>
        </a:lnSpc>
        <a:spcBef>
          <a:spcPct val="0"/>
        </a:spcBef>
        <a:spcAft>
          <a:spcPct val="0"/>
        </a:spcAft>
        <a:defRPr sz="2200" b="1">
          <a:solidFill>
            <a:schemeClr val="tx2"/>
          </a:solidFill>
          <a:latin typeface="Arial" pitchFamily="34" charset="0"/>
        </a:defRPr>
      </a:lvl7pPr>
      <a:lvl8pPr marL="1230600" algn="l" defTabSz="914404" rtl="0" eaLnBrk="1" fontAlgn="base" hangingPunct="1">
        <a:lnSpc>
          <a:spcPts val="3050"/>
        </a:lnSpc>
        <a:spcBef>
          <a:spcPct val="0"/>
        </a:spcBef>
        <a:spcAft>
          <a:spcPct val="0"/>
        </a:spcAft>
        <a:defRPr sz="2200" b="1">
          <a:solidFill>
            <a:schemeClr val="tx2"/>
          </a:solidFill>
          <a:latin typeface="Arial" pitchFamily="34" charset="0"/>
        </a:defRPr>
      </a:lvl8pPr>
      <a:lvl9pPr marL="1640799" algn="l" defTabSz="914404" rtl="0" eaLnBrk="1" fontAlgn="base" hangingPunct="1">
        <a:lnSpc>
          <a:spcPts val="3050"/>
        </a:lnSpc>
        <a:spcBef>
          <a:spcPct val="0"/>
        </a:spcBef>
        <a:spcAft>
          <a:spcPct val="0"/>
        </a:spcAft>
        <a:defRPr sz="2200" b="1">
          <a:solidFill>
            <a:schemeClr val="tx2"/>
          </a:solidFill>
          <a:latin typeface="Arial" pitchFamily="34" charset="0"/>
        </a:defRPr>
      </a:lvl9pPr>
    </p:titleStyle>
    <p:bodyStyle>
      <a:lvl1pPr marL="307650" indent="-307650" algn="l" defTabSz="914404" rtl="0" eaLnBrk="0" fontAlgn="base" hangingPunct="0">
        <a:spcBef>
          <a:spcPct val="0"/>
        </a:spcBef>
        <a:spcAft>
          <a:spcPts val="269"/>
        </a:spcAft>
        <a:buFont typeface="Arial" panose="020B0604020202020204" pitchFamily="34" charset="0"/>
        <a:defRPr>
          <a:solidFill>
            <a:schemeClr val="tx2"/>
          </a:solidFill>
          <a:latin typeface="+mn-lt"/>
          <a:ea typeface="+mn-ea"/>
          <a:cs typeface="+mn-cs"/>
        </a:defRPr>
      </a:lvl1pPr>
      <a:lvl2pPr marL="182311" indent="-182311" algn="l" defTabSz="914404" rtl="0" eaLnBrk="0" fontAlgn="base" hangingPunct="0">
        <a:spcBef>
          <a:spcPct val="0"/>
        </a:spcBef>
        <a:spcAft>
          <a:spcPts val="269"/>
        </a:spcAft>
        <a:buFont typeface="Arial" panose="020B0604020202020204" pitchFamily="34" charset="0"/>
        <a:buChar char="•"/>
        <a:defRPr>
          <a:solidFill>
            <a:schemeClr val="tx2"/>
          </a:solidFill>
          <a:latin typeface="+mn-lt"/>
        </a:defRPr>
      </a:lvl2pPr>
      <a:lvl3pPr marL="357501" indent="-175190" algn="l" defTabSz="914404" rtl="0" eaLnBrk="0" fontAlgn="base" hangingPunct="0">
        <a:spcBef>
          <a:spcPct val="0"/>
        </a:spcBef>
        <a:spcAft>
          <a:spcPts val="269"/>
        </a:spcAft>
        <a:buFont typeface="Arial" panose="020B0604020202020204" pitchFamily="34" charset="0"/>
        <a:buChar char="‒"/>
        <a:defRPr>
          <a:solidFill>
            <a:schemeClr val="tx2"/>
          </a:solidFill>
          <a:latin typeface="+mn-lt"/>
        </a:defRPr>
      </a:lvl3pPr>
      <a:lvl4pPr marL="539812" indent="-182311" algn="l" defTabSz="914404" rtl="0" eaLnBrk="0" fontAlgn="base" hangingPunct="0">
        <a:spcBef>
          <a:spcPct val="0"/>
        </a:spcBef>
        <a:spcAft>
          <a:spcPts val="538"/>
        </a:spcAft>
        <a:buFont typeface="Arial" panose="020B0604020202020204" pitchFamily="34" charset="0"/>
        <a:buChar char="•"/>
        <a:defRPr sz="1400">
          <a:solidFill>
            <a:schemeClr val="tx2"/>
          </a:solidFill>
          <a:latin typeface="+mn-lt"/>
        </a:defRPr>
      </a:lvl4pPr>
      <a:lvl5pPr marL="712153" indent="-172341" algn="l" defTabSz="914404" rtl="0" eaLnBrk="0" fontAlgn="base" hangingPunct="0">
        <a:spcBef>
          <a:spcPct val="0"/>
        </a:spcBef>
        <a:spcAft>
          <a:spcPts val="538"/>
        </a:spcAft>
        <a:buFont typeface="Arial" panose="020B0604020202020204" pitchFamily="34" charset="0"/>
        <a:buChar char="‒"/>
        <a:defRPr sz="1400">
          <a:solidFill>
            <a:schemeClr val="tx2"/>
          </a:solidFill>
          <a:latin typeface="+mn-lt"/>
        </a:defRPr>
      </a:lvl5pPr>
      <a:lvl6pPr marL="1122352" indent="-172341" algn="l" defTabSz="914404" rtl="0" eaLnBrk="1" fontAlgn="base" hangingPunct="1">
        <a:spcBef>
          <a:spcPct val="0"/>
        </a:spcBef>
        <a:spcAft>
          <a:spcPts val="538"/>
        </a:spcAft>
        <a:buFont typeface="Arial" pitchFamily="34" charset="0"/>
        <a:buChar char="‒"/>
        <a:defRPr sz="1400">
          <a:solidFill>
            <a:schemeClr val="tx2"/>
          </a:solidFill>
          <a:latin typeface="+mn-lt"/>
        </a:defRPr>
      </a:lvl6pPr>
      <a:lvl7pPr marL="1532552" indent="-172341" algn="l" defTabSz="914404" rtl="0" eaLnBrk="1" fontAlgn="base" hangingPunct="1">
        <a:spcBef>
          <a:spcPct val="0"/>
        </a:spcBef>
        <a:spcAft>
          <a:spcPts val="538"/>
        </a:spcAft>
        <a:buFont typeface="Arial" pitchFamily="34" charset="0"/>
        <a:buChar char="‒"/>
        <a:defRPr sz="1400">
          <a:solidFill>
            <a:schemeClr val="tx2"/>
          </a:solidFill>
          <a:latin typeface="+mn-lt"/>
        </a:defRPr>
      </a:lvl7pPr>
      <a:lvl8pPr marL="1942752" indent="-172341" algn="l" defTabSz="914404" rtl="0" eaLnBrk="1" fontAlgn="base" hangingPunct="1">
        <a:spcBef>
          <a:spcPct val="0"/>
        </a:spcBef>
        <a:spcAft>
          <a:spcPts val="538"/>
        </a:spcAft>
        <a:buFont typeface="Arial" pitchFamily="34" charset="0"/>
        <a:buChar char="‒"/>
        <a:defRPr sz="1400">
          <a:solidFill>
            <a:schemeClr val="tx2"/>
          </a:solidFill>
          <a:latin typeface="+mn-lt"/>
        </a:defRPr>
      </a:lvl8pPr>
      <a:lvl9pPr marL="2352952" indent="-172341" algn="l" defTabSz="914404" rtl="0" eaLnBrk="1" fontAlgn="base" hangingPunct="1">
        <a:spcBef>
          <a:spcPct val="0"/>
        </a:spcBef>
        <a:spcAft>
          <a:spcPts val="538"/>
        </a:spcAft>
        <a:buFont typeface="Arial" pitchFamily="34" charset="0"/>
        <a:buChar char="‒"/>
        <a:defRPr sz="1400">
          <a:solidFill>
            <a:schemeClr val="tx2"/>
          </a:solidFill>
          <a:latin typeface="+mn-lt"/>
        </a:defRPr>
      </a:lvl9pPr>
    </p:bodyStyle>
    <p:otherStyle>
      <a:defPPr>
        <a:defRPr lang="es-MX"/>
      </a:defPPr>
      <a:lvl1pPr marL="0" algn="l" defTabSz="820400" rtl="0" eaLnBrk="1" latinLnBrk="0" hangingPunct="1">
        <a:defRPr sz="1600" kern="1200">
          <a:solidFill>
            <a:schemeClr val="tx1"/>
          </a:solidFill>
          <a:latin typeface="+mn-lt"/>
          <a:ea typeface="+mn-ea"/>
          <a:cs typeface="+mn-cs"/>
        </a:defRPr>
      </a:lvl1pPr>
      <a:lvl2pPr marL="410200" algn="l" defTabSz="820400" rtl="0" eaLnBrk="1" latinLnBrk="0" hangingPunct="1">
        <a:defRPr sz="1600" kern="1200">
          <a:solidFill>
            <a:schemeClr val="tx1"/>
          </a:solidFill>
          <a:latin typeface="+mn-lt"/>
          <a:ea typeface="+mn-ea"/>
          <a:cs typeface="+mn-cs"/>
        </a:defRPr>
      </a:lvl2pPr>
      <a:lvl3pPr marL="820400" algn="l" defTabSz="820400" rtl="0" eaLnBrk="1" latinLnBrk="0" hangingPunct="1">
        <a:defRPr sz="1600" kern="1200">
          <a:solidFill>
            <a:schemeClr val="tx1"/>
          </a:solidFill>
          <a:latin typeface="+mn-lt"/>
          <a:ea typeface="+mn-ea"/>
          <a:cs typeface="+mn-cs"/>
        </a:defRPr>
      </a:lvl3pPr>
      <a:lvl4pPr marL="1230600" algn="l" defTabSz="820400" rtl="0" eaLnBrk="1" latinLnBrk="0" hangingPunct="1">
        <a:defRPr sz="1600" kern="1200">
          <a:solidFill>
            <a:schemeClr val="tx1"/>
          </a:solidFill>
          <a:latin typeface="+mn-lt"/>
          <a:ea typeface="+mn-ea"/>
          <a:cs typeface="+mn-cs"/>
        </a:defRPr>
      </a:lvl4pPr>
      <a:lvl5pPr marL="1640799" algn="l" defTabSz="820400" rtl="0" eaLnBrk="1" latinLnBrk="0" hangingPunct="1">
        <a:defRPr sz="1600" kern="1200">
          <a:solidFill>
            <a:schemeClr val="tx1"/>
          </a:solidFill>
          <a:latin typeface="+mn-lt"/>
          <a:ea typeface="+mn-ea"/>
          <a:cs typeface="+mn-cs"/>
        </a:defRPr>
      </a:lvl5pPr>
      <a:lvl6pPr marL="2050999" algn="l" defTabSz="820400" rtl="0" eaLnBrk="1" latinLnBrk="0" hangingPunct="1">
        <a:defRPr sz="1600" kern="1200">
          <a:solidFill>
            <a:schemeClr val="tx1"/>
          </a:solidFill>
          <a:latin typeface="+mn-lt"/>
          <a:ea typeface="+mn-ea"/>
          <a:cs typeface="+mn-cs"/>
        </a:defRPr>
      </a:lvl6pPr>
      <a:lvl7pPr marL="2461199" algn="l" defTabSz="820400" rtl="0" eaLnBrk="1" latinLnBrk="0" hangingPunct="1">
        <a:defRPr sz="1600" kern="1200">
          <a:solidFill>
            <a:schemeClr val="tx1"/>
          </a:solidFill>
          <a:latin typeface="+mn-lt"/>
          <a:ea typeface="+mn-ea"/>
          <a:cs typeface="+mn-cs"/>
        </a:defRPr>
      </a:lvl7pPr>
      <a:lvl8pPr marL="2871399" algn="l" defTabSz="820400" rtl="0" eaLnBrk="1" latinLnBrk="0" hangingPunct="1">
        <a:defRPr sz="1600" kern="1200">
          <a:solidFill>
            <a:schemeClr val="tx1"/>
          </a:solidFill>
          <a:latin typeface="+mn-lt"/>
          <a:ea typeface="+mn-ea"/>
          <a:cs typeface="+mn-cs"/>
        </a:defRPr>
      </a:lvl8pPr>
      <a:lvl9pPr marL="3281599" algn="l" defTabSz="820400" rtl="0" eaLnBrk="1" latinLnBrk="0" hangingPunct="1">
        <a:defRPr sz="16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10">
            <a:extLst>
              <a:ext uri="{28A0092B-C50C-407E-A947-70E740481C1C}">
                <a14:useLocalDpi xmlns:a14="http://schemas.microsoft.com/office/drawing/2010/main" val="0"/>
              </a:ext>
            </a:extLst>
          </a:blip>
          <a:stretch>
            <a:fillRect/>
          </a:stretch>
        </p:blipFill>
        <p:spPr>
          <a:xfrm>
            <a:off x="9504840" y="5943314"/>
            <a:ext cx="2468136" cy="1197772"/>
          </a:xfrm>
          <a:prstGeom prst="rect">
            <a:avLst/>
          </a:prstGeom>
        </p:spPr>
      </p:pic>
      <p:sp>
        <p:nvSpPr>
          <p:cNvPr id="1107" name="Rectangle 83"/>
          <p:cNvSpPr>
            <a:spLocks noGrp="1" noChangeArrowheads="1"/>
          </p:cNvSpPr>
          <p:nvPr>
            <p:ph type="title"/>
          </p:nvPr>
        </p:nvSpPr>
        <p:spPr bwMode="black">
          <a:xfrm>
            <a:off x="804339" y="314325"/>
            <a:ext cx="11055351" cy="4953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vert="horz" wrap="square" lIns="0" tIns="0" rIns="0" bIns="0" numCol="1" anchor="t" anchorCtr="0" compatLnSpc="1">
            <a:prstTxWarp prst="textNoShape">
              <a:avLst/>
            </a:prstTxWarp>
          </a:bodyPr>
          <a:lstStyle/>
          <a:p>
            <a:pPr lvl="0"/>
            <a:r>
              <a:rPr lang="en-US"/>
              <a:t>Click to edit Master title style</a:t>
            </a:r>
          </a:p>
        </p:txBody>
      </p:sp>
      <p:sp>
        <p:nvSpPr>
          <p:cNvPr id="1108" name="Rectangle 84"/>
          <p:cNvSpPr>
            <a:spLocks noGrp="1" noChangeArrowheads="1"/>
          </p:cNvSpPr>
          <p:nvPr>
            <p:ph type="body" idx="1"/>
          </p:nvPr>
        </p:nvSpPr>
        <p:spPr bwMode="black">
          <a:xfrm>
            <a:off x="804334" y="1344621"/>
            <a:ext cx="11063817" cy="49228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accent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 uri="{FAA26D3D-D897-4be2-8F04-BA451C77F1D7}">
              <ma14:placeholderFlag xmlns:ma14="http://schemas.microsoft.com/office/mac/drawingml/2011/main" xmlns="" val="1"/>
            </a:ext>
          </a:extLst>
        </p:spPr>
        <p:txBody>
          <a:bodyPr vert="horz" wrap="square" lIns="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09" name="Rectangle 85"/>
          <p:cNvSpPr>
            <a:spLocks noGrp="1" noChangeArrowheads="1"/>
          </p:cNvSpPr>
          <p:nvPr>
            <p:ph type="sldNum" sz="quarter" idx="4"/>
          </p:nvPr>
        </p:nvSpPr>
        <p:spPr bwMode="black">
          <a:xfrm>
            <a:off x="334440" y="6440497"/>
            <a:ext cx="461433" cy="2746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vert="horz" wrap="square" lIns="0" tIns="0" rIns="0" bIns="0" numCol="1" anchor="ctr" anchorCtr="0" compatLnSpc="1">
            <a:prstTxWarp prst="textNoShape">
              <a:avLst/>
            </a:prstTxWarp>
          </a:bodyPr>
          <a:lstStyle>
            <a:lvl1pPr>
              <a:defRPr sz="900" smtClean="0">
                <a:cs typeface="Geneva" charset="0"/>
              </a:defRPr>
            </a:lvl1pPr>
          </a:lstStyle>
          <a:p>
            <a:pPr defTabSz="914400" fontAlgn="base">
              <a:spcBef>
                <a:spcPct val="0"/>
              </a:spcBef>
              <a:spcAft>
                <a:spcPct val="0"/>
              </a:spcAft>
              <a:defRPr/>
            </a:pPr>
            <a:fld id="{410BB04A-6CB2-A14D-B6AF-586C8C166ED7}" type="slidenum">
              <a:rPr lang="en-US" smtClean="0">
                <a:solidFill>
                  <a:srgbClr val="53565A"/>
                </a:solidFill>
                <a:ea typeface="ＭＳ Ｐゴシック" charset="0"/>
              </a:rPr>
              <a:pPr defTabSz="914400" fontAlgn="base">
                <a:spcBef>
                  <a:spcPct val="0"/>
                </a:spcBef>
                <a:spcAft>
                  <a:spcPct val="0"/>
                </a:spcAft>
                <a:defRPr/>
              </a:pPr>
              <a:t>‹#›</a:t>
            </a:fld>
            <a:endParaRPr lang="en-US" dirty="0">
              <a:solidFill>
                <a:srgbClr val="53565A"/>
              </a:solidFill>
              <a:ea typeface="ＭＳ Ｐゴシック" charset="0"/>
            </a:endParaRPr>
          </a:p>
        </p:txBody>
      </p:sp>
      <p:sp>
        <p:nvSpPr>
          <p:cNvPr id="1111" name="Rectangle 87"/>
          <p:cNvSpPr>
            <a:spLocks noGrp="1" noChangeArrowheads="1"/>
          </p:cNvSpPr>
          <p:nvPr>
            <p:ph type="dt" sz="half" idx="2"/>
          </p:nvPr>
        </p:nvSpPr>
        <p:spPr bwMode="black">
          <a:xfrm>
            <a:off x="804333" y="6440497"/>
            <a:ext cx="1422400" cy="2746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vert="horz" wrap="square" lIns="0" tIns="0" rIns="0" bIns="0" numCol="1" anchor="ctr" anchorCtr="0" compatLnSpc="1">
            <a:prstTxWarp prst="textNoShape">
              <a:avLst/>
            </a:prstTxWarp>
          </a:bodyPr>
          <a:lstStyle>
            <a:lvl1pPr algn="l">
              <a:defRPr sz="900">
                <a:ea typeface="Geneva" charset="0"/>
                <a:cs typeface="+mn-cs"/>
              </a:defRPr>
            </a:lvl1pPr>
          </a:lstStyle>
          <a:p>
            <a:pPr defTabSz="914400" fontAlgn="base">
              <a:spcBef>
                <a:spcPct val="0"/>
              </a:spcBef>
              <a:spcAft>
                <a:spcPct val="0"/>
              </a:spcAft>
              <a:defRPr/>
            </a:pPr>
            <a:r>
              <a:rPr lang="en-US">
                <a:solidFill>
                  <a:srgbClr val="53565A"/>
                </a:solidFill>
              </a:rPr>
              <a:t>MM.DD.YY</a:t>
            </a:r>
            <a:endParaRPr lang="en-US" dirty="0">
              <a:solidFill>
                <a:srgbClr val="53565A"/>
              </a:solidFill>
            </a:endParaRPr>
          </a:p>
        </p:txBody>
      </p:sp>
      <p:sp>
        <p:nvSpPr>
          <p:cNvPr id="1116" name="Rectangle 92"/>
          <p:cNvSpPr>
            <a:spLocks noGrp="1" noChangeArrowheads="1"/>
          </p:cNvSpPr>
          <p:nvPr>
            <p:ph type="ftr" sz="quarter" idx="3"/>
          </p:nvPr>
        </p:nvSpPr>
        <p:spPr bwMode="black">
          <a:xfrm>
            <a:off x="2781300" y="6440497"/>
            <a:ext cx="5427133" cy="2746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vert="horz" wrap="square" lIns="0" tIns="0" rIns="0" bIns="0" numCol="1" anchor="ctr" anchorCtr="0" compatLnSpc="1">
            <a:prstTxWarp prst="textNoShape">
              <a:avLst/>
            </a:prstTxWarp>
          </a:bodyPr>
          <a:lstStyle>
            <a:lvl1pPr algn="l">
              <a:defRPr sz="900">
                <a:ea typeface="ヒラギノ角ゴ Pro W3" charset="0"/>
                <a:cs typeface="Geneva" charset="0"/>
              </a:defRPr>
            </a:lvl1pPr>
          </a:lstStyle>
          <a:p>
            <a:pPr defTabSz="914400" fontAlgn="base">
              <a:spcBef>
                <a:spcPct val="0"/>
              </a:spcBef>
              <a:spcAft>
                <a:spcPct val="0"/>
              </a:spcAft>
              <a:defRPr/>
            </a:pPr>
            <a:r>
              <a:rPr lang="en-US">
                <a:solidFill>
                  <a:srgbClr val="53565A"/>
                </a:solidFill>
              </a:rPr>
              <a:t>Presentation Title</a:t>
            </a:r>
            <a:endParaRPr lang="en-US" dirty="0">
              <a:solidFill>
                <a:srgbClr val="53565A"/>
              </a:solidFill>
            </a:endParaRPr>
          </a:p>
        </p:txBody>
      </p:sp>
    </p:spTree>
    <p:extLst>
      <p:ext uri="{BB962C8B-B14F-4D97-AF65-F5344CB8AC3E}">
        <p14:creationId xmlns:p14="http://schemas.microsoft.com/office/powerpoint/2010/main" val="345123114"/>
      </p:ext>
    </p:extLst>
  </p:cSld>
  <p:clrMap bg1="lt1" tx1="dk1" bg2="lt2" tx2="dk2" accent1="accent1" accent2="accent2" accent3="accent3" accent4="accent4" accent5="accent5" accent6="accent6" hlink="hlink" folHlink="folHlink"/>
  <p:sldLayoutIdLst>
    <p:sldLayoutId id="2147483725" r:id="rId1"/>
    <p:sldLayoutId id="2147483726" r:id="rId2"/>
    <p:sldLayoutId id="2147483727" r:id="rId3"/>
    <p:sldLayoutId id="2147483728" r:id="rId4"/>
    <p:sldLayoutId id="2147483729" r:id="rId5"/>
    <p:sldLayoutId id="2147483730" r:id="rId6"/>
    <p:sldLayoutId id="2147483731" r:id="rId7"/>
    <p:sldLayoutId id="2147483732" r:id="rId8"/>
  </p:sldLayoutIdLst>
  <p:hf hdr="0"/>
  <p:txStyles>
    <p:titleStyle>
      <a:lvl1pPr algn="l" rtl="0" eaLnBrk="1" fontAlgn="base" hangingPunct="1">
        <a:spcBef>
          <a:spcPct val="0"/>
        </a:spcBef>
        <a:spcAft>
          <a:spcPct val="0"/>
        </a:spcAft>
        <a:defRPr sz="2400">
          <a:solidFill>
            <a:schemeClr val="tx2"/>
          </a:solidFill>
          <a:latin typeface="+mj-lt"/>
          <a:ea typeface="ヒラギノ角ゴ Pro W3" charset="0"/>
          <a:cs typeface="Geneva" charset="0"/>
        </a:defRPr>
      </a:lvl1pPr>
      <a:lvl2pPr algn="l" rtl="0" eaLnBrk="1" fontAlgn="base" hangingPunct="1">
        <a:spcBef>
          <a:spcPct val="0"/>
        </a:spcBef>
        <a:spcAft>
          <a:spcPct val="0"/>
        </a:spcAft>
        <a:defRPr sz="2400">
          <a:solidFill>
            <a:schemeClr val="tx2"/>
          </a:solidFill>
          <a:latin typeface="Arial" charset="0"/>
          <a:ea typeface="ヒラギノ角ゴ Pro W3" charset="0"/>
          <a:cs typeface="Geneva" charset="0"/>
        </a:defRPr>
      </a:lvl2pPr>
      <a:lvl3pPr algn="l" rtl="0" eaLnBrk="1" fontAlgn="base" hangingPunct="1">
        <a:spcBef>
          <a:spcPct val="0"/>
        </a:spcBef>
        <a:spcAft>
          <a:spcPct val="0"/>
        </a:spcAft>
        <a:defRPr sz="2400">
          <a:solidFill>
            <a:schemeClr val="tx2"/>
          </a:solidFill>
          <a:latin typeface="Arial" charset="0"/>
          <a:ea typeface="ヒラギノ角ゴ Pro W3" charset="0"/>
          <a:cs typeface="Geneva" charset="0"/>
        </a:defRPr>
      </a:lvl3pPr>
      <a:lvl4pPr algn="l" rtl="0" eaLnBrk="1" fontAlgn="base" hangingPunct="1">
        <a:spcBef>
          <a:spcPct val="0"/>
        </a:spcBef>
        <a:spcAft>
          <a:spcPct val="0"/>
        </a:spcAft>
        <a:defRPr sz="2400">
          <a:solidFill>
            <a:schemeClr val="tx2"/>
          </a:solidFill>
          <a:latin typeface="Arial" charset="0"/>
          <a:ea typeface="ヒラギノ角ゴ Pro W3" charset="0"/>
          <a:cs typeface="Geneva" charset="0"/>
        </a:defRPr>
      </a:lvl4pPr>
      <a:lvl5pPr algn="l" rtl="0" eaLnBrk="1" fontAlgn="base" hangingPunct="1">
        <a:spcBef>
          <a:spcPct val="0"/>
        </a:spcBef>
        <a:spcAft>
          <a:spcPct val="0"/>
        </a:spcAft>
        <a:defRPr sz="2400">
          <a:solidFill>
            <a:schemeClr val="tx2"/>
          </a:solidFill>
          <a:latin typeface="Arial" charset="0"/>
          <a:ea typeface="ヒラギノ角ゴ Pro W3" charset="0"/>
          <a:cs typeface="Geneva" charset="0"/>
        </a:defRPr>
      </a:lvl5pPr>
      <a:lvl6pPr marL="457200" algn="l" rtl="0" eaLnBrk="1" fontAlgn="base" hangingPunct="1">
        <a:spcBef>
          <a:spcPct val="0"/>
        </a:spcBef>
        <a:spcAft>
          <a:spcPct val="0"/>
        </a:spcAft>
        <a:defRPr sz="2400">
          <a:solidFill>
            <a:srgbClr val="004785"/>
          </a:solidFill>
          <a:latin typeface="Arial" charset="0"/>
          <a:ea typeface="Geneva" charset="0"/>
        </a:defRPr>
      </a:lvl6pPr>
      <a:lvl7pPr marL="914400" algn="l" rtl="0" eaLnBrk="1" fontAlgn="base" hangingPunct="1">
        <a:spcBef>
          <a:spcPct val="0"/>
        </a:spcBef>
        <a:spcAft>
          <a:spcPct val="0"/>
        </a:spcAft>
        <a:defRPr sz="2400">
          <a:solidFill>
            <a:srgbClr val="004785"/>
          </a:solidFill>
          <a:latin typeface="Arial" charset="0"/>
          <a:ea typeface="Geneva" charset="0"/>
        </a:defRPr>
      </a:lvl7pPr>
      <a:lvl8pPr marL="1371600" algn="l" rtl="0" eaLnBrk="1" fontAlgn="base" hangingPunct="1">
        <a:spcBef>
          <a:spcPct val="0"/>
        </a:spcBef>
        <a:spcAft>
          <a:spcPct val="0"/>
        </a:spcAft>
        <a:defRPr sz="2400">
          <a:solidFill>
            <a:srgbClr val="004785"/>
          </a:solidFill>
          <a:latin typeface="Arial" charset="0"/>
          <a:ea typeface="Geneva" charset="0"/>
        </a:defRPr>
      </a:lvl8pPr>
      <a:lvl9pPr marL="1828800" algn="l" rtl="0" eaLnBrk="1" fontAlgn="base" hangingPunct="1">
        <a:spcBef>
          <a:spcPct val="0"/>
        </a:spcBef>
        <a:spcAft>
          <a:spcPct val="0"/>
        </a:spcAft>
        <a:defRPr sz="2400">
          <a:solidFill>
            <a:srgbClr val="004785"/>
          </a:solidFill>
          <a:latin typeface="Arial" charset="0"/>
          <a:ea typeface="Geneva" charset="0"/>
        </a:defRPr>
      </a:lvl9pPr>
    </p:titleStyle>
    <p:bodyStyle>
      <a:lvl1pPr marL="288925" indent="-288925" algn="l" rtl="0" eaLnBrk="1" fontAlgn="base" hangingPunct="1">
        <a:lnSpc>
          <a:spcPct val="95000"/>
        </a:lnSpc>
        <a:spcBef>
          <a:spcPct val="75000"/>
        </a:spcBef>
        <a:spcAft>
          <a:spcPct val="20000"/>
        </a:spcAft>
        <a:buChar char="•"/>
        <a:defRPr>
          <a:solidFill>
            <a:schemeClr val="tx1"/>
          </a:solidFill>
          <a:latin typeface="+mn-lt"/>
          <a:ea typeface="ヒラギノ角ゴ Pro W3" charset="0"/>
          <a:cs typeface="Geneva" charset="0"/>
        </a:defRPr>
      </a:lvl1pPr>
      <a:lvl2pPr marL="633413" indent="-230188" algn="l" rtl="0" eaLnBrk="1" fontAlgn="base" hangingPunct="1">
        <a:lnSpc>
          <a:spcPct val="95000"/>
        </a:lnSpc>
        <a:spcBef>
          <a:spcPct val="20000"/>
        </a:spcBef>
        <a:spcAft>
          <a:spcPct val="20000"/>
        </a:spcAft>
        <a:buFont typeface="Arial" charset="0"/>
        <a:buChar char="–"/>
        <a:defRPr>
          <a:solidFill>
            <a:schemeClr val="tx1"/>
          </a:solidFill>
          <a:latin typeface="+mn-lt"/>
          <a:ea typeface="+mn-ea"/>
          <a:cs typeface="Geneva" charset="0"/>
        </a:defRPr>
      </a:lvl2pPr>
      <a:lvl3pPr marL="974725" indent="-227013" algn="l" rtl="0" eaLnBrk="1" fontAlgn="base" hangingPunct="1">
        <a:lnSpc>
          <a:spcPct val="95000"/>
        </a:lnSpc>
        <a:spcBef>
          <a:spcPct val="20000"/>
        </a:spcBef>
        <a:spcAft>
          <a:spcPct val="20000"/>
        </a:spcAft>
        <a:buFont typeface="Arial" charset="0"/>
        <a:buChar char="•"/>
        <a:defRPr>
          <a:solidFill>
            <a:schemeClr val="tx1"/>
          </a:solidFill>
          <a:latin typeface="+mn-lt"/>
          <a:ea typeface="+mn-ea"/>
          <a:cs typeface="Geneva" charset="0"/>
        </a:defRPr>
      </a:lvl3pPr>
      <a:lvl4pPr marL="1312863" indent="-223838" algn="l" rtl="0" eaLnBrk="1" fontAlgn="base" hangingPunct="1">
        <a:lnSpc>
          <a:spcPct val="95000"/>
        </a:lnSpc>
        <a:spcBef>
          <a:spcPct val="20000"/>
        </a:spcBef>
        <a:spcAft>
          <a:spcPct val="20000"/>
        </a:spcAft>
        <a:buFont typeface="Arial" charset="0"/>
        <a:buChar char="–"/>
        <a:defRPr>
          <a:solidFill>
            <a:schemeClr val="tx1"/>
          </a:solidFill>
          <a:latin typeface="+mn-lt"/>
          <a:ea typeface="+mn-ea"/>
          <a:cs typeface="Geneva" charset="0"/>
        </a:defRPr>
      </a:lvl4pPr>
      <a:lvl5pPr marL="1651000" indent="-223838" algn="l" rtl="0" eaLnBrk="1" fontAlgn="base" hangingPunct="1">
        <a:lnSpc>
          <a:spcPct val="95000"/>
        </a:lnSpc>
        <a:spcBef>
          <a:spcPct val="20000"/>
        </a:spcBef>
        <a:spcAft>
          <a:spcPct val="20000"/>
        </a:spcAft>
        <a:buFont typeface="Arial" charset="0"/>
        <a:buChar char="•"/>
        <a:defRPr>
          <a:solidFill>
            <a:schemeClr val="tx1"/>
          </a:solidFill>
          <a:latin typeface="+mn-lt"/>
          <a:ea typeface="+mn-ea"/>
          <a:cs typeface="Geneva" charset="0"/>
        </a:defRPr>
      </a:lvl5pPr>
      <a:lvl6pPr marL="2108200" indent="-223838" algn="l" rtl="0" eaLnBrk="1" fontAlgn="base" hangingPunct="1">
        <a:lnSpc>
          <a:spcPct val="95000"/>
        </a:lnSpc>
        <a:spcBef>
          <a:spcPct val="20000"/>
        </a:spcBef>
        <a:spcAft>
          <a:spcPct val="20000"/>
        </a:spcAft>
        <a:buFont typeface="Arial" charset="0"/>
        <a:buChar char="•"/>
        <a:defRPr sz="1600">
          <a:solidFill>
            <a:schemeClr val="tx1"/>
          </a:solidFill>
          <a:latin typeface="+mn-lt"/>
          <a:ea typeface="+mn-ea"/>
        </a:defRPr>
      </a:lvl6pPr>
      <a:lvl7pPr marL="2565400" indent="-223838" algn="l" rtl="0" eaLnBrk="1" fontAlgn="base" hangingPunct="1">
        <a:lnSpc>
          <a:spcPct val="95000"/>
        </a:lnSpc>
        <a:spcBef>
          <a:spcPct val="20000"/>
        </a:spcBef>
        <a:spcAft>
          <a:spcPct val="20000"/>
        </a:spcAft>
        <a:buFont typeface="Arial" charset="0"/>
        <a:buChar char="•"/>
        <a:defRPr sz="1600">
          <a:solidFill>
            <a:schemeClr val="tx1"/>
          </a:solidFill>
          <a:latin typeface="+mn-lt"/>
          <a:ea typeface="+mn-ea"/>
        </a:defRPr>
      </a:lvl7pPr>
      <a:lvl8pPr marL="3022600" indent="-223838" algn="l" rtl="0" eaLnBrk="1" fontAlgn="base" hangingPunct="1">
        <a:lnSpc>
          <a:spcPct val="95000"/>
        </a:lnSpc>
        <a:spcBef>
          <a:spcPct val="20000"/>
        </a:spcBef>
        <a:spcAft>
          <a:spcPct val="20000"/>
        </a:spcAft>
        <a:buFont typeface="Arial" charset="0"/>
        <a:buChar char="•"/>
        <a:defRPr sz="1600">
          <a:solidFill>
            <a:schemeClr val="tx1"/>
          </a:solidFill>
          <a:latin typeface="+mn-lt"/>
          <a:ea typeface="+mn-ea"/>
        </a:defRPr>
      </a:lvl8pPr>
      <a:lvl9pPr marL="3479800" indent="-223838" algn="l" rtl="0" eaLnBrk="1" fontAlgn="base" hangingPunct="1">
        <a:lnSpc>
          <a:spcPct val="95000"/>
        </a:lnSpc>
        <a:spcBef>
          <a:spcPct val="20000"/>
        </a:spcBef>
        <a:spcAft>
          <a:spcPct val="20000"/>
        </a:spcAft>
        <a:buFont typeface="Arial" charset="0"/>
        <a:buChar char="•"/>
        <a:defRPr sz="1600">
          <a:solidFill>
            <a:schemeClr val="tx1"/>
          </a:solidFill>
          <a:latin typeface="+mn-lt"/>
          <a:ea typeface="+mn-ea"/>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12">
            <a:extLst>
              <a:ext uri="{28A0092B-C50C-407E-A947-70E740481C1C}">
                <a14:useLocalDpi xmlns:a14="http://schemas.microsoft.com/office/drawing/2010/main" val="0"/>
              </a:ext>
            </a:extLst>
          </a:blip>
          <a:stretch>
            <a:fillRect/>
          </a:stretch>
        </p:blipFill>
        <p:spPr>
          <a:xfrm>
            <a:off x="9504840" y="5943314"/>
            <a:ext cx="2468136" cy="1197772"/>
          </a:xfrm>
          <a:prstGeom prst="rect">
            <a:avLst/>
          </a:prstGeom>
        </p:spPr>
      </p:pic>
      <p:sp>
        <p:nvSpPr>
          <p:cNvPr id="1107" name="Rectangle 83"/>
          <p:cNvSpPr>
            <a:spLocks noGrp="1" noChangeArrowheads="1"/>
          </p:cNvSpPr>
          <p:nvPr>
            <p:ph type="title"/>
          </p:nvPr>
        </p:nvSpPr>
        <p:spPr bwMode="black">
          <a:xfrm>
            <a:off x="804337" y="314325"/>
            <a:ext cx="11055351" cy="4953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vert="horz" wrap="square" lIns="0" tIns="0" rIns="0" bIns="0" numCol="1" anchor="t" anchorCtr="0" compatLnSpc="1">
            <a:prstTxWarp prst="textNoShape">
              <a:avLst/>
            </a:prstTxWarp>
          </a:bodyPr>
          <a:lstStyle/>
          <a:p>
            <a:pPr lvl="0"/>
            <a:r>
              <a:rPr lang="en-US"/>
              <a:t>Click to edit Master title style</a:t>
            </a:r>
          </a:p>
        </p:txBody>
      </p:sp>
      <p:sp>
        <p:nvSpPr>
          <p:cNvPr id="1108" name="Rectangle 84"/>
          <p:cNvSpPr>
            <a:spLocks noGrp="1" noChangeArrowheads="1"/>
          </p:cNvSpPr>
          <p:nvPr>
            <p:ph type="body" idx="1"/>
          </p:nvPr>
        </p:nvSpPr>
        <p:spPr bwMode="black">
          <a:xfrm>
            <a:off x="804336" y="1344618"/>
            <a:ext cx="11063817" cy="49228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accent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 uri="{FAA26D3D-D897-4be2-8F04-BA451C77F1D7}">
              <ma14:placeholderFlag xmlns:ma14="http://schemas.microsoft.com/office/mac/drawingml/2011/main" xmlns="" val="1"/>
            </a:ext>
          </a:extLst>
        </p:spPr>
        <p:txBody>
          <a:bodyPr vert="horz" wrap="square" lIns="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09" name="Rectangle 85"/>
          <p:cNvSpPr>
            <a:spLocks noGrp="1" noChangeArrowheads="1"/>
          </p:cNvSpPr>
          <p:nvPr>
            <p:ph type="sldNum" sz="quarter" idx="4"/>
          </p:nvPr>
        </p:nvSpPr>
        <p:spPr bwMode="black">
          <a:xfrm>
            <a:off x="334437" y="6440493"/>
            <a:ext cx="461433" cy="2746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vert="horz" wrap="square" lIns="0" tIns="0" rIns="0" bIns="0" numCol="1" anchor="ctr" anchorCtr="0" compatLnSpc="1">
            <a:prstTxWarp prst="textNoShape">
              <a:avLst/>
            </a:prstTxWarp>
          </a:bodyPr>
          <a:lstStyle>
            <a:lvl1pPr>
              <a:defRPr sz="900" smtClean="0">
                <a:cs typeface="Geneva" charset="0"/>
              </a:defRPr>
            </a:lvl1pPr>
          </a:lstStyle>
          <a:p>
            <a:pPr defTabSz="914400" fontAlgn="base">
              <a:spcBef>
                <a:spcPct val="0"/>
              </a:spcBef>
              <a:spcAft>
                <a:spcPct val="0"/>
              </a:spcAft>
              <a:defRPr/>
            </a:pPr>
            <a:fld id="{410BB04A-6CB2-A14D-B6AF-586C8C166ED7}" type="slidenum">
              <a:rPr lang="en-US" smtClean="0">
                <a:solidFill>
                  <a:srgbClr val="53565A"/>
                </a:solidFill>
                <a:ea typeface="ＭＳ Ｐゴシック" charset="0"/>
              </a:rPr>
              <a:pPr defTabSz="914400" fontAlgn="base">
                <a:spcBef>
                  <a:spcPct val="0"/>
                </a:spcBef>
                <a:spcAft>
                  <a:spcPct val="0"/>
                </a:spcAft>
                <a:defRPr/>
              </a:pPr>
              <a:t>‹#›</a:t>
            </a:fld>
            <a:endParaRPr lang="en-US" dirty="0">
              <a:solidFill>
                <a:srgbClr val="53565A"/>
              </a:solidFill>
              <a:ea typeface="ＭＳ Ｐゴシック" charset="0"/>
            </a:endParaRPr>
          </a:p>
        </p:txBody>
      </p:sp>
      <p:sp>
        <p:nvSpPr>
          <p:cNvPr id="1111" name="Rectangle 87"/>
          <p:cNvSpPr>
            <a:spLocks noGrp="1" noChangeArrowheads="1"/>
          </p:cNvSpPr>
          <p:nvPr>
            <p:ph type="dt" sz="half" idx="2"/>
          </p:nvPr>
        </p:nvSpPr>
        <p:spPr bwMode="black">
          <a:xfrm>
            <a:off x="804333" y="6440493"/>
            <a:ext cx="1422400" cy="2746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vert="horz" wrap="square" lIns="0" tIns="0" rIns="0" bIns="0" numCol="1" anchor="ctr" anchorCtr="0" compatLnSpc="1">
            <a:prstTxWarp prst="textNoShape">
              <a:avLst/>
            </a:prstTxWarp>
          </a:bodyPr>
          <a:lstStyle>
            <a:lvl1pPr algn="l">
              <a:defRPr sz="900">
                <a:ea typeface="Geneva" charset="0"/>
                <a:cs typeface="+mn-cs"/>
              </a:defRPr>
            </a:lvl1pPr>
          </a:lstStyle>
          <a:p>
            <a:pPr defTabSz="914400" fontAlgn="base">
              <a:spcBef>
                <a:spcPct val="0"/>
              </a:spcBef>
              <a:spcAft>
                <a:spcPct val="0"/>
              </a:spcAft>
              <a:defRPr/>
            </a:pPr>
            <a:r>
              <a:rPr lang="en-US">
                <a:solidFill>
                  <a:srgbClr val="53565A"/>
                </a:solidFill>
              </a:rPr>
              <a:t>MM.DD.YY</a:t>
            </a:r>
            <a:endParaRPr lang="en-US" dirty="0">
              <a:solidFill>
                <a:srgbClr val="53565A"/>
              </a:solidFill>
            </a:endParaRPr>
          </a:p>
        </p:txBody>
      </p:sp>
      <p:sp>
        <p:nvSpPr>
          <p:cNvPr id="1116" name="Rectangle 92"/>
          <p:cNvSpPr>
            <a:spLocks noGrp="1" noChangeArrowheads="1"/>
          </p:cNvSpPr>
          <p:nvPr>
            <p:ph type="ftr" sz="quarter" idx="3"/>
          </p:nvPr>
        </p:nvSpPr>
        <p:spPr bwMode="black">
          <a:xfrm>
            <a:off x="2781300" y="6440493"/>
            <a:ext cx="5427133" cy="2746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vert="horz" wrap="square" lIns="0" tIns="0" rIns="0" bIns="0" numCol="1" anchor="ctr" anchorCtr="0" compatLnSpc="1">
            <a:prstTxWarp prst="textNoShape">
              <a:avLst/>
            </a:prstTxWarp>
          </a:bodyPr>
          <a:lstStyle>
            <a:lvl1pPr algn="l">
              <a:defRPr sz="900">
                <a:ea typeface="ヒラギノ角ゴ Pro W3" charset="0"/>
                <a:cs typeface="Geneva" charset="0"/>
              </a:defRPr>
            </a:lvl1pPr>
          </a:lstStyle>
          <a:p>
            <a:pPr defTabSz="914400" fontAlgn="base">
              <a:spcBef>
                <a:spcPct val="0"/>
              </a:spcBef>
              <a:spcAft>
                <a:spcPct val="0"/>
              </a:spcAft>
              <a:defRPr/>
            </a:pPr>
            <a:r>
              <a:rPr lang="en-US">
                <a:solidFill>
                  <a:srgbClr val="53565A"/>
                </a:solidFill>
              </a:rPr>
              <a:t>Presentation Title</a:t>
            </a:r>
            <a:endParaRPr lang="en-US" dirty="0">
              <a:solidFill>
                <a:srgbClr val="53565A"/>
              </a:solidFill>
            </a:endParaRPr>
          </a:p>
        </p:txBody>
      </p:sp>
    </p:spTree>
    <p:extLst>
      <p:ext uri="{BB962C8B-B14F-4D97-AF65-F5344CB8AC3E}">
        <p14:creationId xmlns:p14="http://schemas.microsoft.com/office/powerpoint/2010/main" val="1794789730"/>
      </p:ext>
    </p:extLst>
  </p:cSld>
  <p:clrMap bg1="lt1" tx1="dk1" bg2="lt2" tx2="dk2" accent1="accent1" accent2="accent2" accent3="accent3" accent4="accent4" accent5="accent5" accent6="accent6" hlink="hlink" folHlink="folHlink"/>
  <p:sldLayoutIdLst>
    <p:sldLayoutId id="2147483743" r:id="rId1"/>
    <p:sldLayoutId id="2147483744" r:id="rId2"/>
    <p:sldLayoutId id="2147483745" r:id="rId3"/>
    <p:sldLayoutId id="2147483746" r:id="rId4"/>
    <p:sldLayoutId id="2147483747" r:id="rId5"/>
    <p:sldLayoutId id="2147483748" r:id="rId6"/>
    <p:sldLayoutId id="2147483749" r:id="rId7"/>
    <p:sldLayoutId id="2147483750" r:id="rId8"/>
    <p:sldLayoutId id="2147483751" r:id="rId9"/>
    <p:sldLayoutId id="2147483752" r:id="rId10"/>
  </p:sldLayoutIdLst>
  <p:hf hdr="0"/>
  <p:txStyles>
    <p:titleStyle>
      <a:lvl1pPr algn="l" rtl="0" eaLnBrk="1" fontAlgn="base" hangingPunct="1">
        <a:spcBef>
          <a:spcPct val="0"/>
        </a:spcBef>
        <a:spcAft>
          <a:spcPct val="0"/>
        </a:spcAft>
        <a:defRPr sz="2400">
          <a:solidFill>
            <a:schemeClr val="tx2"/>
          </a:solidFill>
          <a:latin typeface="+mj-lt"/>
          <a:ea typeface="ヒラギノ角ゴ Pro W3" charset="0"/>
          <a:cs typeface="Geneva" charset="0"/>
        </a:defRPr>
      </a:lvl1pPr>
      <a:lvl2pPr algn="l" rtl="0" eaLnBrk="1" fontAlgn="base" hangingPunct="1">
        <a:spcBef>
          <a:spcPct val="0"/>
        </a:spcBef>
        <a:spcAft>
          <a:spcPct val="0"/>
        </a:spcAft>
        <a:defRPr sz="2400">
          <a:solidFill>
            <a:schemeClr val="tx2"/>
          </a:solidFill>
          <a:latin typeface="Arial" charset="0"/>
          <a:ea typeface="ヒラギノ角ゴ Pro W3" charset="0"/>
          <a:cs typeface="Geneva" charset="0"/>
        </a:defRPr>
      </a:lvl2pPr>
      <a:lvl3pPr algn="l" rtl="0" eaLnBrk="1" fontAlgn="base" hangingPunct="1">
        <a:spcBef>
          <a:spcPct val="0"/>
        </a:spcBef>
        <a:spcAft>
          <a:spcPct val="0"/>
        </a:spcAft>
        <a:defRPr sz="2400">
          <a:solidFill>
            <a:schemeClr val="tx2"/>
          </a:solidFill>
          <a:latin typeface="Arial" charset="0"/>
          <a:ea typeface="ヒラギノ角ゴ Pro W3" charset="0"/>
          <a:cs typeface="Geneva" charset="0"/>
        </a:defRPr>
      </a:lvl3pPr>
      <a:lvl4pPr algn="l" rtl="0" eaLnBrk="1" fontAlgn="base" hangingPunct="1">
        <a:spcBef>
          <a:spcPct val="0"/>
        </a:spcBef>
        <a:spcAft>
          <a:spcPct val="0"/>
        </a:spcAft>
        <a:defRPr sz="2400">
          <a:solidFill>
            <a:schemeClr val="tx2"/>
          </a:solidFill>
          <a:latin typeface="Arial" charset="0"/>
          <a:ea typeface="ヒラギノ角ゴ Pro W3" charset="0"/>
          <a:cs typeface="Geneva" charset="0"/>
        </a:defRPr>
      </a:lvl4pPr>
      <a:lvl5pPr algn="l" rtl="0" eaLnBrk="1" fontAlgn="base" hangingPunct="1">
        <a:spcBef>
          <a:spcPct val="0"/>
        </a:spcBef>
        <a:spcAft>
          <a:spcPct val="0"/>
        </a:spcAft>
        <a:defRPr sz="2400">
          <a:solidFill>
            <a:schemeClr val="tx2"/>
          </a:solidFill>
          <a:latin typeface="Arial" charset="0"/>
          <a:ea typeface="ヒラギノ角ゴ Pro W3" charset="0"/>
          <a:cs typeface="Geneva" charset="0"/>
        </a:defRPr>
      </a:lvl5pPr>
      <a:lvl6pPr marL="457200" algn="l" rtl="0" eaLnBrk="1" fontAlgn="base" hangingPunct="1">
        <a:spcBef>
          <a:spcPct val="0"/>
        </a:spcBef>
        <a:spcAft>
          <a:spcPct val="0"/>
        </a:spcAft>
        <a:defRPr sz="2400">
          <a:solidFill>
            <a:srgbClr val="004785"/>
          </a:solidFill>
          <a:latin typeface="Arial" charset="0"/>
          <a:ea typeface="Geneva" charset="0"/>
        </a:defRPr>
      </a:lvl6pPr>
      <a:lvl7pPr marL="914400" algn="l" rtl="0" eaLnBrk="1" fontAlgn="base" hangingPunct="1">
        <a:spcBef>
          <a:spcPct val="0"/>
        </a:spcBef>
        <a:spcAft>
          <a:spcPct val="0"/>
        </a:spcAft>
        <a:defRPr sz="2400">
          <a:solidFill>
            <a:srgbClr val="004785"/>
          </a:solidFill>
          <a:latin typeface="Arial" charset="0"/>
          <a:ea typeface="Geneva" charset="0"/>
        </a:defRPr>
      </a:lvl7pPr>
      <a:lvl8pPr marL="1371600" algn="l" rtl="0" eaLnBrk="1" fontAlgn="base" hangingPunct="1">
        <a:spcBef>
          <a:spcPct val="0"/>
        </a:spcBef>
        <a:spcAft>
          <a:spcPct val="0"/>
        </a:spcAft>
        <a:defRPr sz="2400">
          <a:solidFill>
            <a:srgbClr val="004785"/>
          </a:solidFill>
          <a:latin typeface="Arial" charset="0"/>
          <a:ea typeface="Geneva" charset="0"/>
        </a:defRPr>
      </a:lvl8pPr>
      <a:lvl9pPr marL="1828800" algn="l" rtl="0" eaLnBrk="1" fontAlgn="base" hangingPunct="1">
        <a:spcBef>
          <a:spcPct val="0"/>
        </a:spcBef>
        <a:spcAft>
          <a:spcPct val="0"/>
        </a:spcAft>
        <a:defRPr sz="2400">
          <a:solidFill>
            <a:srgbClr val="004785"/>
          </a:solidFill>
          <a:latin typeface="Arial" charset="0"/>
          <a:ea typeface="Geneva" charset="0"/>
        </a:defRPr>
      </a:lvl9pPr>
    </p:titleStyle>
    <p:bodyStyle>
      <a:lvl1pPr marL="288925" indent="-288925" algn="l" rtl="0" eaLnBrk="1" fontAlgn="base" hangingPunct="1">
        <a:lnSpc>
          <a:spcPct val="95000"/>
        </a:lnSpc>
        <a:spcBef>
          <a:spcPct val="75000"/>
        </a:spcBef>
        <a:spcAft>
          <a:spcPct val="20000"/>
        </a:spcAft>
        <a:buChar char="•"/>
        <a:defRPr>
          <a:solidFill>
            <a:schemeClr val="tx1"/>
          </a:solidFill>
          <a:latin typeface="+mn-lt"/>
          <a:ea typeface="ヒラギノ角ゴ Pro W3" charset="0"/>
          <a:cs typeface="Geneva" charset="0"/>
        </a:defRPr>
      </a:lvl1pPr>
      <a:lvl2pPr marL="633413" indent="-230188" algn="l" rtl="0" eaLnBrk="1" fontAlgn="base" hangingPunct="1">
        <a:lnSpc>
          <a:spcPct val="95000"/>
        </a:lnSpc>
        <a:spcBef>
          <a:spcPct val="20000"/>
        </a:spcBef>
        <a:spcAft>
          <a:spcPct val="20000"/>
        </a:spcAft>
        <a:buFont typeface="Arial" charset="0"/>
        <a:buChar char="–"/>
        <a:defRPr>
          <a:solidFill>
            <a:schemeClr val="tx1"/>
          </a:solidFill>
          <a:latin typeface="+mn-lt"/>
          <a:ea typeface="+mn-ea"/>
          <a:cs typeface="Geneva" charset="0"/>
        </a:defRPr>
      </a:lvl2pPr>
      <a:lvl3pPr marL="974725" indent="-227013" algn="l" rtl="0" eaLnBrk="1" fontAlgn="base" hangingPunct="1">
        <a:lnSpc>
          <a:spcPct val="95000"/>
        </a:lnSpc>
        <a:spcBef>
          <a:spcPct val="20000"/>
        </a:spcBef>
        <a:spcAft>
          <a:spcPct val="20000"/>
        </a:spcAft>
        <a:buFont typeface="Arial" charset="0"/>
        <a:buChar char="•"/>
        <a:defRPr>
          <a:solidFill>
            <a:schemeClr val="tx1"/>
          </a:solidFill>
          <a:latin typeface="+mn-lt"/>
          <a:ea typeface="+mn-ea"/>
          <a:cs typeface="Geneva" charset="0"/>
        </a:defRPr>
      </a:lvl3pPr>
      <a:lvl4pPr marL="1312863" indent="-223838" algn="l" rtl="0" eaLnBrk="1" fontAlgn="base" hangingPunct="1">
        <a:lnSpc>
          <a:spcPct val="95000"/>
        </a:lnSpc>
        <a:spcBef>
          <a:spcPct val="20000"/>
        </a:spcBef>
        <a:spcAft>
          <a:spcPct val="20000"/>
        </a:spcAft>
        <a:buFont typeface="Arial" charset="0"/>
        <a:buChar char="–"/>
        <a:defRPr>
          <a:solidFill>
            <a:schemeClr val="tx1"/>
          </a:solidFill>
          <a:latin typeface="+mn-lt"/>
          <a:ea typeface="+mn-ea"/>
          <a:cs typeface="Geneva" charset="0"/>
        </a:defRPr>
      </a:lvl4pPr>
      <a:lvl5pPr marL="1651000" indent="-223838" algn="l" rtl="0" eaLnBrk="1" fontAlgn="base" hangingPunct="1">
        <a:lnSpc>
          <a:spcPct val="95000"/>
        </a:lnSpc>
        <a:spcBef>
          <a:spcPct val="20000"/>
        </a:spcBef>
        <a:spcAft>
          <a:spcPct val="20000"/>
        </a:spcAft>
        <a:buFont typeface="Arial" charset="0"/>
        <a:buChar char="•"/>
        <a:defRPr>
          <a:solidFill>
            <a:schemeClr val="tx1"/>
          </a:solidFill>
          <a:latin typeface="+mn-lt"/>
          <a:ea typeface="+mn-ea"/>
          <a:cs typeface="Geneva" charset="0"/>
        </a:defRPr>
      </a:lvl5pPr>
      <a:lvl6pPr marL="2108200" indent="-223838" algn="l" rtl="0" eaLnBrk="1" fontAlgn="base" hangingPunct="1">
        <a:lnSpc>
          <a:spcPct val="95000"/>
        </a:lnSpc>
        <a:spcBef>
          <a:spcPct val="20000"/>
        </a:spcBef>
        <a:spcAft>
          <a:spcPct val="20000"/>
        </a:spcAft>
        <a:buFont typeface="Arial" charset="0"/>
        <a:buChar char="•"/>
        <a:defRPr sz="1600">
          <a:solidFill>
            <a:schemeClr val="tx1"/>
          </a:solidFill>
          <a:latin typeface="+mn-lt"/>
          <a:ea typeface="+mn-ea"/>
        </a:defRPr>
      </a:lvl6pPr>
      <a:lvl7pPr marL="2565400" indent="-223838" algn="l" rtl="0" eaLnBrk="1" fontAlgn="base" hangingPunct="1">
        <a:lnSpc>
          <a:spcPct val="95000"/>
        </a:lnSpc>
        <a:spcBef>
          <a:spcPct val="20000"/>
        </a:spcBef>
        <a:spcAft>
          <a:spcPct val="20000"/>
        </a:spcAft>
        <a:buFont typeface="Arial" charset="0"/>
        <a:buChar char="•"/>
        <a:defRPr sz="1600">
          <a:solidFill>
            <a:schemeClr val="tx1"/>
          </a:solidFill>
          <a:latin typeface="+mn-lt"/>
          <a:ea typeface="+mn-ea"/>
        </a:defRPr>
      </a:lvl7pPr>
      <a:lvl8pPr marL="3022600" indent="-223838" algn="l" rtl="0" eaLnBrk="1" fontAlgn="base" hangingPunct="1">
        <a:lnSpc>
          <a:spcPct val="95000"/>
        </a:lnSpc>
        <a:spcBef>
          <a:spcPct val="20000"/>
        </a:spcBef>
        <a:spcAft>
          <a:spcPct val="20000"/>
        </a:spcAft>
        <a:buFont typeface="Arial" charset="0"/>
        <a:buChar char="•"/>
        <a:defRPr sz="1600">
          <a:solidFill>
            <a:schemeClr val="tx1"/>
          </a:solidFill>
          <a:latin typeface="+mn-lt"/>
          <a:ea typeface="+mn-ea"/>
        </a:defRPr>
      </a:lvl8pPr>
      <a:lvl9pPr marL="3479800" indent="-223838" algn="l" rtl="0" eaLnBrk="1" fontAlgn="base" hangingPunct="1">
        <a:lnSpc>
          <a:spcPct val="95000"/>
        </a:lnSpc>
        <a:spcBef>
          <a:spcPct val="20000"/>
        </a:spcBef>
        <a:spcAft>
          <a:spcPct val="20000"/>
        </a:spcAft>
        <a:buFont typeface="Arial" charset="0"/>
        <a:buChar char="•"/>
        <a:defRPr sz="1600">
          <a:solidFill>
            <a:schemeClr val="tx1"/>
          </a:solidFill>
          <a:latin typeface="+mn-lt"/>
          <a:ea typeface="+mn-ea"/>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2" name="Object 31" hidden="1"/>
          <p:cNvGraphicFramePr>
            <a:graphicFrameLocks noChangeAspect="1"/>
          </p:cNvGraphicFramePr>
          <p:nvPr>
            <p:custDataLst>
              <p:tags r:id="rId14"/>
            </p:custDataLst>
          </p:nvPr>
        </p:nvGraphicFramePr>
        <p:xfrm>
          <a:off x="1956" y="1592"/>
          <a:ext cx="1953" cy="1587"/>
        </p:xfrm>
        <a:graphic>
          <a:graphicData uri="http://schemas.openxmlformats.org/presentationml/2006/ole">
            <mc:AlternateContent xmlns:mc="http://schemas.openxmlformats.org/markup-compatibility/2006">
              <mc:Choice xmlns:v="urn:schemas-microsoft-com:vml" Requires="v">
                <p:oleObj spid="_x0000_s2488008" name="think-cell Slide" r:id="rId16" imgW="270" imgH="270" progId="TCLayout.ActiveDocument.1">
                  <p:embed/>
                </p:oleObj>
              </mc:Choice>
              <mc:Fallback>
                <p:oleObj name="think-cell Slide" r:id="rId16" imgW="270" imgH="270" progId="TCLayout.ActiveDocument.1">
                  <p:embed/>
                  <p:pic>
                    <p:nvPicPr>
                      <p:cNvPr id="0" name=""/>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1956" y="1592"/>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a:xfrm>
            <a:off x="562708" y="162000"/>
            <a:ext cx="11068061" cy="832104"/>
          </a:xfrm>
          <a:prstGeom prst="rect">
            <a:avLst/>
          </a:prstGeom>
        </p:spPr>
        <p:txBody>
          <a:bodyPr vert="horz" lIns="0" tIns="45720" rIns="0" bIns="45720" rtlCol="0" anchor="t" anchorCtr="0">
            <a:noAutofit/>
          </a:bodyPr>
          <a:lstStyle/>
          <a:p>
            <a:r>
              <a:rPr lang="en-US" noProof="0" dirty="0"/>
              <a:t>Click to edit Master title style</a:t>
            </a:r>
          </a:p>
        </p:txBody>
      </p:sp>
      <p:sp>
        <p:nvSpPr>
          <p:cNvPr id="7" name="FooterSimple"/>
          <p:cNvSpPr/>
          <p:nvPr userDrawn="1">
            <p:custDataLst>
              <p:tags r:id="rId15"/>
            </p:custDataLst>
          </p:nvPr>
        </p:nvSpPr>
        <p:spPr>
          <a:xfrm>
            <a:off x="393794" y="6719264"/>
            <a:ext cx="793108" cy="10772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oAutofit/>
          </a:bodyPr>
          <a:lstStyle/>
          <a:p>
            <a:pPr defTabSz="914400"/>
            <a:r>
              <a:rPr lang="en-US" sz="700" dirty="0">
                <a:solidFill>
                  <a:srgbClr val="808080"/>
                </a:solidFill>
                <a:cs typeface="Arial"/>
                <a:sym typeface="Arial"/>
              </a:rPr>
              <a:t>196301-97 - Deep dive on indicators - v17_01Nov17_JT_v01_extract_2017-11.._.pptx</a:t>
            </a:r>
          </a:p>
        </p:txBody>
      </p:sp>
      <p:sp>
        <p:nvSpPr>
          <p:cNvPr id="13" name="Text Placeholder 12"/>
          <p:cNvSpPr>
            <a:spLocks noGrp="1"/>
          </p:cNvSpPr>
          <p:nvPr>
            <p:ph type="body" idx="1"/>
          </p:nvPr>
        </p:nvSpPr>
        <p:spPr>
          <a:xfrm>
            <a:off x="562708" y="1508760"/>
            <a:ext cx="11074088" cy="3997304"/>
          </a:xfrm>
          <a:prstGeom prst="rect">
            <a:avLst/>
          </a:prstGeom>
        </p:spPr>
        <p:txBody>
          <a:bodyPr vert="horz" lIns="0" tIns="0" rIns="0" bIns="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Box 7"/>
          <p:cNvSpPr txBox="1"/>
          <p:nvPr userDrawn="1"/>
        </p:nvSpPr>
        <p:spPr>
          <a:xfrm>
            <a:off x="5841383" y="6271547"/>
            <a:ext cx="458115" cy="276999"/>
          </a:xfrm>
          <a:prstGeom prst="rect">
            <a:avLst/>
          </a:prstGeom>
          <a:noFill/>
          <a:ln/>
          <a:effectLst/>
        </p:spPr>
        <p:txBody>
          <a:bodyPr wrap="none" lIns="91440" tIns="54864" rIns="91440" bIns="45720" rtlCol="0" anchor="t" anchorCtr="0">
            <a:noAutofit/>
          </a:bodyPr>
          <a:lstStyle/>
          <a:p>
            <a:pPr algn="r" defTabSz="914400">
              <a:defRPr/>
            </a:pPr>
            <a:fld id="{8FDC6993-5875-43F1-AB5B-56FAFD3221C9}" type="slidenum">
              <a:rPr lang="en-US" sz="1000" smtClean="0">
                <a:solidFill>
                  <a:srgbClr val="FFFFFF"/>
                </a:solidFill>
              </a:rPr>
              <a:pPr algn="r" defTabSz="914400">
                <a:defRPr/>
              </a:pPr>
              <a:t>‹#›</a:t>
            </a:fld>
            <a:endParaRPr lang="en-US" sz="1000" dirty="0">
              <a:solidFill>
                <a:srgbClr val="FFFFFF"/>
              </a:solidFill>
            </a:endParaRPr>
          </a:p>
          <a:p>
            <a:pPr defTabSz="914400"/>
            <a:endParaRPr lang="en-US" sz="900" dirty="0">
              <a:solidFill>
                <a:srgbClr val="FFFFFF"/>
              </a:solidFill>
            </a:endParaRPr>
          </a:p>
        </p:txBody>
      </p:sp>
      <p:sp>
        <p:nvSpPr>
          <p:cNvPr id="12" name="Slide Number Placeholder 5"/>
          <p:cNvSpPr txBox="1">
            <a:spLocks/>
          </p:cNvSpPr>
          <p:nvPr userDrawn="1"/>
        </p:nvSpPr>
        <p:spPr>
          <a:xfrm>
            <a:off x="11288131" y="6448894"/>
            <a:ext cx="793995"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FC7F43E-2420-6848-A2B2-B5C9DEF3CEAA}" type="slidenum">
              <a:rPr lang="en-US" sz="1000" smtClean="0">
                <a:solidFill>
                  <a:prstClr val="black">
                    <a:tint val="75000"/>
                  </a:prstClr>
                </a:solidFill>
                <a:cs typeface="Arial" panose="020B0604020202020204" pitchFamily="34" charset="0"/>
              </a:rPr>
              <a:pPr/>
              <a:t>‹#›</a:t>
            </a:fld>
            <a:endParaRPr lang="en-US" sz="1000" dirty="0">
              <a:solidFill>
                <a:prstClr val="black">
                  <a:tint val="75000"/>
                </a:prstClr>
              </a:solidFill>
              <a:cs typeface="Arial" panose="020B0604020202020204" pitchFamily="34" charset="0"/>
            </a:endParaRPr>
          </a:p>
        </p:txBody>
      </p:sp>
      <p:pic>
        <p:nvPicPr>
          <p:cNvPr id="14" name="Picture 13"/>
          <p:cNvPicPr>
            <a:picLocks noChangeAspect="1"/>
          </p:cNvPicPr>
          <p:nvPr userDrawn="1"/>
        </p:nvPicPr>
        <p:blipFill>
          <a:blip r:embed="rId18" cstate="print">
            <a:extLst>
              <a:ext uri="{28A0092B-C50C-407E-A947-70E740481C1C}">
                <a14:useLocalDpi xmlns:a14="http://schemas.microsoft.com/office/drawing/2010/main" val="0"/>
              </a:ext>
            </a:extLst>
          </a:blip>
          <a:stretch>
            <a:fillRect/>
          </a:stretch>
        </p:blipFill>
        <p:spPr>
          <a:xfrm>
            <a:off x="10505030" y="6552810"/>
            <a:ext cx="1076129" cy="141242"/>
          </a:xfrm>
          <a:prstGeom prst="rect">
            <a:avLst/>
          </a:prstGeom>
        </p:spPr>
      </p:pic>
      <p:pic>
        <p:nvPicPr>
          <p:cNvPr id="16" name="pasted-image.pdf" descr="pasted-image.pdf"/>
          <p:cNvPicPr>
            <a:picLocks noChangeAspect="1"/>
          </p:cNvPicPr>
          <p:nvPr userDrawn="1"/>
        </p:nvPicPr>
        <p:blipFill>
          <a:blip r:embed="rId19" cstate="print"/>
          <a:stretch>
            <a:fillRect/>
          </a:stretch>
        </p:blipFill>
        <p:spPr>
          <a:xfrm>
            <a:off x="393794" y="6416675"/>
            <a:ext cx="518061" cy="256674"/>
          </a:xfrm>
          <a:prstGeom prst="rect">
            <a:avLst/>
          </a:prstGeom>
          <a:ln w="12700">
            <a:miter lim="400000"/>
          </a:ln>
        </p:spPr>
      </p:pic>
    </p:spTree>
    <p:extLst>
      <p:ext uri="{BB962C8B-B14F-4D97-AF65-F5344CB8AC3E}">
        <p14:creationId xmlns:p14="http://schemas.microsoft.com/office/powerpoint/2010/main" val="3647099818"/>
      </p:ext>
    </p:extLst>
  </p:cSld>
  <p:clrMap bg1="lt1" tx1="dk1" bg2="lt2" tx2="dk2" accent1="accent1" accent2="accent2" accent3="accent3" accent4="accent4" accent5="accent5" accent6="accent6" hlink="hlink" folHlink="folHlink"/>
  <p:sldLayoutIdLst>
    <p:sldLayoutId id="2147483755" r:id="rId1"/>
    <p:sldLayoutId id="2147483756" r:id="rId2"/>
    <p:sldLayoutId id="2147483757" r:id="rId3"/>
    <p:sldLayoutId id="2147483758" r:id="rId4"/>
    <p:sldLayoutId id="2147483759" r:id="rId5"/>
    <p:sldLayoutId id="2147483760" r:id="rId6"/>
    <p:sldLayoutId id="2147483761" r:id="rId7"/>
    <p:sldLayoutId id="2147483762" r:id="rId8"/>
    <p:sldLayoutId id="2147483763" r:id="rId9"/>
    <p:sldLayoutId id="2147483764" r:id="rId10"/>
    <p:sldLayoutId id="2147483765" r:id="rId11"/>
  </p:sldLayoutIdLst>
  <p:hf hdr="0" ftr="0" dt="0"/>
  <p:txStyles>
    <p:titleStyle>
      <a:lvl1pPr algn="l" defTabSz="914400" rtl="0" eaLnBrk="1" latinLnBrk="0" hangingPunct="1">
        <a:spcBef>
          <a:spcPct val="0"/>
        </a:spcBef>
        <a:buNone/>
        <a:defRPr sz="2000" b="1" kern="1200" baseline="0">
          <a:solidFill>
            <a:srgbClr val="4472C4"/>
          </a:solidFill>
          <a:latin typeface="Arial"/>
          <a:ea typeface="+mj-ea"/>
          <a:cs typeface="Arial"/>
          <a:sym typeface="Arial"/>
        </a:defRPr>
      </a:lvl1pPr>
    </p:titleStyle>
    <p:bodyStyle>
      <a:lvl1pPr marL="0" indent="0" algn="l" defTabSz="914400" rtl="0" eaLnBrk="1" latinLnBrk="0" hangingPunct="1">
        <a:spcBef>
          <a:spcPts val="384"/>
        </a:spcBef>
        <a:buFontTx/>
        <a:buNone/>
        <a:defRPr sz="1600" b="1" kern="1200" baseline="0">
          <a:solidFill>
            <a:srgbClr val="002D72"/>
          </a:solidFill>
          <a:latin typeface="Arial"/>
          <a:ea typeface="+mn-ea"/>
          <a:cs typeface="Arial"/>
          <a:sym typeface="Arial"/>
        </a:defRPr>
      </a:lvl1pPr>
      <a:lvl2pPr marL="457200" indent="-228600" algn="l" defTabSz="914400" rtl="0" eaLnBrk="1" latinLnBrk="0" hangingPunct="1">
        <a:spcBef>
          <a:spcPts val="384"/>
        </a:spcBef>
        <a:buClr>
          <a:srgbClr val="002D72"/>
        </a:buClr>
        <a:buFont typeface="Arial" pitchFamily="34" charset="0"/>
        <a:buChar char="•"/>
        <a:defRPr sz="1600" kern="1200" baseline="0">
          <a:solidFill>
            <a:srgbClr val="002D72"/>
          </a:solidFill>
          <a:latin typeface="Arial"/>
          <a:ea typeface="+mn-ea"/>
          <a:cs typeface="Arial"/>
          <a:sym typeface="Arial"/>
        </a:defRPr>
      </a:lvl2pPr>
      <a:lvl3pPr marL="914400" indent="-228600" algn="l" defTabSz="914400" rtl="0" eaLnBrk="1" latinLnBrk="0" hangingPunct="1">
        <a:spcBef>
          <a:spcPts val="384"/>
        </a:spcBef>
        <a:buClr>
          <a:srgbClr val="002D72"/>
        </a:buClr>
        <a:buFont typeface="Arial" pitchFamily="34" charset="0"/>
        <a:buChar char="–"/>
        <a:defRPr sz="1600" kern="1200" baseline="0">
          <a:solidFill>
            <a:srgbClr val="002D72"/>
          </a:solidFill>
          <a:latin typeface="Arial"/>
          <a:ea typeface="+mn-ea"/>
          <a:cs typeface="Arial"/>
          <a:sym typeface="Arial"/>
        </a:defRPr>
      </a:lvl3pPr>
      <a:lvl4pPr marL="1376363" indent="-233362" algn="l" defTabSz="914400" rtl="0" eaLnBrk="1" latinLnBrk="0" hangingPunct="1">
        <a:spcBef>
          <a:spcPts val="384"/>
        </a:spcBef>
        <a:buClr>
          <a:srgbClr val="002D72"/>
        </a:buClr>
        <a:buFont typeface="Arial" pitchFamily="34" charset="0"/>
        <a:buChar char="–"/>
        <a:defRPr sz="1600" kern="1200" baseline="0">
          <a:solidFill>
            <a:srgbClr val="002D72"/>
          </a:solidFill>
          <a:latin typeface="Arial"/>
          <a:ea typeface="+mn-ea"/>
          <a:cs typeface="Arial"/>
          <a:sym typeface="Arial"/>
        </a:defRPr>
      </a:lvl4pPr>
      <a:lvl5pPr marL="2058988" indent="-230188" algn="l" defTabSz="914400" rtl="0" eaLnBrk="1" latinLnBrk="0" hangingPunct="1">
        <a:spcBef>
          <a:spcPts val="384"/>
        </a:spcBef>
        <a:buClr>
          <a:srgbClr val="002D72"/>
        </a:buClr>
        <a:buFont typeface="Arial" pitchFamily="34" charset="0"/>
        <a:buChar char="–"/>
        <a:defRPr sz="1600" kern="1200" baseline="0">
          <a:solidFill>
            <a:srgbClr val="002D72"/>
          </a:solidFill>
          <a:latin typeface="Arial"/>
          <a:ea typeface="+mn-ea"/>
          <a:cs typeface="Arial"/>
          <a:sym typeface="Arial"/>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19">
            <a:extLst>
              <a:ext uri="{28A0092B-C50C-407E-A947-70E740481C1C}">
                <a14:useLocalDpi xmlns:a14="http://schemas.microsoft.com/office/drawing/2010/main" val="0"/>
              </a:ext>
            </a:extLst>
          </a:blip>
          <a:stretch>
            <a:fillRect/>
          </a:stretch>
        </p:blipFill>
        <p:spPr>
          <a:xfrm>
            <a:off x="9504840" y="5943314"/>
            <a:ext cx="2468136" cy="1197772"/>
          </a:xfrm>
          <a:prstGeom prst="rect">
            <a:avLst/>
          </a:prstGeom>
        </p:spPr>
      </p:pic>
      <p:sp>
        <p:nvSpPr>
          <p:cNvPr id="1107" name="Rectangle 83"/>
          <p:cNvSpPr>
            <a:spLocks noGrp="1" noChangeArrowheads="1"/>
          </p:cNvSpPr>
          <p:nvPr>
            <p:ph type="title"/>
          </p:nvPr>
        </p:nvSpPr>
        <p:spPr bwMode="black">
          <a:xfrm>
            <a:off x="804335" y="314326"/>
            <a:ext cx="11055351" cy="4953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p:spPr>
        <p:txBody>
          <a:bodyPr vert="horz" wrap="square" lIns="0" tIns="0" rIns="0" bIns="0" numCol="1" anchor="t" anchorCtr="0" compatLnSpc="1">
            <a:prstTxWarp prst="textNoShape">
              <a:avLst/>
            </a:prstTxWarp>
          </a:bodyPr>
          <a:lstStyle/>
          <a:p>
            <a:pPr lvl="0"/>
            <a:r>
              <a:rPr lang="en-US"/>
              <a:t>Click to edit Master title style</a:t>
            </a:r>
          </a:p>
        </p:txBody>
      </p:sp>
      <p:sp>
        <p:nvSpPr>
          <p:cNvPr id="1108" name="Rectangle 84"/>
          <p:cNvSpPr>
            <a:spLocks noGrp="1" noChangeArrowheads="1"/>
          </p:cNvSpPr>
          <p:nvPr>
            <p:ph type="body" idx="1"/>
          </p:nvPr>
        </p:nvSpPr>
        <p:spPr bwMode="black">
          <a:xfrm>
            <a:off x="804334" y="1344617"/>
            <a:ext cx="11063817" cy="49228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accent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 uri="{FAA26D3D-D897-4be2-8F04-BA451C77F1D7}">
              <ma14:placeholderFlag xmlns="" xmlns:ma14="http://schemas.microsoft.com/office/mac/drawingml/2011/main" val="1"/>
            </a:ext>
          </a:extLst>
        </p:spPr>
        <p:txBody>
          <a:bodyPr vert="horz" wrap="square" lIns="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09" name="Rectangle 85"/>
          <p:cNvSpPr>
            <a:spLocks noGrp="1" noChangeArrowheads="1"/>
          </p:cNvSpPr>
          <p:nvPr>
            <p:ph type="sldNum" sz="quarter" idx="4"/>
          </p:nvPr>
        </p:nvSpPr>
        <p:spPr bwMode="black">
          <a:xfrm>
            <a:off x="334437" y="6440492"/>
            <a:ext cx="461433" cy="2746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p:spPr>
        <p:txBody>
          <a:bodyPr vert="horz" wrap="square" lIns="0" tIns="0" rIns="0" bIns="0" numCol="1" anchor="ctr" anchorCtr="0" compatLnSpc="1">
            <a:prstTxWarp prst="textNoShape">
              <a:avLst/>
            </a:prstTxWarp>
          </a:bodyPr>
          <a:lstStyle>
            <a:lvl1pPr>
              <a:defRPr sz="900" smtClean="0">
                <a:cs typeface="Geneva" charset="0"/>
              </a:defRPr>
            </a:lvl1pPr>
          </a:lstStyle>
          <a:p>
            <a:pPr fontAlgn="base">
              <a:spcBef>
                <a:spcPct val="0"/>
              </a:spcBef>
              <a:spcAft>
                <a:spcPct val="0"/>
              </a:spcAft>
              <a:defRPr/>
            </a:pPr>
            <a:fld id="{410BB04A-6CB2-A14D-B6AF-586C8C166ED7}" type="slidenum">
              <a:rPr lang="en-US">
                <a:solidFill>
                  <a:srgbClr val="53565A"/>
                </a:solidFill>
                <a:ea typeface="ＭＳ Ｐゴシック" charset="0"/>
              </a:rPr>
              <a:pPr fontAlgn="base">
                <a:spcBef>
                  <a:spcPct val="0"/>
                </a:spcBef>
                <a:spcAft>
                  <a:spcPct val="0"/>
                </a:spcAft>
                <a:defRPr/>
              </a:pPr>
              <a:t>‹#›</a:t>
            </a:fld>
            <a:endParaRPr lang="en-US" dirty="0">
              <a:solidFill>
                <a:srgbClr val="53565A"/>
              </a:solidFill>
              <a:ea typeface="ＭＳ Ｐゴシック" charset="0"/>
            </a:endParaRPr>
          </a:p>
        </p:txBody>
      </p:sp>
      <p:sp>
        <p:nvSpPr>
          <p:cNvPr id="1111" name="Rectangle 87"/>
          <p:cNvSpPr>
            <a:spLocks noGrp="1" noChangeArrowheads="1"/>
          </p:cNvSpPr>
          <p:nvPr>
            <p:ph type="dt" sz="half" idx="2"/>
          </p:nvPr>
        </p:nvSpPr>
        <p:spPr bwMode="black">
          <a:xfrm>
            <a:off x="804335" y="6440492"/>
            <a:ext cx="1422400" cy="2746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p:spPr>
        <p:txBody>
          <a:bodyPr vert="horz" wrap="square" lIns="0" tIns="0" rIns="0" bIns="0" numCol="1" anchor="ctr" anchorCtr="0" compatLnSpc="1">
            <a:prstTxWarp prst="textNoShape">
              <a:avLst/>
            </a:prstTxWarp>
          </a:bodyPr>
          <a:lstStyle>
            <a:lvl1pPr algn="l">
              <a:defRPr sz="900">
                <a:ea typeface="Geneva" charset="0"/>
                <a:cs typeface="+mn-cs"/>
              </a:defRPr>
            </a:lvl1pPr>
          </a:lstStyle>
          <a:p>
            <a:pPr fontAlgn="base">
              <a:spcBef>
                <a:spcPct val="0"/>
              </a:spcBef>
              <a:spcAft>
                <a:spcPct val="0"/>
              </a:spcAft>
              <a:defRPr/>
            </a:pPr>
            <a:r>
              <a:rPr lang="en-US" dirty="0">
                <a:solidFill>
                  <a:srgbClr val="53565A"/>
                </a:solidFill>
              </a:rPr>
              <a:t>MM.DD.YY</a:t>
            </a:r>
          </a:p>
        </p:txBody>
      </p:sp>
      <p:sp>
        <p:nvSpPr>
          <p:cNvPr id="1116" name="Rectangle 92"/>
          <p:cNvSpPr>
            <a:spLocks noGrp="1" noChangeArrowheads="1"/>
          </p:cNvSpPr>
          <p:nvPr>
            <p:ph type="ftr" sz="quarter" idx="3"/>
          </p:nvPr>
        </p:nvSpPr>
        <p:spPr bwMode="black">
          <a:xfrm>
            <a:off x="2781300" y="6440492"/>
            <a:ext cx="5427133" cy="2746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p:spPr>
        <p:txBody>
          <a:bodyPr vert="horz" wrap="square" lIns="0" tIns="0" rIns="0" bIns="0" numCol="1" anchor="ctr" anchorCtr="0" compatLnSpc="1">
            <a:prstTxWarp prst="textNoShape">
              <a:avLst/>
            </a:prstTxWarp>
          </a:bodyPr>
          <a:lstStyle>
            <a:lvl1pPr algn="l">
              <a:defRPr sz="900">
                <a:ea typeface="ヒラギノ角ゴ Pro W3" charset="0"/>
                <a:cs typeface="Geneva" charset="0"/>
              </a:defRPr>
            </a:lvl1pPr>
          </a:lstStyle>
          <a:p>
            <a:pPr fontAlgn="base">
              <a:spcBef>
                <a:spcPct val="0"/>
              </a:spcBef>
              <a:spcAft>
                <a:spcPct val="0"/>
              </a:spcAft>
              <a:defRPr/>
            </a:pPr>
            <a:r>
              <a:rPr lang="en-US" dirty="0">
                <a:solidFill>
                  <a:srgbClr val="53565A"/>
                </a:solidFill>
              </a:rPr>
              <a:t>Presentation Title</a:t>
            </a:r>
          </a:p>
        </p:txBody>
      </p:sp>
    </p:spTree>
    <p:extLst>
      <p:ext uri="{BB962C8B-B14F-4D97-AF65-F5344CB8AC3E}">
        <p14:creationId xmlns:p14="http://schemas.microsoft.com/office/powerpoint/2010/main" val="3141035335"/>
      </p:ext>
    </p:extLst>
  </p:cSld>
  <p:clrMap bg1="lt1" tx1="dk1" bg2="lt2" tx2="dk2" accent1="accent1" accent2="accent2" accent3="accent3" accent4="accent4" accent5="accent5" accent6="accent6" hlink="hlink" folHlink="folHlink"/>
  <p:sldLayoutIdLst>
    <p:sldLayoutId id="2147483799" r:id="rId1"/>
    <p:sldLayoutId id="2147483800" r:id="rId2"/>
    <p:sldLayoutId id="2147483801" r:id="rId3"/>
    <p:sldLayoutId id="2147483802" r:id="rId4"/>
    <p:sldLayoutId id="2147483803" r:id="rId5"/>
    <p:sldLayoutId id="2147483804" r:id="rId6"/>
    <p:sldLayoutId id="2147483805" r:id="rId7"/>
    <p:sldLayoutId id="2147483806" r:id="rId8"/>
    <p:sldLayoutId id="2147483807" r:id="rId9"/>
    <p:sldLayoutId id="2147483808" r:id="rId10"/>
    <p:sldLayoutId id="2147483809" r:id="rId11"/>
    <p:sldLayoutId id="2147483810" r:id="rId12"/>
    <p:sldLayoutId id="2147483811" r:id="rId13"/>
    <p:sldLayoutId id="2147483812" r:id="rId14"/>
    <p:sldLayoutId id="2147483813" r:id="rId15"/>
    <p:sldLayoutId id="2147483814" r:id="rId16"/>
    <p:sldLayoutId id="2147483815" r:id="rId17"/>
  </p:sldLayoutIdLst>
  <p:hf hdr="0"/>
  <p:txStyles>
    <p:titleStyle>
      <a:lvl1pPr algn="l" rtl="0" eaLnBrk="1" fontAlgn="base" hangingPunct="1">
        <a:spcBef>
          <a:spcPct val="0"/>
        </a:spcBef>
        <a:spcAft>
          <a:spcPct val="0"/>
        </a:spcAft>
        <a:defRPr sz="2400">
          <a:solidFill>
            <a:schemeClr val="tx2"/>
          </a:solidFill>
          <a:latin typeface="+mj-lt"/>
          <a:ea typeface="ヒラギノ角ゴ Pro W3" charset="0"/>
          <a:cs typeface="Geneva" charset="0"/>
        </a:defRPr>
      </a:lvl1pPr>
      <a:lvl2pPr algn="l" rtl="0" eaLnBrk="1" fontAlgn="base" hangingPunct="1">
        <a:spcBef>
          <a:spcPct val="0"/>
        </a:spcBef>
        <a:spcAft>
          <a:spcPct val="0"/>
        </a:spcAft>
        <a:defRPr sz="2400">
          <a:solidFill>
            <a:schemeClr val="tx2"/>
          </a:solidFill>
          <a:latin typeface="Arial" charset="0"/>
          <a:ea typeface="ヒラギノ角ゴ Pro W3" charset="0"/>
          <a:cs typeface="Geneva" charset="0"/>
        </a:defRPr>
      </a:lvl2pPr>
      <a:lvl3pPr algn="l" rtl="0" eaLnBrk="1" fontAlgn="base" hangingPunct="1">
        <a:spcBef>
          <a:spcPct val="0"/>
        </a:spcBef>
        <a:spcAft>
          <a:spcPct val="0"/>
        </a:spcAft>
        <a:defRPr sz="2400">
          <a:solidFill>
            <a:schemeClr val="tx2"/>
          </a:solidFill>
          <a:latin typeface="Arial" charset="0"/>
          <a:ea typeface="ヒラギノ角ゴ Pro W3" charset="0"/>
          <a:cs typeface="Geneva" charset="0"/>
        </a:defRPr>
      </a:lvl3pPr>
      <a:lvl4pPr algn="l" rtl="0" eaLnBrk="1" fontAlgn="base" hangingPunct="1">
        <a:spcBef>
          <a:spcPct val="0"/>
        </a:spcBef>
        <a:spcAft>
          <a:spcPct val="0"/>
        </a:spcAft>
        <a:defRPr sz="2400">
          <a:solidFill>
            <a:schemeClr val="tx2"/>
          </a:solidFill>
          <a:latin typeface="Arial" charset="0"/>
          <a:ea typeface="ヒラギノ角ゴ Pro W3" charset="0"/>
          <a:cs typeface="Geneva" charset="0"/>
        </a:defRPr>
      </a:lvl4pPr>
      <a:lvl5pPr algn="l" rtl="0" eaLnBrk="1" fontAlgn="base" hangingPunct="1">
        <a:spcBef>
          <a:spcPct val="0"/>
        </a:spcBef>
        <a:spcAft>
          <a:spcPct val="0"/>
        </a:spcAft>
        <a:defRPr sz="2400">
          <a:solidFill>
            <a:schemeClr val="tx2"/>
          </a:solidFill>
          <a:latin typeface="Arial" charset="0"/>
          <a:ea typeface="ヒラギノ角ゴ Pro W3" charset="0"/>
          <a:cs typeface="Geneva" charset="0"/>
        </a:defRPr>
      </a:lvl5pPr>
      <a:lvl6pPr marL="457127" algn="l" rtl="0" eaLnBrk="1" fontAlgn="base" hangingPunct="1">
        <a:spcBef>
          <a:spcPct val="0"/>
        </a:spcBef>
        <a:spcAft>
          <a:spcPct val="0"/>
        </a:spcAft>
        <a:defRPr sz="2400">
          <a:solidFill>
            <a:srgbClr val="004785"/>
          </a:solidFill>
          <a:latin typeface="Arial" charset="0"/>
          <a:ea typeface="Geneva" charset="0"/>
        </a:defRPr>
      </a:lvl6pPr>
      <a:lvl7pPr marL="914253" algn="l" rtl="0" eaLnBrk="1" fontAlgn="base" hangingPunct="1">
        <a:spcBef>
          <a:spcPct val="0"/>
        </a:spcBef>
        <a:spcAft>
          <a:spcPct val="0"/>
        </a:spcAft>
        <a:defRPr sz="2400">
          <a:solidFill>
            <a:srgbClr val="004785"/>
          </a:solidFill>
          <a:latin typeface="Arial" charset="0"/>
          <a:ea typeface="Geneva" charset="0"/>
        </a:defRPr>
      </a:lvl7pPr>
      <a:lvl8pPr marL="1371380" algn="l" rtl="0" eaLnBrk="1" fontAlgn="base" hangingPunct="1">
        <a:spcBef>
          <a:spcPct val="0"/>
        </a:spcBef>
        <a:spcAft>
          <a:spcPct val="0"/>
        </a:spcAft>
        <a:defRPr sz="2400">
          <a:solidFill>
            <a:srgbClr val="004785"/>
          </a:solidFill>
          <a:latin typeface="Arial" charset="0"/>
          <a:ea typeface="Geneva" charset="0"/>
        </a:defRPr>
      </a:lvl8pPr>
      <a:lvl9pPr marL="1828507" algn="l" rtl="0" eaLnBrk="1" fontAlgn="base" hangingPunct="1">
        <a:spcBef>
          <a:spcPct val="0"/>
        </a:spcBef>
        <a:spcAft>
          <a:spcPct val="0"/>
        </a:spcAft>
        <a:defRPr sz="2400">
          <a:solidFill>
            <a:srgbClr val="004785"/>
          </a:solidFill>
          <a:latin typeface="Arial" charset="0"/>
          <a:ea typeface="Geneva" charset="0"/>
        </a:defRPr>
      </a:lvl9pPr>
    </p:titleStyle>
    <p:bodyStyle>
      <a:lvl1pPr marL="288879" indent="-288879" algn="l" rtl="0" eaLnBrk="1" fontAlgn="base" hangingPunct="1">
        <a:lnSpc>
          <a:spcPct val="95000"/>
        </a:lnSpc>
        <a:spcBef>
          <a:spcPct val="75000"/>
        </a:spcBef>
        <a:spcAft>
          <a:spcPct val="20000"/>
        </a:spcAft>
        <a:buChar char="•"/>
        <a:defRPr>
          <a:solidFill>
            <a:schemeClr val="tx1"/>
          </a:solidFill>
          <a:latin typeface="+mn-lt"/>
          <a:ea typeface="ヒラギノ角ゴ Pro W3" charset="0"/>
          <a:cs typeface="Geneva" charset="0"/>
        </a:defRPr>
      </a:lvl1pPr>
      <a:lvl2pPr marL="633311" indent="-230152" algn="l" rtl="0" eaLnBrk="1" fontAlgn="base" hangingPunct="1">
        <a:lnSpc>
          <a:spcPct val="95000"/>
        </a:lnSpc>
        <a:spcBef>
          <a:spcPct val="20000"/>
        </a:spcBef>
        <a:spcAft>
          <a:spcPct val="20000"/>
        </a:spcAft>
        <a:buFont typeface="Arial" charset="0"/>
        <a:buChar char="–"/>
        <a:defRPr>
          <a:solidFill>
            <a:schemeClr val="tx1"/>
          </a:solidFill>
          <a:latin typeface="+mn-lt"/>
          <a:ea typeface="+mn-ea"/>
          <a:cs typeface="Geneva" charset="0"/>
        </a:defRPr>
      </a:lvl2pPr>
      <a:lvl3pPr marL="974569" indent="-226976" algn="l" rtl="0" eaLnBrk="1" fontAlgn="base" hangingPunct="1">
        <a:lnSpc>
          <a:spcPct val="95000"/>
        </a:lnSpc>
        <a:spcBef>
          <a:spcPct val="20000"/>
        </a:spcBef>
        <a:spcAft>
          <a:spcPct val="20000"/>
        </a:spcAft>
        <a:buFont typeface="Arial" charset="0"/>
        <a:buChar char="•"/>
        <a:defRPr>
          <a:solidFill>
            <a:schemeClr val="tx1"/>
          </a:solidFill>
          <a:latin typeface="+mn-lt"/>
          <a:ea typeface="+mn-ea"/>
          <a:cs typeface="Geneva" charset="0"/>
        </a:defRPr>
      </a:lvl3pPr>
      <a:lvl4pPr marL="1312653" indent="-223802" algn="l" rtl="0" eaLnBrk="1" fontAlgn="base" hangingPunct="1">
        <a:lnSpc>
          <a:spcPct val="95000"/>
        </a:lnSpc>
        <a:spcBef>
          <a:spcPct val="20000"/>
        </a:spcBef>
        <a:spcAft>
          <a:spcPct val="20000"/>
        </a:spcAft>
        <a:buFont typeface="Arial" charset="0"/>
        <a:buChar char="–"/>
        <a:defRPr>
          <a:solidFill>
            <a:schemeClr val="tx1"/>
          </a:solidFill>
          <a:latin typeface="+mn-lt"/>
          <a:ea typeface="+mn-ea"/>
          <a:cs typeface="Geneva" charset="0"/>
        </a:defRPr>
      </a:lvl4pPr>
      <a:lvl5pPr marL="1650735" indent="-223802" algn="l" rtl="0" eaLnBrk="1" fontAlgn="base" hangingPunct="1">
        <a:lnSpc>
          <a:spcPct val="95000"/>
        </a:lnSpc>
        <a:spcBef>
          <a:spcPct val="20000"/>
        </a:spcBef>
        <a:spcAft>
          <a:spcPct val="20000"/>
        </a:spcAft>
        <a:buFont typeface="Arial" charset="0"/>
        <a:buChar char="•"/>
        <a:defRPr>
          <a:solidFill>
            <a:schemeClr val="tx1"/>
          </a:solidFill>
          <a:latin typeface="+mn-lt"/>
          <a:ea typeface="+mn-ea"/>
          <a:cs typeface="Geneva" charset="0"/>
        </a:defRPr>
      </a:lvl5pPr>
      <a:lvl6pPr marL="2107862" indent="-223802" algn="l" rtl="0" eaLnBrk="1" fontAlgn="base" hangingPunct="1">
        <a:lnSpc>
          <a:spcPct val="95000"/>
        </a:lnSpc>
        <a:spcBef>
          <a:spcPct val="20000"/>
        </a:spcBef>
        <a:spcAft>
          <a:spcPct val="20000"/>
        </a:spcAft>
        <a:buFont typeface="Arial" charset="0"/>
        <a:buChar char="•"/>
        <a:defRPr sz="1600">
          <a:solidFill>
            <a:schemeClr val="tx1"/>
          </a:solidFill>
          <a:latin typeface="+mn-lt"/>
          <a:ea typeface="+mn-ea"/>
        </a:defRPr>
      </a:lvl6pPr>
      <a:lvl7pPr marL="2564989" indent="-223802" algn="l" rtl="0" eaLnBrk="1" fontAlgn="base" hangingPunct="1">
        <a:lnSpc>
          <a:spcPct val="95000"/>
        </a:lnSpc>
        <a:spcBef>
          <a:spcPct val="20000"/>
        </a:spcBef>
        <a:spcAft>
          <a:spcPct val="20000"/>
        </a:spcAft>
        <a:buFont typeface="Arial" charset="0"/>
        <a:buChar char="•"/>
        <a:defRPr sz="1600">
          <a:solidFill>
            <a:schemeClr val="tx1"/>
          </a:solidFill>
          <a:latin typeface="+mn-lt"/>
          <a:ea typeface="+mn-ea"/>
        </a:defRPr>
      </a:lvl7pPr>
      <a:lvl8pPr marL="3022115" indent="-223802" algn="l" rtl="0" eaLnBrk="1" fontAlgn="base" hangingPunct="1">
        <a:lnSpc>
          <a:spcPct val="95000"/>
        </a:lnSpc>
        <a:spcBef>
          <a:spcPct val="20000"/>
        </a:spcBef>
        <a:spcAft>
          <a:spcPct val="20000"/>
        </a:spcAft>
        <a:buFont typeface="Arial" charset="0"/>
        <a:buChar char="•"/>
        <a:defRPr sz="1600">
          <a:solidFill>
            <a:schemeClr val="tx1"/>
          </a:solidFill>
          <a:latin typeface="+mn-lt"/>
          <a:ea typeface="+mn-ea"/>
        </a:defRPr>
      </a:lvl8pPr>
      <a:lvl9pPr marL="3479242" indent="-223802" algn="l" rtl="0" eaLnBrk="1" fontAlgn="base" hangingPunct="1">
        <a:lnSpc>
          <a:spcPct val="95000"/>
        </a:lnSpc>
        <a:spcBef>
          <a:spcPct val="20000"/>
        </a:spcBef>
        <a:spcAft>
          <a:spcPct val="20000"/>
        </a:spcAft>
        <a:buFont typeface="Arial" charset="0"/>
        <a:buChar char="•"/>
        <a:defRPr sz="1600">
          <a:solidFill>
            <a:schemeClr val="tx1"/>
          </a:solidFill>
          <a:latin typeface="+mn-lt"/>
          <a:ea typeface="+mn-ea"/>
        </a:defRPr>
      </a:lvl9pPr>
    </p:bodyStyle>
    <p:otherStyle>
      <a:defPPr>
        <a:defRPr lang="en-US"/>
      </a:defPPr>
      <a:lvl1pPr marL="0" algn="l" defTabSz="457127" rtl="0" eaLnBrk="1" latinLnBrk="0" hangingPunct="1">
        <a:defRPr sz="1800" kern="1200">
          <a:solidFill>
            <a:schemeClr val="tx1"/>
          </a:solidFill>
          <a:latin typeface="+mn-lt"/>
          <a:ea typeface="+mn-ea"/>
          <a:cs typeface="+mn-cs"/>
        </a:defRPr>
      </a:lvl1pPr>
      <a:lvl2pPr marL="457127" algn="l" defTabSz="457127" rtl="0" eaLnBrk="1" latinLnBrk="0" hangingPunct="1">
        <a:defRPr sz="1800" kern="1200">
          <a:solidFill>
            <a:schemeClr val="tx1"/>
          </a:solidFill>
          <a:latin typeface="+mn-lt"/>
          <a:ea typeface="+mn-ea"/>
          <a:cs typeface="+mn-cs"/>
        </a:defRPr>
      </a:lvl2pPr>
      <a:lvl3pPr marL="914253" algn="l" defTabSz="457127" rtl="0" eaLnBrk="1" latinLnBrk="0" hangingPunct="1">
        <a:defRPr sz="1800" kern="1200">
          <a:solidFill>
            <a:schemeClr val="tx1"/>
          </a:solidFill>
          <a:latin typeface="+mn-lt"/>
          <a:ea typeface="+mn-ea"/>
          <a:cs typeface="+mn-cs"/>
        </a:defRPr>
      </a:lvl3pPr>
      <a:lvl4pPr marL="1371380" algn="l" defTabSz="457127" rtl="0" eaLnBrk="1" latinLnBrk="0" hangingPunct="1">
        <a:defRPr sz="1800" kern="1200">
          <a:solidFill>
            <a:schemeClr val="tx1"/>
          </a:solidFill>
          <a:latin typeface="+mn-lt"/>
          <a:ea typeface="+mn-ea"/>
          <a:cs typeface="+mn-cs"/>
        </a:defRPr>
      </a:lvl4pPr>
      <a:lvl5pPr marL="1828507" algn="l" defTabSz="457127" rtl="0" eaLnBrk="1" latinLnBrk="0" hangingPunct="1">
        <a:defRPr sz="1800" kern="1200">
          <a:solidFill>
            <a:schemeClr val="tx1"/>
          </a:solidFill>
          <a:latin typeface="+mn-lt"/>
          <a:ea typeface="+mn-ea"/>
          <a:cs typeface="+mn-cs"/>
        </a:defRPr>
      </a:lvl5pPr>
      <a:lvl6pPr marL="2285633" algn="l" defTabSz="457127" rtl="0" eaLnBrk="1" latinLnBrk="0" hangingPunct="1">
        <a:defRPr sz="1800" kern="1200">
          <a:solidFill>
            <a:schemeClr val="tx1"/>
          </a:solidFill>
          <a:latin typeface="+mn-lt"/>
          <a:ea typeface="+mn-ea"/>
          <a:cs typeface="+mn-cs"/>
        </a:defRPr>
      </a:lvl6pPr>
      <a:lvl7pPr marL="2742760" algn="l" defTabSz="457127" rtl="0" eaLnBrk="1" latinLnBrk="0" hangingPunct="1">
        <a:defRPr sz="1800" kern="1200">
          <a:solidFill>
            <a:schemeClr val="tx1"/>
          </a:solidFill>
          <a:latin typeface="+mn-lt"/>
          <a:ea typeface="+mn-ea"/>
          <a:cs typeface="+mn-cs"/>
        </a:defRPr>
      </a:lvl7pPr>
      <a:lvl8pPr marL="3199887" algn="l" defTabSz="457127" rtl="0" eaLnBrk="1" latinLnBrk="0" hangingPunct="1">
        <a:defRPr sz="1800" kern="1200">
          <a:solidFill>
            <a:schemeClr val="tx1"/>
          </a:solidFill>
          <a:latin typeface="+mn-lt"/>
          <a:ea typeface="+mn-ea"/>
          <a:cs typeface="+mn-cs"/>
        </a:defRPr>
      </a:lvl8pPr>
      <a:lvl9pPr marL="3657013" algn="l" defTabSz="457127"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12">
            <a:extLst>
              <a:ext uri="{28A0092B-C50C-407E-A947-70E740481C1C}">
                <a14:useLocalDpi xmlns:a14="http://schemas.microsoft.com/office/drawing/2010/main" val="0"/>
              </a:ext>
            </a:extLst>
          </a:blip>
          <a:stretch>
            <a:fillRect/>
          </a:stretch>
        </p:blipFill>
        <p:spPr>
          <a:xfrm>
            <a:off x="9504840" y="5943314"/>
            <a:ext cx="2468136" cy="1197772"/>
          </a:xfrm>
          <a:prstGeom prst="rect">
            <a:avLst/>
          </a:prstGeom>
        </p:spPr>
      </p:pic>
      <p:sp>
        <p:nvSpPr>
          <p:cNvPr id="1107" name="Rectangle 83"/>
          <p:cNvSpPr>
            <a:spLocks noGrp="1" noChangeArrowheads="1"/>
          </p:cNvSpPr>
          <p:nvPr>
            <p:ph type="title"/>
          </p:nvPr>
        </p:nvSpPr>
        <p:spPr bwMode="black">
          <a:xfrm>
            <a:off x="804334" y="314325"/>
            <a:ext cx="11055351" cy="4953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p:spPr>
        <p:txBody>
          <a:bodyPr vert="horz" wrap="square" lIns="0" tIns="0" rIns="0" bIns="0" numCol="1" anchor="t" anchorCtr="0" compatLnSpc="1">
            <a:prstTxWarp prst="textNoShape">
              <a:avLst/>
            </a:prstTxWarp>
          </a:bodyPr>
          <a:lstStyle/>
          <a:p>
            <a:pPr lvl="0"/>
            <a:r>
              <a:rPr lang="en-US"/>
              <a:t>Click to edit Master title style</a:t>
            </a:r>
          </a:p>
        </p:txBody>
      </p:sp>
      <p:sp>
        <p:nvSpPr>
          <p:cNvPr id="1108" name="Rectangle 84"/>
          <p:cNvSpPr>
            <a:spLocks noGrp="1" noChangeArrowheads="1"/>
          </p:cNvSpPr>
          <p:nvPr>
            <p:ph type="body" idx="1"/>
          </p:nvPr>
        </p:nvSpPr>
        <p:spPr bwMode="black">
          <a:xfrm>
            <a:off x="804334" y="1344614"/>
            <a:ext cx="11063817" cy="49228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accent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 uri="{FAA26D3D-D897-4be2-8F04-BA451C77F1D7}">
              <ma14:placeholderFlag xmlns="" xmlns:ma14="http://schemas.microsoft.com/office/mac/drawingml/2011/main" val="1"/>
            </a:ext>
          </a:extLst>
        </p:spPr>
        <p:txBody>
          <a:bodyPr vert="horz" wrap="square" lIns="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09" name="Rectangle 85"/>
          <p:cNvSpPr>
            <a:spLocks noGrp="1" noChangeArrowheads="1"/>
          </p:cNvSpPr>
          <p:nvPr>
            <p:ph type="sldNum" sz="quarter" idx="4"/>
          </p:nvPr>
        </p:nvSpPr>
        <p:spPr bwMode="black">
          <a:xfrm>
            <a:off x="334434" y="6440489"/>
            <a:ext cx="461433" cy="2746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p:spPr>
        <p:txBody>
          <a:bodyPr vert="horz" wrap="square" lIns="0" tIns="0" rIns="0" bIns="0" numCol="1" anchor="ctr" anchorCtr="0" compatLnSpc="1">
            <a:prstTxWarp prst="textNoShape">
              <a:avLst/>
            </a:prstTxWarp>
          </a:bodyPr>
          <a:lstStyle>
            <a:lvl1pPr>
              <a:defRPr sz="900" smtClean="0">
                <a:cs typeface="Geneva" charset="0"/>
              </a:defRPr>
            </a:lvl1pPr>
          </a:lstStyle>
          <a:p>
            <a:pPr>
              <a:defRPr/>
            </a:pPr>
            <a:fld id="{410BB04A-6CB2-A14D-B6AF-586C8C166ED7}" type="slidenum">
              <a:rPr lang="en-US"/>
              <a:pPr>
                <a:defRPr/>
              </a:pPr>
              <a:t>‹#›</a:t>
            </a:fld>
            <a:endParaRPr lang="en-US" dirty="0"/>
          </a:p>
        </p:txBody>
      </p:sp>
      <p:sp>
        <p:nvSpPr>
          <p:cNvPr id="1111" name="Rectangle 87"/>
          <p:cNvSpPr>
            <a:spLocks noGrp="1" noChangeArrowheads="1"/>
          </p:cNvSpPr>
          <p:nvPr>
            <p:ph type="dt" sz="half" idx="2"/>
          </p:nvPr>
        </p:nvSpPr>
        <p:spPr bwMode="black">
          <a:xfrm>
            <a:off x="804333" y="6440489"/>
            <a:ext cx="1422400" cy="2746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p:spPr>
        <p:txBody>
          <a:bodyPr vert="horz" wrap="square" lIns="0" tIns="0" rIns="0" bIns="0" numCol="1" anchor="ctr" anchorCtr="0" compatLnSpc="1">
            <a:prstTxWarp prst="textNoShape">
              <a:avLst/>
            </a:prstTxWarp>
          </a:bodyPr>
          <a:lstStyle>
            <a:lvl1pPr algn="l">
              <a:defRPr sz="900">
                <a:ea typeface="Geneva" charset="0"/>
                <a:cs typeface="+mn-cs"/>
              </a:defRPr>
            </a:lvl1pPr>
          </a:lstStyle>
          <a:p>
            <a:pPr>
              <a:defRPr/>
            </a:pPr>
            <a:r>
              <a:rPr lang="en-US" dirty="0"/>
              <a:t>MM.DD.YY</a:t>
            </a:r>
          </a:p>
        </p:txBody>
      </p:sp>
      <p:sp>
        <p:nvSpPr>
          <p:cNvPr id="1116" name="Rectangle 92"/>
          <p:cNvSpPr>
            <a:spLocks noGrp="1" noChangeArrowheads="1"/>
          </p:cNvSpPr>
          <p:nvPr>
            <p:ph type="ftr" sz="quarter" idx="3"/>
          </p:nvPr>
        </p:nvSpPr>
        <p:spPr bwMode="black">
          <a:xfrm>
            <a:off x="2781300" y="6440489"/>
            <a:ext cx="5427133" cy="2746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p:spPr>
        <p:txBody>
          <a:bodyPr vert="horz" wrap="square" lIns="0" tIns="0" rIns="0" bIns="0" numCol="1" anchor="ctr" anchorCtr="0" compatLnSpc="1">
            <a:prstTxWarp prst="textNoShape">
              <a:avLst/>
            </a:prstTxWarp>
          </a:bodyPr>
          <a:lstStyle>
            <a:lvl1pPr algn="l">
              <a:defRPr sz="900">
                <a:ea typeface="ヒラギノ角ゴ Pro W3" charset="0"/>
                <a:cs typeface="Geneva" charset="0"/>
              </a:defRPr>
            </a:lvl1pPr>
          </a:lstStyle>
          <a:p>
            <a:pPr>
              <a:defRPr/>
            </a:pPr>
            <a:r>
              <a:rPr lang="en-US" dirty="0"/>
              <a:t>Presentation Title</a:t>
            </a:r>
          </a:p>
        </p:txBody>
      </p:sp>
    </p:spTree>
    <p:extLst>
      <p:ext uri="{BB962C8B-B14F-4D97-AF65-F5344CB8AC3E}">
        <p14:creationId xmlns:p14="http://schemas.microsoft.com/office/powerpoint/2010/main" val="1709719109"/>
      </p:ext>
    </p:extLst>
  </p:cSld>
  <p:clrMap bg1="lt1" tx1="dk1" bg2="lt2" tx2="dk2" accent1="accent1" accent2="accent2" accent3="accent3" accent4="accent4" accent5="accent5" accent6="accent6" hlink="hlink" folHlink="folHlink"/>
  <p:sldLayoutIdLst>
    <p:sldLayoutId id="2147483944" r:id="rId1"/>
    <p:sldLayoutId id="2147483945" r:id="rId2"/>
    <p:sldLayoutId id="2147483946" r:id="rId3"/>
    <p:sldLayoutId id="2147483947" r:id="rId4"/>
    <p:sldLayoutId id="2147483948" r:id="rId5"/>
    <p:sldLayoutId id="2147483949" r:id="rId6"/>
    <p:sldLayoutId id="2147483950" r:id="rId7"/>
    <p:sldLayoutId id="2147483951" r:id="rId8"/>
    <p:sldLayoutId id="2147484199" r:id="rId9"/>
    <p:sldLayoutId id="2147484200" r:id="rId10"/>
  </p:sldLayoutIdLst>
  <p:hf hdr="0"/>
  <p:txStyles>
    <p:titleStyle>
      <a:lvl1pPr algn="l" rtl="0" eaLnBrk="1" fontAlgn="base" hangingPunct="1">
        <a:spcBef>
          <a:spcPct val="0"/>
        </a:spcBef>
        <a:spcAft>
          <a:spcPct val="0"/>
        </a:spcAft>
        <a:defRPr sz="2400">
          <a:solidFill>
            <a:schemeClr val="tx2"/>
          </a:solidFill>
          <a:latin typeface="+mj-lt"/>
          <a:ea typeface="ヒラギノ角ゴ Pro W3" charset="0"/>
          <a:cs typeface="Geneva" charset="0"/>
        </a:defRPr>
      </a:lvl1pPr>
      <a:lvl2pPr algn="l" rtl="0" eaLnBrk="1" fontAlgn="base" hangingPunct="1">
        <a:spcBef>
          <a:spcPct val="0"/>
        </a:spcBef>
        <a:spcAft>
          <a:spcPct val="0"/>
        </a:spcAft>
        <a:defRPr sz="2400">
          <a:solidFill>
            <a:schemeClr val="tx2"/>
          </a:solidFill>
          <a:latin typeface="Arial" charset="0"/>
          <a:ea typeface="ヒラギノ角ゴ Pro W3" charset="0"/>
          <a:cs typeface="Geneva" charset="0"/>
        </a:defRPr>
      </a:lvl2pPr>
      <a:lvl3pPr algn="l" rtl="0" eaLnBrk="1" fontAlgn="base" hangingPunct="1">
        <a:spcBef>
          <a:spcPct val="0"/>
        </a:spcBef>
        <a:spcAft>
          <a:spcPct val="0"/>
        </a:spcAft>
        <a:defRPr sz="2400">
          <a:solidFill>
            <a:schemeClr val="tx2"/>
          </a:solidFill>
          <a:latin typeface="Arial" charset="0"/>
          <a:ea typeface="ヒラギノ角ゴ Pro W3" charset="0"/>
          <a:cs typeface="Geneva" charset="0"/>
        </a:defRPr>
      </a:lvl3pPr>
      <a:lvl4pPr algn="l" rtl="0" eaLnBrk="1" fontAlgn="base" hangingPunct="1">
        <a:spcBef>
          <a:spcPct val="0"/>
        </a:spcBef>
        <a:spcAft>
          <a:spcPct val="0"/>
        </a:spcAft>
        <a:defRPr sz="2400">
          <a:solidFill>
            <a:schemeClr val="tx2"/>
          </a:solidFill>
          <a:latin typeface="Arial" charset="0"/>
          <a:ea typeface="ヒラギノ角ゴ Pro W3" charset="0"/>
          <a:cs typeface="Geneva" charset="0"/>
        </a:defRPr>
      </a:lvl4pPr>
      <a:lvl5pPr algn="l" rtl="0" eaLnBrk="1" fontAlgn="base" hangingPunct="1">
        <a:spcBef>
          <a:spcPct val="0"/>
        </a:spcBef>
        <a:spcAft>
          <a:spcPct val="0"/>
        </a:spcAft>
        <a:defRPr sz="2400">
          <a:solidFill>
            <a:schemeClr val="tx2"/>
          </a:solidFill>
          <a:latin typeface="Arial" charset="0"/>
          <a:ea typeface="ヒラギノ角ゴ Pro W3" charset="0"/>
          <a:cs typeface="Geneva" charset="0"/>
        </a:defRPr>
      </a:lvl5pPr>
      <a:lvl6pPr marL="457200" algn="l" rtl="0" eaLnBrk="1" fontAlgn="base" hangingPunct="1">
        <a:spcBef>
          <a:spcPct val="0"/>
        </a:spcBef>
        <a:spcAft>
          <a:spcPct val="0"/>
        </a:spcAft>
        <a:defRPr sz="2400">
          <a:solidFill>
            <a:srgbClr val="004785"/>
          </a:solidFill>
          <a:latin typeface="Arial" charset="0"/>
          <a:ea typeface="Geneva" charset="0"/>
        </a:defRPr>
      </a:lvl6pPr>
      <a:lvl7pPr marL="914400" algn="l" rtl="0" eaLnBrk="1" fontAlgn="base" hangingPunct="1">
        <a:spcBef>
          <a:spcPct val="0"/>
        </a:spcBef>
        <a:spcAft>
          <a:spcPct val="0"/>
        </a:spcAft>
        <a:defRPr sz="2400">
          <a:solidFill>
            <a:srgbClr val="004785"/>
          </a:solidFill>
          <a:latin typeface="Arial" charset="0"/>
          <a:ea typeface="Geneva" charset="0"/>
        </a:defRPr>
      </a:lvl7pPr>
      <a:lvl8pPr marL="1371600" algn="l" rtl="0" eaLnBrk="1" fontAlgn="base" hangingPunct="1">
        <a:spcBef>
          <a:spcPct val="0"/>
        </a:spcBef>
        <a:spcAft>
          <a:spcPct val="0"/>
        </a:spcAft>
        <a:defRPr sz="2400">
          <a:solidFill>
            <a:srgbClr val="004785"/>
          </a:solidFill>
          <a:latin typeface="Arial" charset="0"/>
          <a:ea typeface="Geneva" charset="0"/>
        </a:defRPr>
      </a:lvl8pPr>
      <a:lvl9pPr marL="1828800" algn="l" rtl="0" eaLnBrk="1" fontAlgn="base" hangingPunct="1">
        <a:spcBef>
          <a:spcPct val="0"/>
        </a:spcBef>
        <a:spcAft>
          <a:spcPct val="0"/>
        </a:spcAft>
        <a:defRPr sz="2400">
          <a:solidFill>
            <a:srgbClr val="004785"/>
          </a:solidFill>
          <a:latin typeface="Arial" charset="0"/>
          <a:ea typeface="Geneva" charset="0"/>
        </a:defRPr>
      </a:lvl9pPr>
    </p:titleStyle>
    <p:bodyStyle>
      <a:lvl1pPr marL="288925" indent="-288925" algn="l" rtl="0" eaLnBrk="1" fontAlgn="base" hangingPunct="1">
        <a:lnSpc>
          <a:spcPct val="95000"/>
        </a:lnSpc>
        <a:spcBef>
          <a:spcPct val="75000"/>
        </a:spcBef>
        <a:spcAft>
          <a:spcPct val="20000"/>
        </a:spcAft>
        <a:buChar char="•"/>
        <a:defRPr>
          <a:solidFill>
            <a:schemeClr val="tx1"/>
          </a:solidFill>
          <a:latin typeface="+mn-lt"/>
          <a:ea typeface="ヒラギノ角ゴ Pro W3" charset="0"/>
          <a:cs typeface="Geneva" charset="0"/>
        </a:defRPr>
      </a:lvl1pPr>
      <a:lvl2pPr marL="633413" indent="-230188" algn="l" rtl="0" eaLnBrk="1" fontAlgn="base" hangingPunct="1">
        <a:lnSpc>
          <a:spcPct val="95000"/>
        </a:lnSpc>
        <a:spcBef>
          <a:spcPct val="20000"/>
        </a:spcBef>
        <a:spcAft>
          <a:spcPct val="20000"/>
        </a:spcAft>
        <a:buFont typeface="Arial" charset="0"/>
        <a:buChar char="–"/>
        <a:defRPr>
          <a:solidFill>
            <a:schemeClr val="tx1"/>
          </a:solidFill>
          <a:latin typeface="+mn-lt"/>
          <a:ea typeface="+mn-ea"/>
          <a:cs typeface="Geneva" charset="0"/>
        </a:defRPr>
      </a:lvl2pPr>
      <a:lvl3pPr marL="974725" indent="-227013" algn="l" rtl="0" eaLnBrk="1" fontAlgn="base" hangingPunct="1">
        <a:lnSpc>
          <a:spcPct val="95000"/>
        </a:lnSpc>
        <a:spcBef>
          <a:spcPct val="20000"/>
        </a:spcBef>
        <a:spcAft>
          <a:spcPct val="20000"/>
        </a:spcAft>
        <a:buFont typeface="Arial" charset="0"/>
        <a:buChar char="•"/>
        <a:defRPr>
          <a:solidFill>
            <a:schemeClr val="tx1"/>
          </a:solidFill>
          <a:latin typeface="+mn-lt"/>
          <a:ea typeface="+mn-ea"/>
          <a:cs typeface="Geneva" charset="0"/>
        </a:defRPr>
      </a:lvl3pPr>
      <a:lvl4pPr marL="1312863" indent="-223838" algn="l" rtl="0" eaLnBrk="1" fontAlgn="base" hangingPunct="1">
        <a:lnSpc>
          <a:spcPct val="95000"/>
        </a:lnSpc>
        <a:spcBef>
          <a:spcPct val="20000"/>
        </a:spcBef>
        <a:spcAft>
          <a:spcPct val="20000"/>
        </a:spcAft>
        <a:buFont typeface="Arial" charset="0"/>
        <a:buChar char="–"/>
        <a:defRPr>
          <a:solidFill>
            <a:schemeClr val="tx1"/>
          </a:solidFill>
          <a:latin typeface="+mn-lt"/>
          <a:ea typeface="+mn-ea"/>
          <a:cs typeface="Geneva" charset="0"/>
        </a:defRPr>
      </a:lvl4pPr>
      <a:lvl5pPr marL="1651000" indent="-223838" algn="l" rtl="0" eaLnBrk="1" fontAlgn="base" hangingPunct="1">
        <a:lnSpc>
          <a:spcPct val="95000"/>
        </a:lnSpc>
        <a:spcBef>
          <a:spcPct val="20000"/>
        </a:spcBef>
        <a:spcAft>
          <a:spcPct val="20000"/>
        </a:spcAft>
        <a:buFont typeface="Arial" charset="0"/>
        <a:buChar char="•"/>
        <a:defRPr>
          <a:solidFill>
            <a:schemeClr val="tx1"/>
          </a:solidFill>
          <a:latin typeface="+mn-lt"/>
          <a:ea typeface="+mn-ea"/>
          <a:cs typeface="Geneva" charset="0"/>
        </a:defRPr>
      </a:lvl5pPr>
      <a:lvl6pPr marL="2108200" indent="-223838" algn="l" rtl="0" eaLnBrk="1" fontAlgn="base" hangingPunct="1">
        <a:lnSpc>
          <a:spcPct val="95000"/>
        </a:lnSpc>
        <a:spcBef>
          <a:spcPct val="20000"/>
        </a:spcBef>
        <a:spcAft>
          <a:spcPct val="20000"/>
        </a:spcAft>
        <a:buFont typeface="Arial" charset="0"/>
        <a:buChar char="•"/>
        <a:defRPr sz="1600">
          <a:solidFill>
            <a:schemeClr val="tx1"/>
          </a:solidFill>
          <a:latin typeface="+mn-lt"/>
          <a:ea typeface="+mn-ea"/>
        </a:defRPr>
      </a:lvl6pPr>
      <a:lvl7pPr marL="2565400" indent="-223838" algn="l" rtl="0" eaLnBrk="1" fontAlgn="base" hangingPunct="1">
        <a:lnSpc>
          <a:spcPct val="95000"/>
        </a:lnSpc>
        <a:spcBef>
          <a:spcPct val="20000"/>
        </a:spcBef>
        <a:spcAft>
          <a:spcPct val="20000"/>
        </a:spcAft>
        <a:buFont typeface="Arial" charset="0"/>
        <a:buChar char="•"/>
        <a:defRPr sz="1600">
          <a:solidFill>
            <a:schemeClr val="tx1"/>
          </a:solidFill>
          <a:latin typeface="+mn-lt"/>
          <a:ea typeface="+mn-ea"/>
        </a:defRPr>
      </a:lvl7pPr>
      <a:lvl8pPr marL="3022600" indent="-223838" algn="l" rtl="0" eaLnBrk="1" fontAlgn="base" hangingPunct="1">
        <a:lnSpc>
          <a:spcPct val="95000"/>
        </a:lnSpc>
        <a:spcBef>
          <a:spcPct val="20000"/>
        </a:spcBef>
        <a:spcAft>
          <a:spcPct val="20000"/>
        </a:spcAft>
        <a:buFont typeface="Arial" charset="0"/>
        <a:buChar char="•"/>
        <a:defRPr sz="1600">
          <a:solidFill>
            <a:schemeClr val="tx1"/>
          </a:solidFill>
          <a:latin typeface="+mn-lt"/>
          <a:ea typeface="+mn-ea"/>
        </a:defRPr>
      </a:lvl8pPr>
      <a:lvl9pPr marL="3479800" indent="-223838" algn="l" rtl="0" eaLnBrk="1" fontAlgn="base" hangingPunct="1">
        <a:lnSpc>
          <a:spcPct val="95000"/>
        </a:lnSpc>
        <a:spcBef>
          <a:spcPct val="20000"/>
        </a:spcBef>
        <a:spcAft>
          <a:spcPct val="20000"/>
        </a:spcAft>
        <a:buFont typeface="Arial" charset="0"/>
        <a:buChar char="•"/>
        <a:defRPr sz="1600">
          <a:solidFill>
            <a:schemeClr val="tx1"/>
          </a:solidFill>
          <a:latin typeface="+mn-lt"/>
          <a:ea typeface="+mn-ea"/>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12">
            <a:extLst>
              <a:ext uri="{28A0092B-C50C-407E-A947-70E740481C1C}">
                <a14:useLocalDpi xmlns:a14="http://schemas.microsoft.com/office/drawing/2010/main" val="0"/>
              </a:ext>
            </a:extLst>
          </a:blip>
          <a:stretch>
            <a:fillRect/>
          </a:stretch>
        </p:blipFill>
        <p:spPr>
          <a:xfrm>
            <a:off x="9504840" y="5943314"/>
            <a:ext cx="2468136" cy="1197772"/>
          </a:xfrm>
          <a:prstGeom prst="rect">
            <a:avLst/>
          </a:prstGeom>
        </p:spPr>
      </p:pic>
      <p:sp>
        <p:nvSpPr>
          <p:cNvPr id="1107" name="Rectangle 83"/>
          <p:cNvSpPr>
            <a:spLocks noGrp="1" noChangeArrowheads="1"/>
          </p:cNvSpPr>
          <p:nvPr>
            <p:ph type="title"/>
          </p:nvPr>
        </p:nvSpPr>
        <p:spPr bwMode="black">
          <a:xfrm>
            <a:off x="804334" y="314325"/>
            <a:ext cx="11055351" cy="4953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p:spPr>
        <p:txBody>
          <a:bodyPr vert="horz" wrap="square" lIns="0" tIns="0" rIns="0" bIns="0" numCol="1" anchor="t" anchorCtr="0" compatLnSpc="1">
            <a:prstTxWarp prst="textNoShape">
              <a:avLst/>
            </a:prstTxWarp>
          </a:bodyPr>
          <a:lstStyle/>
          <a:p>
            <a:pPr lvl="0"/>
            <a:r>
              <a:rPr lang="en-US"/>
              <a:t>Click to edit Master title style</a:t>
            </a:r>
          </a:p>
        </p:txBody>
      </p:sp>
      <p:sp>
        <p:nvSpPr>
          <p:cNvPr id="1108" name="Rectangle 84"/>
          <p:cNvSpPr>
            <a:spLocks noGrp="1" noChangeArrowheads="1"/>
          </p:cNvSpPr>
          <p:nvPr>
            <p:ph type="body" idx="1"/>
          </p:nvPr>
        </p:nvSpPr>
        <p:spPr bwMode="black">
          <a:xfrm>
            <a:off x="804334" y="1344614"/>
            <a:ext cx="11063817" cy="49228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accent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 uri="{FAA26D3D-D897-4be2-8F04-BA451C77F1D7}">
              <ma14:placeholderFlag xmlns="" xmlns:ma14="http://schemas.microsoft.com/office/mac/drawingml/2011/main" val="1"/>
            </a:ext>
          </a:extLst>
        </p:spPr>
        <p:txBody>
          <a:bodyPr vert="horz" wrap="square" lIns="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09" name="Rectangle 85"/>
          <p:cNvSpPr>
            <a:spLocks noGrp="1" noChangeArrowheads="1"/>
          </p:cNvSpPr>
          <p:nvPr>
            <p:ph type="sldNum" sz="quarter" idx="4"/>
          </p:nvPr>
        </p:nvSpPr>
        <p:spPr bwMode="black">
          <a:xfrm>
            <a:off x="334434" y="6440489"/>
            <a:ext cx="461433" cy="2746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p:spPr>
        <p:txBody>
          <a:bodyPr vert="horz" wrap="square" lIns="0" tIns="0" rIns="0" bIns="0" numCol="1" anchor="ctr" anchorCtr="0" compatLnSpc="1">
            <a:prstTxWarp prst="textNoShape">
              <a:avLst/>
            </a:prstTxWarp>
          </a:bodyPr>
          <a:lstStyle>
            <a:lvl1pPr>
              <a:defRPr sz="900" smtClean="0">
                <a:cs typeface="Geneva" charset="0"/>
              </a:defRPr>
            </a:lvl1pPr>
          </a:lstStyle>
          <a:p>
            <a:pPr defTabSz="914400" fontAlgn="base">
              <a:spcBef>
                <a:spcPct val="0"/>
              </a:spcBef>
              <a:spcAft>
                <a:spcPct val="0"/>
              </a:spcAft>
              <a:defRPr/>
            </a:pPr>
            <a:fld id="{410BB04A-6CB2-A14D-B6AF-586C8C166ED7}" type="slidenum">
              <a:rPr lang="en-US" smtClean="0">
                <a:solidFill>
                  <a:srgbClr val="53565A"/>
                </a:solidFill>
                <a:ea typeface="ＭＳ Ｐゴシック" charset="0"/>
              </a:rPr>
              <a:pPr defTabSz="914400" fontAlgn="base">
                <a:spcBef>
                  <a:spcPct val="0"/>
                </a:spcBef>
                <a:spcAft>
                  <a:spcPct val="0"/>
                </a:spcAft>
                <a:defRPr/>
              </a:pPr>
              <a:t>‹#›</a:t>
            </a:fld>
            <a:endParaRPr lang="en-US">
              <a:solidFill>
                <a:srgbClr val="53565A"/>
              </a:solidFill>
              <a:ea typeface="ＭＳ Ｐゴシック" charset="0"/>
            </a:endParaRPr>
          </a:p>
        </p:txBody>
      </p:sp>
      <p:sp>
        <p:nvSpPr>
          <p:cNvPr id="1111" name="Rectangle 87"/>
          <p:cNvSpPr>
            <a:spLocks noGrp="1" noChangeArrowheads="1"/>
          </p:cNvSpPr>
          <p:nvPr>
            <p:ph type="dt" sz="half" idx="2"/>
          </p:nvPr>
        </p:nvSpPr>
        <p:spPr bwMode="black">
          <a:xfrm>
            <a:off x="804333" y="6440489"/>
            <a:ext cx="1422400" cy="2746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p:spPr>
        <p:txBody>
          <a:bodyPr vert="horz" wrap="square" lIns="0" tIns="0" rIns="0" bIns="0" numCol="1" anchor="ctr" anchorCtr="0" compatLnSpc="1">
            <a:prstTxWarp prst="textNoShape">
              <a:avLst/>
            </a:prstTxWarp>
          </a:bodyPr>
          <a:lstStyle>
            <a:lvl1pPr algn="l">
              <a:defRPr sz="900">
                <a:ea typeface="Geneva" charset="0"/>
                <a:cs typeface="+mn-cs"/>
              </a:defRPr>
            </a:lvl1pPr>
          </a:lstStyle>
          <a:p>
            <a:pPr defTabSz="914400" fontAlgn="base">
              <a:spcBef>
                <a:spcPct val="0"/>
              </a:spcBef>
              <a:spcAft>
                <a:spcPct val="0"/>
              </a:spcAft>
              <a:defRPr/>
            </a:pPr>
            <a:r>
              <a:rPr lang="en-US">
                <a:solidFill>
                  <a:srgbClr val="53565A"/>
                </a:solidFill>
              </a:rPr>
              <a:t>MM.DD.YY</a:t>
            </a:r>
          </a:p>
        </p:txBody>
      </p:sp>
      <p:sp>
        <p:nvSpPr>
          <p:cNvPr id="1116" name="Rectangle 92"/>
          <p:cNvSpPr>
            <a:spLocks noGrp="1" noChangeArrowheads="1"/>
          </p:cNvSpPr>
          <p:nvPr>
            <p:ph type="ftr" sz="quarter" idx="3"/>
          </p:nvPr>
        </p:nvSpPr>
        <p:spPr bwMode="black">
          <a:xfrm>
            <a:off x="2781300" y="6440489"/>
            <a:ext cx="5427133" cy="2746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p:spPr>
        <p:txBody>
          <a:bodyPr vert="horz" wrap="square" lIns="0" tIns="0" rIns="0" bIns="0" numCol="1" anchor="ctr" anchorCtr="0" compatLnSpc="1">
            <a:prstTxWarp prst="textNoShape">
              <a:avLst/>
            </a:prstTxWarp>
          </a:bodyPr>
          <a:lstStyle>
            <a:lvl1pPr algn="l">
              <a:defRPr sz="900">
                <a:ea typeface="ヒラギノ角ゴ Pro W3" charset="0"/>
                <a:cs typeface="Geneva" charset="0"/>
              </a:defRPr>
            </a:lvl1pPr>
          </a:lstStyle>
          <a:p>
            <a:pPr defTabSz="914400" fontAlgn="base">
              <a:spcBef>
                <a:spcPct val="0"/>
              </a:spcBef>
              <a:spcAft>
                <a:spcPct val="0"/>
              </a:spcAft>
              <a:defRPr/>
            </a:pPr>
            <a:r>
              <a:rPr lang="en-US">
                <a:solidFill>
                  <a:srgbClr val="53565A"/>
                </a:solidFill>
              </a:rPr>
              <a:t>Presentation Title</a:t>
            </a:r>
          </a:p>
        </p:txBody>
      </p:sp>
    </p:spTree>
    <p:extLst>
      <p:ext uri="{BB962C8B-B14F-4D97-AF65-F5344CB8AC3E}">
        <p14:creationId xmlns:p14="http://schemas.microsoft.com/office/powerpoint/2010/main" val="1445636106"/>
      </p:ext>
    </p:extLst>
  </p:cSld>
  <p:clrMap bg1="lt1" tx1="dk1" bg2="lt2" tx2="dk2" accent1="accent1" accent2="accent2" accent3="accent3" accent4="accent4" accent5="accent5" accent6="accent6" hlink="hlink" folHlink="folHlink"/>
  <p:sldLayoutIdLst>
    <p:sldLayoutId id="2147483973" r:id="rId1"/>
    <p:sldLayoutId id="2147483974" r:id="rId2"/>
    <p:sldLayoutId id="2147483975" r:id="rId3"/>
    <p:sldLayoutId id="2147483976" r:id="rId4"/>
    <p:sldLayoutId id="2147483977" r:id="rId5"/>
    <p:sldLayoutId id="2147483978" r:id="rId6"/>
    <p:sldLayoutId id="2147483979" r:id="rId7"/>
    <p:sldLayoutId id="2147483980" r:id="rId8"/>
    <p:sldLayoutId id="2147484197" r:id="rId9"/>
    <p:sldLayoutId id="2147484198" r:id="rId10"/>
  </p:sldLayoutIdLst>
  <p:hf hdr="0"/>
  <p:txStyles>
    <p:titleStyle>
      <a:lvl1pPr algn="l" rtl="0" eaLnBrk="1" fontAlgn="base" hangingPunct="1">
        <a:spcBef>
          <a:spcPct val="0"/>
        </a:spcBef>
        <a:spcAft>
          <a:spcPct val="0"/>
        </a:spcAft>
        <a:defRPr sz="2400">
          <a:solidFill>
            <a:schemeClr val="tx2"/>
          </a:solidFill>
          <a:latin typeface="+mj-lt"/>
          <a:ea typeface="ヒラギノ角ゴ Pro W3" charset="0"/>
          <a:cs typeface="Geneva" charset="0"/>
        </a:defRPr>
      </a:lvl1pPr>
      <a:lvl2pPr algn="l" rtl="0" eaLnBrk="1" fontAlgn="base" hangingPunct="1">
        <a:spcBef>
          <a:spcPct val="0"/>
        </a:spcBef>
        <a:spcAft>
          <a:spcPct val="0"/>
        </a:spcAft>
        <a:defRPr sz="2400">
          <a:solidFill>
            <a:schemeClr val="tx2"/>
          </a:solidFill>
          <a:latin typeface="Arial" charset="0"/>
          <a:ea typeface="ヒラギノ角ゴ Pro W3" charset="0"/>
          <a:cs typeface="Geneva" charset="0"/>
        </a:defRPr>
      </a:lvl2pPr>
      <a:lvl3pPr algn="l" rtl="0" eaLnBrk="1" fontAlgn="base" hangingPunct="1">
        <a:spcBef>
          <a:spcPct val="0"/>
        </a:spcBef>
        <a:spcAft>
          <a:spcPct val="0"/>
        </a:spcAft>
        <a:defRPr sz="2400">
          <a:solidFill>
            <a:schemeClr val="tx2"/>
          </a:solidFill>
          <a:latin typeface="Arial" charset="0"/>
          <a:ea typeface="ヒラギノ角ゴ Pro W3" charset="0"/>
          <a:cs typeface="Geneva" charset="0"/>
        </a:defRPr>
      </a:lvl3pPr>
      <a:lvl4pPr algn="l" rtl="0" eaLnBrk="1" fontAlgn="base" hangingPunct="1">
        <a:spcBef>
          <a:spcPct val="0"/>
        </a:spcBef>
        <a:spcAft>
          <a:spcPct val="0"/>
        </a:spcAft>
        <a:defRPr sz="2400">
          <a:solidFill>
            <a:schemeClr val="tx2"/>
          </a:solidFill>
          <a:latin typeface="Arial" charset="0"/>
          <a:ea typeface="ヒラギノ角ゴ Pro W3" charset="0"/>
          <a:cs typeface="Geneva" charset="0"/>
        </a:defRPr>
      </a:lvl4pPr>
      <a:lvl5pPr algn="l" rtl="0" eaLnBrk="1" fontAlgn="base" hangingPunct="1">
        <a:spcBef>
          <a:spcPct val="0"/>
        </a:spcBef>
        <a:spcAft>
          <a:spcPct val="0"/>
        </a:spcAft>
        <a:defRPr sz="2400">
          <a:solidFill>
            <a:schemeClr val="tx2"/>
          </a:solidFill>
          <a:latin typeface="Arial" charset="0"/>
          <a:ea typeface="ヒラギノ角ゴ Pro W3" charset="0"/>
          <a:cs typeface="Geneva" charset="0"/>
        </a:defRPr>
      </a:lvl5pPr>
      <a:lvl6pPr marL="457200" algn="l" rtl="0" eaLnBrk="1" fontAlgn="base" hangingPunct="1">
        <a:spcBef>
          <a:spcPct val="0"/>
        </a:spcBef>
        <a:spcAft>
          <a:spcPct val="0"/>
        </a:spcAft>
        <a:defRPr sz="2400">
          <a:solidFill>
            <a:srgbClr val="004785"/>
          </a:solidFill>
          <a:latin typeface="Arial" charset="0"/>
          <a:ea typeface="Geneva" charset="0"/>
        </a:defRPr>
      </a:lvl6pPr>
      <a:lvl7pPr marL="914400" algn="l" rtl="0" eaLnBrk="1" fontAlgn="base" hangingPunct="1">
        <a:spcBef>
          <a:spcPct val="0"/>
        </a:spcBef>
        <a:spcAft>
          <a:spcPct val="0"/>
        </a:spcAft>
        <a:defRPr sz="2400">
          <a:solidFill>
            <a:srgbClr val="004785"/>
          </a:solidFill>
          <a:latin typeface="Arial" charset="0"/>
          <a:ea typeface="Geneva" charset="0"/>
        </a:defRPr>
      </a:lvl7pPr>
      <a:lvl8pPr marL="1371600" algn="l" rtl="0" eaLnBrk="1" fontAlgn="base" hangingPunct="1">
        <a:spcBef>
          <a:spcPct val="0"/>
        </a:spcBef>
        <a:spcAft>
          <a:spcPct val="0"/>
        </a:spcAft>
        <a:defRPr sz="2400">
          <a:solidFill>
            <a:srgbClr val="004785"/>
          </a:solidFill>
          <a:latin typeface="Arial" charset="0"/>
          <a:ea typeface="Geneva" charset="0"/>
        </a:defRPr>
      </a:lvl8pPr>
      <a:lvl9pPr marL="1828800" algn="l" rtl="0" eaLnBrk="1" fontAlgn="base" hangingPunct="1">
        <a:spcBef>
          <a:spcPct val="0"/>
        </a:spcBef>
        <a:spcAft>
          <a:spcPct val="0"/>
        </a:spcAft>
        <a:defRPr sz="2400">
          <a:solidFill>
            <a:srgbClr val="004785"/>
          </a:solidFill>
          <a:latin typeface="Arial" charset="0"/>
          <a:ea typeface="Geneva" charset="0"/>
        </a:defRPr>
      </a:lvl9pPr>
    </p:titleStyle>
    <p:bodyStyle>
      <a:lvl1pPr marL="288925" indent="-288925" algn="l" rtl="0" eaLnBrk="1" fontAlgn="base" hangingPunct="1">
        <a:lnSpc>
          <a:spcPct val="95000"/>
        </a:lnSpc>
        <a:spcBef>
          <a:spcPct val="75000"/>
        </a:spcBef>
        <a:spcAft>
          <a:spcPct val="20000"/>
        </a:spcAft>
        <a:buChar char="•"/>
        <a:defRPr>
          <a:solidFill>
            <a:schemeClr val="tx1"/>
          </a:solidFill>
          <a:latin typeface="+mn-lt"/>
          <a:ea typeface="ヒラギノ角ゴ Pro W3" charset="0"/>
          <a:cs typeface="Geneva" charset="0"/>
        </a:defRPr>
      </a:lvl1pPr>
      <a:lvl2pPr marL="633413" indent="-230188" algn="l" rtl="0" eaLnBrk="1" fontAlgn="base" hangingPunct="1">
        <a:lnSpc>
          <a:spcPct val="95000"/>
        </a:lnSpc>
        <a:spcBef>
          <a:spcPct val="20000"/>
        </a:spcBef>
        <a:spcAft>
          <a:spcPct val="20000"/>
        </a:spcAft>
        <a:buFont typeface="Arial" charset="0"/>
        <a:buChar char="–"/>
        <a:defRPr>
          <a:solidFill>
            <a:schemeClr val="tx1"/>
          </a:solidFill>
          <a:latin typeface="+mn-lt"/>
          <a:ea typeface="+mn-ea"/>
          <a:cs typeface="Geneva" charset="0"/>
        </a:defRPr>
      </a:lvl2pPr>
      <a:lvl3pPr marL="974725" indent="-227013" algn="l" rtl="0" eaLnBrk="1" fontAlgn="base" hangingPunct="1">
        <a:lnSpc>
          <a:spcPct val="95000"/>
        </a:lnSpc>
        <a:spcBef>
          <a:spcPct val="20000"/>
        </a:spcBef>
        <a:spcAft>
          <a:spcPct val="20000"/>
        </a:spcAft>
        <a:buFont typeface="Arial" charset="0"/>
        <a:buChar char="•"/>
        <a:defRPr>
          <a:solidFill>
            <a:schemeClr val="tx1"/>
          </a:solidFill>
          <a:latin typeface="+mn-lt"/>
          <a:ea typeface="+mn-ea"/>
          <a:cs typeface="Geneva" charset="0"/>
        </a:defRPr>
      </a:lvl3pPr>
      <a:lvl4pPr marL="1312863" indent="-223838" algn="l" rtl="0" eaLnBrk="1" fontAlgn="base" hangingPunct="1">
        <a:lnSpc>
          <a:spcPct val="95000"/>
        </a:lnSpc>
        <a:spcBef>
          <a:spcPct val="20000"/>
        </a:spcBef>
        <a:spcAft>
          <a:spcPct val="20000"/>
        </a:spcAft>
        <a:buFont typeface="Arial" charset="0"/>
        <a:buChar char="–"/>
        <a:defRPr>
          <a:solidFill>
            <a:schemeClr val="tx1"/>
          </a:solidFill>
          <a:latin typeface="+mn-lt"/>
          <a:ea typeface="+mn-ea"/>
          <a:cs typeface="Geneva" charset="0"/>
        </a:defRPr>
      </a:lvl4pPr>
      <a:lvl5pPr marL="1651000" indent="-223838" algn="l" rtl="0" eaLnBrk="1" fontAlgn="base" hangingPunct="1">
        <a:lnSpc>
          <a:spcPct val="95000"/>
        </a:lnSpc>
        <a:spcBef>
          <a:spcPct val="20000"/>
        </a:spcBef>
        <a:spcAft>
          <a:spcPct val="20000"/>
        </a:spcAft>
        <a:buFont typeface="Arial" charset="0"/>
        <a:buChar char="•"/>
        <a:defRPr>
          <a:solidFill>
            <a:schemeClr val="tx1"/>
          </a:solidFill>
          <a:latin typeface="+mn-lt"/>
          <a:ea typeface="+mn-ea"/>
          <a:cs typeface="Geneva" charset="0"/>
        </a:defRPr>
      </a:lvl5pPr>
      <a:lvl6pPr marL="2108200" indent="-223838" algn="l" rtl="0" eaLnBrk="1" fontAlgn="base" hangingPunct="1">
        <a:lnSpc>
          <a:spcPct val="95000"/>
        </a:lnSpc>
        <a:spcBef>
          <a:spcPct val="20000"/>
        </a:spcBef>
        <a:spcAft>
          <a:spcPct val="20000"/>
        </a:spcAft>
        <a:buFont typeface="Arial" charset="0"/>
        <a:buChar char="•"/>
        <a:defRPr sz="1600">
          <a:solidFill>
            <a:schemeClr val="tx1"/>
          </a:solidFill>
          <a:latin typeface="+mn-lt"/>
          <a:ea typeface="+mn-ea"/>
        </a:defRPr>
      </a:lvl6pPr>
      <a:lvl7pPr marL="2565400" indent="-223838" algn="l" rtl="0" eaLnBrk="1" fontAlgn="base" hangingPunct="1">
        <a:lnSpc>
          <a:spcPct val="95000"/>
        </a:lnSpc>
        <a:spcBef>
          <a:spcPct val="20000"/>
        </a:spcBef>
        <a:spcAft>
          <a:spcPct val="20000"/>
        </a:spcAft>
        <a:buFont typeface="Arial" charset="0"/>
        <a:buChar char="•"/>
        <a:defRPr sz="1600">
          <a:solidFill>
            <a:schemeClr val="tx1"/>
          </a:solidFill>
          <a:latin typeface="+mn-lt"/>
          <a:ea typeface="+mn-ea"/>
        </a:defRPr>
      </a:lvl7pPr>
      <a:lvl8pPr marL="3022600" indent="-223838" algn="l" rtl="0" eaLnBrk="1" fontAlgn="base" hangingPunct="1">
        <a:lnSpc>
          <a:spcPct val="95000"/>
        </a:lnSpc>
        <a:spcBef>
          <a:spcPct val="20000"/>
        </a:spcBef>
        <a:spcAft>
          <a:spcPct val="20000"/>
        </a:spcAft>
        <a:buFont typeface="Arial" charset="0"/>
        <a:buChar char="•"/>
        <a:defRPr sz="1600">
          <a:solidFill>
            <a:schemeClr val="tx1"/>
          </a:solidFill>
          <a:latin typeface="+mn-lt"/>
          <a:ea typeface="+mn-ea"/>
        </a:defRPr>
      </a:lvl8pPr>
      <a:lvl9pPr marL="3479800" indent="-223838" algn="l" rtl="0" eaLnBrk="1" fontAlgn="base" hangingPunct="1">
        <a:lnSpc>
          <a:spcPct val="95000"/>
        </a:lnSpc>
        <a:spcBef>
          <a:spcPct val="20000"/>
        </a:spcBef>
        <a:spcAft>
          <a:spcPct val="20000"/>
        </a:spcAft>
        <a:buFont typeface="Arial" charset="0"/>
        <a:buChar char="•"/>
        <a:defRPr sz="1600">
          <a:solidFill>
            <a:schemeClr val="tx1"/>
          </a:solidFill>
          <a:latin typeface="+mn-lt"/>
          <a:ea typeface="+mn-ea"/>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46.xml"/></Relationships>
</file>

<file path=ppt/slides/_rels/slide10.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361.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361.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361.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361.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361.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361.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361.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361.xml"/></Relationships>
</file>

<file path=ppt/slides/_rels/slide18.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361.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36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46.xml"/></Relationships>
</file>

<file path=ppt/slides/_rels/slide20.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Layout" Target="../slideLayouts/slideLayout361.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361.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361.xml"/></Relationships>
</file>

<file path=ppt/slides/_rels/slide23.xml.rels><?xml version="1.0" encoding="UTF-8" standalone="yes"?>
<Relationships xmlns="http://schemas.openxmlformats.org/package/2006/relationships"><Relationship Id="rId2" Type="http://schemas.openxmlformats.org/officeDocument/2006/relationships/image" Target="../media/image29.jpg"/><Relationship Id="rId1" Type="http://schemas.openxmlformats.org/officeDocument/2006/relationships/slideLayout" Target="../slideLayouts/slideLayout361.xml"/></Relationships>
</file>

<file path=ppt/slides/_rels/slide24.xml.rels><?xml version="1.0" encoding="UTF-8" standalone="yes"?>
<Relationships xmlns="http://schemas.openxmlformats.org/package/2006/relationships"><Relationship Id="rId3" Type="http://schemas.openxmlformats.org/officeDocument/2006/relationships/image" Target="../media/image35.jpg"/><Relationship Id="rId2" Type="http://schemas.openxmlformats.org/officeDocument/2006/relationships/image" Target="../media/image29.jpg"/><Relationship Id="rId1" Type="http://schemas.openxmlformats.org/officeDocument/2006/relationships/slideLayout" Target="../slideLayouts/slideLayout361.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361.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359.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361.xml"/></Relationships>
</file>

<file path=ppt/slides/_rels/slide28.xml.rels><?xml version="1.0" encoding="UTF-8" standalone="yes"?>
<Relationships xmlns="http://schemas.openxmlformats.org/package/2006/relationships"><Relationship Id="rId8" Type="http://schemas.openxmlformats.org/officeDocument/2006/relationships/image" Target="../media/image41.png"/><Relationship Id="rId13" Type="http://schemas.openxmlformats.org/officeDocument/2006/relationships/image" Target="../media/image44.png"/><Relationship Id="rId3" Type="http://schemas.openxmlformats.org/officeDocument/2006/relationships/image" Target="../media/image37.png"/><Relationship Id="rId7" Type="http://schemas.openxmlformats.org/officeDocument/2006/relationships/image" Target="../media/image40.png"/><Relationship Id="rId12" Type="http://schemas.openxmlformats.org/officeDocument/2006/relationships/image" Target="../media/image27.png"/><Relationship Id="rId2" Type="http://schemas.openxmlformats.org/officeDocument/2006/relationships/image" Target="../media/image36.png"/><Relationship Id="rId1" Type="http://schemas.openxmlformats.org/officeDocument/2006/relationships/slideLayout" Target="../slideLayouts/slideLayout361.xml"/><Relationship Id="rId6" Type="http://schemas.openxmlformats.org/officeDocument/2006/relationships/image" Target="../media/image26.png"/><Relationship Id="rId11" Type="http://schemas.openxmlformats.org/officeDocument/2006/relationships/image" Target="../media/image43.png"/><Relationship Id="rId5" Type="http://schemas.openxmlformats.org/officeDocument/2006/relationships/image" Target="../media/image39.png"/><Relationship Id="rId10" Type="http://schemas.openxmlformats.org/officeDocument/2006/relationships/image" Target="../media/image29.jpg"/><Relationship Id="rId4" Type="http://schemas.openxmlformats.org/officeDocument/2006/relationships/image" Target="../media/image38.png"/><Relationship Id="rId9" Type="http://schemas.openxmlformats.org/officeDocument/2006/relationships/image" Target="../media/image42.png"/><Relationship Id="rId14" Type="http://schemas.openxmlformats.org/officeDocument/2006/relationships/image" Target="../media/image28.png"/></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361.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46.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361.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361.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361.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361.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361.xml"/></Relationships>
</file>

<file path=ppt/slides/_rels/slide35.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Layout" Target="../slideLayouts/slideLayout361.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361.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361.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361.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361.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61.xml"/></Relationships>
</file>

<file path=ppt/slides/_rels/slide40.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Layout" Target="../slideLayouts/slideLayout361.xml"/></Relationships>
</file>

<file path=ppt/slides/_rels/slide41.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Layout" Target="../slideLayouts/slideLayout361.xml"/></Relationships>
</file>

<file path=ppt/slides/_rels/slide42.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Layout" Target="../slideLayouts/slideLayout361.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361.xml"/></Relationships>
</file>

<file path=ppt/slides/_rels/slide44.xml.rels><?xml version="1.0" encoding="UTF-8" standalone="yes"?>
<Relationships xmlns="http://schemas.openxmlformats.org/package/2006/relationships"><Relationship Id="rId2" Type="http://schemas.openxmlformats.org/officeDocument/2006/relationships/image" Target="../media/image49.emf"/><Relationship Id="rId1" Type="http://schemas.openxmlformats.org/officeDocument/2006/relationships/slideLayout" Target="../slideLayouts/slideLayout361.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361.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361.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361.xml"/></Relationships>
</file>

<file path=ppt/slides/_rels/slide48.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Layout" Target="../slideLayouts/slideLayout361.xml"/></Relationships>
</file>

<file path=ppt/slides/_rels/slide49.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Layout" Target="../slideLayouts/slideLayout361.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359.xml"/></Relationships>
</file>

<file path=ppt/slides/_rels/slide50.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Layout" Target="../slideLayouts/slideLayout361.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361.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361.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361.xml"/></Relationships>
</file>

<file path=ppt/slides/_rels/slide54.xml.rels><?xml version="1.0" encoding="UTF-8" standalone="yes"?>
<Relationships xmlns="http://schemas.openxmlformats.org/package/2006/relationships"><Relationship Id="rId8" Type="http://schemas.openxmlformats.org/officeDocument/2006/relationships/image" Target="../media/image58.png"/><Relationship Id="rId3" Type="http://schemas.openxmlformats.org/officeDocument/2006/relationships/image" Target="../media/image53.png"/><Relationship Id="rId7" Type="http://schemas.openxmlformats.org/officeDocument/2006/relationships/image" Target="../media/image57.png"/><Relationship Id="rId2" Type="http://schemas.openxmlformats.org/officeDocument/2006/relationships/image" Target="../media/image52.png"/><Relationship Id="rId1" Type="http://schemas.openxmlformats.org/officeDocument/2006/relationships/slideLayout" Target="../slideLayouts/slideLayout361.xml"/><Relationship Id="rId6" Type="http://schemas.openxmlformats.org/officeDocument/2006/relationships/image" Target="../media/image56.png"/><Relationship Id="rId5" Type="http://schemas.openxmlformats.org/officeDocument/2006/relationships/image" Target="../media/image55.png"/><Relationship Id="rId10" Type="http://schemas.openxmlformats.org/officeDocument/2006/relationships/image" Target="../media/image60.png"/><Relationship Id="rId4" Type="http://schemas.openxmlformats.org/officeDocument/2006/relationships/image" Target="../media/image54.png"/><Relationship Id="rId9" Type="http://schemas.openxmlformats.org/officeDocument/2006/relationships/image" Target="../media/image59.png"/></Relationships>
</file>

<file path=ppt/slides/_rels/slide55.xml.rels><?xml version="1.0" encoding="UTF-8" standalone="yes"?>
<Relationships xmlns="http://schemas.openxmlformats.org/package/2006/relationships"><Relationship Id="rId3" Type="http://schemas.openxmlformats.org/officeDocument/2006/relationships/image" Target="../media/image27.png"/><Relationship Id="rId7" Type="http://schemas.openxmlformats.org/officeDocument/2006/relationships/image" Target="../media/image31.png"/><Relationship Id="rId2" Type="http://schemas.openxmlformats.org/officeDocument/2006/relationships/image" Target="../media/image26.png"/><Relationship Id="rId1" Type="http://schemas.openxmlformats.org/officeDocument/2006/relationships/slideLayout" Target="../slideLayouts/slideLayout361.xml"/><Relationship Id="rId6" Type="http://schemas.openxmlformats.org/officeDocument/2006/relationships/image" Target="../media/image30.png"/><Relationship Id="rId5" Type="http://schemas.openxmlformats.org/officeDocument/2006/relationships/image" Target="../media/image29.jpg"/><Relationship Id="rId4" Type="http://schemas.openxmlformats.org/officeDocument/2006/relationships/image" Target="../media/image28.png"/></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359.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361.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361.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359.xml"/></Relationships>
</file>

<file path=ppt/slides/_rels/slide6.xml.rels><?xml version="1.0" encoding="UTF-8" standalone="yes"?>
<Relationships xmlns="http://schemas.openxmlformats.org/package/2006/relationships"><Relationship Id="rId3" Type="http://schemas.openxmlformats.org/officeDocument/2006/relationships/image" Target="../media/image27.png"/><Relationship Id="rId7" Type="http://schemas.openxmlformats.org/officeDocument/2006/relationships/image" Target="../media/image31.png"/><Relationship Id="rId2" Type="http://schemas.openxmlformats.org/officeDocument/2006/relationships/image" Target="../media/image26.png"/><Relationship Id="rId1" Type="http://schemas.openxmlformats.org/officeDocument/2006/relationships/slideLayout" Target="../slideLayouts/slideLayout361.xml"/><Relationship Id="rId6" Type="http://schemas.openxmlformats.org/officeDocument/2006/relationships/image" Target="../media/image30.png"/><Relationship Id="rId5" Type="http://schemas.openxmlformats.org/officeDocument/2006/relationships/image" Target="../media/image29.jpg"/><Relationship Id="rId4" Type="http://schemas.openxmlformats.org/officeDocument/2006/relationships/image" Target="../media/image28.png"/></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361.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361.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361.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361.xml"/></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361.xml"/></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361.xml"/></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361.xml"/></Relationships>
</file>

<file path=ppt/slides/_rels/slide67.xml.rels><?xml version="1.0" encoding="UTF-8" standalone="yes"?>
<Relationships xmlns="http://schemas.openxmlformats.org/package/2006/relationships"><Relationship Id="rId1" Type="http://schemas.openxmlformats.org/officeDocument/2006/relationships/slideLayout" Target="../slideLayouts/slideLayout361.xml"/></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361.xml"/></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361.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361.xml"/></Relationships>
</file>

<file path=ppt/slides/_rels/slide70.xml.rels><?xml version="1.0" encoding="UTF-8" standalone="yes"?>
<Relationships xmlns="http://schemas.openxmlformats.org/package/2006/relationships"><Relationship Id="rId1" Type="http://schemas.openxmlformats.org/officeDocument/2006/relationships/slideLayout" Target="../slideLayouts/slideLayout359.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361.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36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txBox="1"/>
          <p:nvPr/>
        </p:nvSpPr>
        <p:spPr>
          <a:xfrm>
            <a:off x="2752303" y="718778"/>
            <a:ext cx="7656393" cy="646327"/>
          </a:xfrm>
          <a:prstGeom prst="rect">
            <a:avLst/>
          </a:prstGeom>
          <a:ln w="12700">
            <a:miter lim="400000"/>
          </a:ln>
          <a:extLst>
            <a:ext uri="{C572A759-6A51-4108-AA02-DFA0A04FC94B}">
              <ma14:wrappingTextBoxFlag xmlns:ma14="http://schemas.microsoft.com/office/mac/drawingml/2011/main" xmlns="" val="1"/>
            </a:ext>
          </a:extLst>
        </p:spPr>
        <p:txBody>
          <a:bodyPr wrap="square" lIns="45718" tIns="45718" rIns="45718" bIns="45718">
            <a:spAutoFit/>
          </a:bodyPr>
          <a:lstStyle>
            <a:lvl1pPr algn="l" defTabSz="914400">
              <a:lnSpc>
                <a:spcPct val="90000"/>
              </a:lnSpc>
              <a:defRPr sz="5500">
                <a:solidFill>
                  <a:srgbClr val="FFFFFF"/>
                </a:solidFill>
                <a:latin typeface="Arial"/>
                <a:ea typeface="Arial"/>
                <a:cs typeface="Arial"/>
                <a:sym typeface="Arial"/>
              </a:defRPr>
            </a:lvl1pPr>
          </a:lstStyle>
          <a:p>
            <a:r>
              <a:rPr lang="es-MX" sz="4000" dirty="0">
                <a:solidFill>
                  <a:srgbClr val="86CBD8"/>
                </a:solidFill>
              </a:rPr>
              <a:t>MX2020 Big Data</a:t>
            </a:r>
            <a:endParaRPr sz="4000" dirty="0">
              <a:solidFill>
                <a:srgbClr val="86CBD8"/>
              </a:solidFill>
            </a:endParaRPr>
          </a:p>
        </p:txBody>
      </p:sp>
      <p:sp>
        <p:nvSpPr>
          <p:cNvPr id="4" name="Rectangle 3"/>
          <p:cNvSpPr txBox="1"/>
          <p:nvPr/>
        </p:nvSpPr>
        <p:spPr>
          <a:xfrm>
            <a:off x="2981315" y="5529972"/>
            <a:ext cx="7585857" cy="369328"/>
          </a:xfrm>
          <a:prstGeom prst="rect">
            <a:avLst/>
          </a:prstGeom>
          <a:ln w="12700">
            <a:miter lim="400000"/>
          </a:ln>
          <a:extLst>
            <a:ext uri="{C572A759-6A51-4108-AA02-DFA0A04FC94B}">
              <ma14:wrappingTextBoxFlag xmlns:ma14="http://schemas.microsoft.com/office/mac/drawingml/2011/main" xmlns="" val="1"/>
            </a:ext>
          </a:extLst>
        </p:spPr>
        <p:txBody>
          <a:bodyPr wrap="square" lIns="45718" tIns="45718" rIns="45718" bIns="45718">
            <a:spAutoFit/>
          </a:bodyPr>
          <a:lstStyle>
            <a:lvl1pPr algn="l" defTabSz="914400">
              <a:defRPr sz="1800">
                <a:solidFill>
                  <a:srgbClr val="FFFFFF"/>
                </a:solidFill>
                <a:latin typeface="Arial"/>
                <a:ea typeface="Arial"/>
                <a:cs typeface="Arial"/>
                <a:sym typeface="Arial"/>
              </a:defRPr>
            </a:lvl1pPr>
          </a:lstStyle>
          <a:p>
            <a:pPr algn="r"/>
            <a:r>
              <a:rPr lang="en-US" dirty="0">
                <a:solidFill>
                  <a:srgbClr val="7C194F"/>
                </a:solidFill>
              </a:rPr>
              <a:t>Mayo 10, 2019</a:t>
            </a:r>
          </a:p>
        </p:txBody>
      </p:sp>
      <p:sp>
        <p:nvSpPr>
          <p:cNvPr id="5" name="Rectángulo 4"/>
          <p:cNvSpPr/>
          <p:nvPr/>
        </p:nvSpPr>
        <p:spPr>
          <a:xfrm>
            <a:off x="2981314" y="2285540"/>
            <a:ext cx="5806069" cy="400105"/>
          </a:xfrm>
          <a:prstGeom prst="rect">
            <a:avLst/>
          </a:prstGeom>
          <a:ln w="12700">
            <a:miter lim="400000"/>
          </a:ln>
        </p:spPr>
        <p:txBody>
          <a:bodyPr wrap="square" lIns="45718" tIns="45718" rIns="45718" bIns="45718">
            <a:spAutoFit/>
          </a:bodyPr>
          <a:lstStyle/>
          <a:p>
            <a:pPr defTabSz="914400"/>
            <a:r>
              <a:rPr lang="es-MX" sz="2000" b="1" dirty="0">
                <a:solidFill>
                  <a:srgbClr val="016AA2"/>
                </a:solidFill>
                <a:ea typeface="Arial"/>
                <a:cs typeface="Arial"/>
              </a:rPr>
              <a:t>Event Hub Reference Architecture</a:t>
            </a:r>
          </a:p>
        </p:txBody>
      </p:sp>
    </p:spTree>
    <p:extLst>
      <p:ext uri="{BB962C8B-B14F-4D97-AF65-F5344CB8AC3E}">
        <p14:creationId xmlns:p14="http://schemas.microsoft.com/office/powerpoint/2010/main" val="241509170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6" name="Picture 35">
            <a:extLst>
              <a:ext uri="{FF2B5EF4-FFF2-40B4-BE49-F238E27FC236}">
                <a16:creationId xmlns:a16="http://schemas.microsoft.com/office/drawing/2014/main" id="{418C927E-9CB2-D84D-AA16-038E1C6597B8}"/>
              </a:ext>
            </a:extLst>
          </p:cNvPr>
          <p:cNvPicPr>
            <a:picLocks noChangeAspect="1"/>
          </p:cNvPicPr>
          <p:nvPr/>
        </p:nvPicPr>
        <p:blipFill>
          <a:blip r:embed="rId2"/>
          <a:stretch>
            <a:fillRect/>
          </a:stretch>
        </p:blipFill>
        <p:spPr>
          <a:xfrm>
            <a:off x="4729149" y="3940356"/>
            <a:ext cx="3200391" cy="1857633"/>
          </a:xfrm>
          <a:prstGeom prst="rect">
            <a:avLst/>
          </a:prstGeom>
        </p:spPr>
      </p:pic>
      <p:sp>
        <p:nvSpPr>
          <p:cNvPr id="31" name="Rectangle 3">
            <a:extLst>
              <a:ext uri="{FF2B5EF4-FFF2-40B4-BE49-F238E27FC236}">
                <a16:creationId xmlns:a16="http://schemas.microsoft.com/office/drawing/2014/main" id="{A27FD23C-A522-0E4F-B70C-CC83BC4542BA}"/>
              </a:ext>
            </a:extLst>
          </p:cNvPr>
          <p:cNvSpPr txBox="1"/>
          <p:nvPr/>
        </p:nvSpPr>
        <p:spPr>
          <a:xfrm>
            <a:off x="404808" y="237462"/>
            <a:ext cx="7585857" cy="400105"/>
          </a:xfrm>
          <a:prstGeom prst="rect">
            <a:avLst/>
          </a:prstGeom>
          <a:ln w="12700">
            <a:miter lim="400000"/>
          </a:ln>
          <a:extLst>
            <a:ext uri="{C572A759-6A51-4108-AA02-DFA0A04FC94B}">
              <ma14:wrappingTextBoxFlag xmlns:ma14="http://schemas.microsoft.com/office/mac/drawingml/2011/main" xmlns="" val="1"/>
            </a:ext>
          </a:extLst>
        </p:spPr>
        <p:txBody>
          <a:bodyPr wrap="square" lIns="45718" tIns="45718" rIns="45718" bIns="45718">
            <a:spAutoFit/>
          </a:bodyPr>
          <a:lstStyle>
            <a:lvl1pPr algn="l" defTabSz="914400">
              <a:defRPr sz="2200" b="1">
                <a:solidFill>
                  <a:srgbClr val="FFFFFF"/>
                </a:solidFill>
                <a:latin typeface="Arial"/>
                <a:ea typeface="Arial"/>
                <a:cs typeface="Arial"/>
                <a:sym typeface="Arial"/>
              </a:defRPr>
            </a:lvl1pPr>
          </a:lstStyle>
          <a:p>
            <a:r>
              <a:rPr lang="en-US" sz="2000" dirty="0">
                <a:solidFill>
                  <a:srgbClr val="016AA2"/>
                </a:solidFill>
              </a:rPr>
              <a:t>Features and terminology (V)</a:t>
            </a:r>
          </a:p>
        </p:txBody>
      </p:sp>
      <p:sp>
        <p:nvSpPr>
          <p:cNvPr id="65" name="Rectangle 3"/>
          <p:cNvSpPr txBox="1"/>
          <p:nvPr/>
        </p:nvSpPr>
        <p:spPr>
          <a:xfrm>
            <a:off x="404806" y="610135"/>
            <a:ext cx="8775769" cy="369328"/>
          </a:xfrm>
          <a:prstGeom prst="rect">
            <a:avLst/>
          </a:prstGeom>
          <a:ln w="12700">
            <a:miter lim="400000"/>
          </a:ln>
          <a:extLst>
            <a:ext uri="{C572A759-6A51-4108-AA02-DFA0A04FC94B}">
              <ma14:wrappingTextBoxFlag xmlns="" xmlns:ma14="http://schemas.microsoft.com/office/mac/drawingml/2011/main" val="1"/>
            </a:ext>
          </a:extLst>
        </p:spPr>
        <p:txBody>
          <a:bodyPr wrap="square" lIns="45718" tIns="45718" rIns="45718" bIns="45718">
            <a:spAutoFit/>
          </a:bodyPr>
          <a:lstStyle>
            <a:lvl1pPr algn="l" defTabSz="914400">
              <a:defRPr sz="2000">
                <a:solidFill>
                  <a:srgbClr val="104D6A"/>
                </a:solidFill>
                <a:latin typeface="Arial"/>
                <a:ea typeface="Arial"/>
                <a:cs typeface="Arial"/>
                <a:sym typeface="Arial"/>
              </a:defRPr>
            </a:lvl1pPr>
          </a:lstStyle>
          <a:p>
            <a:pPr>
              <a:defRPr/>
            </a:pPr>
            <a:r>
              <a:rPr lang="en-US" sz="1800" b="1" dirty="0">
                <a:solidFill>
                  <a:srgbClr val="73C4EF"/>
                </a:solidFill>
              </a:rPr>
              <a:t>Event Hub Architecture – Producer </a:t>
            </a:r>
          </a:p>
        </p:txBody>
      </p:sp>
      <p:sp>
        <p:nvSpPr>
          <p:cNvPr id="2" name="Rectangle 1">
            <a:extLst>
              <a:ext uri="{FF2B5EF4-FFF2-40B4-BE49-F238E27FC236}">
                <a16:creationId xmlns:a16="http://schemas.microsoft.com/office/drawing/2014/main" id="{8B6E0CC3-0F04-3D42-AD25-3FAE34C5A750}"/>
              </a:ext>
            </a:extLst>
          </p:cNvPr>
          <p:cNvSpPr/>
          <p:nvPr/>
        </p:nvSpPr>
        <p:spPr>
          <a:xfrm>
            <a:off x="404805" y="1060010"/>
            <a:ext cx="11276911" cy="735756"/>
          </a:xfrm>
          <a:prstGeom prst="rect">
            <a:avLst/>
          </a:prstGeom>
          <a:noFill/>
        </p:spPr>
        <p:txBody>
          <a:bodyPr wrap="square" tIns="90000" bIns="90000" rtlCol="0" anchor="t">
            <a:spAutoFit/>
          </a:bodyPr>
          <a:lstStyle/>
          <a:p>
            <a:pPr algn="just"/>
            <a:r>
              <a:rPr lang="en-US" sz="1200" dirty="0">
                <a:solidFill>
                  <a:srgbClr val="0079D1"/>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Producers are applications that create messages and publish them to the Kafka broker for further consumption. These producers can be different in nature; for example, frontend applications, backend services, proxy applications, adapters to legacy systems, and producers for Hadoop. These producers can also be implemented in different languages such as </a:t>
            </a:r>
            <a:r>
              <a:rPr lang="en-US" sz="1200" dirty="0">
                <a:solidFill>
                  <a:srgbClr val="C5277F"/>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Java</a:t>
            </a:r>
            <a:r>
              <a:rPr lang="en-US" sz="1200" dirty="0">
                <a:solidFill>
                  <a:srgbClr val="0079D1"/>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 </a:t>
            </a:r>
            <a:r>
              <a:rPr lang="en-US" sz="1200" dirty="0">
                <a:solidFill>
                  <a:srgbClr val="C5277F"/>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Scala</a:t>
            </a:r>
            <a:r>
              <a:rPr lang="en-US" sz="1200" dirty="0">
                <a:solidFill>
                  <a:srgbClr val="0079D1"/>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 </a:t>
            </a:r>
            <a:r>
              <a:rPr lang="en-US" sz="1200" dirty="0">
                <a:solidFill>
                  <a:srgbClr val="C5277F"/>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C</a:t>
            </a:r>
            <a:r>
              <a:rPr lang="en-US" sz="1200" dirty="0">
                <a:solidFill>
                  <a:srgbClr val="0079D1"/>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 and </a:t>
            </a:r>
            <a:r>
              <a:rPr lang="en-US" sz="1200" dirty="0">
                <a:solidFill>
                  <a:srgbClr val="C5277F"/>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Python</a:t>
            </a:r>
            <a:r>
              <a:rPr lang="en-US" sz="1200" dirty="0">
                <a:solidFill>
                  <a:srgbClr val="0079D1"/>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a:t>
            </a:r>
          </a:p>
        </p:txBody>
      </p:sp>
      <p:sp>
        <p:nvSpPr>
          <p:cNvPr id="5" name="Google Shape;61;p12">
            <a:extLst>
              <a:ext uri="{FF2B5EF4-FFF2-40B4-BE49-F238E27FC236}">
                <a16:creationId xmlns:a16="http://schemas.microsoft.com/office/drawing/2014/main" id="{28CF5AAD-3382-CF47-8F35-AB0EF038602B}"/>
              </a:ext>
            </a:extLst>
          </p:cNvPr>
          <p:cNvSpPr txBox="1">
            <a:spLocks/>
          </p:cNvSpPr>
          <p:nvPr/>
        </p:nvSpPr>
        <p:spPr>
          <a:xfrm>
            <a:off x="404806" y="1979793"/>
            <a:ext cx="2595248" cy="253916"/>
          </a:xfrm>
          <a:prstGeom prst="rect">
            <a:avLst/>
          </a:prstGeom>
          <a:noFill/>
        </p:spPr>
        <p:txBody>
          <a:bodyPr wrap="square" rtlCol="0">
            <a:spAutoFit/>
          </a:bodyPr>
          <a:lstStyle>
            <a:defPPr>
              <a:defRPr lang="en-US"/>
            </a:defPPr>
            <a:lvl1pPr algn="ctr" defTabSz="457200">
              <a:defRPr sz="90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defRPr>
            </a:lvl1pPr>
          </a:lstStyle>
          <a:p>
            <a:pPr algn="l"/>
            <a:r>
              <a:rPr lang="en-US" sz="1050" dirty="0">
                <a:solidFill>
                  <a:srgbClr val="C5277F"/>
                </a:solidFill>
                <a:latin typeface="Comic Sans MS" panose="030F0902030302020204" pitchFamily="66" charset="0"/>
              </a:rPr>
              <a:t>The Kafka API for message producers</a:t>
            </a:r>
            <a:endParaRPr lang="es-ES_tradnl" sz="1050" dirty="0">
              <a:solidFill>
                <a:srgbClr val="C5277F"/>
              </a:solidFill>
              <a:latin typeface="Comic Sans MS" panose="030F0902030302020204" pitchFamily="66" charset="0"/>
            </a:endParaRPr>
          </a:p>
        </p:txBody>
      </p:sp>
      <p:sp>
        <p:nvSpPr>
          <p:cNvPr id="6" name="Rectangle 5">
            <a:extLst>
              <a:ext uri="{FF2B5EF4-FFF2-40B4-BE49-F238E27FC236}">
                <a16:creationId xmlns:a16="http://schemas.microsoft.com/office/drawing/2014/main" id="{D7296D0E-604A-E042-845D-1C53BB0CBBBA}"/>
              </a:ext>
            </a:extLst>
          </p:cNvPr>
          <p:cNvSpPr/>
          <p:nvPr/>
        </p:nvSpPr>
        <p:spPr>
          <a:xfrm>
            <a:off x="404805" y="2323090"/>
            <a:ext cx="11276911" cy="551090"/>
          </a:xfrm>
          <a:prstGeom prst="rect">
            <a:avLst/>
          </a:prstGeom>
          <a:noFill/>
        </p:spPr>
        <p:txBody>
          <a:bodyPr wrap="square" tIns="90000" bIns="90000" rtlCol="0" anchor="t">
            <a:spAutoFit/>
          </a:bodyPr>
          <a:lstStyle/>
          <a:p>
            <a:pPr algn="just"/>
            <a:r>
              <a:rPr lang="en-US" sz="1200" dirty="0">
                <a:solidFill>
                  <a:srgbClr val="0079D1"/>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For high efficiency in Kafka, producers can also publish the messages in batches that work in asynchronous mode only. In asynchronous mode, the producer works either with a fixed number of messages or fixed latency defined by producer configuration, </a:t>
            </a:r>
            <a:r>
              <a:rPr lang="en-US" sz="1200" dirty="0" err="1">
                <a:solidFill>
                  <a:srgbClr val="0079D1"/>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queue.time</a:t>
            </a:r>
            <a:r>
              <a:rPr lang="en-US" sz="1200" dirty="0">
                <a:solidFill>
                  <a:srgbClr val="0079D1"/>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 or </a:t>
            </a:r>
            <a:r>
              <a:rPr lang="en-US" sz="1200" dirty="0" err="1">
                <a:solidFill>
                  <a:srgbClr val="0079D1"/>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batch.size</a:t>
            </a:r>
            <a:r>
              <a:rPr lang="en-US" sz="1200" dirty="0">
                <a:solidFill>
                  <a:srgbClr val="0079D1"/>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 respectively.</a:t>
            </a:r>
          </a:p>
        </p:txBody>
      </p:sp>
      <p:sp>
        <p:nvSpPr>
          <p:cNvPr id="9" name="TextBox 8">
            <a:extLst>
              <a:ext uri="{FF2B5EF4-FFF2-40B4-BE49-F238E27FC236}">
                <a16:creationId xmlns:a16="http://schemas.microsoft.com/office/drawing/2014/main" id="{A0104AAB-9E5A-7446-A548-613532A8A130}"/>
              </a:ext>
            </a:extLst>
          </p:cNvPr>
          <p:cNvSpPr txBox="1"/>
          <p:nvPr/>
        </p:nvSpPr>
        <p:spPr>
          <a:xfrm>
            <a:off x="6986462" y="3100945"/>
            <a:ext cx="2569775" cy="597256"/>
          </a:xfrm>
          <a:prstGeom prst="rect">
            <a:avLst/>
          </a:prstGeom>
          <a:noFill/>
        </p:spPr>
        <p:txBody>
          <a:bodyPr wrap="square" tIns="90000" bIns="90000" rtlCol="0" anchor="t">
            <a:spAutoFit/>
          </a:bodyPr>
          <a:lstStyle/>
          <a:p>
            <a:pPr algn="just"/>
            <a:r>
              <a:rPr lang="en-US" sz="900" dirty="0">
                <a:solidFill>
                  <a:schemeClr val="tx1">
                    <a:lumMod val="50000"/>
                  </a:schemeClr>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K: Type of the optional key associated with the message for message partition V: Type of the message</a:t>
            </a:r>
          </a:p>
        </p:txBody>
      </p:sp>
      <p:cxnSp>
        <p:nvCxnSpPr>
          <p:cNvPr id="10" name="Straight Connector 9">
            <a:extLst>
              <a:ext uri="{FF2B5EF4-FFF2-40B4-BE49-F238E27FC236}">
                <a16:creationId xmlns:a16="http://schemas.microsoft.com/office/drawing/2014/main" id="{531062A0-4A23-3E41-9105-9C477ECC9927}"/>
              </a:ext>
            </a:extLst>
          </p:cNvPr>
          <p:cNvCxnSpPr>
            <a:cxnSpLocks/>
          </p:cNvCxnSpPr>
          <p:nvPr/>
        </p:nvCxnSpPr>
        <p:spPr>
          <a:xfrm flipV="1">
            <a:off x="6379535" y="3468823"/>
            <a:ext cx="0" cy="964955"/>
          </a:xfrm>
          <a:prstGeom prst="line">
            <a:avLst/>
          </a:prstGeom>
          <a:ln w="12700">
            <a:solidFill>
              <a:srgbClr val="FF0000">
                <a:alpha val="50000"/>
              </a:srgbClr>
            </a:solidFill>
            <a:headEnd type="ova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ED4CB79A-DD02-AD4B-BBF1-2F2475A2ACC6}"/>
              </a:ext>
            </a:extLst>
          </p:cNvPr>
          <p:cNvCxnSpPr>
            <a:cxnSpLocks/>
            <a:stCxn id="9" idx="1"/>
          </p:cNvCxnSpPr>
          <p:nvPr/>
        </p:nvCxnSpPr>
        <p:spPr>
          <a:xfrm flipH="1">
            <a:off x="6379536" y="3399573"/>
            <a:ext cx="606926" cy="69251"/>
          </a:xfrm>
          <a:prstGeom prst="line">
            <a:avLst/>
          </a:prstGeom>
          <a:ln w="12700">
            <a:solidFill>
              <a:srgbClr val="FF0000">
                <a:alpha val="50000"/>
              </a:srgbClr>
            </a:solidFill>
            <a:headEnd type="oval"/>
          </a:ln>
        </p:spPr>
        <p:style>
          <a:lnRef idx="1">
            <a:schemeClr val="accent1"/>
          </a:lnRef>
          <a:fillRef idx="0">
            <a:schemeClr val="accent1"/>
          </a:fillRef>
          <a:effectRef idx="0">
            <a:schemeClr val="accent1"/>
          </a:effectRef>
          <a:fontRef idx="minor">
            <a:schemeClr val="tx1"/>
          </a:fontRef>
        </p:style>
      </p:cxnSp>
      <p:sp>
        <p:nvSpPr>
          <p:cNvPr id="32" name="TextBox 31">
            <a:extLst>
              <a:ext uri="{FF2B5EF4-FFF2-40B4-BE49-F238E27FC236}">
                <a16:creationId xmlns:a16="http://schemas.microsoft.com/office/drawing/2014/main" id="{57EB01C5-785E-E341-9DCB-2575420ACC15}"/>
              </a:ext>
            </a:extLst>
          </p:cNvPr>
          <p:cNvSpPr txBox="1"/>
          <p:nvPr/>
        </p:nvSpPr>
        <p:spPr>
          <a:xfrm>
            <a:off x="8757440" y="3698022"/>
            <a:ext cx="2569775" cy="597256"/>
          </a:xfrm>
          <a:prstGeom prst="rect">
            <a:avLst/>
          </a:prstGeom>
          <a:noFill/>
        </p:spPr>
        <p:txBody>
          <a:bodyPr wrap="square" tIns="90000" bIns="90000" rtlCol="0" anchor="t">
            <a:spAutoFit/>
          </a:bodyPr>
          <a:lstStyle/>
          <a:p>
            <a:pPr algn="just"/>
            <a:r>
              <a:rPr lang="en-US" sz="900" dirty="0">
                <a:solidFill>
                  <a:schemeClr val="tx1">
                    <a:lumMod val="50000"/>
                  </a:schemeClr>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Takes </a:t>
            </a:r>
            <a:r>
              <a:rPr lang="en-US" sz="900" dirty="0" err="1">
                <a:solidFill>
                  <a:srgbClr val="C5277F"/>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ProduceConfig</a:t>
            </a:r>
            <a:r>
              <a:rPr lang="en-US" sz="900" dirty="0">
                <a:solidFill>
                  <a:schemeClr val="tx1">
                    <a:lumMod val="50000"/>
                  </a:schemeClr>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 as argument with contains the property values required for broker connection</a:t>
            </a:r>
          </a:p>
        </p:txBody>
      </p:sp>
      <p:cxnSp>
        <p:nvCxnSpPr>
          <p:cNvPr id="41" name="Straight Connector 40">
            <a:extLst>
              <a:ext uri="{FF2B5EF4-FFF2-40B4-BE49-F238E27FC236}">
                <a16:creationId xmlns:a16="http://schemas.microsoft.com/office/drawing/2014/main" id="{39D65C04-85B3-644F-89CA-B0E3BC5F856E}"/>
              </a:ext>
            </a:extLst>
          </p:cNvPr>
          <p:cNvCxnSpPr>
            <a:cxnSpLocks/>
          </p:cNvCxnSpPr>
          <p:nvPr/>
        </p:nvCxnSpPr>
        <p:spPr>
          <a:xfrm flipV="1">
            <a:off x="7145079" y="4146698"/>
            <a:ext cx="1148316" cy="555444"/>
          </a:xfrm>
          <a:prstGeom prst="line">
            <a:avLst/>
          </a:prstGeom>
          <a:ln w="12700">
            <a:solidFill>
              <a:srgbClr val="FF0000">
                <a:alpha val="50000"/>
              </a:srgbClr>
            </a:solidFill>
            <a:headEnd type="oval"/>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2F930F3F-CCF6-C64C-86A7-23FB34A8CAC6}"/>
              </a:ext>
            </a:extLst>
          </p:cNvPr>
          <p:cNvCxnSpPr>
            <a:cxnSpLocks/>
            <a:stCxn id="32" idx="1"/>
          </p:cNvCxnSpPr>
          <p:nvPr/>
        </p:nvCxnSpPr>
        <p:spPr>
          <a:xfrm flipH="1">
            <a:off x="8293396" y="3996650"/>
            <a:ext cx="464044" cy="150049"/>
          </a:xfrm>
          <a:prstGeom prst="line">
            <a:avLst/>
          </a:prstGeom>
          <a:ln w="12700">
            <a:solidFill>
              <a:srgbClr val="FF0000">
                <a:alpha val="50000"/>
              </a:srgbClr>
            </a:solidFill>
            <a:headEnd type="oval"/>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855614F4-A0DC-1B4B-9779-E8FC43B5B07B}"/>
              </a:ext>
            </a:extLst>
          </p:cNvPr>
          <p:cNvCxnSpPr>
            <a:cxnSpLocks/>
          </p:cNvCxnSpPr>
          <p:nvPr/>
        </p:nvCxnSpPr>
        <p:spPr>
          <a:xfrm>
            <a:off x="5624623" y="5173674"/>
            <a:ext cx="2519917" cy="291461"/>
          </a:xfrm>
          <a:prstGeom prst="line">
            <a:avLst/>
          </a:prstGeom>
          <a:ln w="12700">
            <a:solidFill>
              <a:srgbClr val="FF0000">
                <a:alpha val="50000"/>
              </a:srgbClr>
            </a:solidFill>
            <a:headEnd type="oval"/>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18723034-F304-D743-B62C-5802FE3D55F8}"/>
              </a:ext>
            </a:extLst>
          </p:cNvPr>
          <p:cNvCxnSpPr>
            <a:cxnSpLocks/>
            <a:stCxn id="54" idx="1"/>
          </p:cNvCxnSpPr>
          <p:nvPr/>
        </p:nvCxnSpPr>
        <p:spPr>
          <a:xfrm flipH="1">
            <a:off x="8144540" y="5284283"/>
            <a:ext cx="478304" cy="180852"/>
          </a:xfrm>
          <a:prstGeom prst="line">
            <a:avLst/>
          </a:prstGeom>
          <a:ln w="12700">
            <a:solidFill>
              <a:srgbClr val="FF0000">
                <a:alpha val="50000"/>
              </a:srgbClr>
            </a:solidFill>
            <a:headEnd type="oval"/>
          </a:ln>
        </p:spPr>
        <p:style>
          <a:lnRef idx="1">
            <a:schemeClr val="accent1"/>
          </a:lnRef>
          <a:fillRef idx="0">
            <a:schemeClr val="accent1"/>
          </a:fillRef>
          <a:effectRef idx="0">
            <a:schemeClr val="accent1"/>
          </a:effectRef>
          <a:fontRef idx="minor">
            <a:schemeClr val="tx1"/>
          </a:fontRef>
        </p:style>
      </p:cxnSp>
      <p:sp>
        <p:nvSpPr>
          <p:cNvPr id="54" name="TextBox 53">
            <a:extLst>
              <a:ext uri="{FF2B5EF4-FFF2-40B4-BE49-F238E27FC236}">
                <a16:creationId xmlns:a16="http://schemas.microsoft.com/office/drawing/2014/main" id="{F815B357-42BA-864C-AC1C-48614F0DB1A4}"/>
              </a:ext>
            </a:extLst>
          </p:cNvPr>
          <p:cNvSpPr txBox="1"/>
          <p:nvPr/>
        </p:nvSpPr>
        <p:spPr>
          <a:xfrm>
            <a:off x="8622844" y="4985655"/>
            <a:ext cx="2569775" cy="597256"/>
          </a:xfrm>
          <a:prstGeom prst="rect">
            <a:avLst/>
          </a:prstGeom>
          <a:noFill/>
        </p:spPr>
        <p:txBody>
          <a:bodyPr wrap="square" tIns="90000" bIns="90000" rtlCol="0" anchor="t">
            <a:spAutoFit/>
          </a:bodyPr>
          <a:lstStyle/>
          <a:p>
            <a:pPr algn="just"/>
            <a:r>
              <a:rPr lang="en-US" sz="900" dirty="0">
                <a:solidFill>
                  <a:schemeClr val="tx1">
                    <a:lumMod val="50000"/>
                  </a:schemeClr>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Close the producer pool connections to all Kafka brokers. Also close the zookeeper client connection if any.</a:t>
            </a:r>
          </a:p>
        </p:txBody>
      </p:sp>
      <p:cxnSp>
        <p:nvCxnSpPr>
          <p:cNvPr id="63" name="Straight Connector 62">
            <a:extLst>
              <a:ext uri="{FF2B5EF4-FFF2-40B4-BE49-F238E27FC236}">
                <a16:creationId xmlns:a16="http://schemas.microsoft.com/office/drawing/2014/main" id="{6BCE000C-4617-3F4A-9CD9-91DA9221DF78}"/>
              </a:ext>
            </a:extLst>
          </p:cNvPr>
          <p:cNvCxnSpPr>
            <a:cxnSpLocks/>
            <a:stCxn id="64" idx="3"/>
          </p:cNvCxnSpPr>
          <p:nvPr/>
        </p:nvCxnSpPr>
        <p:spPr>
          <a:xfrm>
            <a:off x="4497126" y="3669171"/>
            <a:ext cx="399837" cy="167530"/>
          </a:xfrm>
          <a:prstGeom prst="line">
            <a:avLst/>
          </a:prstGeom>
          <a:ln w="12700">
            <a:solidFill>
              <a:srgbClr val="FF0000">
                <a:alpha val="50000"/>
              </a:srgbClr>
            </a:solidFill>
            <a:headEnd type="oval"/>
          </a:ln>
        </p:spPr>
        <p:style>
          <a:lnRef idx="1">
            <a:schemeClr val="accent1"/>
          </a:lnRef>
          <a:fillRef idx="0">
            <a:schemeClr val="accent1"/>
          </a:fillRef>
          <a:effectRef idx="0">
            <a:schemeClr val="accent1"/>
          </a:effectRef>
          <a:fontRef idx="minor">
            <a:schemeClr val="tx1"/>
          </a:fontRef>
        </p:style>
      </p:cxnSp>
      <p:sp>
        <p:nvSpPr>
          <p:cNvPr id="64" name="TextBox 63">
            <a:extLst>
              <a:ext uri="{FF2B5EF4-FFF2-40B4-BE49-F238E27FC236}">
                <a16:creationId xmlns:a16="http://schemas.microsoft.com/office/drawing/2014/main" id="{46993053-4465-5744-8C43-7495F04B0CDF}"/>
              </a:ext>
            </a:extLst>
          </p:cNvPr>
          <p:cNvSpPr txBox="1"/>
          <p:nvPr/>
        </p:nvSpPr>
        <p:spPr>
          <a:xfrm>
            <a:off x="1927351" y="3370543"/>
            <a:ext cx="2569775" cy="597256"/>
          </a:xfrm>
          <a:prstGeom prst="rect">
            <a:avLst/>
          </a:prstGeom>
          <a:noFill/>
        </p:spPr>
        <p:txBody>
          <a:bodyPr wrap="square" tIns="90000" bIns="90000" rtlCol="0" anchor="t">
            <a:spAutoFit/>
          </a:bodyPr>
          <a:lstStyle/>
          <a:p>
            <a:pPr algn="just"/>
            <a:r>
              <a:rPr lang="en-US" sz="900" dirty="0">
                <a:solidFill>
                  <a:schemeClr val="tx1">
                    <a:lumMod val="50000"/>
                  </a:schemeClr>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Sends producer data to a single topic using either synchronous or asynchronous mode, optionally partitioned by key</a:t>
            </a:r>
          </a:p>
        </p:txBody>
      </p:sp>
      <p:cxnSp>
        <p:nvCxnSpPr>
          <p:cNvPr id="68" name="Straight Connector 67">
            <a:extLst>
              <a:ext uri="{FF2B5EF4-FFF2-40B4-BE49-F238E27FC236}">
                <a16:creationId xmlns:a16="http://schemas.microsoft.com/office/drawing/2014/main" id="{622D8528-9CF8-A34E-9CD9-C7C4A42FDFD3}"/>
              </a:ext>
            </a:extLst>
          </p:cNvPr>
          <p:cNvCxnSpPr>
            <a:cxnSpLocks/>
          </p:cNvCxnSpPr>
          <p:nvPr/>
        </p:nvCxnSpPr>
        <p:spPr>
          <a:xfrm flipH="1" flipV="1">
            <a:off x="4896963" y="3836701"/>
            <a:ext cx="307996" cy="1032472"/>
          </a:xfrm>
          <a:prstGeom prst="line">
            <a:avLst/>
          </a:prstGeom>
          <a:ln w="12700">
            <a:solidFill>
              <a:srgbClr val="FF0000">
                <a:alpha val="50000"/>
              </a:srgbClr>
            </a:solidFill>
            <a:headEnd type="oval"/>
          </a:ln>
        </p:spPr>
        <p:style>
          <a:lnRef idx="1">
            <a:schemeClr val="accent1"/>
          </a:lnRef>
          <a:fillRef idx="0">
            <a:schemeClr val="accent1"/>
          </a:fillRef>
          <a:effectRef idx="0">
            <a:schemeClr val="accent1"/>
          </a:effectRef>
          <a:fontRef idx="minor">
            <a:schemeClr val="tx1"/>
          </a:fontRef>
        </p:style>
      </p:cxnSp>
      <p:sp>
        <p:nvSpPr>
          <p:cNvPr id="74" name="TextBox 73">
            <a:extLst>
              <a:ext uri="{FF2B5EF4-FFF2-40B4-BE49-F238E27FC236}">
                <a16:creationId xmlns:a16="http://schemas.microsoft.com/office/drawing/2014/main" id="{AA01B1AD-B8F0-5C42-8A22-86808620AE8B}"/>
              </a:ext>
            </a:extLst>
          </p:cNvPr>
          <p:cNvSpPr txBox="1"/>
          <p:nvPr/>
        </p:nvSpPr>
        <p:spPr>
          <a:xfrm>
            <a:off x="1943929" y="5041456"/>
            <a:ext cx="2569775" cy="735756"/>
          </a:xfrm>
          <a:prstGeom prst="rect">
            <a:avLst/>
          </a:prstGeom>
          <a:noFill/>
        </p:spPr>
        <p:txBody>
          <a:bodyPr wrap="square" tIns="90000" bIns="90000" rtlCol="0" anchor="t">
            <a:spAutoFit/>
          </a:bodyPr>
          <a:lstStyle/>
          <a:p>
            <a:pPr algn="just"/>
            <a:r>
              <a:rPr lang="en-US" sz="900" dirty="0">
                <a:solidFill>
                  <a:schemeClr val="tx1">
                    <a:lumMod val="50000"/>
                  </a:schemeClr>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Sends list of producer data to multiple topics using either synchronous or asynchronous mode, optionally partitioned by key</a:t>
            </a:r>
          </a:p>
        </p:txBody>
      </p:sp>
      <p:cxnSp>
        <p:nvCxnSpPr>
          <p:cNvPr id="75" name="Straight Connector 74">
            <a:extLst>
              <a:ext uri="{FF2B5EF4-FFF2-40B4-BE49-F238E27FC236}">
                <a16:creationId xmlns:a16="http://schemas.microsoft.com/office/drawing/2014/main" id="{0DA19C67-9CB8-CE4B-8848-E97D0B814057}"/>
              </a:ext>
            </a:extLst>
          </p:cNvPr>
          <p:cNvCxnSpPr>
            <a:cxnSpLocks/>
            <a:stCxn id="74" idx="3"/>
          </p:cNvCxnSpPr>
          <p:nvPr/>
        </p:nvCxnSpPr>
        <p:spPr>
          <a:xfrm>
            <a:off x="4513704" y="5409334"/>
            <a:ext cx="369438" cy="4"/>
          </a:xfrm>
          <a:prstGeom prst="line">
            <a:avLst/>
          </a:prstGeom>
          <a:ln w="12700">
            <a:solidFill>
              <a:srgbClr val="FF0000">
                <a:alpha val="50000"/>
              </a:srgbClr>
            </a:solidFill>
            <a:headEnd type="oval"/>
          </a:ln>
        </p:spPr>
        <p:style>
          <a:lnRef idx="1">
            <a:schemeClr val="accent1"/>
          </a:lnRef>
          <a:fillRef idx="0">
            <a:schemeClr val="accent1"/>
          </a:fillRef>
          <a:effectRef idx="0">
            <a:schemeClr val="accent1"/>
          </a:effectRef>
          <a:fontRef idx="minor">
            <a:schemeClr val="tx1"/>
          </a:fontRef>
        </p:style>
      </p:cxnSp>
      <p:cxnSp>
        <p:nvCxnSpPr>
          <p:cNvPr id="78" name="Straight Connector 77">
            <a:extLst>
              <a:ext uri="{FF2B5EF4-FFF2-40B4-BE49-F238E27FC236}">
                <a16:creationId xmlns:a16="http://schemas.microsoft.com/office/drawing/2014/main" id="{DC98B893-A973-504E-A49B-2698C063E460}"/>
              </a:ext>
            </a:extLst>
          </p:cNvPr>
          <p:cNvCxnSpPr>
            <a:cxnSpLocks/>
          </p:cNvCxnSpPr>
          <p:nvPr/>
        </p:nvCxnSpPr>
        <p:spPr>
          <a:xfrm flipH="1">
            <a:off x="4883142" y="5030823"/>
            <a:ext cx="325942" cy="378511"/>
          </a:xfrm>
          <a:prstGeom prst="line">
            <a:avLst/>
          </a:prstGeom>
          <a:ln w="12700">
            <a:solidFill>
              <a:srgbClr val="FF0000">
                <a:alpha val="50000"/>
              </a:srgbClr>
            </a:solidFill>
            <a:headEnd type="ova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9551518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85" name="Straight Connector 84">
            <a:extLst>
              <a:ext uri="{FF2B5EF4-FFF2-40B4-BE49-F238E27FC236}">
                <a16:creationId xmlns:a16="http://schemas.microsoft.com/office/drawing/2014/main" id="{E5852F76-772A-914E-A0A0-16EBDC18B439}"/>
              </a:ext>
            </a:extLst>
          </p:cNvPr>
          <p:cNvCxnSpPr>
            <a:cxnSpLocks/>
            <a:stCxn id="84" idx="0"/>
          </p:cNvCxnSpPr>
          <p:nvPr/>
        </p:nvCxnSpPr>
        <p:spPr>
          <a:xfrm flipH="1" flipV="1">
            <a:off x="3708401" y="2645954"/>
            <a:ext cx="1434632" cy="1973414"/>
          </a:xfrm>
          <a:prstGeom prst="line">
            <a:avLst/>
          </a:prstGeom>
          <a:ln w="12700">
            <a:solidFill>
              <a:srgbClr val="FF0000">
                <a:alpha val="50000"/>
              </a:srgbClr>
            </a:solidFill>
            <a:headEnd type="oval"/>
          </a:ln>
        </p:spPr>
        <p:style>
          <a:lnRef idx="1">
            <a:schemeClr val="accent1"/>
          </a:lnRef>
          <a:fillRef idx="0">
            <a:schemeClr val="accent1"/>
          </a:fillRef>
          <a:effectRef idx="0">
            <a:schemeClr val="accent1"/>
          </a:effectRef>
          <a:fontRef idx="minor">
            <a:schemeClr val="tx1"/>
          </a:fontRef>
        </p:style>
      </p:cxnSp>
      <p:sp>
        <p:nvSpPr>
          <p:cNvPr id="31" name="Rectangle 3">
            <a:extLst>
              <a:ext uri="{FF2B5EF4-FFF2-40B4-BE49-F238E27FC236}">
                <a16:creationId xmlns:a16="http://schemas.microsoft.com/office/drawing/2014/main" id="{A27FD23C-A522-0E4F-B70C-CC83BC4542BA}"/>
              </a:ext>
            </a:extLst>
          </p:cNvPr>
          <p:cNvSpPr txBox="1"/>
          <p:nvPr/>
        </p:nvSpPr>
        <p:spPr>
          <a:xfrm>
            <a:off x="404808" y="237462"/>
            <a:ext cx="7585857" cy="400105"/>
          </a:xfrm>
          <a:prstGeom prst="rect">
            <a:avLst/>
          </a:prstGeom>
          <a:ln w="12700">
            <a:miter lim="400000"/>
          </a:ln>
          <a:extLst>
            <a:ext uri="{C572A759-6A51-4108-AA02-DFA0A04FC94B}">
              <ma14:wrappingTextBoxFlag xmlns:ma14="http://schemas.microsoft.com/office/mac/drawingml/2011/main" xmlns="" val="1"/>
            </a:ext>
          </a:extLst>
        </p:spPr>
        <p:txBody>
          <a:bodyPr wrap="square" lIns="45718" tIns="45718" rIns="45718" bIns="45718">
            <a:spAutoFit/>
          </a:bodyPr>
          <a:lstStyle>
            <a:lvl1pPr algn="l" defTabSz="914400">
              <a:defRPr sz="2200" b="1">
                <a:solidFill>
                  <a:srgbClr val="FFFFFF"/>
                </a:solidFill>
                <a:latin typeface="Arial"/>
                <a:ea typeface="Arial"/>
                <a:cs typeface="Arial"/>
                <a:sym typeface="Arial"/>
              </a:defRPr>
            </a:lvl1pPr>
          </a:lstStyle>
          <a:p>
            <a:r>
              <a:rPr lang="en-US" sz="2000" dirty="0">
                <a:solidFill>
                  <a:srgbClr val="016AA2"/>
                </a:solidFill>
              </a:rPr>
              <a:t>Features and terminology (VI)</a:t>
            </a:r>
          </a:p>
        </p:txBody>
      </p:sp>
      <p:sp>
        <p:nvSpPr>
          <p:cNvPr id="65" name="Rectangle 3"/>
          <p:cNvSpPr txBox="1"/>
          <p:nvPr/>
        </p:nvSpPr>
        <p:spPr>
          <a:xfrm>
            <a:off x="404806" y="610135"/>
            <a:ext cx="8775769" cy="369328"/>
          </a:xfrm>
          <a:prstGeom prst="rect">
            <a:avLst/>
          </a:prstGeom>
          <a:ln w="12700">
            <a:miter lim="400000"/>
          </a:ln>
          <a:extLst>
            <a:ext uri="{C572A759-6A51-4108-AA02-DFA0A04FC94B}">
              <ma14:wrappingTextBoxFlag xmlns="" xmlns:ma14="http://schemas.microsoft.com/office/mac/drawingml/2011/main" val="1"/>
            </a:ext>
          </a:extLst>
        </p:spPr>
        <p:txBody>
          <a:bodyPr wrap="square" lIns="45718" tIns="45718" rIns="45718" bIns="45718">
            <a:spAutoFit/>
          </a:bodyPr>
          <a:lstStyle>
            <a:lvl1pPr algn="l" defTabSz="914400">
              <a:defRPr sz="2000">
                <a:solidFill>
                  <a:srgbClr val="104D6A"/>
                </a:solidFill>
                <a:latin typeface="Arial"/>
                <a:ea typeface="Arial"/>
                <a:cs typeface="Arial"/>
                <a:sym typeface="Arial"/>
              </a:defRPr>
            </a:lvl1pPr>
          </a:lstStyle>
          <a:p>
            <a:pPr>
              <a:defRPr/>
            </a:pPr>
            <a:r>
              <a:rPr lang="en-US" sz="1800" b="1" dirty="0">
                <a:solidFill>
                  <a:srgbClr val="73C4EF"/>
                </a:solidFill>
              </a:rPr>
              <a:t>Event Hub Architecture – Producer</a:t>
            </a:r>
          </a:p>
        </p:txBody>
      </p:sp>
      <p:sp>
        <p:nvSpPr>
          <p:cNvPr id="5" name="Google Shape;61;p12">
            <a:extLst>
              <a:ext uri="{FF2B5EF4-FFF2-40B4-BE49-F238E27FC236}">
                <a16:creationId xmlns:a16="http://schemas.microsoft.com/office/drawing/2014/main" id="{28CF5AAD-3382-CF47-8F35-AB0EF038602B}"/>
              </a:ext>
            </a:extLst>
          </p:cNvPr>
          <p:cNvSpPr txBox="1">
            <a:spLocks/>
          </p:cNvSpPr>
          <p:nvPr/>
        </p:nvSpPr>
        <p:spPr>
          <a:xfrm>
            <a:off x="404806" y="1090789"/>
            <a:ext cx="2595248" cy="261610"/>
          </a:xfrm>
          <a:prstGeom prst="rect">
            <a:avLst/>
          </a:prstGeom>
          <a:noFill/>
        </p:spPr>
        <p:txBody>
          <a:bodyPr wrap="square" rtlCol="0">
            <a:spAutoFit/>
          </a:bodyPr>
          <a:lstStyle>
            <a:defPPr>
              <a:defRPr lang="en-US"/>
            </a:defPPr>
            <a:lvl1pPr algn="ctr" defTabSz="457200">
              <a:defRPr sz="90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defRPr>
            </a:lvl1pPr>
          </a:lstStyle>
          <a:p>
            <a:pPr algn="l"/>
            <a:r>
              <a:rPr lang="en-US" sz="1100" dirty="0">
                <a:solidFill>
                  <a:srgbClr val="C5277F"/>
                </a:solidFill>
                <a:latin typeface="Comic Sans MS" panose="030F0902030302020204" pitchFamily="66" charset="0"/>
              </a:rPr>
              <a:t>Defining properties</a:t>
            </a:r>
            <a:endParaRPr lang="es-ES_tradnl" sz="1100" dirty="0">
              <a:solidFill>
                <a:srgbClr val="C5277F"/>
              </a:solidFill>
              <a:latin typeface="Comic Sans MS" panose="030F0902030302020204" pitchFamily="66" charset="0"/>
            </a:endParaRPr>
          </a:p>
        </p:txBody>
      </p:sp>
      <p:sp>
        <p:nvSpPr>
          <p:cNvPr id="6" name="Rectangle 5">
            <a:extLst>
              <a:ext uri="{FF2B5EF4-FFF2-40B4-BE49-F238E27FC236}">
                <a16:creationId xmlns:a16="http://schemas.microsoft.com/office/drawing/2014/main" id="{D7296D0E-604A-E042-845D-1C53BB0CBBBA}"/>
              </a:ext>
            </a:extLst>
          </p:cNvPr>
          <p:cNvSpPr/>
          <p:nvPr/>
        </p:nvSpPr>
        <p:spPr>
          <a:xfrm>
            <a:off x="404805" y="1374818"/>
            <a:ext cx="7342195" cy="1105088"/>
          </a:xfrm>
          <a:prstGeom prst="rect">
            <a:avLst/>
          </a:prstGeom>
          <a:noFill/>
        </p:spPr>
        <p:txBody>
          <a:bodyPr wrap="square" tIns="90000" bIns="90000" rtlCol="0" anchor="t">
            <a:spAutoFit/>
          </a:bodyPr>
          <a:lstStyle/>
          <a:p>
            <a:pPr algn="just"/>
            <a:r>
              <a:rPr lang="en-US" sz="10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Properties props = new Properties();</a:t>
            </a:r>
          </a:p>
          <a:p>
            <a:pPr algn="just"/>
            <a:r>
              <a:rPr lang="en-US" sz="1000" dirty="0" err="1">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props.put</a:t>
            </a:r>
            <a:r>
              <a:rPr lang="en-US" sz="10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a:t>
            </a:r>
            <a:r>
              <a:rPr lang="en-US" sz="1000" dirty="0" err="1">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metadata.broker.list</a:t>
            </a:r>
            <a:r>
              <a:rPr lang="en-US" sz="10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 </a:t>
            </a:r>
            <a:r>
              <a:rPr lang="en-US" sz="1000" dirty="0" err="1">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name_server</a:t>
            </a:r>
            <a:r>
              <a:rPr lang="en-US" sz="10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 :9092, name_server:9093, </a:t>
            </a:r>
            <a:r>
              <a:rPr lang="en-US" sz="1000" dirty="0" err="1">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name_server</a:t>
            </a:r>
            <a:r>
              <a:rPr lang="en-US" sz="10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 :9094");</a:t>
            </a:r>
          </a:p>
          <a:p>
            <a:pPr algn="just"/>
            <a:r>
              <a:rPr lang="en-US" sz="1000" dirty="0" err="1">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props.put</a:t>
            </a:r>
            <a:r>
              <a:rPr lang="en-US" sz="10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serializer.class","</a:t>
            </a:r>
            <a:r>
              <a:rPr lang="en-US" sz="1000" dirty="0" err="1">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kafka.serializer.StringEncoder</a:t>
            </a:r>
            <a:r>
              <a:rPr lang="en-US" sz="10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a:t>
            </a:r>
          </a:p>
          <a:p>
            <a:pPr algn="just"/>
            <a:r>
              <a:rPr lang="en-US" sz="1000" dirty="0" err="1">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props.put</a:t>
            </a:r>
            <a:r>
              <a:rPr lang="en-US" sz="10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a:t>
            </a:r>
            <a:r>
              <a:rPr lang="en-US" sz="1000" dirty="0" err="1">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request.required.acks</a:t>
            </a:r>
            <a:r>
              <a:rPr lang="en-US" sz="10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 "1");</a:t>
            </a:r>
          </a:p>
          <a:p>
            <a:pPr algn="just"/>
            <a:r>
              <a:rPr lang="en-US" sz="1000" dirty="0" err="1">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ProducerConfig</a:t>
            </a:r>
            <a:r>
              <a:rPr lang="en-US" sz="10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 config = new </a:t>
            </a:r>
            <a:r>
              <a:rPr lang="en-US" sz="1000" dirty="0" err="1">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ProducerConfig</a:t>
            </a:r>
            <a:r>
              <a:rPr lang="en-US" sz="10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props); </a:t>
            </a:r>
          </a:p>
          <a:p>
            <a:pPr algn="just"/>
            <a:r>
              <a:rPr lang="en-US" sz="10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Producer&lt;String, String&gt; producer = new Producer&lt;String, String&gt; (config);</a:t>
            </a:r>
          </a:p>
        </p:txBody>
      </p:sp>
      <p:sp>
        <p:nvSpPr>
          <p:cNvPr id="23" name="Google Shape;61;p12">
            <a:extLst>
              <a:ext uri="{FF2B5EF4-FFF2-40B4-BE49-F238E27FC236}">
                <a16:creationId xmlns:a16="http://schemas.microsoft.com/office/drawing/2014/main" id="{68EDE768-1986-C247-88B3-6510DB16FBCF}"/>
              </a:ext>
            </a:extLst>
          </p:cNvPr>
          <p:cNvSpPr txBox="1">
            <a:spLocks/>
          </p:cNvSpPr>
          <p:nvPr/>
        </p:nvSpPr>
        <p:spPr>
          <a:xfrm>
            <a:off x="404806" y="2591232"/>
            <a:ext cx="2595248" cy="261610"/>
          </a:xfrm>
          <a:prstGeom prst="rect">
            <a:avLst/>
          </a:prstGeom>
          <a:noFill/>
        </p:spPr>
        <p:txBody>
          <a:bodyPr wrap="square" rtlCol="0">
            <a:spAutoFit/>
          </a:bodyPr>
          <a:lstStyle>
            <a:defPPr>
              <a:defRPr lang="en-US"/>
            </a:defPPr>
            <a:lvl1pPr algn="ctr" defTabSz="457200">
              <a:defRPr sz="90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defRPr>
            </a:lvl1pPr>
          </a:lstStyle>
          <a:p>
            <a:pPr algn="l"/>
            <a:r>
              <a:rPr lang="en-US" sz="1100" dirty="0">
                <a:solidFill>
                  <a:srgbClr val="C5277F"/>
                </a:solidFill>
                <a:latin typeface="Comic Sans MS" panose="030F0902030302020204" pitchFamily="66" charset="0"/>
              </a:rPr>
              <a:t>Building the message and sending it</a:t>
            </a:r>
            <a:endParaRPr lang="es-ES_tradnl" sz="1100" dirty="0">
              <a:solidFill>
                <a:srgbClr val="C5277F"/>
              </a:solidFill>
              <a:latin typeface="Comic Sans MS" panose="030F0902030302020204" pitchFamily="66" charset="0"/>
            </a:endParaRPr>
          </a:p>
        </p:txBody>
      </p:sp>
      <p:sp>
        <p:nvSpPr>
          <p:cNvPr id="28" name="TextBox 27">
            <a:extLst>
              <a:ext uri="{FF2B5EF4-FFF2-40B4-BE49-F238E27FC236}">
                <a16:creationId xmlns:a16="http://schemas.microsoft.com/office/drawing/2014/main" id="{AEF5D701-2D87-C942-962F-E840771C3DD9}"/>
              </a:ext>
            </a:extLst>
          </p:cNvPr>
          <p:cNvSpPr txBox="1"/>
          <p:nvPr/>
        </p:nvSpPr>
        <p:spPr>
          <a:xfrm>
            <a:off x="7512691" y="707259"/>
            <a:ext cx="3886200" cy="1105088"/>
          </a:xfrm>
          <a:prstGeom prst="rect">
            <a:avLst/>
          </a:prstGeom>
          <a:noFill/>
        </p:spPr>
        <p:txBody>
          <a:bodyPr wrap="square" tIns="90000" bIns="90000" rtlCol="0" anchor="t">
            <a:spAutoFit/>
          </a:bodyPr>
          <a:lstStyle/>
          <a:p>
            <a:pPr algn="just"/>
            <a:r>
              <a:rPr lang="en-US" sz="1000" dirty="0" err="1">
                <a:solidFill>
                  <a:srgbClr val="C5277F"/>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metadata.broker.list</a:t>
            </a:r>
            <a:r>
              <a:rPr lang="en-US" sz="1000" dirty="0">
                <a:solidFill>
                  <a:schemeClr val="tx1">
                    <a:lumMod val="50000"/>
                  </a:schemeClr>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 </a:t>
            </a:r>
            <a:r>
              <a:rPr lang="en-US" sz="10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this property specifies the list of intermediaries (in the format </a:t>
            </a:r>
            <a:r>
              <a:rPr lang="en-US" sz="1000" dirty="0">
                <a:solidFill>
                  <a:srgbClr val="F26F2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lt;node: port&gt;, &lt;node: port&gt;])</a:t>
            </a:r>
            <a:r>
              <a:rPr lang="en-US" sz="10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 to which the producer must connect. Kafka producers automatically determine the leading broker for the subject, divide it by means of a metadata request and connect to the correct broker before publishing any message.</a:t>
            </a:r>
          </a:p>
        </p:txBody>
      </p:sp>
      <p:cxnSp>
        <p:nvCxnSpPr>
          <p:cNvPr id="33" name="Straight Connector 32">
            <a:extLst>
              <a:ext uri="{FF2B5EF4-FFF2-40B4-BE49-F238E27FC236}">
                <a16:creationId xmlns:a16="http://schemas.microsoft.com/office/drawing/2014/main" id="{45ADB9B9-9C23-B14B-B8B7-984E28B8AEB2}"/>
              </a:ext>
            </a:extLst>
          </p:cNvPr>
          <p:cNvCxnSpPr>
            <a:cxnSpLocks/>
          </p:cNvCxnSpPr>
          <p:nvPr/>
        </p:nvCxnSpPr>
        <p:spPr>
          <a:xfrm flipV="1">
            <a:off x="2887133" y="1501422"/>
            <a:ext cx="575733" cy="181177"/>
          </a:xfrm>
          <a:prstGeom prst="line">
            <a:avLst/>
          </a:prstGeom>
          <a:ln w="12700">
            <a:solidFill>
              <a:srgbClr val="FF0000">
                <a:alpha val="50000"/>
              </a:srgbClr>
            </a:solidFill>
            <a:headEnd type="ova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B078603E-DF4F-5241-AADC-75928F8D0B17}"/>
              </a:ext>
            </a:extLst>
          </p:cNvPr>
          <p:cNvCxnSpPr>
            <a:cxnSpLocks/>
          </p:cNvCxnSpPr>
          <p:nvPr/>
        </p:nvCxnSpPr>
        <p:spPr>
          <a:xfrm flipH="1">
            <a:off x="3462866" y="1343669"/>
            <a:ext cx="4041358" cy="157753"/>
          </a:xfrm>
          <a:prstGeom prst="line">
            <a:avLst/>
          </a:prstGeom>
          <a:ln w="12700">
            <a:solidFill>
              <a:srgbClr val="FF0000">
                <a:alpha val="50000"/>
              </a:srgbClr>
            </a:solidFill>
            <a:headEnd type="oval"/>
          </a:ln>
        </p:spPr>
        <p:style>
          <a:lnRef idx="1">
            <a:schemeClr val="accent1"/>
          </a:lnRef>
          <a:fillRef idx="0">
            <a:schemeClr val="accent1"/>
          </a:fillRef>
          <a:effectRef idx="0">
            <a:schemeClr val="accent1"/>
          </a:effectRef>
          <a:fontRef idx="minor">
            <a:schemeClr val="tx1"/>
          </a:fontRef>
        </p:style>
      </p:cxnSp>
      <p:cxnSp>
        <p:nvCxnSpPr>
          <p:cNvPr id="76" name="Straight Connector 75">
            <a:extLst>
              <a:ext uri="{FF2B5EF4-FFF2-40B4-BE49-F238E27FC236}">
                <a16:creationId xmlns:a16="http://schemas.microsoft.com/office/drawing/2014/main" id="{03F213A8-B857-1549-83B5-D874272DEFDC}"/>
              </a:ext>
            </a:extLst>
          </p:cNvPr>
          <p:cNvCxnSpPr>
            <a:cxnSpLocks/>
          </p:cNvCxnSpPr>
          <p:nvPr/>
        </p:nvCxnSpPr>
        <p:spPr>
          <a:xfrm>
            <a:off x="2523067" y="1848647"/>
            <a:ext cx="1674669" cy="229307"/>
          </a:xfrm>
          <a:prstGeom prst="line">
            <a:avLst/>
          </a:prstGeom>
          <a:ln w="12700">
            <a:solidFill>
              <a:srgbClr val="FF0000">
                <a:alpha val="50000"/>
              </a:srgbClr>
            </a:solidFill>
            <a:headEnd type="oval"/>
          </a:ln>
        </p:spPr>
        <p:style>
          <a:lnRef idx="1">
            <a:schemeClr val="accent1"/>
          </a:lnRef>
          <a:fillRef idx="0">
            <a:schemeClr val="accent1"/>
          </a:fillRef>
          <a:effectRef idx="0">
            <a:schemeClr val="accent1"/>
          </a:effectRef>
          <a:fontRef idx="minor">
            <a:schemeClr val="tx1"/>
          </a:fontRef>
        </p:style>
      </p:cxnSp>
      <p:cxnSp>
        <p:nvCxnSpPr>
          <p:cNvPr id="77" name="Straight Connector 76">
            <a:extLst>
              <a:ext uri="{FF2B5EF4-FFF2-40B4-BE49-F238E27FC236}">
                <a16:creationId xmlns:a16="http://schemas.microsoft.com/office/drawing/2014/main" id="{2055E4FD-4C3D-2D49-8A61-70618B4A8F28}"/>
              </a:ext>
            </a:extLst>
          </p:cNvPr>
          <p:cNvCxnSpPr>
            <a:cxnSpLocks/>
            <a:stCxn id="81" idx="1"/>
          </p:cNvCxnSpPr>
          <p:nvPr/>
        </p:nvCxnSpPr>
        <p:spPr>
          <a:xfrm flipH="1" flipV="1">
            <a:off x="4197737" y="2077956"/>
            <a:ext cx="3396728" cy="921612"/>
          </a:xfrm>
          <a:prstGeom prst="line">
            <a:avLst/>
          </a:prstGeom>
          <a:ln w="12700">
            <a:solidFill>
              <a:srgbClr val="FF0000">
                <a:alpha val="50000"/>
              </a:srgbClr>
            </a:solidFill>
            <a:headEnd type="oval"/>
          </a:ln>
        </p:spPr>
        <p:style>
          <a:lnRef idx="1">
            <a:schemeClr val="accent1"/>
          </a:lnRef>
          <a:fillRef idx="0">
            <a:schemeClr val="accent1"/>
          </a:fillRef>
          <a:effectRef idx="0">
            <a:schemeClr val="accent1"/>
          </a:effectRef>
          <a:fontRef idx="minor">
            <a:schemeClr val="tx1"/>
          </a:fontRef>
        </p:style>
      </p:cxnSp>
      <p:sp>
        <p:nvSpPr>
          <p:cNvPr id="81" name="TextBox 80">
            <a:extLst>
              <a:ext uri="{FF2B5EF4-FFF2-40B4-BE49-F238E27FC236}">
                <a16:creationId xmlns:a16="http://schemas.microsoft.com/office/drawing/2014/main" id="{01BB1525-E22B-A549-A329-AA1178344E67}"/>
              </a:ext>
            </a:extLst>
          </p:cNvPr>
          <p:cNvSpPr txBox="1"/>
          <p:nvPr/>
        </p:nvSpPr>
        <p:spPr>
          <a:xfrm>
            <a:off x="7594465" y="2139247"/>
            <a:ext cx="3886200" cy="1720641"/>
          </a:xfrm>
          <a:prstGeom prst="rect">
            <a:avLst/>
          </a:prstGeom>
          <a:noFill/>
        </p:spPr>
        <p:txBody>
          <a:bodyPr wrap="square" tIns="90000" bIns="90000" rtlCol="0" anchor="t">
            <a:spAutoFit/>
          </a:bodyPr>
          <a:lstStyle/>
          <a:p>
            <a:pPr algn="just"/>
            <a:r>
              <a:rPr lang="en-US" sz="1000" dirty="0" err="1">
                <a:solidFill>
                  <a:srgbClr val="C5277F"/>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serializer.class</a:t>
            </a:r>
            <a:r>
              <a:rPr lang="en-US" sz="1000" dirty="0">
                <a:solidFill>
                  <a:srgbClr val="C5277F"/>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 </a:t>
            </a:r>
            <a:r>
              <a:rPr lang="en-US" sz="10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This property specifies the</a:t>
            </a:r>
            <a:r>
              <a:rPr lang="en-US" sz="10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 </a:t>
            </a:r>
            <a:r>
              <a:rPr lang="en-US" sz="1000" dirty="0">
                <a:solidFill>
                  <a:srgbClr val="C5277F"/>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serializer</a:t>
            </a:r>
            <a:r>
              <a:rPr lang="en-US" sz="10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 </a:t>
            </a:r>
            <a:r>
              <a:rPr lang="en-US" sz="10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class that needs to be used while preparing the message for transmission from the producer to the broker. In this example, we will be using the string encoder provided by Kafka. By default, the </a:t>
            </a:r>
            <a:r>
              <a:rPr lang="en-US" sz="1000" dirty="0">
                <a:solidFill>
                  <a:srgbClr val="C5277F"/>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serializer</a:t>
            </a:r>
            <a:r>
              <a:rPr lang="en-US" sz="10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 </a:t>
            </a:r>
            <a:r>
              <a:rPr lang="en-US" sz="10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class for the key and message is the same, but we can also implement the custom</a:t>
            </a:r>
            <a:r>
              <a:rPr lang="en-US" sz="10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 </a:t>
            </a:r>
            <a:r>
              <a:rPr lang="en-US" sz="1000" dirty="0">
                <a:solidFill>
                  <a:srgbClr val="C5277F"/>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serializer</a:t>
            </a:r>
            <a:r>
              <a:rPr lang="en-US" sz="10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 </a:t>
            </a:r>
            <a:r>
              <a:rPr lang="en-US" sz="10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class by extending the Scala-based</a:t>
            </a:r>
            <a:r>
              <a:rPr lang="en-US" sz="10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 </a:t>
            </a:r>
            <a:r>
              <a:rPr lang="en-US" sz="1000" dirty="0" err="1">
                <a:solidFill>
                  <a:srgbClr val="C5277F"/>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kafka.serializer.Encoder</a:t>
            </a:r>
            <a:r>
              <a:rPr lang="en-US" sz="10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 </a:t>
            </a:r>
            <a:r>
              <a:rPr lang="en-US" sz="10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implementation. Producer configuration</a:t>
            </a:r>
            <a:r>
              <a:rPr lang="en-US" sz="10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 </a:t>
            </a:r>
            <a:r>
              <a:rPr lang="en-US" sz="1000" dirty="0" err="1">
                <a:solidFill>
                  <a:srgbClr val="C5277F"/>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key.serializer.class</a:t>
            </a:r>
            <a:r>
              <a:rPr lang="en-US" sz="10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 </a:t>
            </a:r>
            <a:r>
              <a:rPr lang="en-US" sz="10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is used to set the custom encoder.</a:t>
            </a:r>
          </a:p>
        </p:txBody>
      </p:sp>
      <p:sp>
        <p:nvSpPr>
          <p:cNvPr id="84" name="TextBox 83">
            <a:extLst>
              <a:ext uri="{FF2B5EF4-FFF2-40B4-BE49-F238E27FC236}">
                <a16:creationId xmlns:a16="http://schemas.microsoft.com/office/drawing/2014/main" id="{CF2723BF-2020-474D-9BA8-EA7C660A095A}"/>
              </a:ext>
            </a:extLst>
          </p:cNvPr>
          <p:cNvSpPr txBox="1"/>
          <p:nvPr/>
        </p:nvSpPr>
        <p:spPr>
          <a:xfrm>
            <a:off x="3199933" y="4619368"/>
            <a:ext cx="3886200" cy="1412864"/>
          </a:xfrm>
          <a:prstGeom prst="rect">
            <a:avLst/>
          </a:prstGeom>
          <a:noFill/>
        </p:spPr>
        <p:txBody>
          <a:bodyPr wrap="square" tIns="90000" bIns="90000" rtlCol="0" anchor="t">
            <a:spAutoFit/>
          </a:bodyPr>
          <a:lstStyle/>
          <a:p>
            <a:pPr algn="just"/>
            <a:r>
              <a:rPr lang="en-US" sz="1000" dirty="0" err="1">
                <a:solidFill>
                  <a:srgbClr val="C5277F"/>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request.required.acks</a:t>
            </a:r>
            <a:r>
              <a:rPr lang="en-US" sz="1000" dirty="0">
                <a:solidFill>
                  <a:srgbClr val="C5277F"/>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 </a:t>
            </a:r>
            <a:r>
              <a:rPr lang="en-US" sz="10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This property instructs the Kafka broker to send an acknowledgment to the producer when a message is received. The value </a:t>
            </a:r>
            <a:r>
              <a:rPr lang="en-US" sz="1000" dirty="0">
                <a:solidFill>
                  <a:srgbClr val="F26F2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1</a:t>
            </a:r>
            <a:r>
              <a:rPr lang="en-US" sz="10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 means the producer receives an acknowledgment once the lead replica has received the data. This option provides better durability as the producer waits until the broker acknowledges the request as successful. By default, the producer works in the "fire and forget" mode and is not informed in the case of message loss.</a:t>
            </a:r>
          </a:p>
        </p:txBody>
      </p:sp>
      <p:cxnSp>
        <p:nvCxnSpPr>
          <p:cNvPr id="92" name="Straight Connector 91">
            <a:extLst>
              <a:ext uri="{FF2B5EF4-FFF2-40B4-BE49-F238E27FC236}">
                <a16:creationId xmlns:a16="http://schemas.microsoft.com/office/drawing/2014/main" id="{A4999731-C7E5-894A-9F72-325E3CE024E3}"/>
              </a:ext>
            </a:extLst>
          </p:cNvPr>
          <p:cNvCxnSpPr>
            <a:cxnSpLocks/>
          </p:cNvCxnSpPr>
          <p:nvPr/>
        </p:nvCxnSpPr>
        <p:spPr>
          <a:xfrm>
            <a:off x="1828800" y="2007903"/>
            <a:ext cx="1879600" cy="646583"/>
          </a:xfrm>
          <a:prstGeom prst="line">
            <a:avLst/>
          </a:prstGeom>
          <a:ln w="12700">
            <a:solidFill>
              <a:srgbClr val="FF0000">
                <a:alpha val="50000"/>
              </a:srgbClr>
            </a:solidFill>
            <a:headEnd type="oval"/>
          </a:ln>
        </p:spPr>
        <p:style>
          <a:lnRef idx="1">
            <a:schemeClr val="accent1"/>
          </a:lnRef>
          <a:fillRef idx="0">
            <a:schemeClr val="accent1"/>
          </a:fillRef>
          <a:effectRef idx="0">
            <a:schemeClr val="accent1"/>
          </a:effectRef>
          <a:fontRef idx="minor">
            <a:schemeClr val="tx1"/>
          </a:fontRef>
        </p:style>
      </p:cxnSp>
      <p:sp>
        <p:nvSpPr>
          <p:cNvPr id="24" name="Rectangle 23">
            <a:extLst>
              <a:ext uri="{FF2B5EF4-FFF2-40B4-BE49-F238E27FC236}">
                <a16:creationId xmlns:a16="http://schemas.microsoft.com/office/drawing/2014/main" id="{C30C3802-9D74-B34C-9713-85EF8076BED6}"/>
              </a:ext>
            </a:extLst>
          </p:cNvPr>
          <p:cNvSpPr/>
          <p:nvPr/>
        </p:nvSpPr>
        <p:spPr>
          <a:xfrm>
            <a:off x="404806" y="2875261"/>
            <a:ext cx="7107886" cy="797311"/>
          </a:xfrm>
          <a:prstGeom prst="rect">
            <a:avLst/>
          </a:prstGeom>
          <a:solidFill>
            <a:schemeClr val="bg1"/>
          </a:solidFill>
        </p:spPr>
        <p:txBody>
          <a:bodyPr wrap="square" tIns="90000" bIns="90000" rtlCol="0" anchor="t">
            <a:spAutoFit/>
          </a:bodyPr>
          <a:lstStyle/>
          <a:p>
            <a:pPr algn="just"/>
            <a:r>
              <a:rPr lang="en-US" sz="10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String runtime = new Date().</a:t>
            </a:r>
            <a:r>
              <a:rPr lang="en-US" sz="1000" dirty="0" err="1">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toString</a:t>
            </a:r>
            <a:r>
              <a:rPr lang="en-US" sz="10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a:t>
            </a:r>
          </a:p>
          <a:p>
            <a:pPr algn="just"/>
            <a:r>
              <a:rPr lang="en-US" sz="10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String msg = "Message Publishing Time - " + runtime;</a:t>
            </a:r>
          </a:p>
          <a:p>
            <a:pPr algn="just"/>
            <a:r>
              <a:rPr lang="en-US" sz="1000" dirty="0" err="1">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KeyedMessage</a:t>
            </a:r>
            <a:r>
              <a:rPr lang="en-US" sz="10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lt;String, String&gt; data = new </a:t>
            </a:r>
            <a:r>
              <a:rPr lang="en-US" sz="1000" dirty="0" err="1">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KeyedMessage</a:t>
            </a:r>
            <a:r>
              <a:rPr lang="en-US" sz="10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lt;String, String&gt; (topic, msg);</a:t>
            </a:r>
          </a:p>
          <a:p>
            <a:pPr algn="just"/>
            <a:r>
              <a:rPr lang="en-US" sz="1000" dirty="0" err="1">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producer.send</a:t>
            </a:r>
            <a:r>
              <a:rPr lang="en-US" sz="10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data); </a:t>
            </a:r>
          </a:p>
        </p:txBody>
      </p:sp>
    </p:spTree>
    <p:extLst>
      <p:ext uri="{BB962C8B-B14F-4D97-AF65-F5344CB8AC3E}">
        <p14:creationId xmlns:p14="http://schemas.microsoft.com/office/powerpoint/2010/main" val="266131647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tangle 3">
            <a:extLst>
              <a:ext uri="{FF2B5EF4-FFF2-40B4-BE49-F238E27FC236}">
                <a16:creationId xmlns:a16="http://schemas.microsoft.com/office/drawing/2014/main" id="{A27FD23C-A522-0E4F-B70C-CC83BC4542BA}"/>
              </a:ext>
            </a:extLst>
          </p:cNvPr>
          <p:cNvSpPr txBox="1"/>
          <p:nvPr/>
        </p:nvSpPr>
        <p:spPr>
          <a:xfrm>
            <a:off x="404808" y="237462"/>
            <a:ext cx="7585857" cy="400105"/>
          </a:xfrm>
          <a:prstGeom prst="rect">
            <a:avLst/>
          </a:prstGeom>
          <a:ln w="12700">
            <a:miter lim="400000"/>
          </a:ln>
          <a:extLst>
            <a:ext uri="{C572A759-6A51-4108-AA02-DFA0A04FC94B}">
              <ma14:wrappingTextBoxFlag xmlns:ma14="http://schemas.microsoft.com/office/mac/drawingml/2011/main" xmlns="" val="1"/>
            </a:ext>
          </a:extLst>
        </p:spPr>
        <p:txBody>
          <a:bodyPr wrap="square" lIns="45718" tIns="45718" rIns="45718" bIns="45718">
            <a:spAutoFit/>
          </a:bodyPr>
          <a:lstStyle>
            <a:lvl1pPr algn="l" defTabSz="914400">
              <a:defRPr sz="2200" b="1">
                <a:solidFill>
                  <a:srgbClr val="FFFFFF"/>
                </a:solidFill>
                <a:latin typeface="Arial"/>
                <a:ea typeface="Arial"/>
                <a:cs typeface="Arial"/>
                <a:sym typeface="Arial"/>
              </a:defRPr>
            </a:lvl1pPr>
          </a:lstStyle>
          <a:p>
            <a:r>
              <a:rPr lang="en-US" sz="2000" dirty="0">
                <a:solidFill>
                  <a:srgbClr val="016AA2"/>
                </a:solidFill>
              </a:rPr>
              <a:t>Features and terminology (VII)</a:t>
            </a:r>
          </a:p>
        </p:txBody>
      </p:sp>
      <p:sp>
        <p:nvSpPr>
          <p:cNvPr id="65" name="Rectangle 3"/>
          <p:cNvSpPr txBox="1"/>
          <p:nvPr/>
        </p:nvSpPr>
        <p:spPr>
          <a:xfrm>
            <a:off x="404806" y="610135"/>
            <a:ext cx="8775769" cy="369328"/>
          </a:xfrm>
          <a:prstGeom prst="rect">
            <a:avLst/>
          </a:prstGeom>
          <a:ln w="12700">
            <a:miter lim="400000"/>
          </a:ln>
          <a:extLst>
            <a:ext uri="{C572A759-6A51-4108-AA02-DFA0A04FC94B}">
              <ma14:wrappingTextBoxFlag xmlns="" xmlns:ma14="http://schemas.microsoft.com/office/mac/drawingml/2011/main" val="1"/>
            </a:ext>
          </a:extLst>
        </p:spPr>
        <p:txBody>
          <a:bodyPr wrap="square" lIns="45718" tIns="45718" rIns="45718" bIns="45718">
            <a:spAutoFit/>
          </a:bodyPr>
          <a:lstStyle>
            <a:lvl1pPr algn="l" defTabSz="914400">
              <a:defRPr sz="2000">
                <a:solidFill>
                  <a:srgbClr val="104D6A"/>
                </a:solidFill>
                <a:latin typeface="Arial"/>
                <a:ea typeface="Arial"/>
                <a:cs typeface="Arial"/>
                <a:sym typeface="Arial"/>
              </a:defRPr>
            </a:lvl1pPr>
          </a:lstStyle>
          <a:p>
            <a:pPr>
              <a:defRPr/>
            </a:pPr>
            <a:r>
              <a:rPr lang="en-US" sz="1800" b="1" dirty="0">
                <a:solidFill>
                  <a:srgbClr val="73C4EF"/>
                </a:solidFill>
              </a:rPr>
              <a:t>Event Hub Architecture – Producer (Simple Java Producers)</a:t>
            </a:r>
          </a:p>
        </p:txBody>
      </p:sp>
      <p:sp>
        <p:nvSpPr>
          <p:cNvPr id="6" name="Rectangle 5">
            <a:extLst>
              <a:ext uri="{FF2B5EF4-FFF2-40B4-BE49-F238E27FC236}">
                <a16:creationId xmlns:a16="http://schemas.microsoft.com/office/drawing/2014/main" id="{D7296D0E-604A-E042-845D-1C53BB0CBBBA}"/>
              </a:ext>
            </a:extLst>
          </p:cNvPr>
          <p:cNvSpPr/>
          <p:nvPr/>
        </p:nvSpPr>
        <p:spPr>
          <a:xfrm>
            <a:off x="6979566" y="0"/>
            <a:ext cx="4997726" cy="6829732"/>
          </a:xfrm>
          <a:prstGeom prst="rect">
            <a:avLst/>
          </a:prstGeom>
          <a:noFill/>
        </p:spPr>
        <p:txBody>
          <a:bodyPr wrap="square" tIns="90000" bIns="90000" rtlCol="0" anchor="t">
            <a:spAutoFit/>
          </a:bodyPr>
          <a:lstStyle/>
          <a:p>
            <a:pPr algn="just"/>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package </a:t>
            </a:r>
            <a:r>
              <a:rPr lang="en-US" sz="900" dirty="0" err="1">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mx.citi.bigdata.common</a:t>
            </a:r>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a:t>
            </a:r>
          </a:p>
          <a:p>
            <a:pPr algn="just"/>
            <a:endPar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endParaRPr>
          </a:p>
          <a:p>
            <a:pPr algn="just"/>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import </a:t>
            </a:r>
            <a:r>
              <a:rPr lang="en-US" sz="900" dirty="0" err="1">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java.util.Date</a:t>
            </a:r>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a:t>
            </a:r>
          </a:p>
          <a:p>
            <a:pPr algn="just"/>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import </a:t>
            </a:r>
            <a:r>
              <a:rPr lang="en-US" sz="900" dirty="0" err="1">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java.util.Properties</a:t>
            </a:r>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a:t>
            </a:r>
          </a:p>
          <a:p>
            <a:pPr algn="just"/>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import </a:t>
            </a:r>
            <a:r>
              <a:rPr lang="en-US" sz="900" dirty="0" err="1">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kafka.javaapi.producer.Producer</a:t>
            </a:r>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a:t>
            </a:r>
          </a:p>
          <a:p>
            <a:pPr algn="just"/>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import </a:t>
            </a:r>
            <a:r>
              <a:rPr lang="en-US" sz="900" dirty="0" err="1">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kafka.producer.KeyedMessage</a:t>
            </a:r>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a:t>
            </a:r>
          </a:p>
          <a:p>
            <a:pPr algn="just"/>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import </a:t>
            </a:r>
            <a:r>
              <a:rPr lang="en-US" sz="900" dirty="0" err="1">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kafka.producer.ProducerConfig</a:t>
            </a:r>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a:t>
            </a:r>
          </a:p>
          <a:p>
            <a:pPr algn="just"/>
            <a:endPar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endParaRPr>
          </a:p>
          <a:p>
            <a:pPr algn="just"/>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public class </a:t>
            </a:r>
            <a:r>
              <a:rPr lang="en-US" sz="900" dirty="0" err="1">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SimpleProducer</a:t>
            </a:r>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 {</a:t>
            </a:r>
          </a:p>
          <a:p>
            <a:pPr algn="just"/>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  private static Producer&lt;String, String&gt; producer;</a:t>
            </a:r>
          </a:p>
          <a:p>
            <a:pPr algn="just"/>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  public </a:t>
            </a:r>
            <a:r>
              <a:rPr lang="en-US" sz="900" dirty="0" err="1">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SimpleProducer</a:t>
            </a:r>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 {</a:t>
            </a:r>
          </a:p>
          <a:p>
            <a:pPr algn="just"/>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    Properties props = new Properties();</a:t>
            </a:r>
          </a:p>
          <a:p>
            <a:pPr algn="just"/>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    </a:t>
            </a:r>
            <a:r>
              <a:rPr lang="en-US" sz="900" dirty="0" err="1">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props.put</a:t>
            </a:r>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a:t>
            </a:r>
            <a:r>
              <a:rPr lang="en-US" sz="900" dirty="0" err="1">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metadata.broker.list</a:t>
            </a:r>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a:t>
            </a:r>
          </a:p>
          <a:p>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            "197.168.128.132:</a:t>
            </a:r>
            <a:r>
              <a:rPr lang="en-US" sz="900" dirty="0">
                <a:solidFill>
                  <a:srgbClr val="F36F26"/>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9092</a:t>
            </a:r>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 197.168.128.132:</a:t>
            </a:r>
            <a:r>
              <a:rPr lang="en-US" sz="900" dirty="0">
                <a:solidFill>
                  <a:srgbClr val="F36F26"/>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9093</a:t>
            </a:r>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a:t>
            </a:r>
          </a:p>
          <a:p>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             197.168.128.132:</a:t>
            </a:r>
            <a:r>
              <a:rPr lang="en-US" sz="900" dirty="0">
                <a:solidFill>
                  <a:srgbClr val="F36F26"/>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9094</a:t>
            </a:r>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a:t>
            </a:r>
          </a:p>
          <a:p>
            <a:pPr algn="just"/>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    </a:t>
            </a:r>
            <a:r>
              <a:rPr lang="en-US" sz="900" dirty="0" err="1">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props.put</a:t>
            </a:r>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a:t>
            </a:r>
            <a:r>
              <a:rPr lang="en-US" sz="900" dirty="0" err="1">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serializer.class</a:t>
            </a:r>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 "</a:t>
            </a:r>
            <a:r>
              <a:rPr lang="en-US" sz="900" dirty="0" err="1">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kafka.serializer.StringEncoder</a:t>
            </a:r>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a:t>
            </a:r>
          </a:p>
          <a:p>
            <a:pPr algn="just"/>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    </a:t>
            </a:r>
            <a:r>
              <a:rPr lang="en-US" sz="900" dirty="0" err="1">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props.put</a:t>
            </a:r>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a:t>
            </a:r>
            <a:r>
              <a:rPr lang="en-US" sz="900" dirty="0" err="1">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request.required.acks</a:t>
            </a:r>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 "1");</a:t>
            </a:r>
          </a:p>
          <a:p>
            <a:pPr algn="just"/>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    </a:t>
            </a:r>
            <a:r>
              <a:rPr lang="en-US" sz="900" dirty="0" err="1">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ProducerConfig</a:t>
            </a:r>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 config = new </a:t>
            </a:r>
            <a:r>
              <a:rPr lang="en-US" sz="900" dirty="0" err="1">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ProducerConfig</a:t>
            </a:r>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props);</a:t>
            </a:r>
          </a:p>
          <a:p>
            <a:pPr algn="just"/>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    producer = new Producer&lt;String, String&gt;(config);</a:t>
            </a:r>
          </a:p>
          <a:p>
            <a:pPr algn="just"/>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  }</a:t>
            </a:r>
          </a:p>
          <a:p>
            <a:pPr algn="just"/>
            <a:endPar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endParaRPr>
          </a:p>
          <a:p>
            <a:pPr algn="just"/>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  public static void main(String[] </a:t>
            </a:r>
            <a:r>
              <a:rPr lang="en-US" sz="900" dirty="0" err="1">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args</a:t>
            </a:r>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 {</a:t>
            </a:r>
          </a:p>
          <a:p>
            <a:pPr algn="just"/>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    int </a:t>
            </a:r>
            <a:r>
              <a:rPr lang="en-US" sz="900" dirty="0" err="1">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argsCount</a:t>
            </a:r>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 = </a:t>
            </a:r>
            <a:r>
              <a:rPr lang="en-US" sz="900" dirty="0" err="1">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args.length</a:t>
            </a:r>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a:t>
            </a:r>
          </a:p>
          <a:p>
            <a:pPr algn="just"/>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    if (</a:t>
            </a:r>
            <a:r>
              <a:rPr lang="en-US" sz="900" dirty="0" err="1">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argsCount</a:t>
            </a:r>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 == 0 || </a:t>
            </a:r>
            <a:r>
              <a:rPr lang="en-US" sz="900" dirty="0" err="1">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argsCount</a:t>
            </a:r>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 == 1)</a:t>
            </a:r>
          </a:p>
          <a:p>
            <a:pPr algn="just"/>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      throw new </a:t>
            </a:r>
            <a:r>
              <a:rPr lang="en-US" sz="900" dirty="0" err="1">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IllegalArgumentException</a:t>
            </a:r>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a:t>
            </a:r>
          </a:p>
          <a:p>
            <a:pPr algn="just"/>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        "Please provide topic name and Message count as arguments");</a:t>
            </a:r>
          </a:p>
          <a:p>
            <a:pPr algn="just"/>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    String topic = (String) </a:t>
            </a:r>
            <a:r>
              <a:rPr lang="en-US" sz="900" dirty="0" err="1">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args</a:t>
            </a:r>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0];</a:t>
            </a:r>
          </a:p>
          <a:p>
            <a:pPr algn="just"/>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    String count = (String) </a:t>
            </a:r>
            <a:r>
              <a:rPr lang="en-US" sz="900" dirty="0" err="1">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args</a:t>
            </a:r>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1];</a:t>
            </a:r>
          </a:p>
          <a:p>
            <a:pPr algn="just"/>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    int </a:t>
            </a:r>
            <a:r>
              <a:rPr lang="en-US" sz="900" dirty="0" err="1">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messageCount</a:t>
            </a:r>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 = </a:t>
            </a:r>
            <a:r>
              <a:rPr lang="en-US" sz="900" dirty="0" err="1">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Integer.parseInt</a:t>
            </a:r>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count);</a:t>
            </a:r>
          </a:p>
          <a:p>
            <a:pPr algn="just"/>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    </a:t>
            </a:r>
            <a:r>
              <a:rPr lang="en-US" sz="900" dirty="0" err="1">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System.out.println</a:t>
            </a:r>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Topic Name - " + topic);</a:t>
            </a:r>
          </a:p>
          <a:p>
            <a:pPr algn="just"/>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    </a:t>
            </a:r>
            <a:r>
              <a:rPr lang="en-US" sz="900" dirty="0" err="1">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System.out.println</a:t>
            </a:r>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Message Count - " + </a:t>
            </a:r>
            <a:r>
              <a:rPr lang="en-US" sz="900" dirty="0" err="1">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messageCount</a:t>
            </a:r>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a:t>
            </a:r>
          </a:p>
          <a:p>
            <a:pPr algn="just"/>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    </a:t>
            </a:r>
            <a:r>
              <a:rPr lang="en-US" sz="900" dirty="0" err="1">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SimpleProducer</a:t>
            </a:r>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 </a:t>
            </a:r>
            <a:r>
              <a:rPr lang="en-US" sz="900" dirty="0" err="1">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simpleProducer</a:t>
            </a:r>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 = new </a:t>
            </a:r>
            <a:r>
              <a:rPr lang="en-US" sz="900" dirty="0" err="1">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SimpleProducer</a:t>
            </a:r>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a:t>
            </a:r>
          </a:p>
          <a:p>
            <a:pPr algn="just"/>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    </a:t>
            </a:r>
            <a:r>
              <a:rPr lang="en-US" sz="900" dirty="0" err="1">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simpleProducer.publishMessage</a:t>
            </a:r>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topic, </a:t>
            </a:r>
            <a:r>
              <a:rPr lang="en-US" sz="900" dirty="0" err="1">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messageCount</a:t>
            </a:r>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a:t>
            </a:r>
          </a:p>
          <a:p>
            <a:pPr algn="just"/>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  }</a:t>
            </a:r>
          </a:p>
          <a:p>
            <a:pPr algn="just"/>
            <a:endPar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endParaRPr>
          </a:p>
          <a:p>
            <a:pPr algn="just"/>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  private void </a:t>
            </a:r>
            <a:r>
              <a:rPr lang="en-US" sz="900" dirty="0" err="1">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publishMessage</a:t>
            </a:r>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String topic, int </a:t>
            </a:r>
            <a:r>
              <a:rPr lang="en-US" sz="900" dirty="0" err="1">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messageCount</a:t>
            </a:r>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 {</a:t>
            </a:r>
          </a:p>
          <a:p>
            <a:pPr algn="just"/>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    for (int </a:t>
            </a:r>
            <a:r>
              <a:rPr lang="en-US" sz="900" dirty="0" err="1">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mCount</a:t>
            </a:r>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 = 0; </a:t>
            </a:r>
            <a:r>
              <a:rPr lang="en-US" sz="900" dirty="0" err="1">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mCount</a:t>
            </a:r>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 &lt; </a:t>
            </a:r>
            <a:r>
              <a:rPr lang="en-US" sz="900" dirty="0" err="1">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messageCount</a:t>
            </a:r>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 </a:t>
            </a:r>
            <a:r>
              <a:rPr lang="en-US" sz="900" dirty="0" err="1">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mCount</a:t>
            </a:r>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 {</a:t>
            </a:r>
          </a:p>
          <a:p>
            <a:pPr algn="just"/>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      String runtime = new Date().</a:t>
            </a:r>
            <a:r>
              <a:rPr lang="en-US" sz="900" dirty="0" err="1">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toString</a:t>
            </a:r>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a:t>
            </a:r>
          </a:p>
          <a:p>
            <a:pPr algn="just"/>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      String msg = "Message Publishing Time - " + runtime;</a:t>
            </a:r>
          </a:p>
          <a:p>
            <a:pPr algn="just"/>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      </a:t>
            </a:r>
            <a:r>
              <a:rPr lang="en-US" sz="900" dirty="0" err="1">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System.out.println</a:t>
            </a:r>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msg);</a:t>
            </a:r>
          </a:p>
          <a:p>
            <a:pPr algn="just"/>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      </a:t>
            </a:r>
            <a:r>
              <a:rPr lang="en-US" sz="900" dirty="0" err="1">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KeyedMessage</a:t>
            </a:r>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lt;String, String&gt; data = </a:t>
            </a:r>
          </a:p>
          <a:p>
            <a:pPr algn="just"/>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        new </a:t>
            </a:r>
            <a:r>
              <a:rPr lang="en-US" sz="900" dirty="0" err="1">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KeyedMessage</a:t>
            </a:r>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lt;String, String&gt;(topic, msg);</a:t>
            </a:r>
          </a:p>
          <a:p>
            <a:pPr algn="just"/>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        </a:t>
            </a:r>
            <a:r>
              <a:rPr lang="en-US" sz="900" dirty="0" err="1">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producer.send</a:t>
            </a:r>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data);</a:t>
            </a:r>
          </a:p>
          <a:p>
            <a:pPr algn="just"/>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    }</a:t>
            </a:r>
          </a:p>
          <a:p>
            <a:pPr algn="just"/>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    </a:t>
            </a:r>
            <a:r>
              <a:rPr lang="en-US" sz="900" dirty="0" err="1">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producer.close</a:t>
            </a:r>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a:t>
            </a:r>
          </a:p>
          <a:p>
            <a:pPr algn="just"/>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  }</a:t>
            </a:r>
          </a:p>
          <a:p>
            <a:pPr algn="just"/>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a:t>
            </a:r>
          </a:p>
        </p:txBody>
      </p:sp>
      <p:cxnSp>
        <p:nvCxnSpPr>
          <p:cNvPr id="5" name="Straight Connector 4">
            <a:extLst>
              <a:ext uri="{FF2B5EF4-FFF2-40B4-BE49-F238E27FC236}">
                <a16:creationId xmlns:a16="http://schemas.microsoft.com/office/drawing/2014/main" id="{6F467706-E6E1-E242-A921-4C52AFC72CAD}"/>
              </a:ext>
            </a:extLst>
          </p:cNvPr>
          <p:cNvCxnSpPr>
            <a:cxnSpLocks/>
            <a:endCxn id="7" idx="3"/>
          </p:cNvCxnSpPr>
          <p:nvPr/>
        </p:nvCxnSpPr>
        <p:spPr>
          <a:xfrm flipH="1" flipV="1">
            <a:off x="5492177" y="1346742"/>
            <a:ext cx="2562752" cy="430694"/>
          </a:xfrm>
          <a:prstGeom prst="line">
            <a:avLst/>
          </a:prstGeom>
          <a:ln w="12700">
            <a:solidFill>
              <a:srgbClr val="FF0000">
                <a:alpha val="50000"/>
              </a:srgbClr>
            </a:solidFill>
            <a:headEnd type="oval"/>
            <a:tailEnd type="oval"/>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C218CB72-E86C-EB49-BF42-12C9F8AA840D}"/>
              </a:ext>
            </a:extLst>
          </p:cNvPr>
          <p:cNvSpPr txBox="1"/>
          <p:nvPr/>
        </p:nvSpPr>
        <p:spPr>
          <a:xfrm>
            <a:off x="1687314" y="1117363"/>
            <a:ext cx="3804863" cy="458757"/>
          </a:xfrm>
          <a:prstGeom prst="rect">
            <a:avLst/>
          </a:prstGeom>
          <a:noFill/>
        </p:spPr>
        <p:txBody>
          <a:bodyPr wrap="square" tIns="90000" bIns="90000" rtlCol="0" anchor="t">
            <a:spAutoFit/>
          </a:bodyPr>
          <a:lstStyle/>
          <a:p>
            <a:pPr algn="just"/>
            <a:r>
              <a:rPr lang="en-US" sz="900" dirty="0">
                <a:solidFill>
                  <a:srgbClr val="C5277F"/>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Se t the broker list for requesting metadata to find the lead broker.</a:t>
            </a:r>
            <a:endParaRPr lang="en-US" sz="9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endParaRPr>
          </a:p>
        </p:txBody>
      </p:sp>
      <p:sp>
        <p:nvSpPr>
          <p:cNvPr id="12" name="TextBox 11">
            <a:extLst>
              <a:ext uri="{FF2B5EF4-FFF2-40B4-BE49-F238E27FC236}">
                <a16:creationId xmlns:a16="http://schemas.microsoft.com/office/drawing/2014/main" id="{D6FFFAA5-C2B9-A24A-82E1-E6292C6D757F}"/>
              </a:ext>
            </a:extLst>
          </p:cNvPr>
          <p:cNvSpPr txBox="1"/>
          <p:nvPr/>
        </p:nvSpPr>
        <p:spPr>
          <a:xfrm>
            <a:off x="1687314" y="1621687"/>
            <a:ext cx="2558266" cy="320257"/>
          </a:xfrm>
          <a:prstGeom prst="rect">
            <a:avLst/>
          </a:prstGeom>
          <a:noFill/>
        </p:spPr>
        <p:txBody>
          <a:bodyPr wrap="square" tIns="90000" bIns="90000" rtlCol="0" anchor="t">
            <a:spAutoFit/>
          </a:bodyPr>
          <a:lstStyle/>
          <a:p>
            <a:pPr algn="just"/>
            <a:r>
              <a:rPr lang="en-US" sz="900" dirty="0">
                <a:solidFill>
                  <a:srgbClr val="C5277F"/>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This specifies the serializer class for keys.</a:t>
            </a:r>
            <a:endParaRPr lang="en-US" sz="9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endParaRPr>
          </a:p>
        </p:txBody>
      </p:sp>
      <p:cxnSp>
        <p:nvCxnSpPr>
          <p:cNvPr id="13" name="Straight Connector 12">
            <a:extLst>
              <a:ext uri="{FF2B5EF4-FFF2-40B4-BE49-F238E27FC236}">
                <a16:creationId xmlns:a16="http://schemas.microsoft.com/office/drawing/2014/main" id="{D3D8E2BF-45F3-AC4B-AE78-187EABF9D98D}"/>
              </a:ext>
            </a:extLst>
          </p:cNvPr>
          <p:cNvCxnSpPr>
            <a:cxnSpLocks/>
            <a:endCxn id="12" idx="3"/>
          </p:cNvCxnSpPr>
          <p:nvPr/>
        </p:nvCxnSpPr>
        <p:spPr>
          <a:xfrm flipH="1" flipV="1">
            <a:off x="4245580" y="1781816"/>
            <a:ext cx="3809348" cy="389512"/>
          </a:xfrm>
          <a:prstGeom prst="line">
            <a:avLst/>
          </a:prstGeom>
          <a:ln w="12700">
            <a:solidFill>
              <a:srgbClr val="FF0000">
                <a:alpha val="50000"/>
              </a:srgbClr>
            </a:solidFill>
            <a:headEnd type="oval"/>
            <a:tailEnd type="oval"/>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70E5D85F-5734-FA41-9743-232FD9CD1393}"/>
              </a:ext>
            </a:extLst>
          </p:cNvPr>
          <p:cNvSpPr txBox="1"/>
          <p:nvPr/>
        </p:nvSpPr>
        <p:spPr>
          <a:xfrm>
            <a:off x="1687314" y="2129497"/>
            <a:ext cx="4045654" cy="597256"/>
          </a:xfrm>
          <a:prstGeom prst="rect">
            <a:avLst/>
          </a:prstGeom>
          <a:noFill/>
        </p:spPr>
        <p:txBody>
          <a:bodyPr wrap="square" tIns="90000" bIns="90000" rtlCol="0" anchor="t">
            <a:spAutoFit/>
          </a:bodyPr>
          <a:lstStyle/>
          <a:p>
            <a:pPr algn="just"/>
            <a:r>
              <a:rPr lang="en-US" sz="900" dirty="0">
                <a:solidFill>
                  <a:srgbClr val="C5277F"/>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1 means the producer receives an acknowledgment once the lead replica </a:t>
            </a:r>
          </a:p>
          <a:p>
            <a:pPr algn="just"/>
            <a:r>
              <a:rPr lang="en-US" sz="900" dirty="0">
                <a:solidFill>
                  <a:srgbClr val="C5277F"/>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has received the data. This option provides better durability as the </a:t>
            </a:r>
          </a:p>
          <a:p>
            <a:pPr algn="just"/>
            <a:r>
              <a:rPr lang="en-US" sz="900" dirty="0">
                <a:solidFill>
                  <a:srgbClr val="C5277F"/>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client waits until the server acknowledges the request as successful.</a:t>
            </a:r>
            <a:endParaRPr lang="en-US" sz="9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endParaRPr>
          </a:p>
        </p:txBody>
      </p:sp>
      <p:cxnSp>
        <p:nvCxnSpPr>
          <p:cNvPr id="18" name="Straight Connector 17">
            <a:extLst>
              <a:ext uri="{FF2B5EF4-FFF2-40B4-BE49-F238E27FC236}">
                <a16:creationId xmlns:a16="http://schemas.microsoft.com/office/drawing/2014/main" id="{B2A88209-2E6D-654C-A727-2441C94DDC90}"/>
              </a:ext>
            </a:extLst>
          </p:cNvPr>
          <p:cNvCxnSpPr>
            <a:cxnSpLocks/>
            <a:endCxn id="17" idx="3"/>
          </p:cNvCxnSpPr>
          <p:nvPr/>
        </p:nvCxnSpPr>
        <p:spPr>
          <a:xfrm flipH="1">
            <a:off x="5732968" y="2312709"/>
            <a:ext cx="2321960" cy="115416"/>
          </a:xfrm>
          <a:prstGeom prst="line">
            <a:avLst/>
          </a:prstGeom>
          <a:ln w="12700">
            <a:solidFill>
              <a:srgbClr val="FF0000">
                <a:alpha val="50000"/>
              </a:srgbClr>
            </a:solidFill>
            <a:headEnd type="oval"/>
            <a:tailEnd type="oval"/>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0951ADB1-B7DC-A24A-97DE-602466D0FF49}"/>
              </a:ext>
            </a:extLst>
          </p:cNvPr>
          <p:cNvSpPr txBox="1"/>
          <p:nvPr/>
        </p:nvSpPr>
        <p:spPr>
          <a:xfrm>
            <a:off x="1687314" y="2965543"/>
            <a:ext cx="3727155" cy="458757"/>
          </a:xfrm>
          <a:prstGeom prst="rect">
            <a:avLst/>
          </a:prstGeom>
          <a:noFill/>
        </p:spPr>
        <p:txBody>
          <a:bodyPr wrap="square" tIns="90000" bIns="90000" rtlCol="0" anchor="t">
            <a:spAutoFit/>
          </a:bodyPr>
          <a:lstStyle/>
          <a:p>
            <a:pPr algn="just"/>
            <a:r>
              <a:rPr lang="en-US" sz="900" dirty="0">
                <a:solidFill>
                  <a:srgbClr val="C5277F"/>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Topic name and the message count to be published is passed from the command line.</a:t>
            </a:r>
            <a:endParaRPr lang="en-US" sz="9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endParaRPr>
          </a:p>
        </p:txBody>
      </p:sp>
      <p:cxnSp>
        <p:nvCxnSpPr>
          <p:cNvPr id="25" name="Straight Connector 24">
            <a:extLst>
              <a:ext uri="{FF2B5EF4-FFF2-40B4-BE49-F238E27FC236}">
                <a16:creationId xmlns:a16="http://schemas.microsoft.com/office/drawing/2014/main" id="{F7555957-840D-7C47-9B45-9421A16E4939}"/>
              </a:ext>
            </a:extLst>
          </p:cNvPr>
          <p:cNvCxnSpPr>
            <a:cxnSpLocks/>
            <a:endCxn id="24" idx="3"/>
          </p:cNvCxnSpPr>
          <p:nvPr/>
        </p:nvCxnSpPr>
        <p:spPr>
          <a:xfrm flipH="1" flipV="1">
            <a:off x="5414469" y="3194922"/>
            <a:ext cx="1952090" cy="518636"/>
          </a:xfrm>
          <a:prstGeom prst="line">
            <a:avLst/>
          </a:prstGeom>
          <a:ln w="12700">
            <a:solidFill>
              <a:srgbClr val="FF0000">
                <a:alpha val="50000"/>
              </a:srgbClr>
            </a:solidFill>
            <a:headEnd type="oval"/>
            <a:tailEnd type="oval"/>
          </a:ln>
        </p:spPr>
        <p:style>
          <a:lnRef idx="1">
            <a:schemeClr val="accent1"/>
          </a:lnRef>
          <a:fillRef idx="0">
            <a:schemeClr val="accent1"/>
          </a:fillRef>
          <a:effectRef idx="0">
            <a:schemeClr val="accent1"/>
          </a:effectRef>
          <a:fontRef idx="minor">
            <a:schemeClr val="tx1"/>
          </a:fontRef>
        </p:style>
      </p:cxnSp>
      <p:sp>
        <p:nvSpPr>
          <p:cNvPr id="32" name="TextBox 31">
            <a:extLst>
              <a:ext uri="{FF2B5EF4-FFF2-40B4-BE49-F238E27FC236}">
                <a16:creationId xmlns:a16="http://schemas.microsoft.com/office/drawing/2014/main" id="{3FC33A4D-C109-4F44-8864-2646C26F7C7D}"/>
              </a:ext>
            </a:extLst>
          </p:cNvPr>
          <p:cNvSpPr txBox="1"/>
          <p:nvPr/>
        </p:nvSpPr>
        <p:spPr>
          <a:xfrm>
            <a:off x="1687314" y="3608140"/>
            <a:ext cx="1952090" cy="458757"/>
          </a:xfrm>
          <a:prstGeom prst="rect">
            <a:avLst/>
          </a:prstGeom>
          <a:noFill/>
        </p:spPr>
        <p:txBody>
          <a:bodyPr wrap="square" tIns="90000" bIns="90000" rtlCol="0" anchor="t">
            <a:spAutoFit/>
          </a:bodyPr>
          <a:lstStyle/>
          <a:p>
            <a:pPr algn="just"/>
            <a:r>
              <a:rPr lang="en-US" sz="900" dirty="0">
                <a:solidFill>
                  <a:srgbClr val="C5277F"/>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Creates a </a:t>
            </a:r>
            <a:r>
              <a:rPr lang="en-US" sz="900" dirty="0" err="1">
                <a:solidFill>
                  <a:srgbClr val="C5277F"/>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KeyedMessage</a:t>
            </a:r>
            <a:r>
              <a:rPr lang="en-US" sz="900" dirty="0">
                <a:solidFill>
                  <a:srgbClr val="C5277F"/>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 instance</a:t>
            </a:r>
            <a:endParaRPr lang="en-US" sz="9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endParaRPr>
          </a:p>
        </p:txBody>
      </p:sp>
      <p:cxnSp>
        <p:nvCxnSpPr>
          <p:cNvPr id="33" name="Straight Connector 32">
            <a:extLst>
              <a:ext uri="{FF2B5EF4-FFF2-40B4-BE49-F238E27FC236}">
                <a16:creationId xmlns:a16="http://schemas.microsoft.com/office/drawing/2014/main" id="{F2A968E9-CFC7-1C48-9800-4F31AD92FA45}"/>
              </a:ext>
            </a:extLst>
          </p:cNvPr>
          <p:cNvCxnSpPr>
            <a:cxnSpLocks/>
            <a:endCxn id="32" idx="3"/>
          </p:cNvCxnSpPr>
          <p:nvPr/>
        </p:nvCxnSpPr>
        <p:spPr>
          <a:xfrm flipH="1" flipV="1">
            <a:off x="3639404" y="3837519"/>
            <a:ext cx="3891542" cy="1788324"/>
          </a:xfrm>
          <a:prstGeom prst="line">
            <a:avLst/>
          </a:prstGeom>
          <a:ln w="12700">
            <a:solidFill>
              <a:srgbClr val="FF0000">
                <a:alpha val="50000"/>
              </a:srgbClr>
            </a:solidFill>
            <a:headEnd type="oval"/>
            <a:tailEnd type="oval"/>
          </a:ln>
        </p:spPr>
        <p:style>
          <a:lnRef idx="1">
            <a:schemeClr val="accent1"/>
          </a:lnRef>
          <a:fillRef idx="0">
            <a:schemeClr val="accent1"/>
          </a:fillRef>
          <a:effectRef idx="0">
            <a:schemeClr val="accent1"/>
          </a:effectRef>
          <a:fontRef idx="minor">
            <a:schemeClr val="tx1"/>
          </a:fontRef>
        </p:style>
      </p:cxnSp>
      <p:sp>
        <p:nvSpPr>
          <p:cNvPr id="38" name="TextBox 37">
            <a:extLst>
              <a:ext uri="{FF2B5EF4-FFF2-40B4-BE49-F238E27FC236}">
                <a16:creationId xmlns:a16="http://schemas.microsoft.com/office/drawing/2014/main" id="{D302E27B-90B1-E547-986E-59145E79127C}"/>
              </a:ext>
            </a:extLst>
          </p:cNvPr>
          <p:cNvSpPr txBox="1"/>
          <p:nvPr/>
        </p:nvSpPr>
        <p:spPr>
          <a:xfrm>
            <a:off x="1687314" y="4185351"/>
            <a:ext cx="1333276" cy="320257"/>
          </a:xfrm>
          <a:prstGeom prst="rect">
            <a:avLst/>
          </a:prstGeom>
          <a:noFill/>
        </p:spPr>
        <p:txBody>
          <a:bodyPr wrap="square" tIns="90000" bIns="90000" rtlCol="0" anchor="t">
            <a:spAutoFit/>
          </a:bodyPr>
          <a:lstStyle/>
          <a:p>
            <a:pPr algn="just"/>
            <a:r>
              <a:rPr lang="en-US" sz="900" dirty="0">
                <a:solidFill>
                  <a:srgbClr val="C5277F"/>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Publish the message</a:t>
            </a:r>
            <a:endParaRPr lang="en-US" sz="9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endParaRPr>
          </a:p>
        </p:txBody>
      </p:sp>
      <p:cxnSp>
        <p:nvCxnSpPr>
          <p:cNvPr id="39" name="Straight Connector 38">
            <a:extLst>
              <a:ext uri="{FF2B5EF4-FFF2-40B4-BE49-F238E27FC236}">
                <a16:creationId xmlns:a16="http://schemas.microsoft.com/office/drawing/2014/main" id="{4794CDAA-D4D1-5C4A-ADB8-430F1A6D079C}"/>
              </a:ext>
            </a:extLst>
          </p:cNvPr>
          <p:cNvCxnSpPr>
            <a:cxnSpLocks/>
            <a:endCxn id="38" idx="3"/>
          </p:cNvCxnSpPr>
          <p:nvPr/>
        </p:nvCxnSpPr>
        <p:spPr>
          <a:xfrm flipH="1" flipV="1">
            <a:off x="3020590" y="4345480"/>
            <a:ext cx="5229546" cy="1595762"/>
          </a:xfrm>
          <a:prstGeom prst="line">
            <a:avLst/>
          </a:prstGeom>
          <a:ln w="12700">
            <a:solidFill>
              <a:srgbClr val="FF0000">
                <a:alpha val="50000"/>
              </a:srgbClr>
            </a:solidFill>
            <a:headEnd type="oval"/>
            <a:tailEnd type="oval"/>
          </a:ln>
        </p:spPr>
        <p:style>
          <a:lnRef idx="1">
            <a:schemeClr val="accent1"/>
          </a:lnRef>
          <a:fillRef idx="0">
            <a:schemeClr val="accent1"/>
          </a:fillRef>
          <a:effectRef idx="0">
            <a:schemeClr val="accent1"/>
          </a:effectRef>
          <a:fontRef idx="minor">
            <a:schemeClr val="tx1"/>
          </a:fontRef>
        </p:style>
      </p:cxnSp>
      <p:sp>
        <p:nvSpPr>
          <p:cNvPr id="52" name="TextBox 51">
            <a:extLst>
              <a:ext uri="{FF2B5EF4-FFF2-40B4-BE49-F238E27FC236}">
                <a16:creationId xmlns:a16="http://schemas.microsoft.com/office/drawing/2014/main" id="{F7A200BC-01D9-AA41-B87F-34D34B604068}"/>
              </a:ext>
            </a:extLst>
          </p:cNvPr>
          <p:cNvSpPr txBox="1"/>
          <p:nvPr/>
        </p:nvSpPr>
        <p:spPr>
          <a:xfrm>
            <a:off x="1687314" y="4759315"/>
            <a:ext cx="1952090" cy="458757"/>
          </a:xfrm>
          <a:prstGeom prst="rect">
            <a:avLst/>
          </a:prstGeom>
          <a:noFill/>
        </p:spPr>
        <p:txBody>
          <a:bodyPr wrap="square" tIns="90000" bIns="90000" rtlCol="0" anchor="t">
            <a:spAutoFit/>
          </a:bodyPr>
          <a:lstStyle/>
          <a:p>
            <a:pPr algn="just"/>
            <a:r>
              <a:rPr lang="en-US" sz="900" dirty="0">
                <a:solidFill>
                  <a:srgbClr val="C5277F"/>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Creates a </a:t>
            </a:r>
            <a:r>
              <a:rPr lang="en-US" sz="900" dirty="0" err="1">
                <a:solidFill>
                  <a:srgbClr val="C5277F"/>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KeyedMessage</a:t>
            </a:r>
            <a:r>
              <a:rPr lang="en-US" sz="900" dirty="0">
                <a:solidFill>
                  <a:srgbClr val="C5277F"/>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 instance</a:t>
            </a:r>
            <a:endParaRPr lang="en-US" sz="9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endParaRPr>
          </a:p>
        </p:txBody>
      </p:sp>
      <p:cxnSp>
        <p:nvCxnSpPr>
          <p:cNvPr id="53" name="Straight Connector 52">
            <a:extLst>
              <a:ext uri="{FF2B5EF4-FFF2-40B4-BE49-F238E27FC236}">
                <a16:creationId xmlns:a16="http://schemas.microsoft.com/office/drawing/2014/main" id="{D543385E-D392-304E-810E-96980141BA26}"/>
              </a:ext>
            </a:extLst>
          </p:cNvPr>
          <p:cNvCxnSpPr>
            <a:cxnSpLocks/>
            <a:endCxn id="52" idx="3"/>
          </p:cNvCxnSpPr>
          <p:nvPr/>
        </p:nvCxnSpPr>
        <p:spPr>
          <a:xfrm flipH="1" flipV="1">
            <a:off x="3639404" y="4988694"/>
            <a:ext cx="4333330" cy="1204056"/>
          </a:xfrm>
          <a:prstGeom prst="line">
            <a:avLst/>
          </a:prstGeom>
          <a:ln w="12700">
            <a:solidFill>
              <a:srgbClr val="FF0000">
                <a:alpha val="50000"/>
              </a:srgbClr>
            </a:solidFill>
            <a:headEnd type="oval"/>
            <a:tailEnd type="oval"/>
          </a:ln>
        </p:spPr>
        <p:style>
          <a:lnRef idx="1">
            <a:schemeClr val="accent1"/>
          </a:lnRef>
          <a:fillRef idx="0">
            <a:schemeClr val="accent1"/>
          </a:fillRef>
          <a:effectRef idx="0">
            <a:schemeClr val="accent1"/>
          </a:effectRef>
          <a:fontRef idx="minor">
            <a:schemeClr val="tx1"/>
          </a:fontRef>
        </p:style>
      </p:cxnSp>
      <p:grpSp>
        <p:nvGrpSpPr>
          <p:cNvPr id="61" name="Group 60">
            <a:extLst>
              <a:ext uri="{FF2B5EF4-FFF2-40B4-BE49-F238E27FC236}">
                <a16:creationId xmlns:a16="http://schemas.microsoft.com/office/drawing/2014/main" id="{93EAC618-5CF2-6245-BEEE-DACDDFA55864}"/>
              </a:ext>
            </a:extLst>
          </p:cNvPr>
          <p:cNvGrpSpPr/>
          <p:nvPr/>
        </p:nvGrpSpPr>
        <p:grpSpPr>
          <a:xfrm rot="21011211">
            <a:off x="888889" y="5917684"/>
            <a:ext cx="413266" cy="400110"/>
            <a:chOff x="713814" y="1074049"/>
            <a:chExt cx="301686" cy="456942"/>
          </a:xfrm>
        </p:grpSpPr>
        <p:sp>
          <p:nvSpPr>
            <p:cNvPr id="62" name="Google Shape;431;p39">
              <a:extLst>
                <a:ext uri="{FF2B5EF4-FFF2-40B4-BE49-F238E27FC236}">
                  <a16:creationId xmlns:a16="http://schemas.microsoft.com/office/drawing/2014/main" id="{F5792B15-6C70-3B49-A2C6-34165E9409B3}"/>
                </a:ext>
              </a:extLst>
            </p:cNvPr>
            <p:cNvSpPr/>
            <p:nvPr/>
          </p:nvSpPr>
          <p:spPr>
            <a:xfrm>
              <a:off x="736556" y="1203599"/>
              <a:ext cx="219241" cy="290724"/>
            </a:xfrm>
            <a:custGeom>
              <a:avLst/>
              <a:gdLst/>
              <a:ahLst/>
              <a:cxnLst/>
              <a:rect l="0" t="0" r="0" b="0"/>
              <a:pathLst>
                <a:path w="67641" h="69056" extrusionOk="0">
                  <a:moveTo>
                    <a:pt x="49622" y="2736"/>
                  </a:moveTo>
                  <a:lnTo>
                    <a:pt x="49622" y="2736"/>
                  </a:lnTo>
                  <a:lnTo>
                    <a:pt x="49622" y="2736"/>
                  </a:lnTo>
                  <a:close/>
                  <a:moveTo>
                    <a:pt x="59622" y="55565"/>
                  </a:moveTo>
                  <a:lnTo>
                    <a:pt x="59622" y="55565"/>
                  </a:lnTo>
                  <a:lnTo>
                    <a:pt x="59622" y="55565"/>
                  </a:lnTo>
                  <a:close/>
                  <a:moveTo>
                    <a:pt x="35471" y="0"/>
                  </a:moveTo>
                  <a:lnTo>
                    <a:pt x="34433" y="95"/>
                  </a:lnTo>
                  <a:lnTo>
                    <a:pt x="33584" y="189"/>
                  </a:lnTo>
                  <a:lnTo>
                    <a:pt x="32735" y="378"/>
                  </a:lnTo>
                  <a:lnTo>
                    <a:pt x="32169" y="566"/>
                  </a:lnTo>
                  <a:lnTo>
                    <a:pt x="31509" y="472"/>
                  </a:lnTo>
                  <a:lnTo>
                    <a:pt x="30754" y="472"/>
                  </a:lnTo>
                  <a:lnTo>
                    <a:pt x="29339" y="566"/>
                  </a:lnTo>
                  <a:lnTo>
                    <a:pt x="27830" y="849"/>
                  </a:lnTo>
                  <a:lnTo>
                    <a:pt x="26320" y="1321"/>
                  </a:lnTo>
                  <a:lnTo>
                    <a:pt x="24811" y="1981"/>
                  </a:lnTo>
                  <a:lnTo>
                    <a:pt x="23207" y="2736"/>
                  </a:lnTo>
                  <a:lnTo>
                    <a:pt x="21698" y="3585"/>
                  </a:lnTo>
                  <a:lnTo>
                    <a:pt x="20188" y="4623"/>
                  </a:lnTo>
                  <a:lnTo>
                    <a:pt x="18679" y="5661"/>
                  </a:lnTo>
                  <a:lnTo>
                    <a:pt x="17170" y="6793"/>
                  </a:lnTo>
                  <a:lnTo>
                    <a:pt x="15754" y="8019"/>
                  </a:lnTo>
                  <a:lnTo>
                    <a:pt x="14434" y="9151"/>
                  </a:lnTo>
                  <a:lnTo>
                    <a:pt x="11981" y="11510"/>
                  </a:lnTo>
                  <a:lnTo>
                    <a:pt x="10000" y="13774"/>
                  </a:lnTo>
                  <a:lnTo>
                    <a:pt x="7736" y="16981"/>
                  </a:lnTo>
                  <a:lnTo>
                    <a:pt x="8019" y="16321"/>
                  </a:lnTo>
                  <a:lnTo>
                    <a:pt x="8302" y="15660"/>
                  </a:lnTo>
                  <a:lnTo>
                    <a:pt x="7736" y="16604"/>
                  </a:lnTo>
                  <a:lnTo>
                    <a:pt x="7075" y="17642"/>
                  </a:lnTo>
                  <a:lnTo>
                    <a:pt x="7170" y="17830"/>
                  </a:lnTo>
                  <a:lnTo>
                    <a:pt x="6509" y="18868"/>
                  </a:lnTo>
                  <a:lnTo>
                    <a:pt x="7075" y="17359"/>
                  </a:lnTo>
                  <a:lnTo>
                    <a:pt x="6132" y="19057"/>
                  </a:lnTo>
                  <a:lnTo>
                    <a:pt x="5189" y="20849"/>
                  </a:lnTo>
                  <a:lnTo>
                    <a:pt x="4434" y="22736"/>
                  </a:lnTo>
                  <a:lnTo>
                    <a:pt x="3679" y="24622"/>
                  </a:lnTo>
                  <a:lnTo>
                    <a:pt x="2453" y="28490"/>
                  </a:lnTo>
                  <a:lnTo>
                    <a:pt x="1321" y="32169"/>
                  </a:lnTo>
                  <a:lnTo>
                    <a:pt x="1509" y="32264"/>
                  </a:lnTo>
                  <a:lnTo>
                    <a:pt x="1604" y="32453"/>
                  </a:lnTo>
                  <a:lnTo>
                    <a:pt x="1604" y="32641"/>
                  </a:lnTo>
                  <a:lnTo>
                    <a:pt x="1509" y="32924"/>
                  </a:lnTo>
                  <a:lnTo>
                    <a:pt x="1226" y="33396"/>
                  </a:lnTo>
                  <a:lnTo>
                    <a:pt x="1038" y="33585"/>
                  </a:lnTo>
                  <a:lnTo>
                    <a:pt x="1038" y="33773"/>
                  </a:lnTo>
                  <a:lnTo>
                    <a:pt x="1038" y="35000"/>
                  </a:lnTo>
                  <a:lnTo>
                    <a:pt x="849" y="36132"/>
                  </a:lnTo>
                  <a:lnTo>
                    <a:pt x="660" y="37358"/>
                  </a:lnTo>
                  <a:lnTo>
                    <a:pt x="472" y="38867"/>
                  </a:lnTo>
                  <a:lnTo>
                    <a:pt x="283" y="38301"/>
                  </a:lnTo>
                  <a:lnTo>
                    <a:pt x="94" y="39811"/>
                  </a:lnTo>
                  <a:lnTo>
                    <a:pt x="0" y="41509"/>
                  </a:lnTo>
                  <a:lnTo>
                    <a:pt x="94" y="43301"/>
                  </a:lnTo>
                  <a:lnTo>
                    <a:pt x="283" y="44056"/>
                  </a:lnTo>
                  <a:lnTo>
                    <a:pt x="472" y="44622"/>
                  </a:lnTo>
                  <a:lnTo>
                    <a:pt x="566" y="45660"/>
                  </a:lnTo>
                  <a:lnTo>
                    <a:pt x="755" y="46792"/>
                  </a:lnTo>
                  <a:lnTo>
                    <a:pt x="1226" y="48962"/>
                  </a:lnTo>
                  <a:lnTo>
                    <a:pt x="1981" y="51037"/>
                  </a:lnTo>
                  <a:lnTo>
                    <a:pt x="2924" y="53112"/>
                  </a:lnTo>
                  <a:lnTo>
                    <a:pt x="4057" y="55094"/>
                  </a:lnTo>
                  <a:lnTo>
                    <a:pt x="5283" y="56980"/>
                  </a:lnTo>
                  <a:lnTo>
                    <a:pt x="6698" y="58678"/>
                  </a:lnTo>
                  <a:lnTo>
                    <a:pt x="8113" y="60282"/>
                  </a:lnTo>
                  <a:lnTo>
                    <a:pt x="9056" y="61131"/>
                  </a:lnTo>
                  <a:lnTo>
                    <a:pt x="10000" y="61980"/>
                  </a:lnTo>
                  <a:lnTo>
                    <a:pt x="11038" y="62829"/>
                  </a:lnTo>
                  <a:lnTo>
                    <a:pt x="12075" y="63584"/>
                  </a:lnTo>
                  <a:lnTo>
                    <a:pt x="14339" y="64905"/>
                  </a:lnTo>
                  <a:lnTo>
                    <a:pt x="16604" y="66131"/>
                  </a:lnTo>
                  <a:lnTo>
                    <a:pt x="19056" y="67169"/>
                  </a:lnTo>
                  <a:lnTo>
                    <a:pt x="21509" y="67923"/>
                  </a:lnTo>
                  <a:lnTo>
                    <a:pt x="24056" y="68584"/>
                  </a:lnTo>
                  <a:lnTo>
                    <a:pt x="26603" y="69055"/>
                  </a:lnTo>
                  <a:lnTo>
                    <a:pt x="27830" y="69055"/>
                  </a:lnTo>
                  <a:lnTo>
                    <a:pt x="30188" y="68867"/>
                  </a:lnTo>
                  <a:lnTo>
                    <a:pt x="33113" y="68678"/>
                  </a:lnTo>
                  <a:lnTo>
                    <a:pt x="36509" y="68301"/>
                  </a:lnTo>
                  <a:lnTo>
                    <a:pt x="39811" y="67923"/>
                  </a:lnTo>
                  <a:lnTo>
                    <a:pt x="42735" y="67452"/>
                  </a:lnTo>
                  <a:lnTo>
                    <a:pt x="44905" y="66980"/>
                  </a:lnTo>
                  <a:lnTo>
                    <a:pt x="45565" y="66791"/>
                  </a:lnTo>
                  <a:lnTo>
                    <a:pt x="45943" y="66508"/>
                  </a:lnTo>
                  <a:lnTo>
                    <a:pt x="47358" y="65942"/>
                  </a:lnTo>
                  <a:lnTo>
                    <a:pt x="48018" y="65565"/>
                  </a:lnTo>
                  <a:lnTo>
                    <a:pt x="48678" y="65188"/>
                  </a:lnTo>
                  <a:lnTo>
                    <a:pt x="47924" y="65471"/>
                  </a:lnTo>
                  <a:lnTo>
                    <a:pt x="51509" y="62924"/>
                  </a:lnTo>
                  <a:lnTo>
                    <a:pt x="53301" y="61508"/>
                  </a:lnTo>
                  <a:lnTo>
                    <a:pt x="55093" y="59905"/>
                  </a:lnTo>
                  <a:lnTo>
                    <a:pt x="55093" y="59905"/>
                  </a:lnTo>
                  <a:lnTo>
                    <a:pt x="54810" y="60376"/>
                  </a:lnTo>
                  <a:lnTo>
                    <a:pt x="54339" y="60754"/>
                  </a:lnTo>
                  <a:lnTo>
                    <a:pt x="55376" y="59999"/>
                  </a:lnTo>
                  <a:lnTo>
                    <a:pt x="56320" y="59056"/>
                  </a:lnTo>
                  <a:lnTo>
                    <a:pt x="57075" y="58395"/>
                  </a:lnTo>
                  <a:lnTo>
                    <a:pt x="57169" y="58207"/>
                  </a:lnTo>
                  <a:lnTo>
                    <a:pt x="57075" y="58207"/>
                  </a:lnTo>
                  <a:lnTo>
                    <a:pt x="57924" y="57546"/>
                  </a:lnTo>
                  <a:lnTo>
                    <a:pt x="58678" y="56697"/>
                  </a:lnTo>
                  <a:lnTo>
                    <a:pt x="59339" y="55754"/>
                  </a:lnTo>
                  <a:lnTo>
                    <a:pt x="59905" y="54905"/>
                  </a:lnTo>
                  <a:lnTo>
                    <a:pt x="59716" y="54999"/>
                  </a:lnTo>
                  <a:lnTo>
                    <a:pt x="59622" y="54999"/>
                  </a:lnTo>
                  <a:lnTo>
                    <a:pt x="59810" y="54622"/>
                  </a:lnTo>
                  <a:lnTo>
                    <a:pt x="59150" y="55565"/>
                  </a:lnTo>
                  <a:lnTo>
                    <a:pt x="59527" y="55094"/>
                  </a:lnTo>
                  <a:lnTo>
                    <a:pt x="59433" y="55377"/>
                  </a:lnTo>
                  <a:lnTo>
                    <a:pt x="58867" y="56037"/>
                  </a:lnTo>
                  <a:lnTo>
                    <a:pt x="59056" y="55660"/>
                  </a:lnTo>
                  <a:lnTo>
                    <a:pt x="59056" y="55660"/>
                  </a:lnTo>
                  <a:lnTo>
                    <a:pt x="58678" y="56037"/>
                  </a:lnTo>
                  <a:lnTo>
                    <a:pt x="59810" y="54339"/>
                  </a:lnTo>
                  <a:lnTo>
                    <a:pt x="60282" y="53490"/>
                  </a:lnTo>
                  <a:lnTo>
                    <a:pt x="60282" y="53301"/>
                  </a:lnTo>
                  <a:lnTo>
                    <a:pt x="60188" y="53395"/>
                  </a:lnTo>
                  <a:lnTo>
                    <a:pt x="60188" y="53395"/>
                  </a:lnTo>
                  <a:lnTo>
                    <a:pt x="60565" y="52924"/>
                  </a:lnTo>
                  <a:lnTo>
                    <a:pt x="61037" y="52452"/>
                  </a:lnTo>
                  <a:lnTo>
                    <a:pt x="61886" y="51509"/>
                  </a:lnTo>
                  <a:lnTo>
                    <a:pt x="61508" y="52452"/>
                  </a:lnTo>
                  <a:lnTo>
                    <a:pt x="60848" y="53584"/>
                  </a:lnTo>
                  <a:lnTo>
                    <a:pt x="59622" y="55565"/>
                  </a:lnTo>
                  <a:lnTo>
                    <a:pt x="60376" y="54528"/>
                  </a:lnTo>
                  <a:lnTo>
                    <a:pt x="60942" y="53678"/>
                  </a:lnTo>
                  <a:lnTo>
                    <a:pt x="61980" y="51792"/>
                  </a:lnTo>
                  <a:lnTo>
                    <a:pt x="61886" y="51886"/>
                  </a:lnTo>
                  <a:lnTo>
                    <a:pt x="61886" y="51697"/>
                  </a:lnTo>
                  <a:lnTo>
                    <a:pt x="62169" y="51037"/>
                  </a:lnTo>
                  <a:lnTo>
                    <a:pt x="62735" y="49999"/>
                  </a:lnTo>
                  <a:lnTo>
                    <a:pt x="61508" y="51603"/>
                  </a:lnTo>
                  <a:lnTo>
                    <a:pt x="61603" y="51037"/>
                  </a:lnTo>
                  <a:lnTo>
                    <a:pt x="61697" y="50377"/>
                  </a:lnTo>
                  <a:lnTo>
                    <a:pt x="62169" y="48962"/>
                  </a:lnTo>
                  <a:lnTo>
                    <a:pt x="62829" y="47358"/>
                  </a:lnTo>
                  <a:lnTo>
                    <a:pt x="63678" y="45565"/>
                  </a:lnTo>
                  <a:lnTo>
                    <a:pt x="65376" y="42169"/>
                  </a:lnTo>
                  <a:lnTo>
                    <a:pt x="66131" y="40660"/>
                  </a:lnTo>
                  <a:lnTo>
                    <a:pt x="66697" y="39339"/>
                  </a:lnTo>
                  <a:lnTo>
                    <a:pt x="66603" y="39528"/>
                  </a:lnTo>
                  <a:lnTo>
                    <a:pt x="66697" y="39056"/>
                  </a:lnTo>
                  <a:lnTo>
                    <a:pt x="66791" y="38962"/>
                  </a:lnTo>
                  <a:lnTo>
                    <a:pt x="66791" y="39056"/>
                  </a:lnTo>
                  <a:lnTo>
                    <a:pt x="66886" y="38584"/>
                  </a:lnTo>
                  <a:lnTo>
                    <a:pt x="66791" y="38867"/>
                  </a:lnTo>
                  <a:lnTo>
                    <a:pt x="66980" y="38207"/>
                  </a:lnTo>
                  <a:lnTo>
                    <a:pt x="67169" y="37264"/>
                  </a:lnTo>
                  <a:lnTo>
                    <a:pt x="67263" y="36415"/>
                  </a:lnTo>
                  <a:lnTo>
                    <a:pt x="67357" y="36509"/>
                  </a:lnTo>
                  <a:lnTo>
                    <a:pt x="67452" y="36509"/>
                  </a:lnTo>
                  <a:lnTo>
                    <a:pt x="67546" y="35943"/>
                  </a:lnTo>
                  <a:lnTo>
                    <a:pt x="67546" y="34811"/>
                  </a:lnTo>
                  <a:lnTo>
                    <a:pt x="67640" y="31037"/>
                  </a:lnTo>
                  <a:lnTo>
                    <a:pt x="67640" y="28490"/>
                  </a:lnTo>
                  <a:lnTo>
                    <a:pt x="67546" y="27736"/>
                  </a:lnTo>
                  <a:lnTo>
                    <a:pt x="67546" y="27547"/>
                  </a:lnTo>
                  <a:lnTo>
                    <a:pt x="67452" y="27547"/>
                  </a:lnTo>
                  <a:lnTo>
                    <a:pt x="67074" y="26792"/>
                  </a:lnTo>
                  <a:lnTo>
                    <a:pt x="66791" y="25660"/>
                  </a:lnTo>
                  <a:lnTo>
                    <a:pt x="66508" y="24528"/>
                  </a:lnTo>
                  <a:lnTo>
                    <a:pt x="66414" y="23585"/>
                  </a:lnTo>
                  <a:lnTo>
                    <a:pt x="66320" y="23679"/>
                  </a:lnTo>
                  <a:lnTo>
                    <a:pt x="66320" y="23490"/>
                  </a:lnTo>
                  <a:lnTo>
                    <a:pt x="65942" y="22924"/>
                  </a:lnTo>
                  <a:lnTo>
                    <a:pt x="65565" y="22358"/>
                  </a:lnTo>
                  <a:lnTo>
                    <a:pt x="64527" y="21132"/>
                  </a:lnTo>
                  <a:lnTo>
                    <a:pt x="63584" y="19906"/>
                  </a:lnTo>
                  <a:lnTo>
                    <a:pt x="63207" y="19340"/>
                  </a:lnTo>
                  <a:lnTo>
                    <a:pt x="63018" y="18774"/>
                  </a:lnTo>
                  <a:lnTo>
                    <a:pt x="63112" y="18962"/>
                  </a:lnTo>
                  <a:lnTo>
                    <a:pt x="63301" y="19057"/>
                  </a:lnTo>
                  <a:lnTo>
                    <a:pt x="63301" y="19057"/>
                  </a:lnTo>
                  <a:lnTo>
                    <a:pt x="63207" y="18868"/>
                  </a:lnTo>
                  <a:lnTo>
                    <a:pt x="62923" y="18491"/>
                  </a:lnTo>
                  <a:lnTo>
                    <a:pt x="61980" y="17453"/>
                  </a:lnTo>
                  <a:lnTo>
                    <a:pt x="61037" y="16509"/>
                  </a:lnTo>
                  <a:lnTo>
                    <a:pt x="61037" y="16698"/>
                  </a:lnTo>
                  <a:lnTo>
                    <a:pt x="61037" y="16887"/>
                  </a:lnTo>
                  <a:lnTo>
                    <a:pt x="60093" y="15943"/>
                  </a:lnTo>
                  <a:lnTo>
                    <a:pt x="60376" y="16321"/>
                  </a:lnTo>
                  <a:lnTo>
                    <a:pt x="59527" y="15377"/>
                  </a:lnTo>
                  <a:lnTo>
                    <a:pt x="59056" y="14906"/>
                  </a:lnTo>
                  <a:lnTo>
                    <a:pt x="59244" y="14906"/>
                  </a:lnTo>
                  <a:lnTo>
                    <a:pt x="59905" y="15472"/>
                  </a:lnTo>
                  <a:lnTo>
                    <a:pt x="59905" y="15472"/>
                  </a:lnTo>
                  <a:lnTo>
                    <a:pt x="57641" y="13396"/>
                  </a:lnTo>
                  <a:lnTo>
                    <a:pt x="58112" y="13868"/>
                  </a:lnTo>
                  <a:lnTo>
                    <a:pt x="56886" y="13019"/>
                  </a:lnTo>
                  <a:lnTo>
                    <a:pt x="55754" y="12453"/>
                  </a:lnTo>
                  <a:lnTo>
                    <a:pt x="56603" y="13113"/>
                  </a:lnTo>
                  <a:lnTo>
                    <a:pt x="57452" y="13774"/>
                  </a:lnTo>
                  <a:lnTo>
                    <a:pt x="58961" y="15283"/>
                  </a:lnTo>
                  <a:lnTo>
                    <a:pt x="60376" y="16604"/>
                  </a:lnTo>
                  <a:lnTo>
                    <a:pt x="61225" y="17264"/>
                  </a:lnTo>
                  <a:lnTo>
                    <a:pt x="62074" y="17925"/>
                  </a:lnTo>
                  <a:lnTo>
                    <a:pt x="62074" y="17925"/>
                  </a:lnTo>
                  <a:lnTo>
                    <a:pt x="61414" y="17547"/>
                  </a:lnTo>
                  <a:lnTo>
                    <a:pt x="60659" y="16981"/>
                  </a:lnTo>
                  <a:lnTo>
                    <a:pt x="60754" y="17264"/>
                  </a:lnTo>
                  <a:lnTo>
                    <a:pt x="60942" y="17642"/>
                  </a:lnTo>
                  <a:lnTo>
                    <a:pt x="61980" y="19151"/>
                  </a:lnTo>
                  <a:lnTo>
                    <a:pt x="63301" y="20943"/>
                  </a:lnTo>
                  <a:lnTo>
                    <a:pt x="63207" y="20943"/>
                  </a:lnTo>
                  <a:lnTo>
                    <a:pt x="63395" y="21038"/>
                  </a:lnTo>
                  <a:lnTo>
                    <a:pt x="63490" y="21321"/>
                  </a:lnTo>
                  <a:lnTo>
                    <a:pt x="63678" y="21604"/>
                  </a:lnTo>
                  <a:lnTo>
                    <a:pt x="63773" y="21698"/>
                  </a:lnTo>
                  <a:lnTo>
                    <a:pt x="63584" y="21321"/>
                  </a:lnTo>
                  <a:lnTo>
                    <a:pt x="63584" y="21321"/>
                  </a:lnTo>
                  <a:lnTo>
                    <a:pt x="64244" y="22170"/>
                  </a:lnTo>
                  <a:lnTo>
                    <a:pt x="64716" y="22641"/>
                  </a:lnTo>
                  <a:lnTo>
                    <a:pt x="64905" y="22830"/>
                  </a:lnTo>
                  <a:lnTo>
                    <a:pt x="64999" y="22830"/>
                  </a:lnTo>
                  <a:lnTo>
                    <a:pt x="64999" y="22641"/>
                  </a:lnTo>
                  <a:lnTo>
                    <a:pt x="64905" y="22358"/>
                  </a:lnTo>
                  <a:lnTo>
                    <a:pt x="65282" y="23207"/>
                  </a:lnTo>
                  <a:lnTo>
                    <a:pt x="65565" y="24056"/>
                  </a:lnTo>
                  <a:lnTo>
                    <a:pt x="66225" y="25943"/>
                  </a:lnTo>
                  <a:lnTo>
                    <a:pt x="66697" y="27830"/>
                  </a:lnTo>
                  <a:lnTo>
                    <a:pt x="66886" y="28490"/>
                  </a:lnTo>
                  <a:lnTo>
                    <a:pt x="66980" y="28868"/>
                  </a:lnTo>
                  <a:lnTo>
                    <a:pt x="66886" y="28962"/>
                  </a:lnTo>
                  <a:lnTo>
                    <a:pt x="66697" y="28679"/>
                  </a:lnTo>
                  <a:lnTo>
                    <a:pt x="66697" y="29245"/>
                  </a:lnTo>
                  <a:lnTo>
                    <a:pt x="66791" y="29905"/>
                  </a:lnTo>
                  <a:lnTo>
                    <a:pt x="66886" y="29905"/>
                  </a:lnTo>
                  <a:lnTo>
                    <a:pt x="66886" y="30094"/>
                  </a:lnTo>
                  <a:lnTo>
                    <a:pt x="66886" y="30566"/>
                  </a:lnTo>
                  <a:lnTo>
                    <a:pt x="66697" y="30377"/>
                  </a:lnTo>
                  <a:lnTo>
                    <a:pt x="66603" y="30188"/>
                  </a:lnTo>
                  <a:lnTo>
                    <a:pt x="66603" y="30094"/>
                  </a:lnTo>
                  <a:lnTo>
                    <a:pt x="66697" y="29905"/>
                  </a:lnTo>
                  <a:lnTo>
                    <a:pt x="66508" y="28679"/>
                  </a:lnTo>
                  <a:lnTo>
                    <a:pt x="66225" y="27358"/>
                  </a:lnTo>
                  <a:lnTo>
                    <a:pt x="66603" y="30283"/>
                  </a:lnTo>
                  <a:lnTo>
                    <a:pt x="66697" y="31792"/>
                  </a:lnTo>
                  <a:lnTo>
                    <a:pt x="66697" y="33302"/>
                  </a:lnTo>
                  <a:lnTo>
                    <a:pt x="66603" y="34717"/>
                  </a:lnTo>
                  <a:lnTo>
                    <a:pt x="66414" y="36226"/>
                  </a:lnTo>
                  <a:lnTo>
                    <a:pt x="66131" y="37547"/>
                  </a:lnTo>
                  <a:lnTo>
                    <a:pt x="65659" y="38962"/>
                  </a:lnTo>
                  <a:lnTo>
                    <a:pt x="65848" y="38584"/>
                  </a:lnTo>
                  <a:lnTo>
                    <a:pt x="65942" y="38584"/>
                  </a:lnTo>
                  <a:lnTo>
                    <a:pt x="65848" y="39245"/>
                  </a:lnTo>
                  <a:lnTo>
                    <a:pt x="65565" y="40188"/>
                  </a:lnTo>
                  <a:lnTo>
                    <a:pt x="65471" y="40471"/>
                  </a:lnTo>
                  <a:lnTo>
                    <a:pt x="65282" y="40660"/>
                  </a:lnTo>
                  <a:lnTo>
                    <a:pt x="65282" y="40566"/>
                  </a:lnTo>
                  <a:lnTo>
                    <a:pt x="65093" y="41132"/>
                  </a:lnTo>
                  <a:lnTo>
                    <a:pt x="64433" y="43018"/>
                  </a:lnTo>
                  <a:lnTo>
                    <a:pt x="63678" y="45282"/>
                  </a:lnTo>
                  <a:lnTo>
                    <a:pt x="62735" y="47264"/>
                  </a:lnTo>
                  <a:lnTo>
                    <a:pt x="61697" y="49056"/>
                  </a:lnTo>
                  <a:lnTo>
                    <a:pt x="60659" y="50943"/>
                  </a:lnTo>
                  <a:lnTo>
                    <a:pt x="59433" y="52735"/>
                  </a:lnTo>
                  <a:lnTo>
                    <a:pt x="58207" y="54433"/>
                  </a:lnTo>
                  <a:lnTo>
                    <a:pt x="56886" y="56037"/>
                  </a:lnTo>
                  <a:lnTo>
                    <a:pt x="55376" y="57641"/>
                  </a:lnTo>
                  <a:lnTo>
                    <a:pt x="53867" y="59150"/>
                  </a:lnTo>
                  <a:lnTo>
                    <a:pt x="52169" y="60376"/>
                  </a:lnTo>
                  <a:lnTo>
                    <a:pt x="48961" y="62452"/>
                  </a:lnTo>
                  <a:lnTo>
                    <a:pt x="44528" y="65282"/>
                  </a:lnTo>
                  <a:lnTo>
                    <a:pt x="44622" y="65188"/>
                  </a:lnTo>
                  <a:lnTo>
                    <a:pt x="44716" y="65093"/>
                  </a:lnTo>
                  <a:lnTo>
                    <a:pt x="45094" y="64810"/>
                  </a:lnTo>
                  <a:lnTo>
                    <a:pt x="45660" y="64527"/>
                  </a:lnTo>
                  <a:lnTo>
                    <a:pt x="43867" y="65376"/>
                  </a:lnTo>
                  <a:lnTo>
                    <a:pt x="43113" y="65754"/>
                  </a:lnTo>
                  <a:lnTo>
                    <a:pt x="42924" y="65754"/>
                  </a:lnTo>
                  <a:lnTo>
                    <a:pt x="43113" y="65659"/>
                  </a:lnTo>
                  <a:lnTo>
                    <a:pt x="41603" y="66037"/>
                  </a:lnTo>
                  <a:lnTo>
                    <a:pt x="39999" y="66320"/>
                  </a:lnTo>
                  <a:lnTo>
                    <a:pt x="38396" y="66508"/>
                  </a:lnTo>
                  <a:lnTo>
                    <a:pt x="36792" y="66697"/>
                  </a:lnTo>
                  <a:lnTo>
                    <a:pt x="33584" y="66980"/>
                  </a:lnTo>
                  <a:lnTo>
                    <a:pt x="32169" y="67169"/>
                  </a:lnTo>
                  <a:lnTo>
                    <a:pt x="30754" y="67357"/>
                  </a:lnTo>
                  <a:lnTo>
                    <a:pt x="30094" y="67357"/>
                  </a:lnTo>
                  <a:lnTo>
                    <a:pt x="29339" y="67263"/>
                  </a:lnTo>
                  <a:lnTo>
                    <a:pt x="27830" y="66886"/>
                  </a:lnTo>
                  <a:lnTo>
                    <a:pt x="26415" y="66508"/>
                  </a:lnTo>
                  <a:lnTo>
                    <a:pt x="25754" y="66414"/>
                  </a:lnTo>
                  <a:lnTo>
                    <a:pt x="25094" y="66414"/>
                  </a:lnTo>
                  <a:lnTo>
                    <a:pt x="25566" y="66980"/>
                  </a:lnTo>
                  <a:lnTo>
                    <a:pt x="25471" y="67074"/>
                  </a:lnTo>
                  <a:lnTo>
                    <a:pt x="25188" y="66980"/>
                  </a:lnTo>
                  <a:lnTo>
                    <a:pt x="24339" y="66791"/>
                  </a:lnTo>
                  <a:lnTo>
                    <a:pt x="23773" y="66508"/>
                  </a:lnTo>
                  <a:lnTo>
                    <a:pt x="24245" y="66414"/>
                  </a:lnTo>
                  <a:lnTo>
                    <a:pt x="24717" y="66603"/>
                  </a:lnTo>
                  <a:lnTo>
                    <a:pt x="24811" y="66414"/>
                  </a:lnTo>
                  <a:lnTo>
                    <a:pt x="24811" y="66320"/>
                  </a:lnTo>
                  <a:lnTo>
                    <a:pt x="24717" y="66225"/>
                  </a:lnTo>
                  <a:lnTo>
                    <a:pt x="24528" y="66131"/>
                  </a:lnTo>
                  <a:lnTo>
                    <a:pt x="24151" y="66225"/>
                  </a:lnTo>
                  <a:lnTo>
                    <a:pt x="23679" y="66320"/>
                  </a:lnTo>
                  <a:lnTo>
                    <a:pt x="23018" y="66414"/>
                  </a:lnTo>
                  <a:lnTo>
                    <a:pt x="23490" y="66225"/>
                  </a:lnTo>
                  <a:lnTo>
                    <a:pt x="22075" y="65942"/>
                  </a:lnTo>
                  <a:lnTo>
                    <a:pt x="20943" y="65659"/>
                  </a:lnTo>
                  <a:lnTo>
                    <a:pt x="20000" y="65282"/>
                  </a:lnTo>
                  <a:lnTo>
                    <a:pt x="19056" y="64810"/>
                  </a:lnTo>
                  <a:lnTo>
                    <a:pt x="19056" y="64810"/>
                  </a:lnTo>
                  <a:lnTo>
                    <a:pt x="19717" y="64999"/>
                  </a:lnTo>
                  <a:lnTo>
                    <a:pt x="19151" y="64716"/>
                  </a:lnTo>
                  <a:lnTo>
                    <a:pt x="18962" y="64810"/>
                  </a:lnTo>
                  <a:lnTo>
                    <a:pt x="19151" y="64905"/>
                  </a:lnTo>
                  <a:lnTo>
                    <a:pt x="18490" y="64905"/>
                  </a:lnTo>
                  <a:lnTo>
                    <a:pt x="17830" y="64716"/>
                  </a:lnTo>
                  <a:lnTo>
                    <a:pt x="17264" y="64527"/>
                  </a:lnTo>
                  <a:lnTo>
                    <a:pt x="16698" y="64150"/>
                  </a:lnTo>
                  <a:lnTo>
                    <a:pt x="16981" y="64056"/>
                  </a:lnTo>
                  <a:lnTo>
                    <a:pt x="17264" y="64150"/>
                  </a:lnTo>
                  <a:lnTo>
                    <a:pt x="17264" y="64150"/>
                  </a:lnTo>
                  <a:lnTo>
                    <a:pt x="15188" y="63207"/>
                  </a:lnTo>
                  <a:lnTo>
                    <a:pt x="14622" y="62829"/>
                  </a:lnTo>
                  <a:lnTo>
                    <a:pt x="14717" y="62924"/>
                  </a:lnTo>
                  <a:lnTo>
                    <a:pt x="13773" y="62546"/>
                  </a:lnTo>
                  <a:lnTo>
                    <a:pt x="12924" y="62075"/>
                  </a:lnTo>
                  <a:lnTo>
                    <a:pt x="12358" y="61697"/>
                  </a:lnTo>
                  <a:lnTo>
                    <a:pt x="12264" y="61508"/>
                  </a:lnTo>
                  <a:lnTo>
                    <a:pt x="12170" y="61320"/>
                  </a:lnTo>
                  <a:lnTo>
                    <a:pt x="11698" y="60942"/>
                  </a:lnTo>
                  <a:lnTo>
                    <a:pt x="11132" y="60471"/>
                  </a:lnTo>
                  <a:lnTo>
                    <a:pt x="9906" y="59244"/>
                  </a:lnTo>
                  <a:lnTo>
                    <a:pt x="9906" y="59244"/>
                  </a:lnTo>
                  <a:lnTo>
                    <a:pt x="10566" y="59527"/>
                  </a:lnTo>
                  <a:lnTo>
                    <a:pt x="9434" y="58584"/>
                  </a:lnTo>
                  <a:lnTo>
                    <a:pt x="8207" y="57546"/>
                  </a:lnTo>
                  <a:lnTo>
                    <a:pt x="7547" y="56886"/>
                  </a:lnTo>
                  <a:lnTo>
                    <a:pt x="6981" y="56131"/>
                  </a:lnTo>
                  <a:lnTo>
                    <a:pt x="6226" y="55094"/>
                  </a:lnTo>
                  <a:lnTo>
                    <a:pt x="6415" y="55377"/>
                  </a:lnTo>
                  <a:lnTo>
                    <a:pt x="6038" y="54905"/>
                  </a:lnTo>
                  <a:lnTo>
                    <a:pt x="5472" y="54244"/>
                  </a:lnTo>
                  <a:lnTo>
                    <a:pt x="5283" y="53961"/>
                  </a:lnTo>
                  <a:lnTo>
                    <a:pt x="5094" y="53867"/>
                  </a:lnTo>
                  <a:lnTo>
                    <a:pt x="5377" y="54622"/>
                  </a:lnTo>
                  <a:lnTo>
                    <a:pt x="5849" y="55282"/>
                  </a:lnTo>
                  <a:lnTo>
                    <a:pt x="6321" y="55943"/>
                  </a:lnTo>
                  <a:lnTo>
                    <a:pt x="6698" y="56603"/>
                  </a:lnTo>
                  <a:lnTo>
                    <a:pt x="6226" y="56226"/>
                  </a:lnTo>
                  <a:lnTo>
                    <a:pt x="5943" y="55848"/>
                  </a:lnTo>
                  <a:lnTo>
                    <a:pt x="6038" y="56037"/>
                  </a:lnTo>
                  <a:lnTo>
                    <a:pt x="5943" y="55943"/>
                  </a:lnTo>
                  <a:lnTo>
                    <a:pt x="5377" y="55188"/>
                  </a:lnTo>
                  <a:lnTo>
                    <a:pt x="5000" y="54716"/>
                  </a:lnTo>
                  <a:lnTo>
                    <a:pt x="4717" y="54150"/>
                  </a:lnTo>
                  <a:lnTo>
                    <a:pt x="4528" y="53678"/>
                  </a:lnTo>
                  <a:lnTo>
                    <a:pt x="4528" y="53584"/>
                  </a:lnTo>
                  <a:lnTo>
                    <a:pt x="4623" y="53395"/>
                  </a:lnTo>
                  <a:lnTo>
                    <a:pt x="5094" y="54244"/>
                  </a:lnTo>
                  <a:lnTo>
                    <a:pt x="4717" y="53301"/>
                  </a:lnTo>
                  <a:lnTo>
                    <a:pt x="4528" y="53018"/>
                  </a:lnTo>
                  <a:lnTo>
                    <a:pt x="4151" y="52263"/>
                  </a:lnTo>
                  <a:lnTo>
                    <a:pt x="4151" y="52169"/>
                  </a:lnTo>
                  <a:lnTo>
                    <a:pt x="3774" y="51509"/>
                  </a:lnTo>
                  <a:lnTo>
                    <a:pt x="3396" y="50660"/>
                  </a:lnTo>
                  <a:lnTo>
                    <a:pt x="3585" y="51603"/>
                  </a:lnTo>
                  <a:lnTo>
                    <a:pt x="3396" y="51226"/>
                  </a:lnTo>
                  <a:lnTo>
                    <a:pt x="3208" y="50848"/>
                  </a:lnTo>
                  <a:lnTo>
                    <a:pt x="3208" y="50471"/>
                  </a:lnTo>
                  <a:lnTo>
                    <a:pt x="3208" y="50094"/>
                  </a:lnTo>
                  <a:lnTo>
                    <a:pt x="3585" y="50754"/>
                  </a:lnTo>
                  <a:lnTo>
                    <a:pt x="3868" y="51509"/>
                  </a:lnTo>
                  <a:lnTo>
                    <a:pt x="3868" y="51509"/>
                  </a:lnTo>
                  <a:lnTo>
                    <a:pt x="3208" y="49528"/>
                  </a:lnTo>
                  <a:lnTo>
                    <a:pt x="3208" y="49528"/>
                  </a:lnTo>
                  <a:lnTo>
                    <a:pt x="3868" y="50754"/>
                  </a:lnTo>
                  <a:lnTo>
                    <a:pt x="3208" y="48962"/>
                  </a:lnTo>
                  <a:lnTo>
                    <a:pt x="3585" y="49339"/>
                  </a:lnTo>
                  <a:lnTo>
                    <a:pt x="3774" y="49433"/>
                  </a:lnTo>
                  <a:lnTo>
                    <a:pt x="3962" y="49528"/>
                  </a:lnTo>
                  <a:lnTo>
                    <a:pt x="4057" y="49905"/>
                  </a:lnTo>
                  <a:lnTo>
                    <a:pt x="3868" y="48962"/>
                  </a:lnTo>
                  <a:lnTo>
                    <a:pt x="3491" y="47924"/>
                  </a:lnTo>
                  <a:lnTo>
                    <a:pt x="2641" y="45565"/>
                  </a:lnTo>
                  <a:lnTo>
                    <a:pt x="2170" y="43867"/>
                  </a:lnTo>
                  <a:lnTo>
                    <a:pt x="1698" y="41886"/>
                  </a:lnTo>
                  <a:lnTo>
                    <a:pt x="1698" y="41886"/>
                  </a:lnTo>
                  <a:lnTo>
                    <a:pt x="1887" y="42075"/>
                  </a:lnTo>
                  <a:lnTo>
                    <a:pt x="1981" y="41981"/>
                  </a:lnTo>
                  <a:lnTo>
                    <a:pt x="2075" y="42075"/>
                  </a:lnTo>
                  <a:lnTo>
                    <a:pt x="2264" y="42169"/>
                  </a:lnTo>
                  <a:lnTo>
                    <a:pt x="2170" y="40283"/>
                  </a:lnTo>
                  <a:lnTo>
                    <a:pt x="2075" y="38301"/>
                  </a:lnTo>
                  <a:lnTo>
                    <a:pt x="2170" y="36415"/>
                  </a:lnTo>
                  <a:lnTo>
                    <a:pt x="2358" y="35566"/>
                  </a:lnTo>
                  <a:lnTo>
                    <a:pt x="2453" y="34811"/>
                  </a:lnTo>
                  <a:lnTo>
                    <a:pt x="2830" y="32830"/>
                  </a:lnTo>
                  <a:lnTo>
                    <a:pt x="2830" y="33207"/>
                  </a:lnTo>
                  <a:lnTo>
                    <a:pt x="2924" y="33490"/>
                  </a:lnTo>
                  <a:lnTo>
                    <a:pt x="2924" y="32453"/>
                  </a:lnTo>
                  <a:lnTo>
                    <a:pt x="3019" y="31415"/>
                  </a:lnTo>
                  <a:lnTo>
                    <a:pt x="3396" y="29245"/>
                  </a:lnTo>
                  <a:lnTo>
                    <a:pt x="3868" y="27075"/>
                  </a:lnTo>
                  <a:lnTo>
                    <a:pt x="4623" y="25000"/>
                  </a:lnTo>
                  <a:lnTo>
                    <a:pt x="5566" y="22830"/>
                  </a:lnTo>
                  <a:lnTo>
                    <a:pt x="6604" y="20849"/>
                  </a:lnTo>
                  <a:lnTo>
                    <a:pt x="7830" y="18868"/>
                  </a:lnTo>
                  <a:lnTo>
                    <a:pt x="9151" y="16887"/>
                  </a:lnTo>
                  <a:lnTo>
                    <a:pt x="10566" y="15094"/>
                  </a:lnTo>
                  <a:lnTo>
                    <a:pt x="12075" y="13302"/>
                  </a:lnTo>
                  <a:lnTo>
                    <a:pt x="13773" y="11698"/>
                  </a:lnTo>
                  <a:lnTo>
                    <a:pt x="15377" y="10095"/>
                  </a:lnTo>
                  <a:lnTo>
                    <a:pt x="17170" y="8679"/>
                  </a:lnTo>
                  <a:lnTo>
                    <a:pt x="18962" y="7453"/>
                  </a:lnTo>
                  <a:lnTo>
                    <a:pt x="20754" y="6321"/>
                  </a:lnTo>
                  <a:lnTo>
                    <a:pt x="22547" y="5378"/>
                  </a:lnTo>
                  <a:lnTo>
                    <a:pt x="21603" y="6227"/>
                  </a:lnTo>
                  <a:lnTo>
                    <a:pt x="22641" y="5472"/>
                  </a:lnTo>
                  <a:lnTo>
                    <a:pt x="23302" y="5095"/>
                  </a:lnTo>
                  <a:lnTo>
                    <a:pt x="25377" y="4151"/>
                  </a:lnTo>
                  <a:lnTo>
                    <a:pt x="24811" y="4151"/>
                  </a:lnTo>
                  <a:lnTo>
                    <a:pt x="25660" y="3774"/>
                  </a:lnTo>
                  <a:lnTo>
                    <a:pt x="26886" y="3208"/>
                  </a:lnTo>
                  <a:lnTo>
                    <a:pt x="26603" y="3585"/>
                  </a:lnTo>
                  <a:lnTo>
                    <a:pt x="26886" y="3585"/>
                  </a:lnTo>
                  <a:lnTo>
                    <a:pt x="26886" y="3680"/>
                  </a:lnTo>
                  <a:lnTo>
                    <a:pt x="26792" y="3774"/>
                  </a:lnTo>
                  <a:lnTo>
                    <a:pt x="28301" y="3302"/>
                  </a:lnTo>
                  <a:lnTo>
                    <a:pt x="29622" y="2736"/>
                  </a:lnTo>
                  <a:lnTo>
                    <a:pt x="31037" y="2264"/>
                  </a:lnTo>
                  <a:lnTo>
                    <a:pt x="31792" y="2076"/>
                  </a:lnTo>
                  <a:lnTo>
                    <a:pt x="32641" y="1981"/>
                  </a:lnTo>
                  <a:lnTo>
                    <a:pt x="32547" y="2076"/>
                  </a:lnTo>
                  <a:lnTo>
                    <a:pt x="32924" y="1981"/>
                  </a:lnTo>
                  <a:lnTo>
                    <a:pt x="34245" y="1793"/>
                  </a:lnTo>
                  <a:lnTo>
                    <a:pt x="35848" y="1415"/>
                  </a:lnTo>
                  <a:lnTo>
                    <a:pt x="36981" y="1132"/>
                  </a:lnTo>
                  <a:lnTo>
                    <a:pt x="36981" y="1415"/>
                  </a:lnTo>
                  <a:lnTo>
                    <a:pt x="40943" y="1227"/>
                  </a:lnTo>
                  <a:lnTo>
                    <a:pt x="41509" y="1038"/>
                  </a:lnTo>
                  <a:lnTo>
                    <a:pt x="41697" y="1132"/>
                  </a:lnTo>
                  <a:lnTo>
                    <a:pt x="41509" y="1227"/>
                  </a:lnTo>
                  <a:lnTo>
                    <a:pt x="41320" y="1321"/>
                  </a:lnTo>
                  <a:lnTo>
                    <a:pt x="42263" y="1321"/>
                  </a:lnTo>
                  <a:lnTo>
                    <a:pt x="43113" y="1227"/>
                  </a:lnTo>
                  <a:lnTo>
                    <a:pt x="43396" y="1415"/>
                  </a:lnTo>
                  <a:lnTo>
                    <a:pt x="44056" y="1604"/>
                  </a:lnTo>
                  <a:lnTo>
                    <a:pt x="45943" y="2076"/>
                  </a:lnTo>
                  <a:lnTo>
                    <a:pt x="48018" y="2359"/>
                  </a:lnTo>
                  <a:lnTo>
                    <a:pt x="49622" y="2736"/>
                  </a:lnTo>
                  <a:lnTo>
                    <a:pt x="47641" y="1981"/>
                  </a:lnTo>
                  <a:lnTo>
                    <a:pt x="45282" y="1321"/>
                  </a:lnTo>
                  <a:lnTo>
                    <a:pt x="42735" y="755"/>
                  </a:lnTo>
                  <a:lnTo>
                    <a:pt x="40188" y="283"/>
                  </a:lnTo>
                  <a:lnTo>
                    <a:pt x="37735" y="95"/>
                  </a:lnTo>
                  <a:lnTo>
                    <a:pt x="35471" y="0"/>
                  </a:lnTo>
                  <a:close/>
                </a:path>
              </a:pathLst>
            </a:custGeom>
            <a:solidFill>
              <a:srgbClr val="FF0000"/>
            </a:solidFill>
            <a:ln>
              <a:noFill/>
            </a:ln>
          </p:spPr>
          <p:txBody>
            <a:bodyPr spcFirstLastPara="1" wrap="square" lIns="91425" tIns="91425" rIns="91425" bIns="91425" anchor="ctr" anchorCtr="0">
              <a:noAutofit/>
            </a:bodyPr>
            <a:lstStyle/>
            <a:p>
              <a:pPr marL="0" lvl="0" indent="0">
                <a:spcBef>
                  <a:spcPts val="0"/>
                </a:spcBef>
                <a:spcAft>
                  <a:spcPts val="0"/>
                </a:spcAft>
                <a:buNone/>
              </a:pPr>
              <a:endParaRPr sz="1200" dirty="0"/>
            </a:p>
          </p:txBody>
        </p:sp>
        <p:sp>
          <p:nvSpPr>
            <p:cNvPr id="63" name="TextBox 62">
              <a:extLst>
                <a:ext uri="{FF2B5EF4-FFF2-40B4-BE49-F238E27FC236}">
                  <a16:creationId xmlns:a16="http://schemas.microsoft.com/office/drawing/2014/main" id="{FB692E5A-9EA3-0244-BE4A-FAF9C2059E5B}"/>
                </a:ext>
              </a:extLst>
            </p:cNvPr>
            <p:cNvSpPr txBox="1"/>
            <p:nvPr/>
          </p:nvSpPr>
          <p:spPr>
            <a:xfrm>
              <a:off x="713814" y="1074049"/>
              <a:ext cx="301686" cy="456942"/>
            </a:xfrm>
            <a:prstGeom prst="rect">
              <a:avLst/>
            </a:prstGeom>
            <a:noFill/>
          </p:spPr>
          <p:txBody>
            <a:bodyPr wrap="square" rtlCol="0">
              <a:spAutoFit/>
            </a:bodyPr>
            <a:lstStyle/>
            <a:p>
              <a:r>
                <a:rPr lang="en-US" sz="1200" dirty="0">
                  <a:solidFill>
                    <a:srgbClr val="F36F26"/>
                  </a:solidFill>
                </a:rPr>
                <a:t> </a:t>
              </a:r>
              <a:r>
                <a:rPr lang="en-US" sz="2000" dirty="0">
                  <a:solidFill>
                    <a:srgbClr val="F36F26"/>
                  </a:solidFill>
                </a:rPr>
                <a:t>¡</a:t>
              </a:r>
              <a:endParaRPr lang="en-US" sz="1200" dirty="0">
                <a:solidFill>
                  <a:srgbClr val="F36F26"/>
                </a:solidFill>
              </a:endParaRPr>
            </a:p>
          </p:txBody>
        </p:sp>
      </p:grpSp>
      <p:sp>
        <p:nvSpPr>
          <p:cNvPr id="26" name="TextBox 25">
            <a:extLst>
              <a:ext uri="{FF2B5EF4-FFF2-40B4-BE49-F238E27FC236}">
                <a16:creationId xmlns:a16="http://schemas.microsoft.com/office/drawing/2014/main" id="{518A037E-F67D-1045-A56D-CB1E79B3CC04}"/>
              </a:ext>
            </a:extLst>
          </p:cNvPr>
          <p:cNvSpPr txBox="1"/>
          <p:nvPr/>
        </p:nvSpPr>
        <p:spPr>
          <a:xfrm>
            <a:off x="1191633" y="5865481"/>
            <a:ext cx="4997726" cy="489534"/>
          </a:xfrm>
          <a:prstGeom prst="rect">
            <a:avLst/>
          </a:prstGeom>
          <a:noFill/>
        </p:spPr>
        <p:txBody>
          <a:bodyPr wrap="square" tIns="90000" bIns="90000" rtlCol="0" anchor="t">
            <a:spAutoFit/>
          </a:bodyPr>
          <a:lstStyle/>
          <a:p>
            <a:pPr algn="just"/>
            <a:r>
              <a:rPr lang="en-US" sz="1000" b="1" dirty="0">
                <a:solidFill>
                  <a:srgbClr val="EE4328"/>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Note: This is an example, it is recommended the use of good practices at the design and language level in which the producer will be implemented</a:t>
            </a:r>
          </a:p>
        </p:txBody>
      </p:sp>
    </p:spTree>
    <p:extLst>
      <p:ext uri="{BB962C8B-B14F-4D97-AF65-F5344CB8AC3E}">
        <p14:creationId xmlns:p14="http://schemas.microsoft.com/office/powerpoint/2010/main" val="326084561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tangle 3">
            <a:extLst>
              <a:ext uri="{FF2B5EF4-FFF2-40B4-BE49-F238E27FC236}">
                <a16:creationId xmlns:a16="http://schemas.microsoft.com/office/drawing/2014/main" id="{A27FD23C-A522-0E4F-B70C-CC83BC4542BA}"/>
              </a:ext>
            </a:extLst>
          </p:cNvPr>
          <p:cNvSpPr txBox="1"/>
          <p:nvPr/>
        </p:nvSpPr>
        <p:spPr>
          <a:xfrm>
            <a:off x="404808" y="237462"/>
            <a:ext cx="7585857" cy="400105"/>
          </a:xfrm>
          <a:prstGeom prst="rect">
            <a:avLst/>
          </a:prstGeom>
          <a:ln w="12700">
            <a:miter lim="400000"/>
          </a:ln>
          <a:extLst>
            <a:ext uri="{C572A759-6A51-4108-AA02-DFA0A04FC94B}">
              <ma14:wrappingTextBoxFlag xmlns:ma14="http://schemas.microsoft.com/office/mac/drawingml/2011/main" xmlns="" val="1"/>
            </a:ext>
          </a:extLst>
        </p:spPr>
        <p:txBody>
          <a:bodyPr wrap="square" lIns="45718" tIns="45718" rIns="45718" bIns="45718">
            <a:spAutoFit/>
          </a:bodyPr>
          <a:lstStyle>
            <a:lvl1pPr algn="l" defTabSz="914400">
              <a:defRPr sz="2200" b="1">
                <a:solidFill>
                  <a:srgbClr val="FFFFFF"/>
                </a:solidFill>
                <a:latin typeface="Arial"/>
                <a:ea typeface="Arial"/>
                <a:cs typeface="Arial"/>
                <a:sym typeface="Arial"/>
              </a:defRPr>
            </a:lvl1pPr>
          </a:lstStyle>
          <a:p>
            <a:r>
              <a:rPr lang="en-US" sz="2000" dirty="0">
                <a:solidFill>
                  <a:srgbClr val="016AA2"/>
                </a:solidFill>
              </a:rPr>
              <a:t>Features and terminology (VIII)</a:t>
            </a:r>
          </a:p>
        </p:txBody>
      </p:sp>
      <p:sp>
        <p:nvSpPr>
          <p:cNvPr id="65" name="Rectangle 3"/>
          <p:cNvSpPr txBox="1"/>
          <p:nvPr/>
        </p:nvSpPr>
        <p:spPr>
          <a:xfrm>
            <a:off x="404806" y="610135"/>
            <a:ext cx="8775769" cy="369328"/>
          </a:xfrm>
          <a:prstGeom prst="rect">
            <a:avLst/>
          </a:prstGeom>
          <a:ln w="12700">
            <a:miter lim="400000"/>
          </a:ln>
          <a:extLst>
            <a:ext uri="{C572A759-6A51-4108-AA02-DFA0A04FC94B}">
              <ma14:wrappingTextBoxFlag xmlns="" xmlns:ma14="http://schemas.microsoft.com/office/mac/drawingml/2011/main" val="1"/>
            </a:ext>
          </a:extLst>
        </p:spPr>
        <p:txBody>
          <a:bodyPr wrap="square" lIns="45718" tIns="45718" rIns="45718" bIns="45718">
            <a:spAutoFit/>
          </a:bodyPr>
          <a:lstStyle>
            <a:lvl1pPr algn="l" defTabSz="914400">
              <a:defRPr sz="2000">
                <a:solidFill>
                  <a:srgbClr val="104D6A"/>
                </a:solidFill>
                <a:latin typeface="Arial"/>
                <a:ea typeface="Arial"/>
                <a:cs typeface="Arial"/>
                <a:sym typeface="Arial"/>
              </a:defRPr>
            </a:lvl1pPr>
          </a:lstStyle>
          <a:p>
            <a:pPr>
              <a:defRPr/>
            </a:pPr>
            <a:r>
              <a:rPr lang="en-US" sz="1800" b="1" dirty="0">
                <a:solidFill>
                  <a:srgbClr val="73C4EF"/>
                </a:solidFill>
              </a:rPr>
              <a:t>Event Hub Architecture – Producer (Simple Scala Producers)</a:t>
            </a:r>
          </a:p>
        </p:txBody>
      </p:sp>
      <p:sp>
        <p:nvSpPr>
          <p:cNvPr id="6" name="Rectangle 5">
            <a:extLst>
              <a:ext uri="{FF2B5EF4-FFF2-40B4-BE49-F238E27FC236}">
                <a16:creationId xmlns:a16="http://schemas.microsoft.com/office/drawing/2014/main" id="{D7296D0E-604A-E042-845D-1C53BB0CBBBA}"/>
              </a:ext>
            </a:extLst>
          </p:cNvPr>
          <p:cNvSpPr/>
          <p:nvPr/>
        </p:nvSpPr>
        <p:spPr>
          <a:xfrm>
            <a:off x="5811822" y="1178491"/>
            <a:ext cx="6256570" cy="4890739"/>
          </a:xfrm>
          <a:prstGeom prst="rect">
            <a:avLst/>
          </a:prstGeom>
          <a:noFill/>
        </p:spPr>
        <p:txBody>
          <a:bodyPr wrap="square" tIns="90000" bIns="90000" rtlCol="0" anchor="t">
            <a:spAutoFit/>
          </a:bodyPr>
          <a:lstStyle/>
          <a:p>
            <a:pPr algn="just"/>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package </a:t>
            </a:r>
            <a:r>
              <a:rPr lang="en-US" sz="900" dirty="0" err="1">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mx.citi.bigdata.common</a:t>
            </a:r>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a:t>
            </a:r>
          </a:p>
          <a:p>
            <a:pPr algn="just"/>
            <a:endPar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endParaRPr>
          </a:p>
          <a:p>
            <a:pPr algn="just"/>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import </a:t>
            </a:r>
            <a:r>
              <a:rPr lang="en-US" sz="900" dirty="0" err="1">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java.util.Properties</a:t>
            </a:r>
            <a:endPar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endParaRPr>
          </a:p>
          <a:p>
            <a:pPr algn="just"/>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import </a:t>
            </a:r>
            <a:r>
              <a:rPr lang="en-US" sz="900" dirty="0" err="1">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org.apache.kafka.clients.producer</a:t>
            </a:r>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a:t>
            </a:r>
            <a:r>
              <a:rPr lang="en-US" sz="900" dirty="0" err="1">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KafkaProducer</a:t>
            </a:r>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 </a:t>
            </a:r>
            <a:r>
              <a:rPr lang="en-US" sz="900" dirty="0" err="1">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ProducerRecord</a:t>
            </a:r>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a:t>
            </a:r>
          </a:p>
          <a:p>
            <a:pPr algn="just"/>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object </a:t>
            </a:r>
            <a:r>
              <a:rPr lang="en-US" sz="900" dirty="0" err="1">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KafkaProducerApp</a:t>
            </a:r>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 extends App {</a:t>
            </a:r>
          </a:p>
          <a:p>
            <a:pPr algn="just"/>
            <a:endPar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endParaRPr>
          </a:p>
          <a:p>
            <a:pPr algn="just"/>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  </a:t>
            </a:r>
            <a:r>
              <a:rPr lang="en-US" sz="900" dirty="0" err="1">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val</a:t>
            </a:r>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 </a:t>
            </a:r>
            <a:r>
              <a:rPr lang="en-US" sz="900" dirty="0" err="1">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props:Properties</a:t>
            </a:r>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 = new Properties()</a:t>
            </a:r>
          </a:p>
          <a:p>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  </a:t>
            </a:r>
            <a:r>
              <a:rPr lang="en-US" sz="900" dirty="0" err="1">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props.put</a:t>
            </a:r>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bootstrap.servers"197.168.128.132:</a:t>
            </a:r>
            <a:r>
              <a:rPr lang="en-US" sz="900" dirty="0">
                <a:solidFill>
                  <a:srgbClr val="F36F26"/>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9092</a:t>
            </a:r>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 </a:t>
            </a:r>
          </a:p>
          <a:p>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             197.168.128.132:</a:t>
            </a:r>
            <a:r>
              <a:rPr lang="en-US" sz="900" dirty="0">
                <a:solidFill>
                  <a:srgbClr val="F36F26"/>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9093</a:t>
            </a:r>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a:t>
            </a:r>
          </a:p>
          <a:p>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             197.168.128.132:</a:t>
            </a:r>
            <a:r>
              <a:rPr lang="en-US" sz="900" dirty="0">
                <a:solidFill>
                  <a:srgbClr val="F36F26"/>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9094</a:t>
            </a:r>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a:t>
            </a:r>
          </a:p>
          <a:p>
            <a:pPr algn="just"/>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  </a:t>
            </a:r>
            <a:r>
              <a:rPr lang="en-US" sz="900" dirty="0" err="1">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props.put</a:t>
            </a:r>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a:t>
            </a:r>
            <a:r>
              <a:rPr lang="en-US" sz="900" dirty="0" err="1">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key.serializer</a:t>
            </a:r>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a:t>
            </a:r>
          </a:p>
          <a:p>
            <a:pPr algn="just"/>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         "</a:t>
            </a:r>
            <a:r>
              <a:rPr lang="en-US" sz="900" dirty="0" err="1">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org.apache.kafka.common.serialization.StringSerializer</a:t>
            </a:r>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a:t>
            </a:r>
          </a:p>
          <a:p>
            <a:pPr algn="just"/>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  </a:t>
            </a:r>
            <a:r>
              <a:rPr lang="en-US" sz="900" dirty="0" err="1">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props.put</a:t>
            </a:r>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a:t>
            </a:r>
            <a:r>
              <a:rPr lang="en-US" sz="900" dirty="0" err="1">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value.serializer</a:t>
            </a:r>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a:t>
            </a:r>
          </a:p>
          <a:p>
            <a:pPr algn="just"/>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         "</a:t>
            </a:r>
            <a:r>
              <a:rPr lang="en-US" sz="900" dirty="0" err="1">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org.apache.kafka.common.serialization.StringSerializer</a:t>
            </a:r>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a:t>
            </a:r>
          </a:p>
          <a:p>
            <a:pPr algn="just"/>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  </a:t>
            </a:r>
            <a:r>
              <a:rPr lang="en-US" sz="900" dirty="0" err="1">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props.put</a:t>
            </a:r>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a:t>
            </a:r>
            <a:r>
              <a:rPr lang="en-US" sz="900" dirty="0" err="1">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acks","all</a:t>
            </a:r>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a:t>
            </a:r>
          </a:p>
          <a:p>
            <a:pPr algn="just"/>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  </a:t>
            </a:r>
            <a:r>
              <a:rPr lang="en-US" sz="900" dirty="0" err="1">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val</a:t>
            </a:r>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 producer = new </a:t>
            </a:r>
            <a:r>
              <a:rPr lang="en-US" sz="900" dirty="0" err="1">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KafkaProducer</a:t>
            </a:r>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String, String](props)</a:t>
            </a:r>
          </a:p>
          <a:p>
            <a:pPr algn="just"/>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  </a:t>
            </a:r>
            <a:r>
              <a:rPr lang="en-US" sz="900" dirty="0" err="1">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val</a:t>
            </a:r>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 topic = "</a:t>
            </a:r>
            <a:r>
              <a:rPr lang="en-US" sz="900" dirty="0" err="1">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text_topic</a:t>
            </a:r>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a:t>
            </a:r>
          </a:p>
          <a:p>
            <a:pPr algn="just"/>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  try {</a:t>
            </a:r>
          </a:p>
          <a:p>
            <a:pPr algn="just"/>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    for (</a:t>
            </a:r>
            <a:r>
              <a:rPr lang="en-US" sz="900" dirty="0" err="1">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i</a:t>
            </a:r>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 &lt;- 0 to 15) {</a:t>
            </a:r>
          </a:p>
          <a:p>
            <a:pPr algn="just"/>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      </a:t>
            </a:r>
            <a:r>
              <a:rPr lang="en-US" sz="900" dirty="0" err="1">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val</a:t>
            </a:r>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 record = new </a:t>
            </a:r>
            <a:r>
              <a:rPr lang="en-US" sz="900" dirty="0" err="1">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ProducerRecord</a:t>
            </a:r>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String, String](topic, </a:t>
            </a:r>
            <a:r>
              <a:rPr lang="en-US" sz="900" dirty="0" err="1">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i.toString</a:t>
            </a:r>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 ”Produce" + </a:t>
            </a:r>
            <a:r>
              <a:rPr lang="en-US" sz="900" dirty="0" err="1">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i</a:t>
            </a:r>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a:t>
            </a:r>
          </a:p>
          <a:p>
            <a:pPr algn="just"/>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      </a:t>
            </a:r>
            <a:r>
              <a:rPr lang="en-US" sz="900" dirty="0" err="1">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val</a:t>
            </a:r>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 metadata = </a:t>
            </a:r>
            <a:r>
              <a:rPr lang="en-US" sz="900" dirty="0" err="1">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producer.send</a:t>
            </a:r>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record)</a:t>
            </a:r>
          </a:p>
          <a:p>
            <a:pPr algn="just"/>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      </a:t>
            </a:r>
            <a:r>
              <a:rPr lang="en-US" sz="900" dirty="0" err="1">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printf</a:t>
            </a:r>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a:t>
            </a:r>
            <a:r>
              <a:rPr lang="en-US" sz="900" dirty="0" err="1">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s”Sent</a:t>
            </a:r>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 Record(key=%s value=%s) " +</a:t>
            </a:r>
          </a:p>
          <a:p>
            <a:pPr algn="just"/>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        "meta(partition=%d, offset=%d)\n",</a:t>
            </a:r>
          </a:p>
          <a:p>
            <a:pPr algn="just"/>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        </a:t>
            </a:r>
            <a:r>
              <a:rPr lang="en-US" sz="900" dirty="0" err="1">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record.key</a:t>
            </a:r>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 </a:t>
            </a:r>
            <a:r>
              <a:rPr lang="en-US" sz="900" dirty="0" err="1">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record.value</a:t>
            </a:r>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a:t>
            </a:r>
          </a:p>
          <a:p>
            <a:pPr algn="just"/>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        </a:t>
            </a:r>
            <a:r>
              <a:rPr lang="en-US" sz="900" dirty="0" err="1">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metadata.get</a:t>
            </a:r>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partition(),</a:t>
            </a:r>
          </a:p>
          <a:p>
            <a:pPr algn="just"/>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        </a:t>
            </a:r>
            <a:r>
              <a:rPr lang="en-US" sz="900" dirty="0" err="1">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metadata.get</a:t>
            </a:r>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offset())</a:t>
            </a:r>
          </a:p>
          <a:p>
            <a:pPr algn="just"/>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    }</a:t>
            </a:r>
          </a:p>
          <a:p>
            <a:pPr algn="just"/>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  }catch{</a:t>
            </a:r>
          </a:p>
          <a:p>
            <a:pPr algn="just"/>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    case </a:t>
            </a:r>
            <a:r>
              <a:rPr lang="en-US" sz="900" dirty="0" err="1">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e:Exception</a:t>
            </a:r>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 =&gt; </a:t>
            </a:r>
            <a:r>
              <a:rPr lang="en-US" sz="900" dirty="0" err="1">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e.printStackTrace</a:t>
            </a:r>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a:t>
            </a:r>
          </a:p>
          <a:p>
            <a:pPr algn="just"/>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  }finally {</a:t>
            </a:r>
          </a:p>
          <a:p>
            <a:pPr algn="just"/>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    </a:t>
            </a:r>
            <a:r>
              <a:rPr lang="en-US" sz="900" dirty="0" err="1">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producer.close</a:t>
            </a:r>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a:t>
            </a:r>
          </a:p>
          <a:p>
            <a:pPr algn="just"/>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  }</a:t>
            </a:r>
          </a:p>
          <a:p>
            <a:pPr algn="just"/>
            <a:r>
              <a:rPr lang="en-US" sz="9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a:t>
            </a:r>
          </a:p>
        </p:txBody>
      </p:sp>
      <p:cxnSp>
        <p:nvCxnSpPr>
          <p:cNvPr id="5" name="Straight Connector 4">
            <a:extLst>
              <a:ext uri="{FF2B5EF4-FFF2-40B4-BE49-F238E27FC236}">
                <a16:creationId xmlns:a16="http://schemas.microsoft.com/office/drawing/2014/main" id="{6F467706-E6E1-E242-A921-4C52AFC72CAD}"/>
              </a:ext>
            </a:extLst>
          </p:cNvPr>
          <p:cNvCxnSpPr>
            <a:cxnSpLocks/>
            <a:endCxn id="7" idx="3"/>
          </p:cNvCxnSpPr>
          <p:nvPr/>
        </p:nvCxnSpPr>
        <p:spPr>
          <a:xfrm flipH="1" flipV="1">
            <a:off x="5492177" y="1346742"/>
            <a:ext cx="1311670" cy="893042"/>
          </a:xfrm>
          <a:prstGeom prst="line">
            <a:avLst/>
          </a:prstGeom>
          <a:ln w="12700">
            <a:solidFill>
              <a:srgbClr val="FF0000">
                <a:alpha val="50000"/>
              </a:srgbClr>
            </a:solidFill>
            <a:headEnd type="oval"/>
            <a:tailEnd type="oval"/>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C218CB72-E86C-EB49-BF42-12C9F8AA840D}"/>
              </a:ext>
            </a:extLst>
          </p:cNvPr>
          <p:cNvSpPr txBox="1"/>
          <p:nvPr/>
        </p:nvSpPr>
        <p:spPr>
          <a:xfrm>
            <a:off x="1687314" y="1117363"/>
            <a:ext cx="3804863" cy="458757"/>
          </a:xfrm>
          <a:prstGeom prst="rect">
            <a:avLst/>
          </a:prstGeom>
          <a:noFill/>
        </p:spPr>
        <p:txBody>
          <a:bodyPr wrap="square" tIns="90000" bIns="90000" rtlCol="0" anchor="t">
            <a:spAutoFit/>
          </a:bodyPr>
          <a:lstStyle/>
          <a:p>
            <a:pPr algn="just"/>
            <a:r>
              <a:rPr lang="en-US" sz="900" dirty="0">
                <a:solidFill>
                  <a:srgbClr val="C5277F"/>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Set the broker list for requesting metadata to find the lead broker.</a:t>
            </a:r>
            <a:endParaRPr lang="en-US" sz="9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endParaRPr>
          </a:p>
        </p:txBody>
      </p:sp>
      <p:sp>
        <p:nvSpPr>
          <p:cNvPr id="12" name="TextBox 11">
            <a:extLst>
              <a:ext uri="{FF2B5EF4-FFF2-40B4-BE49-F238E27FC236}">
                <a16:creationId xmlns:a16="http://schemas.microsoft.com/office/drawing/2014/main" id="{D6FFFAA5-C2B9-A24A-82E1-E6292C6D757F}"/>
              </a:ext>
            </a:extLst>
          </p:cNvPr>
          <p:cNvSpPr txBox="1"/>
          <p:nvPr/>
        </p:nvSpPr>
        <p:spPr>
          <a:xfrm>
            <a:off x="1687314" y="1621687"/>
            <a:ext cx="2558266" cy="320257"/>
          </a:xfrm>
          <a:prstGeom prst="rect">
            <a:avLst/>
          </a:prstGeom>
          <a:noFill/>
        </p:spPr>
        <p:txBody>
          <a:bodyPr wrap="square" tIns="90000" bIns="90000" rtlCol="0" anchor="t">
            <a:spAutoFit/>
          </a:bodyPr>
          <a:lstStyle/>
          <a:p>
            <a:pPr algn="just"/>
            <a:r>
              <a:rPr lang="en-US" sz="900" dirty="0">
                <a:solidFill>
                  <a:srgbClr val="C5277F"/>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This specifies the serializer class for keys.</a:t>
            </a:r>
            <a:endParaRPr lang="en-US" sz="9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endParaRPr>
          </a:p>
        </p:txBody>
      </p:sp>
      <p:cxnSp>
        <p:nvCxnSpPr>
          <p:cNvPr id="13" name="Straight Connector 12">
            <a:extLst>
              <a:ext uri="{FF2B5EF4-FFF2-40B4-BE49-F238E27FC236}">
                <a16:creationId xmlns:a16="http://schemas.microsoft.com/office/drawing/2014/main" id="{D3D8E2BF-45F3-AC4B-AE78-187EABF9D98D}"/>
              </a:ext>
            </a:extLst>
          </p:cNvPr>
          <p:cNvCxnSpPr>
            <a:cxnSpLocks/>
            <a:endCxn id="12" idx="3"/>
          </p:cNvCxnSpPr>
          <p:nvPr/>
        </p:nvCxnSpPr>
        <p:spPr>
          <a:xfrm flipH="1" flipV="1">
            <a:off x="4245580" y="1781816"/>
            <a:ext cx="2511966" cy="891514"/>
          </a:xfrm>
          <a:prstGeom prst="line">
            <a:avLst/>
          </a:prstGeom>
          <a:ln w="12700">
            <a:solidFill>
              <a:srgbClr val="FF0000">
                <a:alpha val="50000"/>
              </a:srgbClr>
            </a:solidFill>
            <a:headEnd type="oval"/>
            <a:tailEnd type="oval"/>
          </a:ln>
        </p:spPr>
        <p:style>
          <a:lnRef idx="1">
            <a:schemeClr val="accent1"/>
          </a:lnRef>
          <a:fillRef idx="0">
            <a:schemeClr val="accent1"/>
          </a:fillRef>
          <a:effectRef idx="0">
            <a:schemeClr val="accent1"/>
          </a:effectRef>
          <a:fontRef idx="minor">
            <a:schemeClr val="tx1"/>
          </a:fontRef>
        </p:style>
      </p:cxnSp>
      <p:sp>
        <p:nvSpPr>
          <p:cNvPr id="38" name="TextBox 37">
            <a:extLst>
              <a:ext uri="{FF2B5EF4-FFF2-40B4-BE49-F238E27FC236}">
                <a16:creationId xmlns:a16="http://schemas.microsoft.com/office/drawing/2014/main" id="{D302E27B-90B1-E547-986E-59145E79127C}"/>
              </a:ext>
            </a:extLst>
          </p:cNvPr>
          <p:cNvSpPr txBox="1"/>
          <p:nvPr/>
        </p:nvSpPr>
        <p:spPr>
          <a:xfrm>
            <a:off x="1687314" y="2111339"/>
            <a:ext cx="3540665" cy="597256"/>
          </a:xfrm>
          <a:prstGeom prst="rect">
            <a:avLst/>
          </a:prstGeom>
          <a:noFill/>
        </p:spPr>
        <p:txBody>
          <a:bodyPr wrap="square" tIns="90000" bIns="90000" rtlCol="0" anchor="t">
            <a:spAutoFit/>
          </a:bodyPr>
          <a:lstStyle/>
          <a:p>
            <a:pPr algn="just"/>
            <a:r>
              <a:rPr lang="en-US" sz="900" dirty="0">
                <a:solidFill>
                  <a:srgbClr val="C5277F"/>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The producer is thread safe and sharing a single producer instance across threads will generally be faster than having multiple instances.</a:t>
            </a:r>
            <a:endParaRPr lang="en-US" sz="9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endParaRPr>
          </a:p>
        </p:txBody>
      </p:sp>
      <p:cxnSp>
        <p:nvCxnSpPr>
          <p:cNvPr id="39" name="Straight Connector 38">
            <a:extLst>
              <a:ext uri="{FF2B5EF4-FFF2-40B4-BE49-F238E27FC236}">
                <a16:creationId xmlns:a16="http://schemas.microsoft.com/office/drawing/2014/main" id="{4794CDAA-D4D1-5C4A-ADB8-430F1A6D079C}"/>
              </a:ext>
            </a:extLst>
          </p:cNvPr>
          <p:cNvCxnSpPr>
            <a:cxnSpLocks/>
            <a:endCxn id="38" idx="3"/>
          </p:cNvCxnSpPr>
          <p:nvPr/>
        </p:nvCxnSpPr>
        <p:spPr>
          <a:xfrm flipH="1" flipV="1">
            <a:off x="5227979" y="2409967"/>
            <a:ext cx="2113410" cy="963336"/>
          </a:xfrm>
          <a:prstGeom prst="line">
            <a:avLst/>
          </a:prstGeom>
          <a:ln w="12700">
            <a:solidFill>
              <a:srgbClr val="FF0000">
                <a:alpha val="50000"/>
              </a:srgbClr>
            </a:solidFill>
            <a:headEnd type="oval"/>
            <a:tailEnd type="oval"/>
          </a:ln>
        </p:spPr>
        <p:style>
          <a:lnRef idx="1">
            <a:schemeClr val="accent1"/>
          </a:lnRef>
          <a:fillRef idx="0">
            <a:schemeClr val="accent1"/>
          </a:fillRef>
          <a:effectRef idx="0">
            <a:schemeClr val="accent1"/>
          </a:effectRef>
          <a:fontRef idx="minor">
            <a:schemeClr val="tx1"/>
          </a:fontRef>
        </p:style>
      </p:cxnSp>
      <p:sp>
        <p:nvSpPr>
          <p:cNvPr id="52" name="TextBox 51">
            <a:extLst>
              <a:ext uri="{FF2B5EF4-FFF2-40B4-BE49-F238E27FC236}">
                <a16:creationId xmlns:a16="http://schemas.microsoft.com/office/drawing/2014/main" id="{F7A200BC-01D9-AA41-B87F-34D34B604068}"/>
              </a:ext>
            </a:extLst>
          </p:cNvPr>
          <p:cNvSpPr txBox="1"/>
          <p:nvPr/>
        </p:nvSpPr>
        <p:spPr>
          <a:xfrm>
            <a:off x="1702666" y="4634378"/>
            <a:ext cx="2287015" cy="320257"/>
          </a:xfrm>
          <a:prstGeom prst="rect">
            <a:avLst/>
          </a:prstGeom>
          <a:noFill/>
        </p:spPr>
        <p:txBody>
          <a:bodyPr wrap="square" tIns="90000" bIns="90000" rtlCol="0" anchor="t">
            <a:spAutoFit/>
          </a:bodyPr>
          <a:lstStyle/>
          <a:p>
            <a:pPr algn="just"/>
            <a:r>
              <a:rPr lang="en-US" sz="900" dirty="0">
                <a:solidFill>
                  <a:srgbClr val="C5277F"/>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Close producer connection with broker</a:t>
            </a:r>
            <a:endParaRPr lang="en-US" sz="9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endParaRPr>
          </a:p>
        </p:txBody>
      </p:sp>
      <p:cxnSp>
        <p:nvCxnSpPr>
          <p:cNvPr id="53" name="Straight Connector 52">
            <a:extLst>
              <a:ext uri="{FF2B5EF4-FFF2-40B4-BE49-F238E27FC236}">
                <a16:creationId xmlns:a16="http://schemas.microsoft.com/office/drawing/2014/main" id="{D543385E-D392-304E-810E-96980141BA26}"/>
              </a:ext>
            </a:extLst>
          </p:cNvPr>
          <p:cNvCxnSpPr>
            <a:cxnSpLocks/>
            <a:endCxn id="52" idx="3"/>
          </p:cNvCxnSpPr>
          <p:nvPr/>
        </p:nvCxnSpPr>
        <p:spPr>
          <a:xfrm flipH="1" flipV="1">
            <a:off x="3989681" y="4794507"/>
            <a:ext cx="2214350" cy="359674"/>
          </a:xfrm>
          <a:prstGeom prst="line">
            <a:avLst/>
          </a:prstGeom>
          <a:ln w="12700">
            <a:solidFill>
              <a:srgbClr val="FF0000">
                <a:alpha val="50000"/>
              </a:srgbClr>
            </a:solidFill>
            <a:headEnd type="oval"/>
            <a:tailEnd type="oval"/>
          </a:ln>
        </p:spPr>
        <p:style>
          <a:lnRef idx="1">
            <a:schemeClr val="accent1"/>
          </a:lnRef>
          <a:fillRef idx="0">
            <a:schemeClr val="accent1"/>
          </a:fillRef>
          <a:effectRef idx="0">
            <a:schemeClr val="accent1"/>
          </a:effectRef>
          <a:fontRef idx="minor">
            <a:schemeClr val="tx1"/>
          </a:fontRef>
        </p:style>
      </p:cxnSp>
      <p:sp>
        <p:nvSpPr>
          <p:cNvPr id="47" name="TextBox 46">
            <a:extLst>
              <a:ext uri="{FF2B5EF4-FFF2-40B4-BE49-F238E27FC236}">
                <a16:creationId xmlns:a16="http://schemas.microsoft.com/office/drawing/2014/main" id="{C54495F3-5E59-9542-8554-EFE1FA33056B}"/>
              </a:ext>
            </a:extLst>
          </p:cNvPr>
          <p:cNvSpPr txBox="1"/>
          <p:nvPr/>
        </p:nvSpPr>
        <p:spPr>
          <a:xfrm>
            <a:off x="1687314" y="3025523"/>
            <a:ext cx="3569602" cy="320257"/>
          </a:xfrm>
          <a:prstGeom prst="rect">
            <a:avLst/>
          </a:prstGeom>
          <a:noFill/>
        </p:spPr>
        <p:txBody>
          <a:bodyPr wrap="square" tIns="90000" bIns="90000" rtlCol="0" anchor="t">
            <a:spAutoFit/>
          </a:bodyPr>
          <a:lstStyle/>
          <a:p>
            <a:pPr algn="just"/>
            <a:r>
              <a:rPr lang="en-US" sz="900" dirty="0">
                <a:solidFill>
                  <a:srgbClr val="C5277F"/>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Creates a record to be sent to a specified topic and partition</a:t>
            </a:r>
            <a:endParaRPr lang="en-US" sz="9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endParaRPr>
          </a:p>
        </p:txBody>
      </p:sp>
      <p:cxnSp>
        <p:nvCxnSpPr>
          <p:cNvPr id="51" name="Straight Connector 50">
            <a:extLst>
              <a:ext uri="{FF2B5EF4-FFF2-40B4-BE49-F238E27FC236}">
                <a16:creationId xmlns:a16="http://schemas.microsoft.com/office/drawing/2014/main" id="{2AEF2731-1133-9944-9478-8551AEA25EAD}"/>
              </a:ext>
            </a:extLst>
          </p:cNvPr>
          <p:cNvCxnSpPr>
            <a:cxnSpLocks/>
            <a:endCxn id="47" idx="3"/>
          </p:cNvCxnSpPr>
          <p:nvPr/>
        </p:nvCxnSpPr>
        <p:spPr>
          <a:xfrm flipH="1" flipV="1">
            <a:off x="5256916" y="3185652"/>
            <a:ext cx="2243480" cy="736212"/>
          </a:xfrm>
          <a:prstGeom prst="line">
            <a:avLst/>
          </a:prstGeom>
          <a:ln w="12700">
            <a:solidFill>
              <a:srgbClr val="FF0000">
                <a:alpha val="50000"/>
              </a:srgbClr>
            </a:solidFill>
            <a:headEnd type="oval"/>
            <a:tailEnd type="oval"/>
          </a:ln>
        </p:spPr>
        <p:style>
          <a:lnRef idx="1">
            <a:schemeClr val="accent1"/>
          </a:lnRef>
          <a:fillRef idx="0">
            <a:schemeClr val="accent1"/>
          </a:fillRef>
          <a:effectRef idx="0">
            <a:schemeClr val="accent1"/>
          </a:effectRef>
          <a:fontRef idx="minor">
            <a:schemeClr val="tx1"/>
          </a:fontRef>
        </p:style>
      </p:cxnSp>
      <p:sp>
        <p:nvSpPr>
          <p:cNvPr id="64" name="TextBox 63">
            <a:extLst>
              <a:ext uri="{FF2B5EF4-FFF2-40B4-BE49-F238E27FC236}">
                <a16:creationId xmlns:a16="http://schemas.microsoft.com/office/drawing/2014/main" id="{F6E52783-735F-6C48-BCBD-C96B82D99BAD}"/>
              </a:ext>
            </a:extLst>
          </p:cNvPr>
          <p:cNvSpPr txBox="1"/>
          <p:nvPr/>
        </p:nvSpPr>
        <p:spPr>
          <a:xfrm>
            <a:off x="1702666" y="3743452"/>
            <a:ext cx="3569602" cy="458757"/>
          </a:xfrm>
          <a:prstGeom prst="rect">
            <a:avLst/>
          </a:prstGeom>
          <a:noFill/>
        </p:spPr>
        <p:txBody>
          <a:bodyPr wrap="square" tIns="90000" bIns="90000" rtlCol="0" anchor="t">
            <a:spAutoFit/>
          </a:bodyPr>
          <a:lstStyle/>
          <a:p>
            <a:pPr algn="just"/>
            <a:r>
              <a:rPr lang="en-US" sz="900" dirty="0">
                <a:solidFill>
                  <a:srgbClr val="C5277F"/>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Send the given record asynchronously and return a future which will eventually contain the response information.</a:t>
            </a:r>
            <a:endParaRPr lang="en-US" sz="9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endParaRPr>
          </a:p>
        </p:txBody>
      </p:sp>
      <p:cxnSp>
        <p:nvCxnSpPr>
          <p:cNvPr id="66" name="Straight Connector 65">
            <a:extLst>
              <a:ext uri="{FF2B5EF4-FFF2-40B4-BE49-F238E27FC236}">
                <a16:creationId xmlns:a16="http://schemas.microsoft.com/office/drawing/2014/main" id="{9996A7B2-658D-1844-B71C-4FD8C36519DB}"/>
              </a:ext>
            </a:extLst>
          </p:cNvPr>
          <p:cNvCxnSpPr>
            <a:cxnSpLocks/>
            <a:endCxn id="64" idx="3"/>
          </p:cNvCxnSpPr>
          <p:nvPr/>
        </p:nvCxnSpPr>
        <p:spPr>
          <a:xfrm flipH="1" flipV="1">
            <a:off x="5272268" y="3972831"/>
            <a:ext cx="2069122" cy="119333"/>
          </a:xfrm>
          <a:prstGeom prst="line">
            <a:avLst/>
          </a:prstGeom>
          <a:ln w="12700">
            <a:solidFill>
              <a:srgbClr val="FF0000">
                <a:alpha val="50000"/>
              </a:srgbClr>
            </a:solidFill>
            <a:headEnd type="oval"/>
            <a:tailEnd type="oval"/>
          </a:ln>
        </p:spPr>
        <p:style>
          <a:lnRef idx="1">
            <a:schemeClr val="accent1"/>
          </a:lnRef>
          <a:fillRef idx="0">
            <a:schemeClr val="accent1"/>
          </a:fillRef>
          <a:effectRef idx="0">
            <a:schemeClr val="accent1"/>
          </a:effectRef>
          <a:fontRef idx="minor">
            <a:schemeClr val="tx1"/>
          </a:fontRef>
        </p:style>
      </p:cxnSp>
      <p:grpSp>
        <p:nvGrpSpPr>
          <p:cNvPr id="22" name="Group 21">
            <a:extLst>
              <a:ext uri="{FF2B5EF4-FFF2-40B4-BE49-F238E27FC236}">
                <a16:creationId xmlns:a16="http://schemas.microsoft.com/office/drawing/2014/main" id="{7CD80C84-FEDB-3E49-82E6-BE2DE7ADEE82}"/>
              </a:ext>
            </a:extLst>
          </p:cNvPr>
          <p:cNvGrpSpPr/>
          <p:nvPr/>
        </p:nvGrpSpPr>
        <p:grpSpPr>
          <a:xfrm rot="21011211">
            <a:off x="1215501" y="6039916"/>
            <a:ext cx="413266" cy="307777"/>
            <a:chOff x="730131" y="1162983"/>
            <a:chExt cx="301686" cy="351493"/>
          </a:xfrm>
        </p:grpSpPr>
        <p:sp>
          <p:nvSpPr>
            <p:cNvPr id="23" name="Google Shape;431;p39">
              <a:extLst>
                <a:ext uri="{FF2B5EF4-FFF2-40B4-BE49-F238E27FC236}">
                  <a16:creationId xmlns:a16="http://schemas.microsoft.com/office/drawing/2014/main" id="{AAB12BF7-E437-D346-B948-12A08889BC2F}"/>
                </a:ext>
              </a:extLst>
            </p:cNvPr>
            <p:cNvSpPr/>
            <p:nvPr/>
          </p:nvSpPr>
          <p:spPr>
            <a:xfrm>
              <a:off x="736556" y="1203599"/>
              <a:ext cx="219241" cy="290724"/>
            </a:xfrm>
            <a:custGeom>
              <a:avLst/>
              <a:gdLst/>
              <a:ahLst/>
              <a:cxnLst/>
              <a:rect l="0" t="0" r="0" b="0"/>
              <a:pathLst>
                <a:path w="67641" h="69056" extrusionOk="0">
                  <a:moveTo>
                    <a:pt x="49622" y="2736"/>
                  </a:moveTo>
                  <a:lnTo>
                    <a:pt x="49622" y="2736"/>
                  </a:lnTo>
                  <a:lnTo>
                    <a:pt x="49622" y="2736"/>
                  </a:lnTo>
                  <a:close/>
                  <a:moveTo>
                    <a:pt x="59622" y="55565"/>
                  </a:moveTo>
                  <a:lnTo>
                    <a:pt x="59622" y="55565"/>
                  </a:lnTo>
                  <a:lnTo>
                    <a:pt x="59622" y="55565"/>
                  </a:lnTo>
                  <a:close/>
                  <a:moveTo>
                    <a:pt x="35471" y="0"/>
                  </a:moveTo>
                  <a:lnTo>
                    <a:pt x="34433" y="95"/>
                  </a:lnTo>
                  <a:lnTo>
                    <a:pt x="33584" y="189"/>
                  </a:lnTo>
                  <a:lnTo>
                    <a:pt x="32735" y="378"/>
                  </a:lnTo>
                  <a:lnTo>
                    <a:pt x="32169" y="566"/>
                  </a:lnTo>
                  <a:lnTo>
                    <a:pt x="31509" y="472"/>
                  </a:lnTo>
                  <a:lnTo>
                    <a:pt x="30754" y="472"/>
                  </a:lnTo>
                  <a:lnTo>
                    <a:pt x="29339" y="566"/>
                  </a:lnTo>
                  <a:lnTo>
                    <a:pt x="27830" y="849"/>
                  </a:lnTo>
                  <a:lnTo>
                    <a:pt x="26320" y="1321"/>
                  </a:lnTo>
                  <a:lnTo>
                    <a:pt x="24811" y="1981"/>
                  </a:lnTo>
                  <a:lnTo>
                    <a:pt x="23207" y="2736"/>
                  </a:lnTo>
                  <a:lnTo>
                    <a:pt x="21698" y="3585"/>
                  </a:lnTo>
                  <a:lnTo>
                    <a:pt x="20188" y="4623"/>
                  </a:lnTo>
                  <a:lnTo>
                    <a:pt x="18679" y="5661"/>
                  </a:lnTo>
                  <a:lnTo>
                    <a:pt x="17170" y="6793"/>
                  </a:lnTo>
                  <a:lnTo>
                    <a:pt x="15754" y="8019"/>
                  </a:lnTo>
                  <a:lnTo>
                    <a:pt x="14434" y="9151"/>
                  </a:lnTo>
                  <a:lnTo>
                    <a:pt x="11981" y="11510"/>
                  </a:lnTo>
                  <a:lnTo>
                    <a:pt x="10000" y="13774"/>
                  </a:lnTo>
                  <a:lnTo>
                    <a:pt x="7736" y="16981"/>
                  </a:lnTo>
                  <a:lnTo>
                    <a:pt x="8019" y="16321"/>
                  </a:lnTo>
                  <a:lnTo>
                    <a:pt x="8302" y="15660"/>
                  </a:lnTo>
                  <a:lnTo>
                    <a:pt x="7736" y="16604"/>
                  </a:lnTo>
                  <a:lnTo>
                    <a:pt x="7075" y="17642"/>
                  </a:lnTo>
                  <a:lnTo>
                    <a:pt x="7170" y="17830"/>
                  </a:lnTo>
                  <a:lnTo>
                    <a:pt x="6509" y="18868"/>
                  </a:lnTo>
                  <a:lnTo>
                    <a:pt x="7075" y="17359"/>
                  </a:lnTo>
                  <a:lnTo>
                    <a:pt x="6132" y="19057"/>
                  </a:lnTo>
                  <a:lnTo>
                    <a:pt x="5189" y="20849"/>
                  </a:lnTo>
                  <a:lnTo>
                    <a:pt x="4434" y="22736"/>
                  </a:lnTo>
                  <a:lnTo>
                    <a:pt x="3679" y="24622"/>
                  </a:lnTo>
                  <a:lnTo>
                    <a:pt x="2453" y="28490"/>
                  </a:lnTo>
                  <a:lnTo>
                    <a:pt x="1321" y="32169"/>
                  </a:lnTo>
                  <a:lnTo>
                    <a:pt x="1509" y="32264"/>
                  </a:lnTo>
                  <a:lnTo>
                    <a:pt x="1604" y="32453"/>
                  </a:lnTo>
                  <a:lnTo>
                    <a:pt x="1604" y="32641"/>
                  </a:lnTo>
                  <a:lnTo>
                    <a:pt x="1509" y="32924"/>
                  </a:lnTo>
                  <a:lnTo>
                    <a:pt x="1226" y="33396"/>
                  </a:lnTo>
                  <a:lnTo>
                    <a:pt x="1038" y="33585"/>
                  </a:lnTo>
                  <a:lnTo>
                    <a:pt x="1038" y="33773"/>
                  </a:lnTo>
                  <a:lnTo>
                    <a:pt x="1038" y="35000"/>
                  </a:lnTo>
                  <a:lnTo>
                    <a:pt x="849" y="36132"/>
                  </a:lnTo>
                  <a:lnTo>
                    <a:pt x="660" y="37358"/>
                  </a:lnTo>
                  <a:lnTo>
                    <a:pt x="472" y="38867"/>
                  </a:lnTo>
                  <a:lnTo>
                    <a:pt x="283" y="38301"/>
                  </a:lnTo>
                  <a:lnTo>
                    <a:pt x="94" y="39811"/>
                  </a:lnTo>
                  <a:lnTo>
                    <a:pt x="0" y="41509"/>
                  </a:lnTo>
                  <a:lnTo>
                    <a:pt x="94" y="43301"/>
                  </a:lnTo>
                  <a:lnTo>
                    <a:pt x="283" y="44056"/>
                  </a:lnTo>
                  <a:lnTo>
                    <a:pt x="472" y="44622"/>
                  </a:lnTo>
                  <a:lnTo>
                    <a:pt x="566" y="45660"/>
                  </a:lnTo>
                  <a:lnTo>
                    <a:pt x="755" y="46792"/>
                  </a:lnTo>
                  <a:lnTo>
                    <a:pt x="1226" y="48962"/>
                  </a:lnTo>
                  <a:lnTo>
                    <a:pt x="1981" y="51037"/>
                  </a:lnTo>
                  <a:lnTo>
                    <a:pt x="2924" y="53112"/>
                  </a:lnTo>
                  <a:lnTo>
                    <a:pt x="4057" y="55094"/>
                  </a:lnTo>
                  <a:lnTo>
                    <a:pt x="5283" y="56980"/>
                  </a:lnTo>
                  <a:lnTo>
                    <a:pt x="6698" y="58678"/>
                  </a:lnTo>
                  <a:lnTo>
                    <a:pt x="8113" y="60282"/>
                  </a:lnTo>
                  <a:lnTo>
                    <a:pt x="9056" y="61131"/>
                  </a:lnTo>
                  <a:lnTo>
                    <a:pt x="10000" y="61980"/>
                  </a:lnTo>
                  <a:lnTo>
                    <a:pt x="11038" y="62829"/>
                  </a:lnTo>
                  <a:lnTo>
                    <a:pt x="12075" y="63584"/>
                  </a:lnTo>
                  <a:lnTo>
                    <a:pt x="14339" y="64905"/>
                  </a:lnTo>
                  <a:lnTo>
                    <a:pt x="16604" y="66131"/>
                  </a:lnTo>
                  <a:lnTo>
                    <a:pt x="19056" y="67169"/>
                  </a:lnTo>
                  <a:lnTo>
                    <a:pt x="21509" y="67923"/>
                  </a:lnTo>
                  <a:lnTo>
                    <a:pt x="24056" y="68584"/>
                  </a:lnTo>
                  <a:lnTo>
                    <a:pt x="26603" y="69055"/>
                  </a:lnTo>
                  <a:lnTo>
                    <a:pt x="27830" y="69055"/>
                  </a:lnTo>
                  <a:lnTo>
                    <a:pt x="30188" y="68867"/>
                  </a:lnTo>
                  <a:lnTo>
                    <a:pt x="33113" y="68678"/>
                  </a:lnTo>
                  <a:lnTo>
                    <a:pt x="36509" y="68301"/>
                  </a:lnTo>
                  <a:lnTo>
                    <a:pt x="39811" y="67923"/>
                  </a:lnTo>
                  <a:lnTo>
                    <a:pt x="42735" y="67452"/>
                  </a:lnTo>
                  <a:lnTo>
                    <a:pt x="44905" y="66980"/>
                  </a:lnTo>
                  <a:lnTo>
                    <a:pt x="45565" y="66791"/>
                  </a:lnTo>
                  <a:lnTo>
                    <a:pt x="45943" y="66508"/>
                  </a:lnTo>
                  <a:lnTo>
                    <a:pt x="47358" y="65942"/>
                  </a:lnTo>
                  <a:lnTo>
                    <a:pt x="48018" y="65565"/>
                  </a:lnTo>
                  <a:lnTo>
                    <a:pt x="48678" y="65188"/>
                  </a:lnTo>
                  <a:lnTo>
                    <a:pt x="47924" y="65471"/>
                  </a:lnTo>
                  <a:lnTo>
                    <a:pt x="51509" y="62924"/>
                  </a:lnTo>
                  <a:lnTo>
                    <a:pt x="53301" y="61508"/>
                  </a:lnTo>
                  <a:lnTo>
                    <a:pt x="55093" y="59905"/>
                  </a:lnTo>
                  <a:lnTo>
                    <a:pt x="55093" y="59905"/>
                  </a:lnTo>
                  <a:lnTo>
                    <a:pt x="54810" y="60376"/>
                  </a:lnTo>
                  <a:lnTo>
                    <a:pt x="54339" y="60754"/>
                  </a:lnTo>
                  <a:lnTo>
                    <a:pt x="55376" y="59999"/>
                  </a:lnTo>
                  <a:lnTo>
                    <a:pt x="56320" y="59056"/>
                  </a:lnTo>
                  <a:lnTo>
                    <a:pt x="57075" y="58395"/>
                  </a:lnTo>
                  <a:lnTo>
                    <a:pt x="57169" y="58207"/>
                  </a:lnTo>
                  <a:lnTo>
                    <a:pt x="57075" y="58207"/>
                  </a:lnTo>
                  <a:lnTo>
                    <a:pt x="57924" y="57546"/>
                  </a:lnTo>
                  <a:lnTo>
                    <a:pt x="58678" y="56697"/>
                  </a:lnTo>
                  <a:lnTo>
                    <a:pt x="59339" y="55754"/>
                  </a:lnTo>
                  <a:lnTo>
                    <a:pt x="59905" y="54905"/>
                  </a:lnTo>
                  <a:lnTo>
                    <a:pt x="59716" y="54999"/>
                  </a:lnTo>
                  <a:lnTo>
                    <a:pt x="59622" y="54999"/>
                  </a:lnTo>
                  <a:lnTo>
                    <a:pt x="59810" y="54622"/>
                  </a:lnTo>
                  <a:lnTo>
                    <a:pt x="59150" y="55565"/>
                  </a:lnTo>
                  <a:lnTo>
                    <a:pt x="59527" y="55094"/>
                  </a:lnTo>
                  <a:lnTo>
                    <a:pt x="59433" y="55377"/>
                  </a:lnTo>
                  <a:lnTo>
                    <a:pt x="58867" y="56037"/>
                  </a:lnTo>
                  <a:lnTo>
                    <a:pt x="59056" y="55660"/>
                  </a:lnTo>
                  <a:lnTo>
                    <a:pt x="59056" y="55660"/>
                  </a:lnTo>
                  <a:lnTo>
                    <a:pt x="58678" y="56037"/>
                  </a:lnTo>
                  <a:lnTo>
                    <a:pt x="59810" y="54339"/>
                  </a:lnTo>
                  <a:lnTo>
                    <a:pt x="60282" y="53490"/>
                  </a:lnTo>
                  <a:lnTo>
                    <a:pt x="60282" y="53301"/>
                  </a:lnTo>
                  <a:lnTo>
                    <a:pt x="60188" y="53395"/>
                  </a:lnTo>
                  <a:lnTo>
                    <a:pt x="60188" y="53395"/>
                  </a:lnTo>
                  <a:lnTo>
                    <a:pt x="60565" y="52924"/>
                  </a:lnTo>
                  <a:lnTo>
                    <a:pt x="61037" y="52452"/>
                  </a:lnTo>
                  <a:lnTo>
                    <a:pt x="61886" y="51509"/>
                  </a:lnTo>
                  <a:lnTo>
                    <a:pt x="61508" y="52452"/>
                  </a:lnTo>
                  <a:lnTo>
                    <a:pt x="60848" y="53584"/>
                  </a:lnTo>
                  <a:lnTo>
                    <a:pt x="59622" y="55565"/>
                  </a:lnTo>
                  <a:lnTo>
                    <a:pt x="60376" y="54528"/>
                  </a:lnTo>
                  <a:lnTo>
                    <a:pt x="60942" y="53678"/>
                  </a:lnTo>
                  <a:lnTo>
                    <a:pt x="61980" y="51792"/>
                  </a:lnTo>
                  <a:lnTo>
                    <a:pt x="61886" y="51886"/>
                  </a:lnTo>
                  <a:lnTo>
                    <a:pt x="61886" y="51697"/>
                  </a:lnTo>
                  <a:lnTo>
                    <a:pt x="62169" y="51037"/>
                  </a:lnTo>
                  <a:lnTo>
                    <a:pt x="62735" y="49999"/>
                  </a:lnTo>
                  <a:lnTo>
                    <a:pt x="61508" y="51603"/>
                  </a:lnTo>
                  <a:lnTo>
                    <a:pt x="61603" y="51037"/>
                  </a:lnTo>
                  <a:lnTo>
                    <a:pt x="61697" y="50377"/>
                  </a:lnTo>
                  <a:lnTo>
                    <a:pt x="62169" y="48962"/>
                  </a:lnTo>
                  <a:lnTo>
                    <a:pt x="62829" y="47358"/>
                  </a:lnTo>
                  <a:lnTo>
                    <a:pt x="63678" y="45565"/>
                  </a:lnTo>
                  <a:lnTo>
                    <a:pt x="65376" y="42169"/>
                  </a:lnTo>
                  <a:lnTo>
                    <a:pt x="66131" y="40660"/>
                  </a:lnTo>
                  <a:lnTo>
                    <a:pt x="66697" y="39339"/>
                  </a:lnTo>
                  <a:lnTo>
                    <a:pt x="66603" y="39528"/>
                  </a:lnTo>
                  <a:lnTo>
                    <a:pt x="66697" y="39056"/>
                  </a:lnTo>
                  <a:lnTo>
                    <a:pt x="66791" y="38962"/>
                  </a:lnTo>
                  <a:lnTo>
                    <a:pt x="66791" y="39056"/>
                  </a:lnTo>
                  <a:lnTo>
                    <a:pt x="66886" y="38584"/>
                  </a:lnTo>
                  <a:lnTo>
                    <a:pt x="66791" y="38867"/>
                  </a:lnTo>
                  <a:lnTo>
                    <a:pt x="66980" y="38207"/>
                  </a:lnTo>
                  <a:lnTo>
                    <a:pt x="67169" y="37264"/>
                  </a:lnTo>
                  <a:lnTo>
                    <a:pt x="67263" y="36415"/>
                  </a:lnTo>
                  <a:lnTo>
                    <a:pt x="67357" y="36509"/>
                  </a:lnTo>
                  <a:lnTo>
                    <a:pt x="67452" y="36509"/>
                  </a:lnTo>
                  <a:lnTo>
                    <a:pt x="67546" y="35943"/>
                  </a:lnTo>
                  <a:lnTo>
                    <a:pt x="67546" y="34811"/>
                  </a:lnTo>
                  <a:lnTo>
                    <a:pt x="67640" y="31037"/>
                  </a:lnTo>
                  <a:lnTo>
                    <a:pt x="67640" y="28490"/>
                  </a:lnTo>
                  <a:lnTo>
                    <a:pt x="67546" y="27736"/>
                  </a:lnTo>
                  <a:lnTo>
                    <a:pt x="67546" y="27547"/>
                  </a:lnTo>
                  <a:lnTo>
                    <a:pt x="67452" y="27547"/>
                  </a:lnTo>
                  <a:lnTo>
                    <a:pt x="67074" y="26792"/>
                  </a:lnTo>
                  <a:lnTo>
                    <a:pt x="66791" y="25660"/>
                  </a:lnTo>
                  <a:lnTo>
                    <a:pt x="66508" y="24528"/>
                  </a:lnTo>
                  <a:lnTo>
                    <a:pt x="66414" y="23585"/>
                  </a:lnTo>
                  <a:lnTo>
                    <a:pt x="66320" y="23679"/>
                  </a:lnTo>
                  <a:lnTo>
                    <a:pt x="66320" y="23490"/>
                  </a:lnTo>
                  <a:lnTo>
                    <a:pt x="65942" y="22924"/>
                  </a:lnTo>
                  <a:lnTo>
                    <a:pt x="65565" y="22358"/>
                  </a:lnTo>
                  <a:lnTo>
                    <a:pt x="64527" y="21132"/>
                  </a:lnTo>
                  <a:lnTo>
                    <a:pt x="63584" y="19906"/>
                  </a:lnTo>
                  <a:lnTo>
                    <a:pt x="63207" y="19340"/>
                  </a:lnTo>
                  <a:lnTo>
                    <a:pt x="63018" y="18774"/>
                  </a:lnTo>
                  <a:lnTo>
                    <a:pt x="63112" y="18962"/>
                  </a:lnTo>
                  <a:lnTo>
                    <a:pt x="63301" y="19057"/>
                  </a:lnTo>
                  <a:lnTo>
                    <a:pt x="63301" y="19057"/>
                  </a:lnTo>
                  <a:lnTo>
                    <a:pt x="63207" y="18868"/>
                  </a:lnTo>
                  <a:lnTo>
                    <a:pt x="62923" y="18491"/>
                  </a:lnTo>
                  <a:lnTo>
                    <a:pt x="61980" y="17453"/>
                  </a:lnTo>
                  <a:lnTo>
                    <a:pt x="61037" y="16509"/>
                  </a:lnTo>
                  <a:lnTo>
                    <a:pt x="61037" y="16698"/>
                  </a:lnTo>
                  <a:lnTo>
                    <a:pt x="61037" y="16887"/>
                  </a:lnTo>
                  <a:lnTo>
                    <a:pt x="60093" y="15943"/>
                  </a:lnTo>
                  <a:lnTo>
                    <a:pt x="60376" y="16321"/>
                  </a:lnTo>
                  <a:lnTo>
                    <a:pt x="59527" y="15377"/>
                  </a:lnTo>
                  <a:lnTo>
                    <a:pt x="59056" y="14906"/>
                  </a:lnTo>
                  <a:lnTo>
                    <a:pt x="59244" y="14906"/>
                  </a:lnTo>
                  <a:lnTo>
                    <a:pt x="59905" y="15472"/>
                  </a:lnTo>
                  <a:lnTo>
                    <a:pt x="59905" y="15472"/>
                  </a:lnTo>
                  <a:lnTo>
                    <a:pt x="57641" y="13396"/>
                  </a:lnTo>
                  <a:lnTo>
                    <a:pt x="58112" y="13868"/>
                  </a:lnTo>
                  <a:lnTo>
                    <a:pt x="56886" y="13019"/>
                  </a:lnTo>
                  <a:lnTo>
                    <a:pt x="55754" y="12453"/>
                  </a:lnTo>
                  <a:lnTo>
                    <a:pt x="56603" y="13113"/>
                  </a:lnTo>
                  <a:lnTo>
                    <a:pt x="57452" y="13774"/>
                  </a:lnTo>
                  <a:lnTo>
                    <a:pt x="58961" y="15283"/>
                  </a:lnTo>
                  <a:lnTo>
                    <a:pt x="60376" y="16604"/>
                  </a:lnTo>
                  <a:lnTo>
                    <a:pt x="61225" y="17264"/>
                  </a:lnTo>
                  <a:lnTo>
                    <a:pt x="62074" y="17925"/>
                  </a:lnTo>
                  <a:lnTo>
                    <a:pt x="62074" y="17925"/>
                  </a:lnTo>
                  <a:lnTo>
                    <a:pt x="61414" y="17547"/>
                  </a:lnTo>
                  <a:lnTo>
                    <a:pt x="60659" y="16981"/>
                  </a:lnTo>
                  <a:lnTo>
                    <a:pt x="60754" y="17264"/>
                  </a:lnTo>
                  <a:lnTo>
                    <a:pt x="60942" y="17642"/>
                  </a:lnTo>
                  <a:lnTo>
                    <a:pt x="61980" y="19151"/>
                  </a:lnTo>
                  <a:lnTo>
                    <a:pt x="63301" y="20943"/>
                  </a:lnTo>
                  <a:lnTo>
                    <a:pt x="63207" y="20943"/>
                  </a:lnTo>
                  <a:lnTo>
                    <a:pt x="63395" y="21038"/>
                  </a:lnTo>
                  <a:lnTo>
                    <a:pt x="63490" y="21321"/>
                  </a:lnTo>
                  <a:lnTo>
                    <a:pt x="63678" y="21604"/>
                  </a:lnTo>
                  <a:lnTo>
                    <a:pt x="63773" y="21698"/>
                  </a:lnTo>
                  <a:lnTo>
                    <a:pt x="63584" y="21321"/>
                  </a:lnTo>
                  <a:lnTo>
                    <a:pt x="63584" y="21321"/>
                  </a:lnTo>
                  <a:lnTo>
                    <a:pt x="64244" y="22170"/>
                  </a:lnTo>
                  <a:lnTo>
                    <a:pt x="64716" y="22641"/>
                  </a:lnTo>
                  <a:lnTo>
                    <a:pt x="64905" y="22830"/>
                  </a:lnTo>
                  <a:lnTo>
                    <a:pt x="64999" y="22830"/>
                  </a:lnTo>
                  <a:lnTo>
                    <a:pt x="64999" y="22641"/>
                  </a:lnTo>
                  <a:lnTo>
                    <a:pt x="64905" y="22358"/>
                  </a:lnTo>
                  <a:lnTo>
                    <a:pt x="65282" y="23207"/>
                  </a:lnTo>
                  <a:lnTo>
                    <a:pt x="65565" y="24056"/>
                  </a:lnTo>
                  <a:lnTo>
                    <a:pt x="66225" y="25943"/>
                  </a:lnTo>
                  <a:lnTo>
                    <a:pt x="66697" y="27830"/>
                  </a:lnTo>
                  <a:lnTo>
                    <a:pt x="66886" y="28490"/>
                  </a:lnTo>
                  <a:lnTo>
                    <a:pt x="66980" y="28868"/>
                  </a:lnTo>
                  <a:lnTo>
                    <a:pt x="66886" y="28962"/>
                  </a:lnTo>
                  <a:lnTo>
                    <a:pt x="66697" y="28679"/>
                  </a:lnTo>
                  <a:lnTo>
                    <a:pt x="66697" y="29245"/>
                  </a:lnTo>
                  <a:lnTo>
                    <a:pt x="66791" y="29905"/>
                  </a:lnTo>
                  <a:lnTo>
                    <a:pt x="66886" y="29905"/>
                  </a:lnTo>
                  <a:lnTo>
                    <a:pt x="66886" y="30094"/>
                  </a:lnTo>
                  <a:lnTo>
                    <a:pt x="66886" y="30566"/>
                  </a:lnTo>
                  <a:lnTo>
                    <a:pt x="66697" y="30377"/>
                  </a:lnTo>
                  <a:lnTo>
                    <a:pt x="66603" y="30188"/>
                  </a:lnTo>
                  <a:lnTo>
                    <a:pt x="66603" y="30094"/>
                  </a:lnTo>
                  <a:lnTo>
                    <a:pt x="66697" y="29905"/>
                  </a:lnTo>
                  <a:lnTo>
                    <a:pt x="66508" y="28679"/>
                  </a:lnTo>
                  <a:lnTo>
                    <a:pt x="66225" y="27358"/>
                  </a:lnTo>
                  <a:lnTo>
                    <a:pt x="66603" y="30283"/>
                  </a:lnTo>
                  <a:lnTo>
                    <a:pt x="66697" y="31792"/>
                  </a:lnTo>
                  <a:lnTo>
                    <a:pt x="66697" y="33302"/>
                  </a:lnTo>
                  <a:lnTo>
                    <a:pt x="66603" y="34717"/>
                  </a:lnTo>
                  <a:lnTo>
                    <a:pt x="66414" y="36226"/>
                  </a:lnTo>
                  <a:lnTo>
                    <a:pt x="66131" y="37547"/>
                  </a:lnTo>
                  <a:lnTo>
                    <a:pt x="65659" y="38962"/>
                  </a:lnTo>
                  <a:lnTo>
                    <a:pt x="65848" y="38584"/>
                  </a:lnTo>
                  <a:lnTo>
                    <a:pt x="65942" y="38584"/>
                  </a:lnTo>
                  <a:lnTo>
                    <a:pt x="65848" y="39245"/>
                  </a:lnTo>
                  <a:lnTo>
                    <a:pt x="65565" y="40188"/>
                  </a:lnTo>
                  <a:lnTo>
                    <a:pt x="65471" y="40471"/>
                  </a:lnTo>
                  <a:lnTo>
                    <a:pt x="65282" y="40660"/>
                  </a:lnTo>
                  <a:lnTo>
                    <a:pt x="65282" y="40566"/>
                  </a:lnTo>
                  <a:lnTo>
                    <a:pt x="65093" y="41132"/>
                  </a:lnTo>
                  <a:lnTo>
                    <a:pt x="64433" y="43018"/>
                  </a:lnTo>
                  <a:lnTo>
                    <a:pt x="63678" y="45282"/>
                  </a:lnTo>
                  <a:lnTo>
                    <a:pt x="62735" y="47264"/>
                  </a:lnTo>
                  <a:lnTo>
                    <a:pt x="61697" y="49056"/>
                  </a:lnTo>
                  <a:lnTo>
                    <a:pt x="60659" y="50943"/>
                  </a:lnTo>
                  <a:lnTo>
                    <a:pt x="59433" y="52735"/>
                  </a:lnTo>
                  <a:lnTo>
                    <a:pt x="58207" y="54433"/>
                  </a:lnTo>
                  <a:lnTo>
                    <a:pt x="56886" y="56037"/>
                  </a:lnTo>
                  <a:lnTo>
                    <a:pt x="55376" y="57641"/>
                  </a:lnTo>
                  <a:lnTo>
                    <a:pt x="53867" y="59150"/>
                  </a:lnTo>
                  <a:lnTo>
                    <a:pt x="52169" y="60376"/>
                  </a:lnTo>
                  <a:lnTo>
                    <a:pt x="48961" y="62452"/>
                  </a:lnTo>
                  <a:lnTo>
                    <a:pt x="44528" y="65282"/>
                  </a:lnTo>
                  <a:lnTo>
                    <a:pt x="44622" y="65188"/>
                  </a:lnTo>
                  <a:lnTo>
                    <a:pt x="44716" y="65093"/>
                  </a:lnTo>
                  <a:lnTo>
                    <a:pt x="45094" y="64810"/>
                  </a:lnTo>
                  <a:lnTo>
                    <a:pt x="45660" y="64527"/>
                  </a:lnTo>
                  <a:lnTo>
                    <a:pt x="43867" y="65376"/>
                  </a:lnTo>
                  <a:lnTo>
                    <a:pt x="43113" y="65754"/>
                  </a:lnTo>
                  <a:lnTo>
                    <a:pt x="42924" y="65754"/>
                  </a:lnTo>
                  <a:lnTo>
                    <a:pt x="43113" y="65659"/>
                  </a:lnTo>
                  <a:lnTo>
                    <a:pt x="41603" y="66037"/>
                  </a:lnTo>
                  <a:lnTo>
                    <a:pt x="39999" y="66320"/>
                  </a:lnTo>
                  <a:lnTo>
                    <a:pt x="38396" y="66508"/>
                  </a:lnTo>
                  <a:lnTo>
                    <a:pt x="36792" y="66697"/>
                  </a:lnTo>
                  <a:lnTo>
                    <a:pt x="33584" y="66980"/>
                  </a:lnTo>
                  <a:lnTo>
                    <a:pt x="32169" y="67169"/>
                  </a:lnTo>
                  <a:lnTo>
                    <a:pt x="30754" y="67357"/>
                  </a:lnTo>
                  <a:lnTo>
                    <a:pt x="30094" y="67357"/>
                  </a:lnTo>
                  <a:lnTo>
                    <a:pt x="29339" y="67263"/>
                  </a:lnTo>
                  <a:lnTo>
                    <a:pt x="27830" y="66886"/>
                  </a:lnTo>
                  <a:lnTo>
                    <a:pt x="26415" y="66508"/>
                  </a:lnTo>
                  <a:lnTo>
                    <a:pt x="25754" y="66414"/>
                  </a:lnTo>
                  <a:lnTo>
                    <a:pt x="25094" y="66414"/>
                  </a:lnTo>
                  <a:lnTo>
                    <a:pt x="25566" y="66980"/>
                  </a:lnTo>
                  <a:lnTo>
                    <a:pt x="25471" y="67074"/>
                  </a:lnTo>
                  <a:lnTo>
                    <a:pt x="25188" y="66980"/>
                  </a:lnTo>
                  <a:lnTo>
                    <a:pt x="24339" y="66791"/>
                  </a:lnTo>
                  <a:lnTo>
                    <a:pt x="23773" y="66508"/>
                  </a:lnTo>
                  <a:lnTo>
                    <a:pt x="24245" y="66414"/>
                  </a:lnTo>
                  <a:lnTo>
                    <a:pt x="24717" y="66603"/>
                  </a:lnTo>
                  <a:lnTo>
                    <a:pt x="24811" y="66414"/>
                  </a:lnTo>
                  <a:lnTo>
                    <a:pt x="24811" y="66320"/>
                  </a:lnTo>
                  <a:lnTo>
                    <a:pt x="24717" y="66225"/>
                  </a:lnTo>
                  <a:lnTo>
                    <a:pt x="24528" y="66131"/>
                  </a:lnTo>
                  <a:lnTo>
                    <a:pt x="24151" y="66225"/>
                  </a:lnTo>
                  <a:lnTo>
                    <a:pt x="23679" y="66320"/>
                  </a:lnTo>
                  <a:lnTo>
                    <a:pt x="23018" y="66414"/>
                  </a:lnTo>
                  <a:lnTo>
                    <a:pt x="23490" y="66225"/>
                  </a:lnTo>
                  <a:lnTo>
                    <a:pt x="22075" y="65942"/>
                  </a:lnTo>
                  <a:lnTo>
                    <a:pt x="20943" y="65659"/>
                  </a:lnTo>
                  <a:lnTo>
                    <a:pt x="20000" y="65282"/>
                  </a:lnTo>
                  <a:lnTo>
                    <a:pt x="19056" y="64810"/>
                  </a:lnTo>
                  <a:lnTo>
                    <a:pt x="19056" y="64810"/>
                  </a:lnTo>
                  <a:lnTo>
                    <a:pt x="19717" y="64999"/>
                  </a:lnTo>
                  <a:lnTo>
                    <a:pt x="19151" y="64716"/>
                  </a:lnTo>
                  <a:lnTo>
                    <a:pt x="18962" y="64810"/>
                  </a:lnTo>
                  <a:lnTo>
                    <a:pt x="19151" y="64905"/>
                  </a:lnTo>
                  <a:lnTo>
                    <a:pt x="18490" y="64905"/>
                  </a:lnTo>
                  <a:lnTo>
                    <a:pt x="17830" y="64716"/>
                  </a:lnTo>
                  <a:lnTo>
                    <a:pt x="17264" y="64527"/>
                  </a:lnTo>
                  <a:lnTo>
                    <a:pt x="16698" y="64150"/>
                  </a:lnTo>
                  <a:lnTo>
                    <a:pt x="16981" y="64056"/>
                  </a:lnTo>
                  <a:lnTo>
                    <a:pt x="17264" y="64150"/>
                  </a:lnTo>
                  <a:lnTo>
                    <a:pt x="17264" y="64150"/>
                  </a:lnTo>
                  <a:lnTo>
                    <a:pt x="15188" y="63207"/>
                  </a:lnTo>
                  <a:lnTo>
                    <a:pt x="14622" y="62829"/>
                  </a:lnTo>
                  <a:lnTo>
                    <a:pt x="14717" y="62924"/>
                  </a:lnTo>
                  <a:lnTo>
                    <a:pt x="13773" y="62546"/>
                  </a:lnTo>
                  <a:lnTo>
                    <a:pt x="12924" y="62075"/>
                  </a:lnTo>
                  <a:lnTo>
                    <a:pt x="12358" y="61697"/>
                  </a:lnTo>
                  <a:lnTo>
                    <a:pt x="12264" y="61508"/>
                  </a:lnTo>
                  <a:lnTo>
                    <a:pt x="12170" y="61320"/>
                  </a:lnTo>
                  <a:lnTo>
                    <a:pt x="11698" y="60942"/>
                  </a:lnTo>
                  <a:lnTo>
                    <a:pt x="11132" y="60471"/>
                  </a:lnTo>
                  <a:lnTo>
                    <a:pt x="9906" y="59244"/>
                  </a:lnTo>
                  <a:lnTo>
                    <a:pt x="9906" y="59244"/>
                  </a:lnTo>
                  <a:lnTo>
                    <a:pt x="10566" y="59527"/>
                  </a:lnTo>
                  <a:lnTo>
                    <a:pt x="9434" y="58584"/>
                  </a:lnTo>
                  <a:lnTo>
                    <a:pt x="8207" y="57546"/>
                  </a:lnTo>
                  <a:lnTo>
                    <a:pt x="7547" y="56886"/>
                  </a:lnTo>
                  <a:lnTo>
                    <a:pt x="6981" y="56131"/>
                  </a:lnTo>
                  <a:lnTo>
                    <a:pt x="6226" y="55094"/>
                  </a:lnTo>
                  <a:lnTo>
                    <a:pt x="6415" y="55377"/>
                  </a:lnTo>
                  <a:lnTo>
                    <a:pt x="6038" y="54905"/>
                  </a:lnTo>
                  <a:lnTo>
                    <a:pt x="5472" y="54244"/>
                  </a:lnTo>
                  <a:lnTo>
                    <a:pt x="5283" y="53961"/>
                  </a:lnTo>
                  <a:lnTo>
                    <a:pt x="5094" y="53867"/>
                  </a:lnTo>
                  <a:lnTo>
                    <a:pt x="5377" y="54622"/>
                  </a:lnTo>
                  <a:lnTo>
                    <a:pt x="5849" y="55282"/>
                  </a:lnTo>
                  <a:lnTo>
                    <a:pt x="6321" y="55943"/>
                  </a:lnTo>
                  <a:lnTo>
                    <a:pt x="6698" y="56603"/>
                  </a:lnTo>
                  <a:lnTo>
                    <a:pt x="6226" y="56226"/>
                  </a:lnTo>
                  <a:lnTo>
                    <a:pt x="5943" y="55848"/>
                  </a:lnTo>
                  <a:lnTo>
                    <a:pt x="6038" y="56037"/>
                  </a:lnTo>
                  <a:lnTo>
                    <a:pt x="5943" y="55943"/>
                  </a:lnTo>
                  <a:lnTo>
                    <a:pt x="5377" y="55188"/>
                  </a:lnTo>
                  <a:lnTo>
                    <a:pt x="5000" y="54716"/>
                  </a:lnTo>
                  <a:lnTo>
                    <a:pt x="4717" y="54150"/>
                  </a:lnTo>
                  <a:lnTo>
                    <a:pt x="4528" y="53678"/>
                  </a:lnTo>
                  <a:lnTo>
                    <a:pt x="4528" y="53584"/>
                  </a:lnTo>
                  <a:lnTo>
                    <a:pt x="4623" y="53395"/>
                  </a:lnTo>
                  <a:lnTo>
                    <a:pt x="5094" y="54244"/>
                  </a:lnTo>
                  <a:lnTo>
                    <a:pt x="4717" y="53301"/>
                  </a:lnTo>
                  <a:lnTo>
                    <a:pt x="4528" y="53018"/>
                  </a:lnTo>
                  <a:lnTo>
                    <a:pt x="4151" y="52263"/>
                  </a:lnTo>
                  <a:lnTo>
                    <a:pt x="4151" y="52169"/>
                  </a:lnTo>
                  <a:lnTo>
                    <a:pt x="3774" y="51509"/>
                  </a:lnTo>
                  <a:lnTo>
                    <a:pt x="3396" y="50660"/>
                  </a:lnTo>
                  <a:lnTo>
                    <a:pt x="3585" y="51603"/>
                  </a:lnTo>
                  <a:lnTo>
                    <a:pt x="3396" y="51226"/>
                  </a:lnTo>
                  <a:lnTo>
                    <a:pt x="3208" y="50848"/>
                  </a:lnTo>
                  <a:lnTo>
                    <a:pt x="3208" y="50471"/>
                  </a:lnTo>
                  <a:lnTo>
                    <a:pt x="3208" y="50094"/>
                  </a:lnTo>
                  <a:lnTo>
                    <a:pt x="3585" y="50754"/>
                  </a:lnTo>
                  <a:lnTo>
                    <a:pt x="3868" y="51509"/>
                  </a:lnTo>
                  <a:lnTo>
                    <a:pt x="3868" y="51509"/>
                  </a:lnTo>
                  <a:lnTo>
                    <a:pt x="3208" y="49528"/>
                  </a:lnTo>
                  <a:lnTo>
                    <a:pt x="3208" y="49528"/>
                  </a:lnTo>
                  <a:lnTo>
                    <a:pt x="3868" y="50754"/>
                  </a:lnTo>
                  <a:lnTo>
                    <a:pt x="3208" y="48962"/>
                  </a:lnTo>
                  <a:lnTo>
                    <a:pt x="3585" y="49339"/>
                  </a:lnTo>
                  <a:lnTo>
                    <a:pt x="3774" y="49433"/>
                  </a:lnTo>
                  <a:lnTo>
                    <a:pt x="3962" y="49528"/>
                  </a:lnTo>
                  <a:lnTo>
                    <a:pt x="4057" y="49905"/>
                  </a:lnTo>
                  <a:lnTo>
                    <a:pt x="3868" y="48962"/>
                  </a:lnTo>
                  <a:lnTo>
                    <a:pt x="3491" y="47924"/>
                  </a:lnTo>
                  <a:lnTo>
                    <a:pt x="2641" y="45565"/>
                  </a:lnTo>
                  <a:lnTo>
                    <a:pt x="2170" y="43867"/>
                  </a:lnTo>
                  <a:lnTo>
                    <a:pt x="1698" y="41886"/>
                  </a:lnTo>
                  <a:lnTo>
                    <a:pt x="1698" y="41886"/>
                  </a:lnTo>
                  <a:lnTo>
                    <a:pt x="1887" y="42075"/>
                  </a:lnTo>
                  <a:lnTo>
                    <a:pt x="1981" y="41981"/>
                  </a:lnTo>
                  <a:lnTo>
                    <a:pt x="2075" y="42075"/>
                  </a:lnTo>
                  <a:lnTo>
                    <a:pt x="2264" y="42169"/>
                  </a:lnTo>
                  <a:lnTo>
                    <a:pt x="2170" y="40283"/>
                  </a:lnTo>
                  <a:lnTo>
                    <a:pt x="2075" y="38301"/>
                  </a:lnTo>
                  <a:lnTo>
                    <a:pt x="2170" y="36415"/>
                  </a:lnTo>
                  <a:lnTo>
                    <a:pt x="2358" y="35566"/>
                  </a:lnTo>
                  <a:lnTo>
                    <a:pt x="2453" y="34811"/>
                  </a:lnTo>
                  <a:lnTo>
                    <a:pt x="2830" y="32830"/>
                  </a:lnTo>
                  <a:lnTo>
                    <a:pt x="2830" y="33207"/>
                  </a:lnTo>
                  <a:lnTo>
                    <a:pt x="2924" y="33490"/>
                  </a:lnTo>
                  <a:lnTo>
                    <a:pt x="2924" y="32453"/>
                  </a:lnTo>
                  <a:lnTo>
                    <a:pt x="3019" y="31415"/>
                  </a:lnTo>
                  <a:lnTo>
                    <a:pt x="3396" y="29245"/>
                  </a:lnTo>
                  <a:lnTo>
                    <a:pt x="3868" y="27075"/>
                  </a:lnTo>
                  <a:lnTo>
                    <a:pt x="4623" y="25000"/>
                  </a:lnTo>
                  <a:lnTo>
                    <a:pt x="5566" y="22830"/>
                  </a:lnTo>
                  <a:lnTo>
                    <a:pt x="6604" y="20849"/>
                  </a:lnTo>
                  <a:lnTo>
                    <a:pt x="7830" y="18868"/>
                  </a:lnTo>
                  <a:lnTo>
                    <a:pt x="9151" y="16887"/>
                  </a:lnTo>
                  <a:lnTo>
                    <a:pt x="10566" y="15094"/>
                  </a:lnTo>
                  <a:lnTo>
                    <a:pt x="12075" y="13302"/>
                  </a:lnTo>
                  <a:lnTo>
                    <a:pt x="13773" y="11698"/>
                  </a:lnTo>
                  <a:lnTo>
                    <a:pt x="15377" y="10095"/>
                  </a:lnTo>
                  <a:lnTo>
                    <a:pt x="17170" y="8679"/>
                  </a:lnTo>
                  <a:lnTo>
                    <a:pt x="18962" y="7453"/>
                  </a:lnTo>
                  <a:lnTo>
                    <a:pt x="20754" y="6321"/>
                  </a:lnTo>
                  <a:lnTo>
                    <a:pt x="22547" y="5378"/>
                  </a:lnTo>
                  <a:lnTo>
                    <a:pt x="21603" y="6227"/>
                  </a:lnTo>
                  <a:lnTo>
                    <a:pt x="22641" y="5472"/>
                  </a:lnTo>
                  <a:lnTo>
                    <a:pt x="23302" y="5095"/>
                  </a:lnTo>
                  <a:lnTo>
                    <a:pt x="25377" y="4151"/>
                  </a:lnTo>
                  <a:lnTo>
                    <a:pt x="24811" y="4151"/>
                  </a:lnTo>
                  <a:lnTo>
                    <a:pt x="25660" y="3774"/>
                  </a:lnTo>
                  <a:lnTo>
                    <a:pt x="26886" y="3208"/>
                  </a:lnTo>
                  <a:lnTo>
                    <a:pt x="26603" y="3585"/>
                  </a:lnTo>
                  <a:lnTo>
                    <a:pt x="26886" y="3585"/>
                  </a:lnTo>
                  <a:lnTo>
                    <a:pt x="26886" y="3680"/>
                  </a:lnTo>
                  <a:lnTo>
                    <a:pt x="26792" y="3774"/>
                  </a:lnTo>
                  <a:lnTo>
                    <a:pt x="28301" y="3302"/>
                  </a:lnTo>
                  <a:lnTo>
                    <a:pt x="29622" y="2736"/>
                  </a:lnTo>
                  <a:lnTo>
                    <a:pt x="31037" y="2264"/>
                  </a:lnTo>
                  <a:lnTo>
                    <a:pt x="31792" y="2076"/>
                  </a:lnTo>
                  <a:lnTo>
                    <a:pt x="32641" y="1981"/>
                  </a:lnTo>
                  <a:lnTo>
                    <a:pt x="32547" y="2076"/>
                  </a:lnTo>
                  <a:lnTo>
                    <a:pt x="32924" y="1981"/>
                  </a:lnTo>
                  <a:lnTo>
                    <a:pt x="34245" y="1793"/>
                  </a:lnTo>
                  <a:lnTo>
                    <a:pt x="35848" y="1415"/>
                  </a:lnTo>
                  <a:lnTo>
                    <a:pt x="36981" y="1132"/>
                  </a:lnTo>
                  <a:lnTo>
                    <a:pt x="36981" y="1415"/>
                  </a:lnTo>
                  <a:lnTo>
                    <a:pt x="40943" y="1227"/>
                  </a:lnTo>
                  <a:lnTo>
                    <a:pt x="41509" y="1038"/>
                  </a:lnTo>
                  <a:lnTo>
                    <a:pt x="41697" y="1132"/>
                  </a:lnTo>
                  <a:lnTo>
                    <a:pt x="41509" y="1227"/>
                  </a:lnTo>
                  <a:lnTo>
                    <a:pt x="41320" y="1321"/>
                  </a:lnTo>
                  <a:lnTo>
                    <a:pt x="42263" y="1321"/>
                  </a:lnTo>
                  <a:lnTo>
                    <a:pt x="43113" y="1227"/>
                  </a:lnTo>
                  <a:lnTo>
                    <a:pt x="43396" y="1415"/>
                  </a:lnTo>
                  <a:lnTo>
                    <a:pt x="44056" y="1604"/>
                  </a:lnTo>
                  <a:lnTo>
                    <a:pt x="45943" y="2076"/>
                  </a:lnTo>
                  <a:lnTo>
                    <a:pt x="48018" y="2359"/>
                  </a:lnTo>
                  <a:lnTo>
                    <a:pt x="49622" y="2736"/>
                  </a:lnTo>
                  <a:lnTo>
                    <a:pt x="47641" y="1981"/>
                  </a:lnTo>
                  <a:lnTo>
                    <a:pt x="45282" y="1321"/>
                  </a:lnTo>
                  <a:lnTo>
                    <a:pt x="42735" y="755"/>
                  </a:lnTo>
                  <a:lnTo>
                    <a:pt x="40188" y="283"/>
                  </a:lnTo>
                  <a:lnTo>
                    <a:pt x="37735" y="95"/>
                  </a:lnTo>
                  <a:lnTo>
                    <a:pt x="35471" y="0"/>
                  </a:lnTo>
                  <a:close/>
                </a:path>
              </a:pathLst>
            </a:custGeom>
            <a:solidFill>
              <a:srgbClr val="FF0000"/>
            </a:solidFill>
            <a:ln>
              <a:noFill/>
            </a:ln>
          </p:spPr>
          <p:txBody>
            <a:bodyPr spcFirstLastPara="1" wrap="square" lIns="91425" tIns="91425" rIns="91425" bIns="91425" anchor="ctr" anchorCtr="0">
              <a:noAutofit/>
            </a:bodyPr>
            <a:lstStyle/>
            <a:p>
              <a:pPr marL="0" lvl="0" indent="0">
                <a:spcBef>
                  <a:spcPts val="0"/>
                </a:spcBef>
                <a:spcAft>
                  <a:spcPts val="0"/>
                </a:spcAft>
                <a:buNone/>
              </a:pPr>
              <a:endParaRPr sz="1200" dirty="0"/>
            </a:p>
          </p:txBody>
        </p:sp>
        <p:sp>
          <p:nvSpPr>
            <p:cNvPr id="24" name="TextBox 23">
              <a:extLst>
                <a:ext uri="{FF2B5EF4-FFF2-40B4-BE49-F238E27FC236}">
                  <a16:creationId xmlns:a16="http://schemas.microsoft.com/office/drawing/2014/main" id="{733A27E7-03EA-1F4B-9475-3C0BF399C5E5}"/>
                </a:ext>
              </a:extLst>
            </p:cNvPr>
            <p:cNvSpPr txBox="1"/>
            <p:nvPr/>
          </p:nvSpPr>
          <p:spPr>
            <a:xfrm>
              <a:off x="730131" y="1162983"/>
              <a:ext cx="301686" cy="351493"/>
            </a:xfrm>
            <a:prstGeom prst="rect">
              <a:avLst/>
            </a:prstGeom>
            <a:noFill/>
          </p:spPr>
          <p:txBody>
            <a:bodyPr wrap="square" rtlCol="0">
              <a:spAutoFit/>
            </a:bodyPr>
            <a:lstStyle/>
            <a:p>
              <a:r>
                <a:rPr lang="en-US" sz="1200" dirty="0">
                  <a:solidFill>
                    <a:srgbClr val="F36F26"/>
                  </a:solidFill>
                </a:rPr>
                <a:t> </a:t>
              </a:r>
              <a:r>
                <a:rPr lang="en-US" sz="1400" dirty="0">
                  <a:solidFill>
                    <a:srgbClr val="F36F26"/>
                  </a:solidFill>
                  <a:latin typeface="Comic Sans MS" panose="030F0902030302020204" pitchFamily="66" charset="0"/>
                </a:rPr>
                <a:t>¡</a:t>
              </a:r>
              <a:endParaRPr lang="en-US" sz="1200" dirty="0">
                <a:solidFill>
                  <a:srgbClr val="F36F26"/>
                </a:solidFill>
                <a:latin typeface="Comic Sans MS" panose="030F0902030302020204" pitchFamily="66" charset="0"/>
              </a:endParaRPr>
            </a:p>
          </p:txBody>
        </p:sp>
      </p:grpSp>
      <p:sp>
        <p:nvSpPr>
          <p:cNvPr id="25" name="TextBox 24">
            <a:extLst>
              <a:ext uri="{FF2B5EF4-FFF2-40B4-BE49-F238E27FC236}">
                <a16:creationId xmlns:a16="http://schemas.microsoft.com/office/drawing/2014/main" id="{6AF79EC0-5B16-6F40-8CA3-181938D01592}"/>
              </a:ext>
            </a:extLst>
          </p:cNvPr>
          <p:cNvSpPr txBox="1"/>
          <p:nvPr/>
        </p:nvSpPr>
        <p:spPr>
          <a:xfrm>
            <a:off x="1490818" y="5914111"/>
            <a:ext cx="4997726" cy="489534"/>
          </a:xfrm>
          <a:prstGeom prst="rect">
            <a:avLst/>
          </a:prstGeom>
          <a:noFill/>
        </p:spPr>
        <p:txBody>
          <a:bodyPr wrap="square" tIns="90000" bIns="90000" rtlCol="0" anchor="t">
            <a:spAutoFit/>
          </a:bodyPr>
          <a:lstStyle/>
          <a:p>
            <a:pPr algn="just"/>
            <a:r>
              <a:rPr lang="en-US" sz="1000" b="1" dirty="0">
                <a:solidFill>
                  <a:srgbClr val="EE4328"/>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Note: This is an example, it is recommended the use of good practices at the design and language level in which the producer will be implemented</a:t>
            </a:r>
          </a:p>
        </p:txBody>
      </p:sp>
    </p:spTree>
    <p:extLst>
      <p:ext uri="{BB962C8B-B14F-4D97-AF65-F5344CB8AC3E}">
        <p14:creationId xmlns:p14="http://schemas.microsoft.com/office/powerpoint/2010/main" val="280861539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tangle 3">
            <a:extLst>
              <a:ext uri="{FF2B5EF4-FFF2-40B4-BE49-F238E27FC236}">
                <a16:creationId xmlns:a16="http://schemas.microsoft.com/office/drawing/2014/main" id="{A27FD23C-A522-0E4F-B70C-CC83BC4542BA}"/>
              </a:ext>
            </a:extLst>
          </p:cNvPr>
          <p:cNvSpPr txBox="1"/>
          <p:nvPr/>
        </p:nvSpPr>
        <p:spPr>
          <a:xfrm>
            <a:off x="404808" y="237462"/>
            <a:ext cx="7585857" cy="400105"/>
          </a:xfrm>
          <a:prstGeom prst="rect">
            <a:avLst/>
          </a:prstGeom>
          <a:ln w="12700">
            <a:miter lim="400000"/>
          </a:ln>
          <a:extLst>
            <a:ext uri="{C572A759-6A51-4108-AA02-DFA0A04FC94B}">
              <ma14:wrappingTextBoxFlag xmlns:ma14="http://schemas.microsoft.com/office/mac/drawingml/2011/main" xmlns="" val="1"/>
            </a:ext>
          </a:extLst>
        </p:spPr>
        <p:txBody>
          <a:bodyPr wrap="square" lIns="45718" tIns="45718" rIns="45718" bIns="45718">
            <a:spAutoFit/>
          </a:bodyPr>
          <a:lstStyle>
            <a:lvl1pPr algn="l" defTabSz="914400">
              <a:defRPr sz="2200" b="1">
                <a:solidFill>
                  <a:srgbClr val="FFFFFF"/>
                </a:solidFill>
                <a:latin typeface="Arial"/>
                <a:ea typeface="Arial"/>
                <a:cs typeface="Arial"/>
                <a:sym typeface="Arial"/>
              </a:defRPr>
            </a:lvl1pPr>
          </a:lstStyle>
          <a:p>
            <a:r>
              <a:rPr lang="en-US" sz="2000" dirty="0">
                <a:solidFill>
                  <a:srgbClr val="016AA2"/>
                </a:solidFill>
              </a:rPr>
              <a:t>Features and terminology (IX)</a:t>
            </a:r>
          </a:p>
        </p:txBody>
      </p:sp>
      <p:sp>
        <p:nvSpPr>
          <p:cNvPr id="65" name="Rectangle 3"/>
          <p:cNvSpPr txBox="1"/>
          <p:nvPr/>
        </p:nvSpPr>
        <p:spPr>
          <a:xfrm>
            <a:off x="404806" y="610135"/>
            <a:ext cx="8775769" cy="369328"/>
          </a:xfrm>
          <a:prstGeom prst="rect">
            <a:avLst/>
          </a:prstGeom>
          <a:ln w="12700">
            <a:miter lim="400000"/>
          </a:ln>
          <a:extLst>
            <a:ext uri="{C572A759-6A51-4108-AA02-DFA0A04FC94B}">
              <ma14:wrappingTextBoxFlag xmlns="" xmlns:ma14="http://schemas.microsoft.com/office/mac/drawingml/2011/main" val="1"/>
            </a:ext>
          </a:extLst>
        </p:spPr>
        <p:txBody>
          <a:bodyPr wrap="square" lIns="45718" tIns="45718" rIns="45718" bIns="45718">
            <a:spAutoFit/>
          </a:bodyPr>
          <a:lstStyle>
            <a:lvl1pPr algn="l" defTabSz="914400">
              <a:defRPr sz="2000">
                <a:solidFill>
                  <a:srgbClr val="104D6A"/>
                </a:solidFill>
                <a:latin typeface="Arial"/>
                <a:ea typeface="Arial"/>
                <a:cs typeface="Arial"/>
                <a:sym typeface="Arial"/>
              </a:defRPr>
            </a:lvl1pPr>
          </a:lstStyle>
          <a:p>
            <a:pPr>
              <a:defRPr/>
            </a:pPr>
            <a:r>
              <a:rPr lang="en-US" sz="1800" b="1" dirty="0">
                <a:solidFill>
                  <a:srgbClr val="73C4EF"/>
                </a:solidFill>
              </a:rPr>
              <a:t>Event Hub Architecture – Consumers &amp; Consumer Groups</a:t>
            </a:r>
          </a:p>
        </p:txBody>
      </p:sp>
      <p:sp>
        <p:nvSpPr>
          <p:cNvPr id="24" name="Rectangle 23">
            <a:extLst>
              <a:ext uri="{FF2B5EF4-FFF2-40B4-BE49-F238E27FC236}">
                <a16:creationId xmlns:a16="http://schemas.microsoft.com/office/drawing/2014/main" id="{99A2FE60-147D-FA46-A7E8-BA316040C987}"/>
              </a:ext>
            </a:extLst>
          </p:cNvPr>
          <p:cNvSpPr/>
          <p:nvPr/>
        </p:nvSpPr>
        <p:spPr>
          <a:xfrm>
            <a:off x="404805" y="1297754"/>
            <a:ext cx="11276911" cy="735756"/>
          </a:xfrm>
          <a:prstGeom prst="rect">
            <a:avLst/>
          </a:prstGeom>
          <a:noFill/>
        </p:spPr>
        <p:txBody>
          <a:bodyPr wrap="square" tIns="90000" bIns="90000" rtlCol="0" anchor="t">
            <a:spAutoFit/>
          </a:bodyPr>
          <a:lstStyle/>
          <a:p>
            <a:pPr algn="just"/>
            <a:r>
              <a:rPr lang="en-US" sz="900" dirty="0">
                <a:solidFill>
                  <a:srgbClr val="0079D1"/>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Consumer read data from topic (identified by name)</a:t>
            </a:r>
          </a:p>
          <a:p>
            <a:pPr algn="just"/>
            <a:r>
              <a:rPr lang="en-US" sz="900" dirty="0">
                <a:solidFill>
                  <a:srgbClr val="0079D1"/>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Consumer Know with broker to read from</a:t>
            </a:r>
          </a:p>
          <a:p>
            <a:pPr algn="just"/>
            <a:r>
              <a:rPr lang="en-US" sz="900" dirty="0">
                <a:solidFill>
                  <a:srgbClr val="0079D1"/>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In case of broker failures, consumers know how to recover</a:t>
            </a:r>
          </a:p>
          <a:p>
            <a:pPr algn="just"/>
            <a:r>
              <a:rPr lang="en-US" sz="900" dirty="0">
                <a:solidFill>
                  <a:srgbClr val="0079D1"/>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Data is read in order within each partitions</a:t>
            </a:r>
          </a:p>
        </p:txBody>
      </p:sp>
      <p:sp>
        <p:nvSpPr>
          <p:cNvPr id="28" name="Rounded Rectangle 27">
            <a:extLst>
              <a:ext uri="{FF2B5EF4-FFF2-40B4-BE49-F238E27FC236}">
                <a16:creationId xmlns:a16="http://schemas.microsoft.com/office/drawing/2014/main" id="{656C23D9-77C6-A34D-A075-BF4AC0D0DC24}"/>
              </a:ext>
            </a:extLst>
          </p:cNvPr>
          <p:cNvSpPr/>
          <p:nvPr/>
        </p:nvSpPr>
        <p:spPr>
          <a:xfrm>
            <a:off x="5674737" y="2719801"/>
            <a:ext cx="183604" cy="461059"/>
          </a:xfrm>
          <a:prstGeom prst="roundRect">
            <a:avLst/>
          </a:prstGeom>
          <a:solidFill>
            <a:srgbClr val="87CBD8"/>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solidFill>
                  <a:srgbClr val="0079D1"/>
                </a:solidFill>
                <a:latin typeface="Comic Sans MS" panose="030F0902030302020204" pitchFamily="66" charset="0"/>
                <a:ea typeface="Nanum Pen Script" panose="03040600000000000000" pitchFamily="66" charset="-127"/>
              </a:rPr>
              <a:t>0</a:t>
            </a:r>
          </a:p>
        </p:txBody>
      </p:sp>
      <p:sp>
        <p:nvSpPr>
          <p:cNvPr id="29" name="Rounded Rectangle 28">
            <a:extLst>
              <a:ext uri="{FF2B5EF4-FFF2-40B4-BE49-F238E27FC236}">
                <a16:creationId xmlns:a16="http://schemas.microsoft.com/office/drawing/2014/main" id="{AF8CECC4-69FD-164B-BD86-E1AF5699E078}"/>
              </a:ext>
            </a:extLst>
          </p:cNvPr>
          <p:cNvSpPr/>
          <p:nvPr/>
        </p:nvSpPr>
        <p:spPr>
          <a:xfrm>
            <a:off x="5858341" y="2719801"/>
            <a:ext cx="183604" cy="456403"/>
          </a:xfrm>
          <a:prstGeom prst="roundRect">
            <a:avLst/>
          </a:prstGeom>
          <a:solidFill>
            <a:srgbClr val="87CBD8"/>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solidFill>
                  <a:srgbClr val="0079D1"/>
                </a:solidFill>
                <a:latin typeface="Comic Sans MS" panose="030F0902030302020204" pitchFamily="66" charset="0"/>
                <a:ea typeface="Nanum Pen Script" panose="03040600000000000000" pitchFamily="66" charset="-127"/>
              </a:rPr>
              <a:t>1</a:t>
            </a:r>
          </a:p>
        </p:txBody>
      </p:sp>
      <p:sp>
        <p:nvSpPr>
          <p:cNvPr id="33" name="Rounded Rectangle 32">
            <a:extLst>
              <a:ext uri="{FF2B5EF4-FFF2-40B4-BE49-F238E27FC236}">
                <a16:creationId xmlns:a16="http://schemas.microsoft.com/office/drawing/2014/main" id="{505D9528-6096-8A48-A42C-51D5B1103813}"/>
              </a:ext>
            </a:extLst>
          </p:cNvPr>
          <p:cNvSpPr/>
          <p:nvPr/>
        </p:nvSpPr>
        <p:spPr>
          <a:xfrm>
            <a:off x="6041945" y="2719801"/>
            <a:ext cx="183604" cy="461059"/>
          </a:xfrm>
          <a:prstGeom prst="roundRect">
            <a:avLst/>
          </a:prstGeom>
          <a:solidFill>
            <a:srgbClr val="87CBD8"/>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solidFill>
                  <a:srgbClr val="0079D1"/>
                </a:solidFill>
                <a:latin typeface="Comic Sans MS" panose="030F0902030302020204" pitchFamily="66" charset="0"/>
                <a:ea typeface="Nanum Pen Script" panose="03040600000000000000" pitchFamily="66" charset="-127"/>
              </a:rPr>
              <a:t>2</a:t>
            </a:r>
          </a:p>
        </p:txBody>
      </p:sp>
      <p:sp>
        <p:nvSpPr>
          <p:cNvPr id="34" name="Rounded Rectangle 33">
            <a:extLst>
              <a:ext uri="{FF2B5EF4-FFF2-40B4-BE49-F238E27FC236}">
                <a16:creationId xmlns:a16="http://schemas.microsoft.com/office/drawing/2014/main" id="{261A8B5D-4181-5140-958B-ABA943182A52}"/>
              </a:ext>
            </a:extLst>
          </p:cNvPr>
          <p:cNvSpPr/>
          <p:nvPr/>
        </p:nvSpPr>
        <p:spPr>
          <a:xfrm>
            <a:off x="6225549" y="2719801"/>
            <a:ext cx="183604" cy="456403"/>
          </a:xfrm>
          <a:prstGeom prst="roundRect">
            <a:avLst/>
          </a:prstGeom>
          <a:solidFill>
            <a:srgbClr val="87CBD8"/>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solidFill>
                  <a:srgbClr val="0079D1"/>
                </a:solidFill>
                <a:latin typeface="Comic Sans MS" panose="030F0902030302020204" pitchFamily="66" charset="0"/>
                <a:ea typeface="Nanum Pen Script" panose="03040600000000000000" pitchFamily="66" charset="-127"/>
              </a:rPr>
              <a:t>3</a:t>
            </a:r>
          </a:p>
        </p:txBody>
      </p:sp>
      <p:sp>
        <p:nvSpPr>
          <p:cNvPr id="35" name="Rounded Rectangle 34">
            <a:extLst>
              <a:ext uri="{FF2B5EF4-FFF2-40B4-BE49-F238E27FC236}">
                <a16:creationId xmlns:a16="http://schemas.microsoft.com/office/drawing/2014/main" id="{E213BBDD-A0B8-EB4C-B287-A9AEDDAE3880}"/>
              </a:ext>
            </a:extLst>
          </p:cNvPr>
          <p:cNvSpPr/>
          <p:nvPr/>
        </p:nvSpPr>
        <p:spPr>
          <a:xfrm>
            <a:off x="6411359" y="2719801"/>
            <a:ext cx="183604" cy="461059"/>
          </a:xfrm>
          <a:prstGeom prst="roundRect">
            <a:avLst/>
          </a:prstGeom>
          <a:solidFill>
            <a:srgbClr val="87CBD8"/>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solidFill>
                  <a:srgbClr val="0079D1"/>
                </a:solidFill>
                <a:latin typeface="Comic Sans MS" panose="030F0902030302020204" pitchFamily="66" charset="0"/>
                <a:ea typeface="Nanum Pen Script" panose="03040600000000000000" pitchFamily="66" charset="-127"/>
              </a:rPr>
              <a:t>4</a:t>
            </a:r>
          </a:p>
        </p:txBody>
      </p:sp>
      <p:sp>
        <p:nvSpPr>
          <p:cNvPr id="37" name="Rounded Rectangle 36">
            <a:extLst>
              <a:ext uri="{FF2B5EF4-FFF2-40B4-BE49-F238E27FC236}">
                <a16:creationId xmlns:a16="http://schemas.microsoft.com/office/drawing/2014/main" id="{42FFAB62-7059-B947-9586-E1BDF35BCF20}"/>
              </a:ext>
            </a:extLst>
          </p:cNvPr>
          <p:cNvSpPr/>
          <p:nvPr/>
        </p:nvSpPr>
        <p:spPr>
          <a:xfrm>
            <a:off x="6594963" y="2719801"/>
            <a:ext cx="183604" cy="456403"/>
          </a:xfrm>
          <a:prstGeom prst="roundRect">
            <a:avLst/>
          </a:prstGeom>
          <a:solidFill>
            <a:srgbClr val="87CBD8"/>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solidFill>
                  <a:srgbClr val="0079D1"/>
                </a:solidFill>
                <a:latin typeface="Comic Sans MS" panose="030F0902030302020204" pitchFamily="66" charset="0"/>
                <a:ea typeface="Nanum Pen Script" panose="03040600000000000000" pitchFamily="66" charset="-127"/>
              </a:rPr>
              <a:t>5</a:t>
            </a:r>
          </a:p>
        </p:txBody>
      </p:sp>
      <p:sp>
        <p:nvSpPr>
          <p:cNvPr id="38" name="Rounded Rectangle 37">
            <a:extLst>
              <a:ext uri="{FF2B5EF4-FFF2-40B4-BE49-F238E27FC236}">
                <a16:creationId xmlns:a16="http://schemas.microsoft.com/office/drawing/2014/main" id="{E58FF93C-5D2F-654C-A8FF-CE89ACD6FEC2}"/>
              </a:ext>
            </a:extLst>
          </p:cNvPr>
          <p:cNvSpPr/>
          <p:nvPr/>
        </p:nvSpPr>
        <p:spPr>
          <a:xfrm>
            <a:off x="6778567" y="2719801"/>
            <a:ext cx="183604" cy="461059"/>
          </a:xfrm>
          <a:prstGeom prst="roundRect">
            <a:avLst/>
          </a:prstGeom>
          <a:solidFill>
            <a:srgbClr val="87CBD8"/>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solidFill>
                  <a:srgbClr val="0079D1"/>
                </a:solidFill>
                <a:latin typeface="Comic Sans MS" panose="030F0902030302020204" pitchFamily="66" charset="0"/>
                <a:ea typeface="Nanum Pen Script" panose="03040600000000000000" pitchFamily="66" charset="-127"/>
              </a:rPr>
              <a:t>6</a:t>
            </a:r>
          </a:p>
        </p:txBody>
      </p:sp>
      <p:sp>
        <p:nvSpPr>
          <p:cNvPr id="39" name="Rounded Rectangle 38">
            <a:extLst>
              <a:ext uri="{FF2B5EF4-FFF2-40B4-BE49-F238E27FC236}">
                <a16:creationId xmlns:a16="http://schemas.microsoft.com/office/drawing/2014/main" id="{15545A23-2329-5243-8768-79831B0FC2C5}"/>
              </a:ext>
            </a:extLst>
          </p:cNvPr>
          <p:cNvSpPr/>
          <p:nvPr/>
        </p:nvSpPr>
        <p:spPr>
          <a:xfrm>
            <a:off x="6962171" y="2719801"/>
            <a:ext cx="183604" cy="456403"/>
          </a:xfrm>
          <a:prstGeom prst="roundRect">
            <a:avLst/>
          </a:prstGeom>
          <a:solidFill>
            <a:srgbClr val="87CBD8"/>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solidFill>
                  <a:srgbClr val="0079D1"/>
                </a:solidFill>
                <a:latin typeface="Comic Sans MS" panose="030F0902030302020204" pitchFamily="66" charset="0"/>
                <a:ea typeface="Nanum Pen Script" panose="03040600000000000000" pitchFamily="66" charset="-127"/>
              </a:rPr>
              <a:t>7</a:t>
            </a:r>
          </a:p>
        </p:txBody>
      </p:sp>
      <p:sp>
        <p:nvSpPr>
          <p:cNvPr id="40" name="Rounded Rectangle 39">
            <a:extLst>
              <a:ext uri="{FF2B5EF4-FFF2-40B4-BE49-F238E27FC236}">
                <a16:creationId xmlns:a16="http://schemas.microsoft.com/office/drawing/2014/main" id="{E31C5BC0-074D-2C4B-8F70-688E0407B296}"/>
              </a:ext>
            </a:extLst>
          </p:cNvPr>
          <p:cNvSpPr/>
          <p:nvPr/>
        </p:nvSpPr>
        <p:spPr>
          <a:xfrm>
            <a:off x="7137114" y="2719801"/>
            <a:ext cx="183604" cy="461059"/>
          </a:xfrm>
          <a:prstGeom prst="roundRect">
            <a:avLst/>
          </a:prstGeom>
          <a:solidFill>
            <a:srgbClr val="87CBD8"/>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solidFill>
                  <a:srgbClr val="0079D1"/>
                </a:solidFill>
                <a:latin typeface="Comic Sans MS" panose="030F0902030302020204" pitchFamily="66" charset="0"/>
                <a:ea typeface="Nanum Pen Script" panose="03040600000000000000" pitchFamily="66" charset="-127"/>
              </a:rPr>
              <a:t>8</a:t>
            </a:r>
          </a:p>
        </p:txBody>
      </p:sp>
      <p:sp>
        <p:nvSpPr>
          <p:cNvPr id="45" name="Rounded Rectangle 44">
            <a:extLst>
              <a:ext uri="{FF2B5EF4-FFF2-40B4-BE49-F238E27FC236}">
                <a16:creationId xmlns:a16="http://schemas.microsoft.com/office/drawing/2014/main" id="{0D2CE716-A16E-464A-8FC9-216FBA053A5C}"/>
              </a:ext>
            </a:extLst>
          </p:cNvPr>
          <p:cNvSpPr/>
          <p:nvPr/>
        </p:nvSpPr>
        <p:spPr>
          <a:xfrm>
            <a:off x="7320718" y="2719801"/>
            <a:ext cx="183604" cy="456403"/>
          </a:xfrm>
          <a:prstGeom prst="roundRect">
            <a:avLst/>
          </a:prstGeom>
          <a:solidFill>
            <a:srgbClr val="87CBD8"/>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solidFill>
                  <a:srgbClr val="0079D1"/>
                </a:solidFill>
                <a:latin typeface="Comic Sans MS" panose="030F0902030302020204" pitchFamily="66" charset="0"/>
                <a:ea typeface="Nanum Pen Script" panose="03040600000000000000" pitchFamily="66" charset="-127"/>
              </a:rPr>
              <a:t>9</a:t>
            </a:r>
          </a:p>
        </p:txBody>
      </p:sp>
      <p:sp>
        <p:nvSpPr>
          <p:cNvPr id="46" name="Rounded Rectangle 45">
            <a:extLst>
              <a:ext uri="{FF2B5EF4-FFF2-40B4-BE49-F238E27FC236}">
                <a16:creationId xmlns:a16="http://schemas.microsoft.com/office/drawing/2014/main" id="{84A1C45F-426C-1740-A021-A24E7AA870DA}"/>
              </a:ext>
            </a:extLst>
          </p:cNvPr>
          <p:cNvSpPr/>
          <p:nvPr/>
        </p:nvSpPr>
        <p:spPr>
          <a:xfrm>
            <a:off x="7504322" y="2719801"/>
            <a:ext cx="183604" cy="461059"/>
          </a:xfrm>
          <a:prstGeom prst="roundRect">
            <a:avLst/>
          </a:prstGeom>
          <a:solidFill>
            <a:srgbClr val="87CBD8"/>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solidFill>
                  <a:srgbClr val="0079D1"/>
                </a:solidFill>
                <a:latin typeface="Comic Sans MS" panose="030F0902030302020204" pitchFamily="66" charset="0"/>
                <a:ea typeface="Nanum Pen Script" panose="03040600000000000000" pitchFamily="66" charset="-127"/>
              </a:rPr>
              <a:t>10</a:t>
            </a:r>
          </a:p>
        </p:txBody>
      </p:sp>
      <p:sp>
        <p:nvSpPr>
          <p:cNvPr id="47" name="Rounded Rectangle 46">
            <a:extLst>
              <a:ext uri="{FF2B5EF4-FFF2-40B4-BE49-F238E27FC236}">
                <a16:creationId xmlns:a16="http://schemas.microsoft.com/office/drawing/2014/main" id="{3710364B-E22E-1C4E-9F06-3BC5F47A48AD}"/>
              </a:ext>
            </a:extLst>
          </p:cNvPr>
          <p:cNvSpPr/>
          <p:nvPr/>
        </p:nvSpPr>
        <p:spPr>
          <a:xfrm>
            <a:off x="7687926" y="2719801"/>
            <a:ext cx="183604" cy="456403"/>
          </a:xfrm>
          <a:prstGeom prst="roundRect">
            <a:avLst/>
          </a:prstGeom>
          <a:solidFill>
            <a:srgbClr val="87CBD8"/>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solidFill>
                  <a:srgbClr val="0079D1"/>
                </a:solidFill>
                <a:latin typeface="Comic Sans MS" panose="030F0902030302020204" pitchFamily="66" charset="0"/>
                <a:ea typeface="Nanum Pen Script" panose="03040600000000000000" pitchFamily="66" charset="-127"/>
              </a:rPr>
              <a:t>11</a:t>
            </a:r>
          </a:p>
        </p:txBody>
      </p:sp>
      <p:sp>
        <p:nvSpPr>
          <p:cNvPr id="48" name="Rounded Rectangle 47">
            <a:extLst>
              <a:ext uri="{FF2B5EF4-FFF2-40B4-BE49-F238E27FC236}">
                <a16:creationId xmlns:a16="http://schemas.microsoft.com/office/drawing/2014/main" id="{4BE16C47-51F9-0942-8B70-6888C6068D61}"/>
              </a:ext>
            </a:extLst>
          </p:cNvPr>
          <p:cNvSpPr/>
          <p:nvPr/>
        </p:nvSpPr>
        <p:spPr>
          <a:xfrm>
            <a:off x="7873736" y="2719801"/>
            <a:ext cx="183604" cy="461059"/>
          </a:xfrm>
          <a:prstGeom prst="roundRect">
            <a:avLst/>
          </a:prstGeom>
          <a:solidFill>
            <a:srgbClr val="87CBD8"/>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solidFill>
                  <a:srgbClr val="0079D1"/>
                </a:solidFill>
                <a:latin typeface="Comic Sans MS" panose="030F0902030302020204" pitchFamily="66" charset="0"/>
                <a:ea typeface="Nanum Pen Script" panose="03040600000000000000" pitchFamily="66" charset="-127"/>
              </a:rPr>
              <a:t>12</a:t>
            </a:r>
          </a:p>
        </p:txBody>
      </p:sp>
      <p:sp>
        <p:nvSpPr>
          <p:cNvPr id="51" name="Rounded Rectangle 50">
            <a:extLst>
              <a:ext uri="{FF2B5EF4-FFF2-40B4-BE49-F238E27FC236}">
                <a16:creationId xmlns:a16="http://schemas.microsoft.com/office/drawing/2014/main" id="{2B916131-E385-364E-B346-94D64748A7E7}"/>
              </a:ext>
            </a:extLst>
          </p:cNvPr>
          <p:cNvSpPr/>
          <p:nvPr/>
        </p:nvSpPr>
        <p:spPr>
          <a:xfrm>
            <a:off x="5674737" y="3857777"/>
            <a:ext cx="183604" cy="461059"/>
          </a:xfrm>
          <a:prstGeom prst="roundRect">
            <a:avLst/>
          </a:prstGeom>
          <a:solidFill>
            <a:srgbClr val="EE4328"/>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solidFill>
                  <a:schemeClr val="bg1"/>
                </a:solidFill>
                <a:latin typeface="Comic Sans MS" panose="030F0902030302020204" pitchFamily="66" charset="0"/>
                <a:ea typeface="Nanum Pen Script" panose="03040600000000000000" pitchFamily="66" charset="-127"/>
              </a:rPr>
              <a:t>0</a:t>
            </a:r>
          </a:p>
        </p:txBody>
      </p:sp>
      <p:sp>
        <p:nvSpPr>
          <p:cNvPr id="53" name="Rounded Rectangle 52">
            <a:extLst>
              <a:ext uri="{FF2B5EF4-FFF2-40B4-BE49-F238E27FC236}">
                <a16:creationId xmlns:a16="http://schemas.microsoft.com/office/drawing/2014/main" id="{A1A1FC07-B449-1646-8BD7-896F7977CA8C}"/>
              </a:ext>
            </a:extLst>
          </p:cNvPr>
          <p:cNvSpPr/>
          <p:nvPr/>
        </p:nvSpPr>
        <p:spPr>
          <a:xfrm>
            <a:off x="5858341" y="3857777"/>
            <a:ext cx="183604" cy="456403"/>
          </a:xfrm>
          <a:prstGeom prst="roundRect">
            <a:avLst/>
          </a:prstGeom>
          <a:solidFill>
            <a:srgbClr val="EE4328"/>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solidFill>
                  <a:schemeClr val="bg1"/>
                </a:solidFill>
                <a:latin typeface="Comic Sans MS" panose="030F0902030302020204" pitchFamily="66" charset="0"/>
                <a:ea typeface="Nanum Pen Script" panose="03040600000000000000" pitchFamily="66" charset="-127"/>
              </a:rPr>
              <a:t>1</a:t>
            </a:r>
          </a:p>
        </p:txBody>
      </p:sp>
      <p:sp>
        <p:nvSpPr>
          <p:cNvPr id="54" name="Rounded Rectangle 53">
            <a:extLst>
              <a:ext uri="{FF2B5EF4-FFF2-40B4-BE49-F238E27FC236}">
                <a16:creationId xmlns:a16="http://schemas.microsoft.com/office/drawing/2014/main" id="{575AC631-191B-384D-846A-F10EE7898EB7}"/>
              </a:ext>
            </a:extLst>
          </p:cNvPr>
          <p:cNvSpPr/>
          <p:nvPr/>
        </p:nvSpPr>
        <p:spPr>
          <a:xfrm>
            <a:off x="6041945" y="3857777"/>
            <a:ext cx="183604" cy="461059"/>
          </a:xfrm>
          <a:prstGeom prst="roundRect">
            <a:avLst/>
          </a:prstGeom>
          <a:solidFill>
            <a:srgbClr val="EE4328"/>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solidFill>
                  <a:schemeClr val="bg1"/>
                </a:solidFill>
                <a:latin typeface="Comic Sans MS" panose="030F0902030302020204" pitchFamily="66" charset="0"/>
                <a:ea typeface="Nanum Pen Script" panose="03040600000000000000" pitchFamily="66" charset="-127"/>
              </a:rPr>
              <a:t>2</a:t>
            </a:r>
          </a:p>
        </p:txBody>
      </p:sp>
      <p:sp>
        <p:nvSpPr>
          <p:cNvPr id="56" name="Rounded Rectangle 55">
            <a:extLst>
              <a:ext uri="{FF2B5EF4-FFF2-40B4-BE49-F238E27FC236}">
                <a16:creationId xmlns:a16="http://schemas.microsoft.com/office/drawing/2014/main" id="{EE690B14-0024-8842-B800-078D2722B98F}"/>
              </a:ext>
            </a:extLst>
          </p:cNvPr>
          <p:cNvSpPr/>
          <p:nvPr/>
        </p:nvSpPr>
        <p:spPr>
          <a:xfrm>
            <a:off x="6225549" y="3857777"/>
            <a:ext cx="183604" cy="456403"/>
          </a:xfrm>
          <a:prstGeom prst="roundRect">
            <a:avLst/>
          </a:prstGeom>
          <a:solidFill>
            <a:srgbClr val="EE4328"/>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solidFill>
                  <a:schemeClr val="bg1"/>
                </a:solidFill>
                <a:latin typeface="Comic Sans MS" panose="030F0902030302020204" pitchFamily="66" charset="0"/>
                <a:ea typeface="Nanum Pen Script" panose="03040600000000000000" pitchFamily="66" charset="-127"/>
              </a:rPr>
              <a:t>3</a:t>
            </a:r>
          </a:p>
        </p:txBody>
      </p:sp>
      <p:sp>
        <p:nvSpPr>
          <p:cNvPr id="57" name="Rounded Rectangle 56">
            <a:extLst>
              <a:ext uri="{FF2B5EF4-FFF2-40B4-BE49-F238E27FC236}">
                <a16:creationId xmlns:a16="http://schemas.microsoft.com/office/drawing/2014/main" id="{4F151128-97AC-3942-9343-C6A24BB30777}"/>
              </a:ext>
            </a:extLst>
          </p:cNvPr>
          <p:cNvSpPr/>
          <p:nvPr/>
        </p:nvSpPr>
        <p:spPr>
          <a:xfrm>
            <a:off x="6411359" y="3857777"/>
            <a:ext cx="183604" cy="461059"/>
          </a:xfrm>
          <a:prstGeom prst="roundRect">
            <a:avLst/>
          </a:prstGeom>
          <a:solidFill>
            <a:srgbClr val="EE4328"/>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solidFill>
                  <a:schemeClr val="bg1"/>
                </a:solidFill>
                <a:latin typeface="Comic Sans MS" panose="030F0902030302020204" pitchFamily="66" charset="0"/>
                <a:ea typeface="Nanum Pen Script" panose="03040600000000000000" pitchFamily="66" charset="-127"/>
              </a:rPr>
              <a:t>4</a:t>
            </a:r>
          </a:p>
        </p:txBody>
      </p:sp>
      <p:sp>
        <p:nvSpPr>
          <p:cNvPr id="58" name="Rounded Rectangle 57">
            <a:extLst>
              <a:ext uri="{FF2B5EF4-FFF2-40B4-BE49-F238E27FC236}">
                <a16:creationId xmlns:a16="http://schemas.microsoft.com/office/drawing/2014/main" id="{D7E8E1C4-E990-5049-9CFC-CABB30F73D30}"/>
              </a:ext>
            </a:extLst>
          </p:cNvPr>
          <p:cNvSpPr/>
          <p:nvPr/>
        </p:nvSpPr>
        <p:spPr>
          <a:xfrm>
            <a:off x="6594963" y="3857777"/>
            <a:ext cx="183604" cy="456403"/>
          </a:xfrm>
          <a:prstGeom prst="roundRect">
            <a:avLst/>
          </a:prstGeom>
          <a:solidFill>
            <a:srgbClr val="EE4328"/>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solidFill>
                  <a:schemeClr val="bg1"/>
                </a:solidFill>
                <a:latin typeface="Comic Sans MS" panose="030F0902030302020204" pitchFamily="66" charset="0"/>
                <a:ea typeface="Nanum Pen Script" panose="03040600000000000000" pitchFamily="66" charset="-127"/>
              </a:rPr>
              <a:t>5</a:t>
            </a:r>
          </a:p>
        </p:txBody>
      </p:sp>
      <p:sp>
        <p:nvSpPr>
          <p:cNvPr id="59" name="Rounded Rectangle 58">
            <a:extLst>
              <a:ext uri="{FF2B5EF4-FFF2-40B4-BE49-F238E27FC236}">
                <a16:creationId xmlns:a16="http://schemas.microsoft.com/office/drawing/2014/main" id="{B793110B-F6E1-2446-8894-4AAE0A24073E}"/>
              </a:ext>
            </a:extLst>
          </p:cNvPr>
          <p:cNvSpPr/>
          <p:nvPr/>
        </p:nvSpPr>
        <p:spPr>
          <a:xfrm>
            <a:off x="6778567" y="3857777"/>
            <a:ext cx="183604" cy="461059"/>
          </a:xfrm>
          <a:prstGeom prst="roundRect">
            <a:avLst/>
          </a:prstGeom>
          <a:solidFill>
            <a:srgbClr val="EE4328"/>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solidFill>
                  <a:schemeClr val="bg1"/>
                </a:solidFill>
                <a:latin typeface="Comic Sans MS" panose="030F0902030302020204" pitchFamily="66" charset="0"/>
                <a:ea typeface="Nanum Pen Script" panose="03040600000000000000" pitchFamily="66" charset="-127"/>
              </a:rPr>
              <a:t>6</a:t>
            </a:r>
          </a:p>
        </p:txBody>
      </p:sp>
      <p:sp>
        <p:nvSpPr>
          <p:cNvPr id="60" name="Rounded Rectangle 59">
            <a:extLst>
              <a:ext uri="{FF2B5EF4-FFF2-40B4-BE49-F238E27FC236}">
                <a16:creationId xmlns:a16="http://schemas.microsoft.com/office/drawing/2014/main" id="{A7E55B53-2D2B-0E40-BD6C-75388F953A2D}"/>
              </a:ext>
            </a:extLst>
          </p:cNvPr>
          <p:cNvSpPr/>
          <p:nvPr/>
        </p:nvSpPr>
        <p:spPr>
          <a:xfrm>
            <a:off x="6962171" y="3857777"/>
            <a:ext cx="183604" cy="456403"/>
          </a:xfrm>
          <a:prstGeom prst="roundRect">
            <a:avLst/>
          </a:prstGeom>
          <a:solidFill>
            <a:srgbClr val="EE4328"/>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solidFill>
                  <a:schemeClr val="bg1"/>
                </a:solidFill>
                <a:latin typeface="Comic Sans MS" panose="030F0902030302020204" pitchFamily="66" charset="0"/>
                <a:ea typeface="Nanum Pen Script" panose="03040600000000000000" pitchFamily="66" charset="-127"/>
              </a:rPr>
              <a:t>7</a:t>
            </a:r>
          </a:p>
        </p:txBody>
      </p:sp>
      <p:sp>
        <p:nvSpPr>
          <p:cNvPr id="61" name="Rounded Rectangle 60">
            <a:extLst>
              <a:ext uri="{FF2B5EF4-FFF2-40B4-BE49-F238E27FC236}">
                <a16:creationId xmlns:a16="http://schemas.microsoft.com/office/drawing/2014/main" id="{5CB079C0-B353-9C42-B4CD-0F4A035862EA}"/>
              </a:ext>
            </a:extLst>
          </p:cNvPr>
          <p:cNvSpPr/>
          <p:nvPr/>
        </p:nvSpPr>
        <p:spPr>
          <a:xfrm>
            <a:off x="7137114" y="3857777"/>
            <a:ext cx="183604" cy="461059"/>
          </a:xfrm>
          <a:prstGeom prst="roundRect">
            <a:avLst/>
          </a:prstGeom>
          <a:solidFill>
            <a:schemeClr val="bg1"/>
          </a:solidFill>
          <a:ln w="3175">
            <a:solidFill>
              <a:srgbClr val="EE4328">
                <a:alpha val="39000"/>
              </a:srgb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solidFill>
                  <a:schemeClr val="tx1">
                    <a:lumMod val="50000"/>
                  </a:schemeClr>
                </a:solidFill>
                <a:latin typeface="Comic Sans MS" panose="030F0902030302020204" pitchFamily="66" charset="0"/>
                <a:ea typeface="Nanum Pen Script" panose="03040600000000000000" pitchFamily="66" charset="-127"/>
              </a:rPr>
              <a:t>8</a:t>
            </a:r>
          </a:p>
        </p:txBody>
      </p:sp>
      <p:sp>
        <p:nvSpPr>
          <p:cNvPr id="62" name="Rounded Rectangle 61">
            <a:extLst>
              <a:ext uri="{FF2B5EF4-FFF2-40B4-BE49-F238E27FC236}">
                <a16:creationId xmlns:a16="http://schemas.microsoft.com/office/drawing/2014/main" id="{17BF1AAF-113E-A140-B09B-6848D8C0AD00}"/>
              </a:ext>
            </a:extLst>
          </p:cNvPr>
          <p:cNvSpPr/>
          <p:nvPr/>
        </p:nvSpPr>
        <p:spPr>
          <a:xfrm>
            <a:off x="5674737" y="4949438"/>
            <a:ext cx="183604" cy="461059"/>
          </a:xfrm>
          <a:prstGeom prst="roundRect">
            <a:avLst/>
          </a:prstGeom>
          <a:solidFill>
            <a:srgbClr val="0079D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solidFill>
                  <a:schemeClr val="bg1"/>
                </a:solidFill>
                <a:latin typeface="Comic Sans MS" panose="030F0902030302020204" pitchFamily="66" charset="0"/>
                <a:ea typeface="Nanum Pen Script" panose="03040600000000000000" pitchFamily="66" charset="-127"/>
              </a:rPr>
              <a:t>0</a:t>
            </a:r>
          </a:p>
        </p:txBody>
      </p:sp>
      <p:sp>
        <p:nvSpPr>
          <p:cNvPr id="63" name="Rounded Rectangle 62">
            <a:extLst>
              <a:ext uri="{FF2B5EF4-FFF2-40B4-BE49-F238E27FC236}">
                <a16:creationId xmlns:a16="http://schemas.microsoft.com/office/drawing/2014/main" id="{EF9A2F7B-EAC2-4E41-93B7-D488F565DD10}"/>
              </a:ext>
            </a:extLst>
          </p:cNvPr>
          <p:cNvSpPr/>
          <p:nvPr/>
        </p:nvSpPr>
        <p:spPr>
          <a:xfrm>
            <a:off x="5842175" y="4949439"/>
            <a:ext cx="199770" cy="467978"/>
          </a:xfrm>
          <a:prstGeom prst="roundRect">
            <a:avLst/>
          </a:prstGeom>
          <a:solidFill>
            <a:srgbClr val="0079D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solidFill>
                  <a:schemeClr val="bg1"/>
                </a:solidFill>
                <a:latin typeface="Comic Sans MS" panose="030F0902030302020204" pitchFamily="66" charset="0"/>
                <a:ea typeface="Nanum Pen Script" panose="03040600000000000000" pitchFamily="66" charset="-127"/>
              </a:rPr>
              <a:t>1</a:t>
            </a:r>
          </a:p>
        </p:txBody>
      </p:sp>
      <p:sp>
        <p:nvSpPr>
          <p:cNvPr id="64" name="Rounded Rectangle 63">
            <a:extLst>
              <a:ext uri="{FF2B5EF4-FFF2-40B4-BE49-F238E27FC236}">
                <a16:creationId xmlns:a16="http://schemas.microsoft.com/office/drawing/2014/main" id="{9787E765-68B9-5D4D-AFCF-4EBCCD241E0A}"/>
              </a:ext>
            </a:extLst>
          </p:cNvPr>
          <p:cNvSpPr/>
          <p:nvPr/>
        </p:nvSpPr>
        <p:spPr>
          <a:xfrm>
            <a:off x="6041945" y="4949438"/>
            <a:ext cx="183604" cy="461059"/>
          </a:xfrm>
          <a:prstGeom prst="roundRect">
            <a:avLst/>
          </a:prstGeom>
          <a:solidFill>
            <a:srgbClr val="0079D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solidFill>
                  <a:schemeClr val="bg1"/>
                </a:solidFill>
                <a:latin typeface="Comic Sans MS" panose="030F0902030302020204" pitchFamily="66" charset="0"/>
                <a:ea typeface="Nanum Pen Script" panose="03040600000000000000" pitchFamily="66" charset="-127"/>
              </a:rPr>
              <a:t>2</a:t>
            </a:r>
          </a:p>
        </p:txBody>
      </p:sp>
      <p:sp>
        <p:nvSpPr>
          <p:cNvPr id="66" name="Rounded Rectangle 65">
            <a:extLst>
              <a:ext uri="{FF2B5EF4-FFF2-40B4-BE49-F238E27FC236}">
                <a16:creationId xmlns:a16="http://schemas.microsoft.com/office/drawing/2014/main" id="{8702AF8D-43C6-214F-B32D-A3FA54C38527}"/>
              </a:ext>
            </a:extLst>
          </p:cNvPr>
          <p:cNvSpPr/>
          <p:nvPr/>
        </p:nvSpPr>
        <p:spPr>
          <a:xfrm>
            <a:off x="6225549" y="4949438"/>
            <a:ext cx="183604" cy="467978"/>
          </a:xfrm>
          <a:prstGeom prst="roundRect">
            <a:avLst/>
          </a:prstGeom>
          <a:solidFill>
            <a:srgbClr val="0079D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solidFill>
                  <a:schemeClr val="bg1"/>
                </a:solidFill>
                <a:latin typeface="Comic Sans MS" panose="030F0902030302020204" pitchFamily="66" charset="0"/>
                <a:ea typeface="Nanum Pen Script" panose="03040600000000000000" pitchFamily="66" charset="-127"/>
              </a:rPr>
              <a:t>3</a:t>
            </a:r>
          </a:p>
        </p:txBody>
      </p:sp>
      <p:sp>
        <p:nvSpPr>
          <p:cNvPr id="67" name="Rounded Rectangle 66">
            <a:extLst>
              <a:ext uri="{FF2B5EF4-FFF2-40B4-BE49-F238E27FC236}">
                <a16:creationId xmlns:a16="http://schemas.microsoft.com/office/drawing/2014/main" id="{3EE7DE7B-C2A6-9746-AA79-C75E858B398B}"/>
              </a:ext>
            </a:extLst>
          </p:cNvPr>
          <p:cNvSpPr/>
          <p:nvPr/>
        </p:nvSpPr>
        <p:spPr>
          <a:xfrm>
            <a:off x="6411359" y="4949438"/>
            <a:ext cx="183604" cy="461059"/>
          </a:xfrm>
          <a:prstGeom prst="roundRect">
            <a:avLst/>
          </a:prstGeom>
          <a:solidFill>
            <a:srgbClr val="0079D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solidFill>
                  <a:schemeClr val="bg1"/>
                </a:solidFill>
                <a:latin typeface="Comic Sans MS" panose="030F0902030302020204" pitchFamily="66" charset="0"/>
                <a:ea typeface="Nanum Pen Script" panose="03040600000000000000" pitchFamily="66" charset="-127"/>
              </a:rPr>
              <a:t>4</a:t>
            </a:r>
          </a:p>
        </p:txBody>
      </p:sp>
      <p:sp>
        <p:nvSpPr>
          <p:cNvPr id="68" name="Rounded Rectangle 67">
            <a:extLst>
              <a:ext uri="{FF2B5EF4-FFF2-40B4-BE49-F238E27FC236}">
                <a16:creationId xmlns:a16="http://schemas.microsoft.com/office/drawing/2014/main" id="{ADDA2AA9-8FEE-194A-AF4C-20ACE5B5C173}"/>
              </a:ext>
            </a:extLst>
          </p:cNvPr>
          <p:cNvSpPr/>
          <p:nvPr/>
        </p:nvSpPr>
        <p:spPr>
          <a:xfrm>
            <a:off x="6594963" y="4949438"/>
            <a:ext cx="183604" cy="456403"/>
          </a:xfrm>
          <a:prstGeom prst="roundRect">
            <a:avLst/>
          </a:prstGeom>
          <a:solidFill>
            <a:srgbClr val="0079D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solidFill>
                  <a:schemeClr val="bg1"/>
                </a:solidFill>
                <a:latin typeface="Comic Sans MS" panose="030F0902030302020204" pitchFamily="66" charset="0"/>
                <a:ea typeface="Nanum Pen Script" panose="03040600000000000000" pitchFamily="66" charset="-127"/>
              </a:rPr>
              <a:t>5</a:t>
            </a:r>
          </a:p>
        </p:txBody>
      </p:sp>
      <p:sp>
        <p:nvSpPr>
          <p:cNvPr id="69" name="Rounded Rectangle 68">
            <a:extLst>
              <a:ext uri="{FF2B5EF4-FFF2-40B4-BE49-F238E27FC236}">
                <a16:creationId xmlns:a16="http://schemas.microsoft.com/office/drawing/2014/main" id="{6D73CB16-CD8C-1449-8EA3-897A31478936}"/>
              </a:ext>
            </a:extLst>
          </p:cNvPr>
          <p:cNvSpPr/>
          <p:nvPr/>
        </p:nvSpPr>
        <p:spPr>
          <a:xfrm>
            <a:off x="6778567" y="4949438"/>
            <a:ext cx="183604" cy="461059"/>
          </a:xfrm>
          <a:prstGeom prst="roundRect">
            <a:avLst/>
          </a:prstGeom>
          <a:solidFill>
            <a:srgbClr val="0079D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solidFill>
                  <a:schemeClr val="bg1"/>
                </a:solidFill>
                <a:latin typeface="Comic Sans MS" panose="030F0902030302020204" pitchFamily="66" charset="0"/>
                <a:ea typeface="Nanum Pen Script" panose="03040600000000000000" pitchFamily="66" charset="-127"/>
              </a:rPr>
              <a:t>6</a:t>
            </a:r>
          </a:p>
        </p:txBody>
      </p:sp>
      <p:sp>
        <p:nvSpPr>
          <p:cNvPr id="70" name="Rounded Rectangle 69">
            <a:extLst>
              <a:ext uri="{FF2B5EF4-FFF2-40B4-BE49-F238E27FC236}">
                <a16:creationId xmlns:a16="http://schemas.microsoft.com/office/drawing/2014/main" id="{579CF21B-A958-C241-BBBE-64DB255AD764}"/>
              </a:ext>
            </a:extLst>
          </p:cNvPr>
          <p:cNvSpPr/>
          <p:nvPr/>
        </p:nvSpPr>
        <p:spPr>
          <a:xfrm>
            <a:off x="6962171" y="4949438"/>
            <a:ext cx="183604" cy="456403"/>
          </a:xfrm>
          <a:prstGeom prst="roundRect">
            <a:avLst/>
          </a:prstGeom>
          <a:solidFill>
            <a:srgbClr val="0079D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solidFill>
                  <a:schemeClr val="bg1"/>
                </a:solidFill>
                <a:latin typeface="Comic Sans MS" panose="030F0902030302020204" pitchFamily="66" charset="0"/>
                <a:ea typeface="Nanum Pen Script" panose="03040600000000000000" pitchFamily="66" charset="-127"/>
              </a:rPr>
              <a:t>7</a:t>
            </a:r>
          </a:p>
        </p:txBody>
      </p:sp>
      <p:sp>
        <p:nvSpPr>
          <p:cNvPr id="71" name="Rounded Rectangle 70">
            <a:extLst>
              <a:ext uri="{FF2B5EF4-FFF2-40B4-BE49-F238E27FC236}">
                <a16:creationId xmlns:a16="http://schemas.microsoft.com/office/drawing/2014/main" id="{D135CB94-79CD-D44D-8110-3034FD0D2D56}"/>
              </a:ext>
            </a:extLst>
          </p:cNvPr>
          <p:cNvSpPr/>
          <p:nvPr/>
        </p:nvSpPr>
        <p:spPr>
          <a:xfrm>
            <a:off x="7137114" y="4949438"/>
            <a:ext cx="183604" cy="461059"/>
          </a:xfrm>
          <a:prstGeom prst="roundRect">
            <a:avLst/>
          </a:prstGeom>
          <a:solidFill>
            <a:srgbClr val="0079D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solidFill>
                  <a:schemeClr val="bg1"/>
                </a:solidFill>
                <a:latin typeface="Comic Sans MS" panose="030F0902030302020204" pitchFamily="66" charset="0"/>
                <a:ea typeface="Nanum Pen Script" panose="03040600000000000000" pitchFamily="66" charset="-127"/>
              </a:rPr>
              <a:t>8</a:t>
            </a:r>
          </a:p>
        </p:txBody>
      </p:sp>
      <p:sp>
        <p:nvSpPr>
          <p:cNvPr id="72" name="Rounded Rectangle 71">
            <a:extLst>
              <a:ext uri="{FF2B5EF4-FFF2-40B4-BE49-F238E27FC236}">
                <a16:creationId xmlns:a16="http://schemas.microsoft.com/office/drawing/2014/main" id="{2594F47F-6622-3747-B887-96F92A75FD32}"/>
              </a:ext>
            </a:extLst>
          </p:cNvPr>
          <p:cNvSpPr/>
          <p:nvPr/>
        </p:nvSpPr>
        <p:spPr>
          <a:xfrm>
            <a:off x="7320718" y="4949438"/>
            <a:ext cx="183604" cy="456403"/>
          </a:xfrm>
          <a:prstGeom prst="roundRect">
            <a:avLst/>
          </a:prstGeom>
          <a:solidFill>
            <a:srgbClr val="0079D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solidFill>
                  <a:schemeClr val="bg1"/>
                </a:solidFill>
                <a:latin typeface="Comic Sans MS" panose="030F0902030302020204" pitchFamily="66" charset="0"/>
                <a:ea typeface="Nanum Pen Script" panose="03040600000000000000" pitchFamily="66" charset="-127"/>
              </a:rPr>
              <a:t>9</a:t>
            </a:r>
          </a:p>
        </p:txBody>
      </p:sp>
      <p:sp>
        <p:nvSpPr>
          <p:cNvPr id="73" name="Rounded Rectangle 72">
            <a:extLst>
              <a:ext uri="{FF2B5EF4-FFF2-40B4-BE49-F238E27FC236}">
                <a16:creationId xmlns:a16="http://schemas.microsoft.com/office/drawing/2014/main" id="{F8C74ADC-EB7E-E24A-B640-13CFB2BC8C49}"/>
              </a:ext>
            </a:extLst>
          </p:cNvPr>
          <p:cNvSpPr/>
          <p:nvPr/>
        </p:nvSpPr>
        <p:spPr>
          <a:xfrm>
            <a:off x="7504322" y="4949438"/>
            <a:ext cx="183604" cy="461059"/>
          </a:xfrm>
          <a:prstGeom prst="roundRect">
            <a:avLst/>
          </a:prstGeom>
          <a:solidFill>
            <a:schemeClr val="bg1"/>
          </a:solidFill>
          <a:ln w="3175">
            <a:solidFill>
              <a:srgbClr val="0079D1">
                <a:alpha val="39000"/>
              </a:srgb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solidFill>
                  <a:schemeClr val="tx1">
                    <a:lumMod val="50000"/>
                  </a:schemeClr>
                </a:solidFill>
                <a:latin typeface="Comic Sans MS" panose="030F0902030302020204" pitchFamily="66" charset="0"/>
                <a:ea typeface="Nanum Pen Script" panose="03040600000000000000" pitchFamily="66" charset="-127"/>
              </a:rPr>
              <a:t>10</a:t>
            </a:r>
          </a:p>
        </p:txBody>
      </p:sp>
      <p:cxnSp>
        <p:nvCxnSpPr>
          <p:cNvPr id="77" name="Straight Connector 76">
            <a:extLst>
              <a:ext uri="{FF2B5EF4-FFF2-40B4-BE49-F238E27FC236}">
                <a16:creationId xmlns:a16="http://schemas.microsoft.com/office/drawing/2014/main" id="{C5C77D17-AF75-1442-A5D1-E10CFA78B552}"/>
              </a:ext>
            </a:extLst>
          </p:cNvPr>
          <p:cNvCxnSpPr>
            <a:cxnSpLocks/>
            <a:endCxn id="91" idx="1"/>
          </p:cNvCxnSpPr>
          <p:nvPr/>
        </p:nvCxnSpPr>
        <p:spPr>
          <a:xfrm flipV="1">
            <a:off x="7765088" y="4530288"/>
            <a:ext cx="1656374" cy="644320"/>
          </a:xfrm>
          <a:prstGeom prst="line">
            <a:avLst/>
          </a:prstGeom>
          <a:ln w="12700">
            <a:solidFill>
              <a:schemeClr val="tx1">
                <a:lumMod val="50000"/>
              </a:schemeClr>
            </a:solidFill>
            <a:headEnd type="oval"/>
            <a:tailEnd type="oval"/>
          </a:ln>
        </p:spPr>
        <p:style>
          <a:lnRef idx="1">
            <a:schemeClr val="accent1"/>
          </a:lnRef>
          <a:fillRef idx="0">
            <a:schemeClr val="accent1"/>
          </a:fillRef>
          <a:effectRef idx="0">
            <a:schemeClr val="accent1"/>
          </a:effectRef>
          <a:fontRef idx="minor">
            <a:schemeClr val="tx1"/>
          </a:fontRef>
        </p:style>
      </p:cxnSp>
      <p:sp>
        <p:nvSpPr>
          <p:cNvPr id="78" name="Rectangle 77">
            <a:extLst>
              <a:ext uri="{FF2B5EF4-FFF2-40B4-BE49-F238E27FC236}">
                <a16:creationId xmlns:a16="http://schemas.microsoft.com/office/drawing/2014/main" id="{ACD9590D-5865-454A-8830-9A7CC90D274F}"/>
              </a:ext>
            </a:extLst>
          </p:cNvPr>
          <p:cNvSpPr/>
          <p:nvPr/>
        </p:nvSpPr>
        <p:spPr>
          <a:xfrm>
            <a:off x="3501694" y="2570971"/>
            <a:ext cx="1851949" cy="920422"/>
          </a:xfrm>
          <a:prstGeom prst="rect">
            <a:avLst/>
          </a:prstGeom>
          <a:solidFill>
            <a:srgbClr val="87CBD8">
              <a:alpha val="95000"/>
            </a:srgb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t" anchorCtr="0" forceAA="0" compatLnSpc="1">
            <a:prstTxWarp prst="textNoShape">
              <a:avLst/>
            </a:prstTxWarp>
            <a:noAutofit/>
          </a:bodyPr>
          <a:lstStyle/>
          <a:p>
            <a:pPr algn="ctr" defTabSz="457200"/>
            <a:r>
              <a:rPr lang="en-US" sz="700" dirty="0">
                <a:solidFill>
                  <a:srgbClr val="0067B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Broker 1</a:t>
            </a:r>
          </a:p>
        </p:txBody>
      </p:sp>
      <p:sp>
        <p:nvSpPr>
          <p:cNvPr id="79" name="Rounded Rectangle 78">
            <a:extLst>
              <a:ext uri="{FF2B5EF4-FFF2-40B4-BE49-F238E27FC236}">
                <a16:creationId xmlns:a16="http://schemas.microsoft.com/office/drawing/2014/main" id="{5C6D149B-7059-FE4E-9AC3-828999767826}"/>
              </a:ext>
            </a:extLst>
          </p:cNvPr>
          <p:cNvSpPr/>
          <p:nvPr/>
        </p:nvSpPr>
        <p:spPr>
          <a:xfrm>
            <a:off x="3623580" y="2865810"/>
            <a:ext cx="1597305" cy="481893"/>
          </a:xfrm>
          <a:prstGeom prst="roundRect">
            <a:avLst/>
          </a:prstGeom>
          <a:solidFill>
            <a:srgbClr val="87CBD8">
              <a:alpha val="95000"/>
            </a:srgbClr>
          </a:solidFill>
          <a:ln w="9525">
            <a:solidFill>
              <a:srgbClr val="0079D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t" anchorCtr="0" forceAA="0" compatLnSpc="1">
            <a:prstTxWarp prst="textNoShape">
              <a:avLst/>
            </a:prstTxWarp>
            <a:noAutofit/>
          </a:bodyPr>
          <a:lstStyle/>
          <a:p>
            <a:pPr algn="ctr" defTabSz="457200"/>
            <a:r>
              <a:rPr lang="en-US" sz="700" dirty="0">
                <a:solidFill>
                  <a:srgbClr val="0067B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Partition 0</a:t>
            </a:r>
          </a:p>
          <a:p>
            <a:pPr algn="ctr" defTabSz="457200"/>
            <a:r>
              <a:rPr lang="en-US" sz="700" dirty="0">
                <a:solidFill>
                  <a:srgbClr val="0067B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Topic-A / Partition 0</a:t>
            </a:r>
          </a:p>
        </p:txBody>
      </p:sp>
      <p:sp>
        <p:nvSpPr>
          <p:cNvPr id="80" name="Rectangle 79">
            <a:extLst>
              <a:ext uri="{FF2B5EF4-FFF2-40B4-BE49-F238E27FC236}">
                <a16:creationId xmlns:a16="http://schemas.microsoft.com/office/drawing/2014/main" id="{CAE91A1B-11DC-C54B-A2C7-416DE10DBEC0}"/>
              </a:ext>
            </a:extLst>
          </p:cNvPr>
          <p:cNvSpPr/>
          <p:nvPr/>
        </p:nvSpPr>
        <p:spPr>
          <a:xfrm>
            <a:off x="3501694" y="3643962"/>
            <a:ext cx="1851949" cy="920422"/>
          </a:xfrm>
          <a:prstGeom prst="rect">
            <a:avLst/>
          </a:prstGeom>
          <a:solidFill>
            <a:srgbClr val="EE4328">
              <a:alpha val="95000"/>
            </a:srgb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t" anchorCtr="0" forceAA="0" compatLnSpc="1">
            <a:prstTxWarp prst="textNoShape">
              <a:avLst/>
            </a:prstTxWarp>
            <a:noAutofit/>
          </a:bodyPr>
          <a:lstStyle/>
          <a:p>
            <a:pPr algn="ctr" defTabSz="457200"/>
            <a:r>
              <a:rPr lang="en-US" sz="700" dirty="0">
                <a:solidFill>
                  <a:schemeClr val="bg1"/>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Broker 1</a:t>
            </a:r>
          </a:p>
        </p:txBody>
      </p:sp>
      <p:sp>
        <p:nvSpPr>
          <p:cNvPr id="81" name="Rounded Rectangle 80">
            <a:extLst>
              <a:ext uri="{FF2B5EF4-FFF2-40B4-BE49-F238E27FC236}">
                <a16:creationId xmlns:a16="http://schemas.microsoft.com/office/drawing/2014/main" id="{4448F7D6-0DDF-B74D-8300-63F2DDEBAE7A}"/>
              </a:ext>
            </a:extLst>
          </p:cNvPr>
          <p:cNvSpPr/>
          <p:nvPr/>
        </p:nvSpPr>
        <p:spPr>
          <a:xfrm>
            <a:off x="3623580" y="3938801"/>
            <a:ext cx="1597305" cy="481893"/>
          </a:xfrm>
          <a:prstGeom prst="roundRect">
            <a:avLst/>
          </a:prstGeom>
          <a:solidFill>
            <a:srgbClr val="EE4328">
              <a:alpha val="95000"/>
            </a:srgbClr>
          </a:solidFill>
          <a:ln w="952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t" anchorCtr="0" forceAA="0" compatLnSpc="1">
            <a:prstTxWarp prst="textNoShape">
              <a:avLst/>
            </a:prstTxWarp>
            <a:noAutofit/>
          </a:bodyPr>
          <a:lstStyle/>
          <a:p>
            <a:pPr algn="ctr" defTabSz="457200"/>
            <a:r>
              <a:rPr lang="en-US" sz="700" dirty="0">
                <a:solidFill>
                  <a:schemeClr val="bg1"/>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Partition 0</a:t>
            </a:r>
          </a:p>
          <a:p>
            <a:pPr algn="ctr" defTabSz="457200"/>
            <a:r>
              <a:rPr lang="en-US" sz="700" dirty="0">
                <a:solidFill>
                  <a:schemeClr val="bg1"/>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Topic-A / Partition 1</a:t>
            </a:r>
          </a:p>
        </p:txBody>
      </p:sp>
      <p:sp>
        <p:nvSpPr>
          <p:cNvPr id="82" name="Rectangle 81">
            <a:extLst>
              <a:ext uri="{FF2B5EF4-FFF2-40B4-BE49-F238E27FC236}">
                <a16:creationId xmlns:a16="http://schemas.microsoft.com/office/drawing/2014/main" id="{071AA5C7-D54B-0342-816C-D5259EE6255F}"/>
              </a:ext>
            </a:extLst>
          </p:cNvPr>
          <p:cNvSpPr/>
          <p:nvPr/>
        </p:nvSpPr>
        <p:spPr>
          <a:xfrm>
            <a:off x="3501694" y="4801660"/>
            <a:ext cx="1851949" cy="920422"/>
          </a:xfrm>
          <a:prstGeom prst="rect">
            <a:avLst/>
          </a:prstGeom>
          <a:solidFill>
            <a:srgbClr val="0079D1">
              <a:alpha val="95000"/>
            </a:srgb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t" anchorCtr="0" forceAA="0" compatLnSpc="1">
            <a:prstTxWarp prst="textNoShape">
              <a:avLst/>
            </a:prstTxWarp>
            <a:noAutofit/>
          </a:bodyPr>
          <a:lstStyle/>
          <a:p>
            <a:pPr algn="ctr" defTabSz="457200"/>
            <a:r>
              <a:rPr lang="en-US" sz="700" dirty="0">
                <a:solidFill>
                  <a:schemeClr val="bg1"/>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Broker 1</a:t>
            </a:r>
          </a:p>
        </p:txBody>
      </p:sp>
      <p:sp>
        <p:nvSpPr>
          <p:cNvPr id="83" name="Rounded Rectangle 82">
            <a:extLst>
              <a:ext uri="{FF2B5EF4-FFF2-40B4-BE49-F238E27FC236}">
                <a16:creationId xmlns:a16="http://schemas.microsoft.com/office/drawing/2014/main" id="{FA73DC14-7B47-0E48-BBDE-5294814CFAB5}"/>
              </a:ext>
            </a:extLst>
          </p:cNvPr>
          <p:cNvSpPr/>
          <p:nvPr/>
        </p:nvSpPr>
        <p:spPr>
          <a:xfrm>
            <a:off x="3623580" y="5096499"/>
            <a:ext cx="1597305" cy="481893"/>
          </a:xfrm>
          <a:prstGeom prst="roundRect">
            <a:avLst/>
          </a:prstGeom>
          <a:solidFill>
            <a:srgbClr val="0079D1">
              <a:alpha val="95000"/>
            </a:srgbClr>
          </a:solidFill>
          <a:ln w="952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t" anchorCtr="0" forceAA="0" compatLnSpc="1">
            <a:prstTxWarp prst="textNoShape">
              <a:avLst/>
            </a:prstTxWarp>
            <a:noAutofit/>
          </a:bodyPr>
          <a:lstStyle/>
          <a:p>
            <a:pPr algn="ctr" defTabSz="457200"/>
            <a:r>
              <a:rPr lang="en-US" sz="700" dirty="0">
                <a:solidFill>
                  <a:schemeClr val="bg1"/>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Partition 0</a:t>
            </a:r>
          </a:p>
          <a:p>
            <a:pPr algn="ctr" defTabSz="457200"/>
            <a:r>
              <a:rPr lang="en-US" sz="700" dirty="0">
                <a:solidFill>
                  <a:schemeClr val="bg1"/>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Topic-A / Partition 2</a:t>
            </a:r>
          </a:p>
        </p:txBody>
      </p:sp>
      <p:sp>
        <p:nvSpPr>
          <p:cNvPr id="84" name="Rounded Rectangle 83">
            <a:extLst>
              <a:ext uri="{FF2B5EF4-FFF2-40B4-BE49-F238E27FC236}">
                <a16:creationId xmlns:a16="http://schemas.microsoft.com/office/drawing/2014/main" id="{BC1CA6E2-666C-1F43-8DCE-0555F70276F2}"/>
              </a:ext>
            </a:extLst>
          </p:cNvPr>
          <p:cNvSpPr/>
          <p:nvPr/>
        </p:nvSpPr>
        <p:spPr>
          <a:xfrm>
            <a:off x="964097" y="3863226"/>
            <a:ext cx="1597305" cy="481893"/>
          </a:xfrm>
          <a:prstGeom prst="roundRect">
            <a:avLst/>
          </a:prstGeom>
          <a:solidFill>
            <a:srgbClr val="87CBD8">
              <a:alpha val="95000"/>
            </a:srgbClr>
          </a:solidFill>
          <a:ln w="9525">
            <a:solidFill>
              <a:srgbClr val="0079D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t" anchorCtr="0" forceAA="0" compatLnSpc="1">
            <a:prstTxWarp prst="textNoShape">
              <a:avLst/>
            </a:prstTxWarp>
            <a:noAutofit/>
          </a:bodyPr>
          <a:lstStyle/>
          <a:p>
            <a:pPr algn="ctr" defTabSz="457200"/>
            <a:r>
              <a:rPr lang="en-US" sz="700" dirty="0">
                <a:solidFill>
                  <a:srgbClr val="0067B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Producer</a:t>
            </a:r>
          </a:p>
        </p:txBody>
      </p:sp>
      <p:cxnSp>
        <p:nvCxnSpPr>
          <p:cNvPr id="85" name="Straight Connector 84">
            <a:extLst>
              <a:ext uri="{FF2B5EF4-FFF2-40B4-BE49-F238E27FC236}">
                <a16:creationId xmlns:a16="http://schemas.microsoft.com/office/drawing/2014/main" id="{AB96B4C1-4F7E-D847-BB2A-BBC9BA72FD0B}"/>
              </a:ext>
            </a:extLst>
          </p:cNvPr>
          <p:cNvCxnSpPr>
            <a:cxnSpLocks/>
            <a:stCxn id="84" idx="3"/>
            <a:endCxn id="78" idx="1"/>
          </p:cNvCxnSpPr>
          <p:nvPr/>
        </p:nvCxnSpPr>
        <p:spPr>
          <a:xfrm flipV="1">
            <a:off x="2561402" y="3031182"/>
            <a:ext cx="940292" cy="1072991"/>
          </a:xfrm>
          <a:prstGeom prst="line">
            <a:avLst/>
          </a:prstGeom>
          <a:ln w="12700">
            <a:solidFill>
              <a:srgbClr val="0079D1"/>
            </a:solidFill>
            <a:headEnd type="oval"/>
            <a:tailEnd type="oval"/>
          </a:ln>
        </p:spPr>
        <p:style>
          <a:lnRef idx="1">
            <a:schemeClr val="accent1"/>
          </a:lnRef>
          <a:fillRef idx="0">
            <a:schemeClr val="accent1"/>
          </a:fillRef>
          <a:effectRef idx="0">
            <a:schemeClr val="accent1"/>
          </a:effectRef>
          <a:fontRef idx="minor">
            <a:schemeClr val="tx1"/>
          </a:fontRef>
        </p:style>
      </p:cxnSp>
      <p:cxnSp>
        <p:nvCxnSpPr>
          <p:cNvPr id="86" name="Straight Connector 85">
            <a:extLst>
              <a:ext uri="{FF2B5EF4-FFF2-40B4-BE49-F238E27FC236}">
                <a16:creationId xmlns:a16="http://schemas.microsoft.com/office/drawing/2014/main" id="{F4DEF81F-762A-964B-9421-4574106E247D}"/>
              </a:ext>
            </a:extLst>
          </p:cNvPr>
          <p:cNvCxnSpPr>
            <a:cxnSpLocks/>
            <a:stCxn id="84" idx="3"/>
            <a:endCxn id="80" idx="1"/>
          </p:cNvCxnSpPr>
          <p:nvPr/>
        </p:nvCxnSpPr>
        <p:spPr>
          <a:xfrm>
            <a:off x="2561402" y="4104173"/>
            <a:ext cx="940292" cy="0"/>
          </a:xfrm>
          <a:prstGeom prst="line">
            <a:avLst/>
          </a:prstGeom>
          <a:ln w="12700">
            <a:solidFill>
              <a:srgbClr val="0079D1"/>
            </a:solidFill>
            <a:headEnd type="oval"/>
            <a:tailEnd type="oval"/>
          </a:ln>
        </p:spPr>
        <p:style>
          <a:lnRef idx="1">
            <a:schemeClr val="accent1"/>
          </a:lnRef>
          <a:fillRef idx="0">
            <a:schemeClr val="accent1"/>
          </a:fillRef>
          <a:effectRef idx="0">
            <a:schemeClr val="accent1"/>
          </a:effectRef>
          <a:fontRef idx="minor">
            <a:schemeClr val="tx1"/>
          </a:fontRef>
        </p:style>
      </p:cxnSp>
      <p:cxnSp>
        <p:nvCxnSpPr>
          <p:cNvPr id="87" name="Straight Connector 86">
            <a:extLst>
              <a:ext uri="{FF2B5EF4-FFF2-40B4-BE49-F238E27FC236}">
                <a16:creationId xmlns:a16="http://schemas.microsoft.com/office/drawing/2014/main" id="{54776680-3C5D-184C-A418-5CD32AC72733}"/>
              </a:ext>
            </a:extLst>
          </p:cNvPr>
          <p:cNvCxnSpPr>
            <a:cxnSpLocks/>
            <a:stCxn id="84" idx="3"/>
            <a:endCxn id="82" idx="1"/>
          </p:cNvCxnSpPr>
          <p:nvPr/>
        </p:nvCxnSpPr>
        <p:spPr>
          <a:xfrm>
            <a:off x="2561402" y="4104173"/>
            <a:ext cx="940292" cy="1157698"/>
          </a:xfrm>
          <a:prstGeom prst="line">
            <a:avLst/>
          </a:prstGeom>
          <a:ln w="12700">
            <a:solidFill>
              <a:srgbClr val="0079D1"/>
            </a:solidFill>
            <a:headEnd type="oval"/>
            <a:tailEnd type="oval"/>
          </a:ln>
        </p:spPr>
        <p:style>
          <a:lnRef idx="1">
            <a:schemeClr val="accent1"/>
          </a:lnRef>
          <a:fillRef idx="0">
            <a:schemeClr val="accent1"/>
          </a:fillRef>
          <a:effectRef idx="0">
            <a:schemeClr val="accent1"/>
          </a:effectRef>
          <a:fontRef idx="minor">
            <a:schemeClr val="tx1"/>
          </a:fontRef>
        </p:style>
      </p:cxnSp>
      <p:sp>
        <p:nvSpPr>
          <p:cNvPr id="90" name="Rounded Rectangle 89">
            <a:extLst>
              <a:ext uri="{FF2B5EF4-FFF2-40B4-BE49-F238E27FC236}">
                <a16:creationId xmlns:a16="http://schemas.microsoft.com/office/drawing/2014/main" id="{558D371F-07EC-A24F-93B0-26EEDECD549B}"/>
              </a:ext>
            </a:extLst>
          </p:cNvPr>
          <p:cNvSpPr/>
          <p:nvPr/>
        </p:nvSpPr>
        <p:spPr>
          <a:xfrm>
            <a:off x="9405893" y="2678559"/>
            <a:ext cx="1597305" cy="535777"/>
          </a:xfrm>
          <a:prstGeom prst="roundRect">
            <a:avLst/>
          </a:prstGeom>
          <a:solidFill>
            <a:srgbClr val="C5277F">
              <a:alpha val="95000"/>
            </a:srgbClr>
          </a:solidFill>
          <a:ln w="952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t" anchorCtr="0" forceAA="0" compatLnSpc="1">
            <a:prstTxWarp prst="textNoShape">
              <a:avLst/>
            </a:prstTxWarp>
            <a:noAutofit/>
          </a:bodyPr>
          <a:lstStyle/>
          <a:p>
            <a:pPr algn="ctr" defTabSz="457200"/>
            <a:r>
              <a:rPr lang="en-US" sz="700" dirty="0">
                <a:solidFill>
                  <a:schemeClr val="bg1"/>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Consumer</a:t>
            </a:r>
          </a:p>
        </p:txBody>
      </p:sp>
      <p:cxnSp>
        <p:nvCxnSpPr>
          <p:cNvPr id="74" name="Straight Connector 73">
            <a:extLst>
              <a:ext uri="{FF2B5EF4-FFF2-40B4-BE49-F238E27FC236}">
                <a16:creationId xmlns:a16="http://schemas.microsoft.com/office/drawing/2014/main" id="{4F347F67-7E5B-774B-8AAB-381AAC97159A}"/>
              </a:ext>
            </a:extLst>
          </p:cNvPr>
          <p:cNvCxnSpPr>
            <a:cxnSpLocks/>
            <a:stCxn id="48" idx="3"/>
            <a:endCxn id="90" idx="1"/>
          </p:cNvCxnSpPr>
          <p:nvPr/>
        </p:nvCxnSpPr>
        <p:spPr>
          <a:xfrm flipV="1">
            <a:off x="8057340" y="2946448"/>
            <a:ext cx="1348553" cy="3883"/>
          </a:xfrm>
          <a:prstGeom prst="line">
            <a:avLst/>
          </a:prstGeom>
          <a:ln w="12700">
            <a:solidFill>
              <a:schemeClr val="tx1">
                <a:lumMod val="50000"/>
              </a:schemeClr>
            </a:solidFill>
            <a:headEnd type="oval"/>
            <a:tailEnd type="oval"/>
          </a:ln>
        </p:spPr>
        <p:style>
          <a:lnRef idx="1">
            <a:schemeClr val="accent1"/>
          </a:lnRef>
          <a:fillRef idx="0">
            <a:schemeClr val="accent1"/>
          </a:fillRef>
          <a:effectRef idx="0">
            <a:schemeClr val="accent1"/>
          </a:effectRef>
          <a:fontRef idx="minor">
            <a:schemeClr val="tx1"/>
          </a:fontRef>
        </p:style>
      </p:cxnSp>
      <p:sp>
        <p:nvSpPr>
          <p:cNvPr id="91" name="Rounded Rectangle 90">
            <a:extLst>
              <a:ext uri="{FF2B5EF4-FFF2-40B4-BE49-F238E27FC236}">
                <a16:creationId xmlns:a16="http://schemas.microsoft.com/office/drawing/2014/main" id="{9192F040-365C-6849-9919-7C3CA1811A0D}"/>
              </a:ext>
            </a:extLst>
          </p:cNvPr>
          <p:cNvSpPr/>
          <p:nvPr/>
        </p:nvSpPr>
        <p:spPr>
          <a:xfrm>
            <a:off x="9421462" y="3656341"/>
            <a:ext cx="1597305" cy="1747893"/>
          </a:xfrm>
          <a:prstGeom prst="roundRect">
            <a:avLst/>
          </a:prstGeom>
          <a:solidFill>
            <a:schemeClr val="accent6">
              <a:lumMod val="75000"/>
              <a:alpha val="95000"/>
            </a:schemeClr>
          </a:solidFill>
          <a:ln w="952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t" anchorCtr="0" forceAA="0" compatLnSpc="1">
            <a:prstTxWarp prst="textNoShape">
              <a:avLst/>
            </a:prstTxWarp>
            <a:noAutofit/>
          </a:bodyPr>
          <a:lstStyle/>
          <a:p>
            <a:pPr algn="ctr" defTabSz="457200"/>
            <a:endParaRPr lang="en-US" sz="700" dirty="0">
              <a:solidFill>
                <a:schemeClr val="bg1"/>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endParaRPr>
          </a:p>
          <a:p>
            <a:pPr algn="ctr" defTabSz="457200"/>
            <a:endParaRPr lang="en-US" sz="700" dirty="0">
              <a:solidFill>
                <a:schemeClr val="bg1"/>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endParaRPr>
          </a:p>
          <a:p>
            <a:pPr algn="ctr" defTabSz="457200"/>
            <a:endParaRPr lang="en-US" sz="700" dirty="0">
              <a:solidFill>
                <a:schemeClr val="bg1"/>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endParaRPr>
          </a:p>
          <a:p>
            <a:pPr algn="ctr" defTabSz="457200"/>
            <a:r>
              <a:rPr lang="en-US" sz="700" dirty="0">
                <a:solidFill>
                  <a:schemeClr val="bg1"/>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Consumer</a:t>
            </a:r>
          </a:p>
        </p:txBody>
      </p:sp>
      <p:cxnSp>
        <p:nvCxnSpPr>
          <p:cNvPr id="75" name="Straight Connector 74">
            <a:extLst>
              <a:ext uri="{FF2B5EF4-FFF2-40B4-BE49-F238E27FC236}">
                <a16:creationId xmlns:a16="http://schemas.microsoft.com/office/drawing/2014/main" id="{3D0FBC35-1865-B240-BDB7-375DA32DAF87}"/>
              </a:ext>
            </a:extLst>
          </p:cNvPr>
          <p:cNvCxnSpPr>
            <a:cxnSpLocks/>
            <a:endCxn id="91" idx="1"/>
          </p:cNvCxnSpPr>
          <p:nvPr/>
        </p:nvCxnSpPr>
        <p:spPr>
          <a:xfrm>
            <a:off x="7430557" y="4150859"/>
            <a:ext cx="1990905" cy="379429"/>
          </a:xfrm>
          <a:prstGeom prst="line">
            <a:avLst/>
          </a:prstGeom>
          <a:ln w="12700">
            <a:solidFill>
              <a:schemeClr val="accent1">
                <a:lumMod val="10000"/>
              </a:schemeClr>
            </a:solidFill>
            <a:headEnd type="oval"/>
            <a:tailEnd type="oval"/>
          </a:ln>
        </p:spPr>
        <p:style>
          <a:lnRef idx="1">
            <a:schemeClr val="accent1"/>
          </a:lnRef>
          <a:fillRef idx="0">
            <a:schemeClr val="accent1"/>
          </a:fillRef>
          <a:effectRef idx="0">
            <a:schemeClr val="accent1"/>
          </a:effectRef>
          <a:fontRef idx="minor">
            <a:schemeClr val="tx1"/>
          </a:fontRef>
        </p:style>
      </p:cxnSp>
      <p:sp>
        <p:nvSpPr>
          <p:cNvPr id="92" name="Google Shape;61;p12">
            <a:extLst>
              <a:ext uri="{FF2B5EF4-FFF2-40B4-BE49-F238E27FC236}">
                <a16:creationId xmlns:a16="http://schemas.microsoft.com/office/drawing/2014/main" id="{A3F1CC58-B0C2-8D45-B134-3C57D8E429EC}"/>
              </a:ext>
            </a:extLst>
          </p:cNvPr>
          <p:cNvSpPr txBox="1">
            <a:spLocks/>
          </p:cNvSpPr>
          <p:nvPr/>
        </p:nvSpPr>
        <p:spPr>
          <a:xfrm>
            <a:off x="8204047" y="2638670"/>
            <a:ext cx="1230502" cy="215444"/>
          </a:xfrm>
          <a:prstGeom prst="rect">
            <a:avLst/>
          </a:prstGeom>
          <a:noFill/>
        </p:spPr>
        <p:txBody>
          <a:bodyPr wrap="square" rtlCol="0">
            <a:spAutoFit/>
          </a:bodyPr>
          <a:lstStyle>
            <a:defPPr>
              <a:defRPr lang="en-US"/>
            </a:defPPr>
            <a:lvl1pPr algn="ctr" defTabSz="457200">
              <a:defRPr sz="90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defRPr>
            </a:lvl1pPr>
          </a:lstStyle>
          <a:p>
            <a:pPr algn="l"/>
            <a:r>
              <a:rPr lang="en-US" sz="800" dirty="0">
                <a:solidFill>
                  <a:schemeClr val="tx1">
                    <a:lumMod val="50000"/>
                  </a:schemeClr>
                </a:solidFill>
                <a:latin typeface="Comic Sans MS" panose="030F0902030302020204" pitchFamily="66" charset="0"/>
              </a:rPr>
              <a:t>Read in order </a:t>
            </a:r>
          </a:p>
        </p:txBody>
      </p:sp>
      <p:sp>
        <p:nvSpPr>
          <p:cNvPr id="93" name="Google Shape;61;p12">
            <a:extLst>
              <a:ext uri="{FF2B5EF4-FFF2-40B4-BE49-F238E27FC236}">
                <a16:creationId xmlns:a16="http://schemas.microsoft.com/office/drawing/2014/main" id="{A25EC490-D7DA-8443-9E89-19D77BA3F796}"/>
              </a:ext>
            </a:extLst>
          </p:cNvPr>
          <p:cNvSpPr txBox="1">
            <a:spLocks/>
          </p:cNvSpPr>
          <p:nvPr/>
        </p:nvSpPr>
        <p:spPr>
          <a:xfrm rot="645554">
            <a:off x="7830847" y="4475779"/>
            <a:ext cx="1230502" cy="215444"/>
          </a:xfrm>
          <a:prstGeom prst="rect">
            <a:avLst/>
          </a:prstGeom>
          <a:noFill/>
        </p:spPr>
        <p:txBody>
          <a:bodyPr wrap="square" rtlCol="0">
            <a:spAutoFit/>
          </a:bodyPr>
          <a:lstStyle>
            <a:defPPr>
              <a:defRPr lang="en-US"/>
            </a:defPPr>
            <a:lvl1pPr algn="ctr" defTabSz="457200">
              <a:defRPr sz="90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defRPr>
            </a:lvl1pPr>
          </a:lstStyle>
          <a:p>
            <a:pPr algn="l"/>
            <a:r>
              <a:rPr lang="en-US" sz="800" dirty="0">
                <a:solidFill>
                  <a:schemeClr val="tx1">
                    <a:lumMod val="50000"/>
                  </a:schemeClr>
                </a:solidFill>
                <a:latin typeface="Comic Sans MS" panose="030F0902030302020204" pitchFamily="66" charset="0"/>
              </a:rPr>
              <a:t>Read in order </a:t>
            </a:r>
          </a:p>
        </p:txBody>
      </p:sp>
      <p:sp>
        <p:nvSpPr>
          <p:cNvPr id="94" name="Google Shape;61;p12">
            <a:extLst>
              <a:ext uri="{FF2B5EF4-FFF2-40B4-BE49-F238E27FC236}">
                <a16:creationId xmlns:a16="http://schemas.microsoft.com/office/drawing/2014/main" id="{6FB2F8A2-A4F7-2B42-BA00-78128DF42521}"/>
              </a:ext>
            </a:extLst>
          </p:cNvPr>
          <p:cNvSpPr txBox="1">
            <a:spLocks/>
          </p:cNvSpPr>
          <p:nvPr/>
        </p:nvSpPr>
        <p:spPr>
          <a:xfrm>
            <a:off x="404805" y="1042350"/>
            <a:ext cx="776722" cy="307777"/>
          </a:xfrm>
          <a:prstGeom prst="rect">
            <a:avLst/>
          </a:prstGeom>
          <a:noFill/>
        </p:spPr>
        <p:txBody>
          <a:bodyPr wrap="square" rtlCol="0">
            <a:spAutoFit/>
          </a:bodyPr>
          <a:lstStyle>
            <a:defPPr>
              <a:defRPr lang="en-US"/>
            </a:defPPr>
            <a:lvl1pPr algn="ctr" defTabSz="457200">
              <a:defRPr sz="90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defRPr>
            </a:lvl1pPr>
          </a:lstStyle>
          <a:p>
            <a:pPr algn="l"/>
            <a:r>
              <a:rPr lang="en-US" sz="1400" dirty="0">
                <a:solidFill>
                  <a:srgbClr val="C5277F"/>
                </a:solidFill>
              </a:rPr>
              <a:t>Consumer</a:t>
            </a:r>
          </a:p>
        </p:txBody>
      </p:sp>
    </p:spTree>
    <p:extLst>
      <p:ext uri="{BB962C8B-B14F-4D97-AF65-F5344CB8AC3E}">
        <p14:creationId xmlns:p14="http://schemas.microsoft.com/office/powerpoint/2010/main" val="35458722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tangle 3">
            <a:extLst>
              <a:ext uri="{FF2B5EF4-FFF2-40B4-BE49-F238E27FC236}">
                <a16:creationId xmlns:a16="http://schemas.microsoft.com/office/drawing/2014/main" id="{A27FD23C-A522-0E4F-B70C-CC83BC4542BA}"/>
              </a:ext>
            </a:extLst>
          </p:cNvPr>
          <p:cNvSpPr txBox="1"/>
          <p:nvPr/>
        </p:nvSpPr>
        <p:spPr>
          <a:xfrm>
            <a:off x="404808" y="237462"/>
            <a:ext cx="7585857" cy="400105"/>
          </a:xfrm>
          <a:prstGeom prst="rect">
            <a:avLst/>
          </a:prstGeom>
          <a:ln w="12700">
            <a:miter lim="400000"/>
          </a:ln>
          <a:extLst>
            <a:ext uri="{C572A759-6A51-4108-AA02-DFA0A04FC94B}">
              <ma14:wrappingTextBoxFlag xmlns:ma14="http://schemas.microsoft.com/office/mac/drawingml/2011/main" xmlns="" val="1"/>
            </a:ext>
          </a:extLst>
        </p:spPr>
        <p:txBody>
          <a:bodyPr wrap="square" lIns="45718" tIns="45718" rIns="45718" bIns="45718">
            <a:spAutoFit/>
          </a:bodyPr>
          <a:lstStyle>
            <a:lvl1pPr algn="l" defTabSz="914400">
              <a:defRPr sz="2200" b="1">
                <a:solidFill>
                  <a:srgbClr val="FFFFFF"/>
                </a:solidFill>
                <a:latin typeface="Arial"/>
                <a:ea typeface="Arial"/>
                <a:cs typeface="Arial"/>
                <a:sym typeface="Arial"/>
              </a:defRPr>
            </a:lvl1pPr>
          </a:lstStyle>
          <a:p>
            <a:r>
              <a:rPr lang="en-US" sz="2000" dirty="0">
                <a:solidFill>
                  <a:srgbClr val="016AA2"/>
                </a:solidFill>
              </a:rPr>
              <a:t>Features and terminology (X)</a:t>
            </a:r>
          </a:p>
        </p:txBody>
      </p:sp>
      <p:sp>
        <p:nvSpPr>
          <p:cNvPr id="65" name="Rectangle 3"/>
          <p:cNvSpPr txBox="1"/>
          <p:nvPr/>
        </p:nvSpPr>
        <p:spPr>
          <a:xfrm>
            <a:off x="404806" y="610135"/>
            <a:ext cx="8775769" cy="369328"/>
          </a:xfrm>
          <a:prstGeom prst="rect">
            <a:avLst/>
          </a:prstGeom>
          <a:ln w="12700">
            <a:miter lim="400000"/>
          </a:ln>
          <a:extLst>
            <a:ext uri="{C572A759-6A51-4108-AA02-DFA0A04FC94B}">
              <ma14:wrappingTextBoxFlag xmlns="" xmlns:ma14="http://schemas.microsoft.com/office/mac/drawingml/2011/main" val="1"/>
            </a:ext>
          </a:extLst>
        </p:spPr>
        <p:txBody>
          <a:bodyPr wrap="square" lIns="45718" tIns="45718" rIns="45718" bIns="45718">
            <a:spAutoFit/>
          </a:bodyPr>
          <a:lstStyle>
            <a:lvl1pPr algn="l" defTabSz="914400">
              <a:defRPr sz="2000">
                <a:solidFill>
                  <a:srgbClr val="104D6A"/>
                </a:solidFill>
                <a:latin typeface="Arial"/>
                <a:ea typeface="Arial"/>
                <a:cs typeface="Arial"/>
                <a:sym typeface="Arial"/>
              </a:defRPr>
            </a:lvl1pPr>
          </a:lstStyle>
          <a:p>
            <a:pPr>
              <a:defRPr/>
            </a:pPr>
            <a:r>
              <a:rPr lang="en-US" sz="1800" b="1" dirty="0">
                <a:solidFill>
                  <a:srgbClr val="73C4EF"/>
                </a:solidFill>
              </a:rPr>
              <a:t>Event Hub Architecture – Consumers &amp; Consumer Groups</a:t>
            </a:r>
          </a:p>
        </p:txBody>
      </p:sp>
      <p:sp>
        <p:nvSpPr>
          <p:cNvPr id="24" name="Rectangle 23">
            <a:extLst>
              <a:ext uri="{FF2B5EF4-FFF2-40B4-BE49-F238E27FC236}">
                <a16:creationId xmlns:a16="http://schemas.microsoft.com/office/drawing/2014/main" id="{99A2FE60-147D-FA46-A7E8-BA316040C987}"/>
              </a:ext>
            </a:extLst>
          </p:cNvPr>
          <p:cNvSpPr/>
          <p:nvPr/>
        </p:nvSpPr>
        <p:spPr>
          <a:xfrm>
            <a:off x="404805" y="1352618"/>
            <a:ext cx="11276911" cy="735756"/>
          </a:xfrm>
          <a:prstGeom prst="rect">
            <a:avLst/>
          </a:prstGeom>
          <a:noFill/>
        </p:spPr>
        <p:txBody>
          <a:bodyPr wrap="square" tIns="90000" bIns="90000" rtlCol="0" anchor="t">
            <a:spAutoFit/>
          </a:bodyPr>
          <a:lstStyle/>
          <a:p>
            <a:pPr algn="just"/>
            <a:r>
              <a:rPr lang="en-US" sz="1200" dirty="0">
                <a:solidFill>
                  <a:srgbClr val="0079D1"/>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Consumer read data in consumer groups </a:t>
            </a:r>
          </a:p>
          <a:p>
            <a:pPr algn="just"/>
            <a:r>
              <a:rPr lang="en-US" sz="1200" dirty="0">
                <a:solidFill>
                  <a:srgbClr val="0079D1"/>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Each consumer within a group read from exclusive partition</a:t>
            </a:r>
          </a:p>
          <a:p>
            <a:pPr algn="just"/>
            <a:r>
              <a:rPr lang="en-US" sz="1200" dirty="0">
                <a:solidFill>
                  <a:srgbClr val="0079D1"/>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If you have more consumers than partition, some consumers will be inactive</a:t>
            </a:r>
          </a:p>
        </p:txBody>
      </p:sp>
      <p:sp>
        <p:nvSpPr>
          <p:cNvPr id="79" name="Rounded Rectangle 78">
            <a:extLst>
              <a:ext uri="{FF2B5EF4-FFF2-40B4-BE49-F238E27FC236}">
                <a16:creationId xmlns:a16="http://schemas.microsoft.com/office/drawing/2014/main" id="{5C6D149B-7059-FE4E-9AC3-828999767826}"/>
              </a:ext>
            </a:extLst>
          </p:cNvPr>
          <p:cNvSpPr/>
          <p:nvPr/>
        </p:nvSpPr>
        <p:spPr>
          <a:xfrm>
            <a:off x="2811921" y="2379072"/>
            <a:ext cx="1597305" cy="481893"/>
          </a:xfrm>
          <a:prstGeom prst="roundRect">
            <a:avLst/>
          </a:prstGeom>
          <a:solidFill>
            <a:schemeClr val="bg1">
              <a:lumMod val="85000"/>
              <a:alpha val="95000"/>
            </a:schemeClr>
          </a:solidFill>
          <a:ln w="9525">
            <a:solidFill>
              <a:schemeClr val="bg1">
                <a:lumMod val="8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t" anchorCtr="0" forceAA="0" compatLnSpc="1">
            <a:prstTxWarp prst="textNoShape">
              <a:avLst/>
            </a:prstTxWarp>
            <a:noAutofit/>
          </a:bodyPr>
          <a:lstStyle/>
          <a:p>
            <a:pPr algn="ctr" defTabSz="457200"/>
            <a:r>
              <a:rPr lang="en-US" sz="1050" dirty="0">
                <a:solidFill>
                  <a:schemeClr val="tx1">
                    <a:lumMod val="50000"/>
                  </a:schemeClr>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Topic-A </a:t>
            </a:r>
          </a:p>
          <a:p>
            <a:pPr algn="ctr" defTabSz="457200"/>
            <a:r>
              <a:rPr lang="en-US" sz="1050" dirty="0">
                <a:solidFill>
                  <a:schemeClr val="tx1">
                    <a:lumMod val="50000"/>
                  </a:schemeClr>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Partition 0</a:t>
            </a:r>
          </a:p>
        </p:txBody>
      </p:sp>
      <p:sp>
        <p:nvSpPr>
          <p:cNvPr id="83" name="Rounded Rectangle 82">
            <a:extLst>
              <a:ext uri="{FF2B5EF4-FFF2-40B4-BE49-F238E27FC236}">
                <a16:creationId xmlns:a16="http://schemas.microsoft.com/office/drawing/2014/main" id="{FA73DC14-7B47-0E48-BBDE-5294814CFAB5}"/>
              </a:ext>
            </a:extLst>
          </p:cNvPr>
          <p:cNvSpPr/>
          <p:nvPr/>
        </p:nvSpPr>
        <p:spPr>
          <a:xfrm>
            <a:off x="7127065" y="2379071"/>
            <a:ext cx="1597305" cy="481893"/>
          </a:xfrm>
          <a:prstGeom prst="roundRect">
            <a:avLst/>
          </a:prstGeom>
          <a:solidFill>
            <a:schemeClr val="bg1">
              <a:lumMod val="85000"/>
              <a:alpha val="95000"/>
            </a:schemeClr>
          </a:solidFill>
          <a:ln w="9525">
            <a:solidFill>
              <a:schemeClr val="bg1">
                <a:lumMod val="8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t" anchorCtr="0" forceAA="0" compatLnSpc="1">
            <a:prstTxWarp prst="textNoShape">
              <a:avLst/>
            </a:prstTxWarp>
            <a:noAutofit/>
          </a:bodyPr>
          <a:lstStyle/>
          <a:p>
            <a:pPr algn="ctr" defTabSz="457200"/>
            <a:r>
              <a:rPr lang="en-US" sz="1050" dirty="0">
                <a:solidFill>
                  <a:schemeClr val="tx1">
                    <a:lumMod val="50000"/>
                  </a:schemeClr>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Topic-A </a:t>
            </a:r>
          </a:p>
          <a:p>
            <a:pPr algn="ctr" defTabSz="457200"/>
            <a:r>
              <a:rPr lang="en-US" sz="1050" dirty="0">
                <a:solidFill>
                  <a:schemeClr val="tx1">
                    <a:lumMod val="50000"/>
                  </a:schemeClr>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Partition 0</a:t>
            </a:r>
          </a:p>
          <a:p>
            <a:pPr algn="ctr" defTabSz="457200"/>
            <a:endParaRPr lang="en-US" sz="1050" dirty="0">
              <a:solidFill>
                <a:schemeClr val="tx1">
                  <a:lumMod val="50000"/>
                </a:schemeClr>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endParaRPr>
          </a:p>
        </p:txBody>
      </p:sp>
      <p:sp>
        <p:nvSpPr>
          <p:cNvPr id="91" name="Rounded Rectangle 90">
            <a:extLst>
              <a:ext uri="{FF2B5EF4-FFF2-40B4-BE49-F238E27FC236}">
                <a16:creationId xmlns:a16="http://schemas.microsoft.com/office/drawing/2014/main" id="{9192F040-365C-6849-9919-7C3CA1811A0D}"/>
              </a:ext>
            </a:extLst>
          </p:cNvPr>
          <p:cNvSpPr/>
          <p:nvPr/>
        </p:nvSpPr>
        <p:spPr>
          <a:xfrm>
            <a:off x="336998" y="3657027"/>
            <a:ext cx="3708970" cy="1355068"/>
          </a:xfrm>
          <a:prstGeom prst="roundRect">
            <a:avLst/>
          </a:prstGeom>
          <a:solidFill>
            <a:schemeClr val="bg1">
              <a:alpha val="95000"/>
            </a:schemeClr>
          </a:solidFill>
          <a:ln w="19050">
            <a:solidFill>
              <a:srgbClr val="C5277F"/>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t" anchorCtr="0" forceAA="0" compatLnSpc="1">
            <a:prstTxWarp prst="textNoShape">
              <a:avLst/>
            </a:prstTxWarp>
            <a:noAutofit/>
          </a:bodyPr>
          <a:lstStyle/>
          <a:p>
            <a:pPr algn="ctr" defTabSz="457200"/>
            <a:endParaRPr lang="en-US" sz="1000" dirty="0">
              <a:solidFill>
                <a:schemeClr val="bg1"/>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endParaRPr>
          </a:p>
          <a:p>
            <a:pPr algn="ctr" defTabSz="457200"/>
            <a:endParaRPr lang="en-US" sz="1000" dirty="0">
              <a:solidFill>
                <a:schemeClr val="bg1"/>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endParaRPr>
          </a:p>
          <a:p>
            <a:pPr algn="ctr" defTabSz="457200"/>
            <a:endParaRPr lang="en-US" sz="1000" dirty="0">
              <a:solidFill>
                <a:schemeClr val="bg1"/>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endParaRPr>
          </a:p>
          <a:p>
            <a:pPr algn="ctr" defTabSz="457200"/>
            <a:endParaRPr lang="en-US" sz="1000" dirty="0">
              <a:solidFill>
                <a:schemeClr val="bg1"/>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endParaRPr>
          </a:p>
          <a:p>
            <a:pPr algn="ctr" defTabSz="457200"/>
            <a:r>
              <a:rPr lang="en-US" sz="1000" dirty="0">
                <a:solidFill>
                  <a:schemeClr val="bg1"/>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Co</a:t>
            </a:r>
          </a:p>
          <a:p>
            <a:pPr algn="ctr" defTabSz="457200"/>
            <a:r>
              <a:rPr lang="en-US" sz="1000" dirty="0">
                <a:solidFill>
                  <a:schemeClr val="tx1">
                    <a:lumMod val="50000"/>
                  </a:schemeClr>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Consumer-group-partition-1</a:t>
            </a:r>
          </a:p>
        </p:txBody>
      </p:sp>
      <p:sp>
        <p:nvSpPr>
          <p:cNvPr id="94" name="Google Shape;61;p12">
            <a:extLst>
              <a:ext uri="{FF2B5EF4-FFF2-40B4-BE49-F238E27FC236}">
                <a16:creationId xmlns:a16="http://schemas.microsoft.com/office/drawing/2014/main" id="{6FB2F8A2-A4F7-2B42-BA00-78128DF42521}"/>
              </a:ext>
            </a:extLst>
          </p:cNvPr>
          <p:cNvSpPr txBox="1">
            <a:spLocks/>
          </p:cNvSpPr>
          <p:nvPr/>
        </p:nvSpPr>
        <p:spPr>
          <a:xfrm>
            <a:off x="404804" y="1097214"/>
            <a:ext cx="1707459" cy="261610"/>
          </a:xfrm>
          <a:prstGeom prst="rect">
            <a:avLst/>
          </a:prstGeom>
          <a:noFill/>
        </p:spPr>
        <p:txBody>
          <a:bodyPr wrap="square" rtlCol="0">
            <a:spAutoFit/>
          </a:bodyPr>
          <a:lstStyle>
            <a:defPPr>
              <a:defRPr lang="en-US"/>
            </a:defPPr>
            <a:lvl1pPr algn="ctr" defTabSz="457200">
              <a:defRPr sz="90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defRPr>
            </a:lvl1pPr>
          </a:lstStyle>
          <a:p>
            <a:pPr algn="l"/>
            <a:r>
              <a:rPr lang="en-US" sz="1100" dirty="0">
                <a:solidFill>
                  <a:srgbClr val="C5277F"/>
                </a:solidFill>
                <a:latin typeface="Comic Sans MS" panose="030F0902030302020204" pitchFamily="66" charset="0"/>
              </a:rPr>
              <a:t>Consumer Groups</a:t>
            </a:r>
          </a:p>
        </p:txBody>
      </p:sp>
      <p:sp>
        <p:nvSpPr>
          <p:cNvPr id="76" name="Rounded Rectangle 75">
            <a:extLst>
              <a:ext uri="{FF2B5EF4-FFF2-40B4-BE49-F238E27FC236}">
                <a16:creationId xmlns:a16="http://schemas.microsoft.com/office/drawing/2014/main" id="{E31825BB-4B55-D04F-BCA0-B772A89D3125}"/>
              </a:ext>
            </a:extLst>
          </p:cNvPr>
          <p:cNvSpPr/>
          <p:nvPr/>
        </p:nvSpPr>
        <p:spPr>
          <a:xfrm>
            <a:off x="4969493" y="2379071"/>
            <a:ext cx="1597305" cy="481893"/>
          </a:xfrm>
          <a:prstGeom prst="roundRect">
            <a:avLst/>
          </a:prstGeom>
          <a:solidFill>
            <a:schemeClr val="bg1">
              <a:lumMod val="85000"/>
              <a:alpha val="95000"/>
            </a:schemeClr>
          </a:solidFill>
          <a:ln w="9525">
            <a:solidFill>
              <a:schemeClr val="bg1">
                <a:lumMod val="8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t" anchorCtr="0" forceAA="0" compatLnSpc="1">
            <a:prstTxWarp prst="textNoShape">
              <a:avLst/>
            </a:prstTxWarp>
            <a:noAutofit/>
          </a:bodyPr>
          <a:lstStyle/>
          <a:p>
            <a:pPr algn="ctr" defTabSz="457200"/>
            <a:r>
              <a:rPr lang="en-US" sz="1050" dirty="0">
                <a:solidFill>
                  <a:schemeClr val="tx1">
                    <a:lumMod val="50000"/>
                  </a:schemeClr>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Topic-A </a:t>
            </a:r>
          </a:p>
          <a:p>
            <a:pPr algn="ctr" defTabSz="457200"/>
            <a:r>
              <a:rPr lang="en-US" sz="1050" dirty="0">
                <a:solidFill>
                  <a:schemeClr val="tx1">
                    <a:lumMod val="50000"/>
                  </a:schemeClr>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Partition 0</a:t>
            </a:r>
          </a:p>
        </p:txBody>
      </p:sp>
      <p:sp>
        <p:nvSpPr>
          <p:cNvPr id="88" name="Rounded Rectangle 87">
            <a:extLst>
              <a:ext uri="{FF2B5EF4-FFF2-40B4-BE49-F238E27FC236}">
                <a16:creationId xmlns:a16="http://schemas.microsoft.com/office/drawing/2014/main" id="{E6C5067E-2610-644D-B733-DD6891BB6934}"/>
              </a:ext>
            </a:extLst>
          </p:cNvPr>
          <p:cNvSpPr/>
          <p:nvPr/>
        </p:nvSpPr>
        <p:spPr>
          <a:xfrm>
            <a:off x="498185" y="4076945"/>
            <a:ext cx="1597305" cy="535777"/>
          </a:xfrm>
          <a:prstGeom prst="roundRect">
            <a:avLst/>
          </a:prstGeom>
          <a:solidFill>
            <a:srgbClr val="C5277F">
              <a:alpha val="95000"/>
            </a:srgbClr>
          </a:solidFill>
          <a:ln w="952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t" anchorCtr="0" forceAA="0" compatLnSpc="1">
            <a:prstTxWarp prst="textNoShape">
              <a:avLst/>
            </a:prstTxWarp>
            <a:noAutofit/>
          </a:bodyPr>
          <a:lstStyle/>
          <a:p>
            <a:pPr algn="ctr" defTabSz="457200"/>
            <a:r>
              <a:rPr lang="en-US" sz="1000" dirty="0">
                <a:solidFill>
                  <a:schemeClr val="bg1"/>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Consumer 1</a:t>
            </a:r>
          </a:p>
        </p:txBody>
      </p:sp>
      <p:sp>
        <p:nvSpPr>
          <p:cNvPr id="89" name="Rounded Rectangle 88">
            <a:extLst>
              <a:ext uri="{FF2B5EF4-FFF2-40B4-BE49-F238E27FC236}">
                <a16:creationId xmlns:a16="http://schemas.microsoft.com/office/drawing/2014/main" id="{DC5A96D7-93EF-DA4C-8883-A201B193689C}"/>
              </a:ext>
            </a:extLst>
          </p:cNvPr>
          <p:cNvSpPr/>
          <p:nvPr/>
        </p:nvSpPr>
        <p:spPr>
          <a:xfrm>
            <a:off x="2295030" y="4087218"/>
            <a:ext cx="1597305" cy="535777"/>
          </a:xfrm>
          <a:prstGeom prst="roundRect">
            <a:avLst/>
          </a:prstGeom>
          <a:solidFill>
            <a:srgbClr val="C5277F">
              <a:alpha val="95000"/>
            </a:srgbClr>
          </a:solidFill>
          <a:ln w="952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t" anchorCtr="0" forceAA="0" compatLnSpc="1">
            <a:prstTxWarp prst="textNoShape">
              <a:avLst/>
            </a:prstTxWarp>
            <a:noAutofit/>
          </a:bodyPr>
          <a:lstStyle/>
          <a:p>
            <a:pPr algn="ctr" defTabSz="457200"/>
            <a:r>
              <a:rPr lang="en-US" sz="1000" dirty="0">
                <a:solidFill>
                  <a:schemeClr val="bg1"/>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Consumer 2</a:t>
            </a:r>
          </a:p>
        </p:txBody>
      </p:sp>
      <p:sp>
        <p:nvSpPr>
          <p:cNvPr id="95" name="Rounded Rectangle 94">
            <a:extLst>
              <a:ext uri="{FF2B5EF4-FFF2-40B4-BE49-F238E27FC236}">
                <a16:creationId xmlns:a16="http://schemas.microsoft.com/office/drawing/2014/main" id="{70F5D440-9AF1-9D49-9272-B6F24FB803BA}"/>
              </a:ext>
            </a:extLst>
          </p:cNvPr>
          <p:cNvSpPr/>
          <p:nvPr/>
        </p:nvSpPr>
        <p:spPr>
          <a:xfrm>
            <a:off x="4157115" y="3657027"/>
            <a:ext cx="5494738" cy="1355068"/>
          </a:xfrm>
          <a:prstGeom prst="roundRect">
            <a:avLst/>
          </a:prstGeom>
          <a:solidFill>
            <a:schemeClr val="bg1">
              <a:alpha val="95000"/>
            </a:schemeClr>
          </a:solidFill>
          <a:ln w="19050">
            <a:solidFill>
              <a:srgbClr val="87CBD8"/>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t" anchorCtr="0" forceAA="0" compatLnSpc="1">
            <a:prstTxWarp prst="textNoShape">
              <a:avLst/>
            </a:prstTxWarp>
            <a:noAutofit/>
          </a:bodyPr>
          <a:lstStyle/>
          <a:p>
            <a:pPr algn="ctr" defTabSz="457200"/>
            <a:endParaRPr lang="en-US" sz="1000" dirty="0">
              <a:solidFill>
                <a:schemeClr val="bg1"/>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endParaRPr>
          </a:p>
          <a:p>
            <a:pPr algn="ctr" defTabSz="457200"/>
            <a:endParaRPr lang="en-US" sz="1000" dirty="0">
              <a:solidFill>
                <a:schemeClr val="bg1"/>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endParaRPr>
          </a:p>
          <a:p>
            <a:pPr algn="ctr" defTabSz="457200"/>
            <a:endParaRPr lang="en-US" sz="1000" dirty="0">
              <a:solidFill>
                <a:schemeClr val="bg1"/>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endParaRPr>
          </a:p>
          <a:p>
            <a:pPr algn="ctr" defTabSz="457200"/>
            <a:endParaRPr lang="en-US" sz="1000" dirty="0">
              <a:solidFill>
                <a:schemeClr val="bg1"/>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endParaRPr>
          </a:p>
          <a:p>
            <a:pPr algn="ctr" defTabSz="457200"/>
            <a:r>
              <a:rPr lang="en-US" sz="1000" dirty="0">
                <a:solidFill>
                  <a:schemeClr val="bg1"/>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Co</a:t>
            </a:r>
          </a:p>
          <a:p>
            <a:pPr algn="ctr" defTabSz="457200"/>
            <a:r>
              <a:rPr lang="en-US" sz="1000" dirty="0">
                <a:solidFill>
                  <a:schemeClr val="tx1">
                    <a:lumMod val="50000"/>
                  </a:schemeClr>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Consumer-group-partition-2</a:t>
            </a:r>
          </a:p>
        </p:txBody>
      </p:sp>
      <p:sp>
        <p:nvSpPr>
          <p:cNvPr id="96" name="Rounded Rectangle 95">
            <a:extLst>
              <a:ext uri="{FF2B5EF4-FFF2-40B4-BE49-F238E27FC236}">
                <a16:creationId xmlns:a16="http://schemas.microsoft.com/office/drawing/2014/main" id="{009B2C62-678F-7A41-BEE8-E2CBEF20FAC5}"/>
              </a:ext>
            </a:extLst>
          </p:cNvPr>
          <p:cNvSpPr/>
          <p:nvPr/>
        </p:nvSpPr>
        <p:spPr>
          <a:xfrm>
            <a:off x="4318303" y="4076945"/>
            <a:ext cx="1597305" cy="535777"/>
          </a:xfrm>
          <a:prstGeom prst="roundRect">
            <a:avLst/>
          </a:prstGeom>
          <a:solidFill>
            <a:srgbClr val="87CBD8">
              <a:alpha val="95000"/>
            </a:srgbClr>
          </a:solidFill>
          <a:ln w="952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t" anchorCtr="0" forceAA="0" compatLnSpc="1">
            <a:prstTxWarp prst="textNoShape">
              <a:avLst/>
            </a:prstTxWarp>
            <a:noAutofit/>
          </a:bodyPr>
          <a:lstStyle/>
          <a:p>
            <a:pPr algn="ctr" defTabSz="457200"/>
            <a:r>
              <a:rPr lang="en-US" sz="1000" dirty="0">
                <a:solidFill>
                  <a:srgbClr val="0079D1"/>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Consumer 1</a:t>
            </a:r>
          </a:p>
        </p:txBody>
      </p:sp>
      <p:sp>
        <p:nvSpPr>
          <p:cNvPr id="97" name="Rounded Rectangle 96">
            <a:extLst>
              <a:ext uri="{FF2B5EF4-FFF2-40B4-BE49-F238E27FC236}">
                <a16:creationId xmlns:a16="http://schemas.microsoft.com/office/drawing/2014/main" id="{A0B89158-4886-7D45-B72F-6DD042D9F672}"/>
              </a:ext>
            </a:extLst>
          </p:cNvPr>
          <p:cNvSpPr/>
          <p:nvPr/>
        </p:nvSpPr>
        <p:spPr>
          <a:xfrm>
            <a:off x="6115148" y="4087218"/>
            <a:ext cx="1597305" cy="535777"/>
          </a:xfrm>
          <a:prstGeom prst="roundRect">
            <a:avLst/>
          </a:prstGeom>
          <a:solidFill>
            <a:srgbClr val="87CBD8">
              <a:alpha val="95000"/>
            </a:srgbClr>
          </a:solidFill>
          <a:ln w="952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t" anchorCtr="0" forceAA="0" compatLnSpc="1">
            <a:prstTxWarp prst="textNoShape">
              <a:avLst/>
            </a:prstTxWarp>
            <a:noAutofit/>
          </a:bodyPr>
          <a:lstStyle/>
          <a:p>
            <a:pPr algn="ctr" defTabSz="457200"/>
            <a:r>
              <a:rPr lang="en-US" sz="1000" dirty="0">
                <a:solidFill>
                  <a:srgbClr val="0079D1"/>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Consumer 2</a:t>
            </a:r>
          </a:p>
        </p:txBody>
      </p:sp>
      <p:sp>
        <p:nvSpPr>
          <p:cNvPr id="98" name="Rounded Rectangle 97">
            <a:extLst>
              <a:ext uri="{FF2B5EF4-FFF2-40B4-BE49-F238E27FC236}">
                <a16:creationId xmlns:a16="http://schemas.microsoft.com/office/drawing/2014/main" id="{67CAA64F-73DE-E845-BDEE-F7DF4D24FD86}"/>
              </a:ext>
            </a:extLst>
          </p:cNvPr>
          <p:cNvSpPr/>
          <p:nvPr/>
        </p:nvSpPr>
        <p:spPr>
          <a:xfrm>
            <a:off x="7873641" y="4076944"/>
            <a:ext cx="1597305" cy="535777"/>
          </a:xfrm>
          <a:prstGeom prst="roundRect">
            <a:avLst/>
          </a:prstGeom>
          <a:solidFill>
            <a:srgbClr val="87CBD8">
              <a:alpha val="95000"/>
            </a:srgbClr>
          </a:solidFill>
          <a:ln w="952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t" anchorCtr="0" forceAA="0" compatLnSpc="1">
            <a:prstTxWarp prst="textNoShape">
              <a:avLst/>
            </a:prstTxWarp>
            <a:noAutofit/>
          </a:bodyPr>
          <a:lstStyle/>
          <a:p>
            <a:pPr algn="ctr" defTabSz="457200"/>
            <a:r>
              <a:rPr lang="en-US" sz="1000" dirty="0">
                <a:solidFill>
                  <a:srgbClr val="0079D1"/>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Consumer 3</a:t>
            </a:r>
          </a:p>
        </p:txBody>
      </p:sp>
      <p:cxnSp>
        <p:nvCxnSpPr>
          <p:cNvPr id="99" name="Straight Connector 98">
            <a:extLst>
              <a:ext uri="{FF2B5EF4-FFF2-40B4-BE49-F238E27FC236}">
                <a16:creationId xmlns:a16="http://schemas.microsoft.com/office/drawing/2014/main" id="{17D195D3-EB0E-B64B-888F-CCA8C080818A}"/>
              </a:ext>
            </a:extLst>
          </p:cNvPr>
          <p:cNvCxnSpPr>
            <a:cxnSpLocks/>
            <a:stCxn id="95" idx="0"/>
            <a:endCxn id="83" idx="2"/>
          </p:cNvCxnSpPr>
          <p:nvPr/>
        </p:nvCxnSpPr>
        <p:spPr>
          <a:xfrm flipV="1">
            <a:off x="6904484" y="2860964"/>
            <a:ext cx="1021234" cy="796063"/>
          </a:xfrm>
          <a:prstGeom prst="line">
            <a:avLst/>
          </a:prstGeom>
          <a:ln w="12700">
            <a:solidFill>
              <a:srgbClr val="87CBD8"/>
            </a:solidFill>
            <a:headEnd type="oval"/>
            <a:tailEnd type="oval"/>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7C162BA0-9F04-F041-B948-035DFBF32CFC}"/>
              </a:ext>
            </a:extLst>
          </p:cNvPr>
          <p:cNvCxnSpPr>
            <a:cxnSpLocks/>
            <a:stCxn id="95" idx="0"/>
            <a:endCxn id="76" idx="2"/>
          </p:cNvCxnSpPr>
          <p:nvPr/>
        </p:nvCxnSpPr>
        <p:spPr>
          <a:xfrm flipH="1" flipV="1">
            <a:off x="5768146" y="2860964"/>
            <a:ext cx="1136338" cy="796063"/>
          </a:xfrm>
          <a:prstGeom prst="line">
            <a:avLst/>
          </a:prstGeom>
          <a:ln w="12700">
            <a:solidFill>
              <a:srgbClr val="87CBD8"/>
            </a:solidFill>
            <a:headEnd type="oval"/>
            <a:tailEnd type="oval"/>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85289486-B86C-6141-A89F-4C8C4E5F7C26}"/>
              </a:ext>
            </a:extLst>
          </p:cNvPr>
          <p:cNvCxnSpPr>
            <a:cxnSpLocks/>
            <a:stCxn id="95" idx="0"/>
            <a:endCxn id="79" idx="2"/>
          </p:cNvCxnSpPr>
          <p:nvPr/>
        </p:nvCxnSpPr>
        <p:spPr>
          <a:xfrm flipH="1" flipV="1">
            <a:off x="3610574" y="2860965"/>
            <a:ext cx="3293910" cy="796062"/>
          </a:xfrm>
          <a:prstGeom prst="line">
            <a:avLst/>
          </a:prstGeom>
          <a:ln w="12700">
            <a:solidFill>
              <a:srgbClr val="87CBD8"/>
            </a:solidFill>
            <a:headEnd type="oval"/>
            <a:tailEnd type="oval"/>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A65F828B-EF60-A44A-9CF2-DC48ABBA6D8B}"/>
              </a:ext>
            </a:extLst>
          </p:cNvPr>
          <p:cNvCxnSpPr>
            <a:cxnSpLocks/>
            <a:stCxn id="91" idx="0"/>
            <a:endCxn id="79" idx="2"/>
          </p:cNvCxnSpPr>
          <p:nvPr/>
        </p:nvCxnSpPr>
        <p:spPr>
          <a:xfrm flipV="1">
            <a:off x="2191483" y="2860965"/>
            <a:ext cx="1419091" cy="796062"/>
          </a:xfrm>
          <a:prstGeom prst="line">
            <a:avLst/>
          </a:prstGeom>
          <a:ln w="12700">
            <a:solidFill>
              <a:srgbClr val="C5277F"/>
            </a:solidFill>
            <a:headEnd type="oval"/>
            <a:tailEnd type="oval"/>
          </a:ln>
        </p:spPr>
        <p:style>
          <a:lnRef idx="1">
            <a:schemeClr val="accent1"/>
          </a:lnRef>
          <a:fillRef idx="0">
            <a:schemeClr val="accent1"/>
          </a:fillRef>
          <a:effectRef idx="0">
            <a:schemeClr val="accent1"/>
          </a:effectRef>
          <a:fontRef idx="minor">
            <a:schemeClr val="tx1"/>
          </a:fontRef>
        </p:style>
      </p:cxnSp>
      <p:cxnSp>
        <p:nvCxnSpPr>
          <p:cNvPr id="103" name="Straight Connector 102">
            <a:extLst>
              <a:ext uri="{FF2B5EF4-FFF2-40B4-BE49-F238E27FC236}">
                <a16:creationId xmlns:a16="http://schemas.microsoft.com/office/drawing/2014/main" id="{F1314C5C-2656-954D-A1FC-C1E416818987}"/>
              </a:ext>
            </a:extLst>
          </p:cNvPr>
          <p:cNvCxnSpPr>
            <a:cxnSpLocks/>
            <a:stCxn id="91" idx="0"/>
            <a:endCxn id="76" idx="2"/>
          </p:cNvCxnSpPr>
          <p:nvPr/>
        </p:nvCxnSpPr>
        <p:spPr>
          <a:xfrm flipV="1">
            <a:off x="2191483" y="2860964"/>
            <a:ext cx="3576663" cy="796063"/>
          </a:xfrm>
          <a:prstGeom prst="line">
            <a:avLst/>
          </a:prstGeom>
          <a:ln w="12700">
            <a:solidFill>
              <a:srgbClr val="C5277F"/>
            </a:solidFill>
            <a:headEnd type="oval"/>
            <a:tailEnd type="oval"/>
          </a:ln>
        </p:spPr>
        <p:style>
          <a:lnRef idx="1">
            <a:schemeClr val="accent1"/>
          </a:lnRef>
          <a:fillRef idx="0">
            <a:schemeClr val="accent1"/>
          </a:fillRef>
          <a:effectRef idx="0">
            <a:schemeClr val="accent1"/>
          </a:effectRef>
          <a:fontRef idx="minor">
            <a:schemeClr val="tx1"/>
          </a:fontRef>
        </p:style>
      </p:cxnSp>
      <p:cxnSp>
        <p:nvCxnSpPr>
          <p:cNvPr id="104" name="Straight Connector 103">
            <a:extLst>
              <a:ext uri="{FF2B5EF4-FFF2-40B4-BE49-F238E27FC236}">
                <a16:creationId xmlns:a16="http://schemas.microsoft.com/office/drawing/2014/main" id="{940A4EB7-4C0A-A74E-8BE3-0037D419AAE7}"/>
              </a:ext>
            </a:extLst>
          </p:cNvPr>
          <p:cNvCxnSpPr>
            <a:cxnSpLocks/>
            <a:stCxn id="91" idx="0"/>
            <a:endCxn id="83" idx="2"/>
          </p:cNvCxnSpPr>
          <p:nvPr/>
        </p:nvCxnSpPr>
        <p:spPr>
          <a:xfrm flipV="1">
            <a:off x="2191483" y="2860964"/>
            <a:ext cx="5734235" cy="796063"/>
          </a:xfrm>
          <a:prstGeom prst="line">
            <a:avLst/>
          </a:prstGeom>
          <a:ln w="12700">
            <a:solidFill>
              <a:srgbClr val="C5277F"/>
            </a:solidFill>
            <a:headEnd type="oval"/>
            <a:tailEnd type="oval"/>
          </a:ln>
        </p:spPr>
        <p:style>
          <a:lnRef idx="1">
            <a:schemeClr val="accent1"/>
          </a:lnRef>
          <a:fillRef idx="0">
            <a:schemeClr val="accent1"/>
          </a:fillRef>
          <a:effectRef idx="0">
            <a:schemeClr val="accent1"/>
          </a:effectRef>
          <a:fontRef idx="minor">
            <a:schemeClr val="tx1"/>
          </a:fontRef>
        </p:style>
      </p:cxnSp>
      <p:sp>
        <p:nvSpPr>
          <p:cNvPr id="105" name="Rounded Rectangle 104">
            <a:extLst>
              <a:ext uri="{FF2B5EF4-FFF2-40B4-BE49-F238E27FC236}">
                <a16:creationId xmlns:a16="http://schemas.microsoft.com/office/drawing/2014/main" id="{C0C258DF-1BE1-E741-A948-5DC3CD19355D}"/>
              </a:ext>
            </a:extLst>
          </p:cNvPr>
          <p:cNvSpPr/>
          <p:nvPr/>
        </p:nvSpPr>
        <p:spPr>
          <a:xfrm>
            <a:off x="9813041" y="3657027"/>
            <a:ext cx="1996384" cy="1355068"/>
          </a:xfrm>
          <a:prstGeom prst="roundRect">
            <a:avLst/>
          </a:prstGeom>
          <a:solidFill>
            <a:schemeClr val="bg1">
              <a:alpha val="95000"/>
            </a:schemeClr>
          </a:solidFill>
          <a:ln w="19050">
            <a:solidFill>
              <a:srgbClr val="F26F27"/>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t" anchorCtr="0" forceAA="0" compatLnSpc="1">
            <a:prstTxWarp prst="textNoShape">
              <a:avLst/>
            </a:prstTxWarp>
            <a:noAutofit/>
          </a:bodyPr>
          <a:lstStyle/>
          <a:p>
            <a:pPr algn="ctr" defTabSz="457200"/>
            <a:endParaRPr lang="en-US" sz="1000" dirty="0">
              <a:solidFill>
                <a:schemeClr val="bg1"/>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endParaRPr>
          </a:p>
          <a:p>
            <a:pPr algn="ctr" defTabSz="457200"/>
            <a:endParaRPr lang="en-US" sz="1000" dirty="0">
              <a:solidFill>
                <a:schemeClr val="bg1"/>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endParaRPr>
          </a:p>
          <a:p>
            <a:pPr algn="ctr" defTabSz="457200"/>
            <a:endParaRPr lang="en-US" sz="1000" dirty="0">
              <a:solidFill>
                <a:schemeClr val="bg1"/>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endParaRPr>
          </a:p>
          <a:p>
            <a:pPr algn="ctr" defTabSz="457200"/>
            <a:endParaRPr lang="en-US" sz="1000" dirty="0">
              <a:solidFill>
                <a:schemeClr val="bg1"/>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endParaRPr>
          </a:p>
          <a:p>
            <a:pPr algn="ctr" defTabSz="457200"/>
            <a:r>
              <a:rPr lang="en-US" sz="1000" dirty="0">
                <a:solidFill>
                  <a:schemeClr val="bg1"/>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Co</a:t>
            </a:r>
          </a:p>
          <a:p>
            <a:pPr algn="ctr" defTabSz="457200"/>
            <a:r>
              <a:rPr lang="en-US" sz="1000" dirty="0">
                <a:solidFill>
                  <a:schemeClr val="tx1">
                    <a:lumMod val="50000"/>
                  </a:schemeClr>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Consumer-group-partition-3</a:t>
            </a:r>
          </a:p>
        </p:txBody>
      </p:sp>
      <p:sp>
        <p:nvSpPr>
          <p:cNvPr id="106" name="Rounded Rectangle 105">
            <a:extLst>
              <a:ext uri="{FF2B5EF4-FFF2-40B4-BE49-F238E27FC236}">
                <a16:creationId xmlns:a16="http://schemas.microsoft.com/office/drawing/2014/main" id="{85E18705-0F24-F247-B599-48E717244A35}"/>
              </a:ext>
            </a:extLst>
          </p:cNvPr>
          <p:cNvSpPr/>
          <p:nvPr/>
        </p:nvSpPr>
        <p:spPr>
          <a:xfrm>
            <a:off x="9974228" y="4076945"/>
            <a:ext cx="1597305" cy="535777"/>
          </a:xfrm>
          <a:prstGeom prst="roundRect">
            <a:avLst/>
          </a:prstGeom>
          <a:solidFill>
            <a:srgbClr val="F26F27">
              <a:alpha val="95000"/>
            </a:srgbClr>
          </a:solidFill>
          <a:ln w="952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t" anchorCtr="0" forceAA="0" compatLnSpc="1">
            <a:prstTxWarp prst="textNoShape">
              <a:avLst/>
            </a:prstTxWarp>
            <a:noAutofit/>
          </a:bodyPr>
          <a:lstStyle/>
          <a:p>
            <a:pPr algn="ctr" defTabSz="457200"/>
            <a:r>
              <a:rPr lang="en-US" sz="1000" dirty="0">
                <a:solidFill>
                  <a:schemeClr val="bg1"/>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Consumer 1</a:t>
            </a:r>
          </a:p>
        </p:txBody>
      </p:sp>
      <p:cxnSp>
        <p:nvCxnSpPr>
          <p:cNvPr id="108" name="Straight Connector 107">
            <a:extLst>
              <a:ext uri="{FF2B5EF4-FFF2-40B4-BE49-F238E27FC236}">
                <a16:creationId xmlns:a16="http://schemas.microsoft.com/office/drawing/2014/main" id="{752FBC81-14FA-3E41-8477-73EC4956DB7A}"/>
              </a:ext>
            </a:extLst>
          </p:cNvPr>
          <p:cNvCxnSpPr>
            <a:cxnSpLocks/>
            <a:stCxn id="105" idx="0"/>
            <a:endCxn id="79" idx="2"/>
          </p:cNvCxnSpPr>
          <p:nvPr/>
        </p:nvCxnSpPr>
        <p:spPr>
          <a:xfrm flipH="1" flipV="1">
            <a:off x="3610574" y="2860965"/>
            <a:ext cx="7200659" cy="796062"/>
          </a:xfrm>
          <a:prstGeom prst="line">
            <a:avLst/>
          </a:prstGeom>
          <a:ln w="12700">
            <a:solidFill>
              <a:srgbClr val="F26F27"/>
            </a:solidFill>
            <a:headEnd type="oval"/>
            <a:tailEnd type="oval"/>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1C6AB05E-1E8C-5B48-8DBA-A761D3E47F14}"/>
              </a:ext>
            </a:extLst>
          </p:cNvPr>
          <p:cNvCxnSpPr>
            <a:cxnSpLocks/>
            <a:stCxn id="105" idx="0"/>
            <a:endCxn id="76" idx="2"/>
          </p:cNvCxnSpPr>
          <p:nvPr/>
        </p:nvCxnSpPr>
        <p:spPr>
          <a:xfrm flipH="1" flipV="1">
            <a:off x="5768146" y="2860964"/>
            <a:ext cx="5043087" cy="796063"/>
          </a:xfrm>
          <a:prstGeom prst="line">
            <a:avLst/>
          </a:prstGeom>
          <a:ln w="12700">
            <a:solidFill>
              <a:srgbClr val="F26F27"/>
            </a:solidFill>
            <a:headEnd type="oval"/>
            <a:tailEnd type="oval"/>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DBC69692-9167-0240-B7CE-538588AFEDEF}"/>
              </a:ext>
            </a:extLst>
          </p:cNvPr>
          <p:cNvCxnSpPr>
            <a:cxnSpLocks/>
            <a:stCxn id="105" idx="0"/>
            <a:endCxn id="83" idx="2"/>
          </p:cNvCxnSpPr>
          <p:nvPr/>
        </p:nvCxnSpPr>
        <p:spPr>
          <a:xfrm flipH="1" flipV="1">
            <a:off x="7925718" y="2860964"/>
            <a:ext cx="2885515" cy="796063"/>
          </a:xfrm>
          <a:prstGeom prst="line">
            <a:avLst/>
          </a:prstGeom>
          <a:ln w="12700">
            <a:solidFill>
              <a:srgbClr val="F26F27"/>
            </a:solidFill>
            <a:headEnd type="oval"/>
            <a:tailEnd type="ova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2834737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tangle 3">
            <a:extLst>
              <a:ext uri="{FF2B5EF4-FFF2-40B4-BE49-F238E27FC236}">
                <a16:creationId xmlns:a16="http://schemas.microsoft.com/office/drawing/2014/main" id="{A27FD23C-A522-0E4F-B70C-CC83BC4542BA}"/>
              </a:ext>
            </a:extLst>
          </p:cNvPr>
          <p:cNvSpPr txBox="1"/>
          <p:nvPr/>
        </p:nvSpPr>
        <p:spPr>
          <a:xfrm>
            <a:off x="404808" y="237462"/>
            <a:ext cx="7585857" cy="400105"/>
          </a:xfrm>
          <a:prstGeom prst="rect">
            <a:avLst/>
          </a:prstGeom>
          <a:ln w="12700">
            <a:miter lim="400000"/>
          </a:ln>
          <a:extLst>
            <a:ext uri="{C572A759-6A51-4108-AA02-DFA0A04FC94B}">
              <ma14:wrappingTextBoxFlag xmlns:ma14="http://schemas.microsoft.com/office/mac/drawingml/2011/main" xmlns="" val="1"/>
            </a:ext>
          </a:extLst>
        </p:spPr>
        <p:txBody>
          <a:bodyPr wrap="square" lIns="45718" tIns="45718" rIns="45718" bIns="45718">
            <a:spAutoFit/>
          </a:bodyPr>
          <a:lstStyle>
            <a:lvl1pPr algn="l" defTabSz="914400">
              <a:defRPr sz="2200" b="1">
                <a:solidFill>
                  <a:srgbClr val="FFFFFF"/>
                </a:solidFill>
                <a:latin typeface="Arial"/>
                <a:ea typeface="Arial"/>
                <a:cs typeface="Arial"/>
                <a:sym typeface="Arial"/>
              </a:defRPr>
            </a:lvl1pPr>
          </a:lstStyle>
          <a:p>
            <a:r>
              <a:rPr lang="en-US" sz="2000" dirty="0">
                <a:solidFill>
                  <a:srgbClr val="016AA2"/>
                </a:solidFill>
              </a:rPr>
              <a:t>Features and terminology (XI)</a:t>
            </a:r>
          </a:p>
        </p:txBody>
      </p:sp>
      <p:sp>
        <p:nvSpPr>
          <p:cNvPr id="65" name="Rectangle 3"/>
          <p:cNvSpPr txBox="1"/>
          <p:nvPr/>
        </p:nvSpPr>
        <p:spPr>
          <a:xfrm>
            <a:off x="404806" y="610135"/>
            <a:ext cx="8775769" cy="369328"/>
          </a:xfrm>
          <a:prstGeom prst="rect">
            <a:avLst/>
          </a:prstGeom>
          <a:ln w="12700">
            <a:miter lim="400000"/>
          </a:ln>
          <a:extLst>
            <a:ext uri="{C572A759-6A51-4108-AA02-DFA0A04FC94B}">
              <ma14:wrappingTextBoxFlag xmlns="" xmlns:ma14="http://schemas.microsoft.com/office/mac/drawingml/2011/main" val="1"/>
            </a:ext>
          </a:extLst>
        </p:spPr>
        <p:txBody>
          <a:bodyPr wrap="square" lIns="45718" tIns="45718" rIns="45718" bIns="45718">
            <a:spAutoFit/>
          </a:bodyPr>
          <a:lstStyle>
            <a:lvl1pPr algn="l" defTabSz="914400">
              <a:defRPr sz="2000">
                <a:solidFill>
                  <a:srgbClr val="104D6A"/>
                </a:solidFill>
                <a:latin typeface="Arial"/>
                <a:ea typeface="Arial"/>
                <a:cs typeface="Arial"/>
                <a:sym typeface="Arial"/>
              </a:defRPr>
            </a:lvl1pPr>
          </a:lstStyle>
          <a:p>
            <a:pPr>
              <a:defRPr/>
            </a:pPr>
            <a:r>
              <a:rPr lang="en-US" sz="1800" b="1" dirty="0">
                <a:solidFill>
                  <a:srgbClr val="73C4EF"/>
                </a:solidFill>
              </a:rPr>
              <a:t>Event Hub Architecture – Consumers Offsets</a:t>
            </a:r>
          </a:p>
        </p:txBody>
      </p:sp>
      <p:sp>
        <p:nvSpPr>
          <p:cNvPr id="24" name="Rectangle 23">
            <a:extLst>
              <a:ext uri="{FF2B5EF4-FFF2-40B4-BE49-F238E27FC236}">
                <a16:creationId xmlns:a16="http://schemas.microsoft.com/office/drawing/2014/main" id="{99A2FE60-147D-FA46-A7E8-BA316040C987}"/>
              </a:ext>
            </a:extLst>
          </p:cNvPr>
          <p:cNvSpPr/>
          <p:nvPr/>
        </p:nvSpPr>
        <p:spPr>
          <a:xfrm>
            <a:off x="404805" y="1352618"/>
            <a:ext cx="11276911" cy="858866"/>
          </a:xfrm>
          <a:prstGeom prst="rect">
            <a:avLst/>
          </a:prstGeom>
          <a:noFill/>
        </p:spPr>
        <p:txBody>
          <a:bodyPr wrap="square" tIns="90000" bIns="90000" rtlCol="0" anchor="t">
            <a:spAutoFit/>
          </a:bodyPr>
          <a:lstStyle/>
          <a:p>
            <a:pPr algn="just"/>
            <a:r>
              <a:rPr lang="en-US" sz="1050" dirty="0">
                <a:solidFill>
                  <a:srgbClr val="0079D1"/>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Kafka stores the offset at which a consumer group has been reading </a:t>
            </a:r>
          </a:p>
          <a:p>
            <a:pPr algn="just"/>
            <a:r>
              <a:rPr lang="en-US" sz="1050" dirty="0">
                <a:solidFill>
                  <a:srgbClr val="0079D1"/>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The offsets committed live in </a:t>
            </a:r>
            <a:r>
              <a:rPr lang="en-US" sz="1050" dirty="0" err="1">
                <a:solidFill>
                  <a:srgbClr val="0079D1"/>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kafka</a:t>
            </a:r>
            <a:r>
              <a:rPr lang="en-US" sz="1050" dirty="0">
                <a:solidFill>
                  <a:srgbClr val="0079D1"/>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 </a:t>
            </a:r>
            <a:r>
              <a:rPr lang="en-US" sz="1050" dirty="0">
                <a:solidFill>
                  <a:srgbClr val="C5277F"/>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topic</a:t>
            </a:r>
            <a:r>
              <a:rPr lang="en-US" sz="1050" dirty="0">
                <a:solidFill>
                  <a:srgbClr val="0079D1"/>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 named </a:t>
            </a:r>
            <a:r>
              <a:rPr lang="en-US" sz="1050" dirty="0">
                <a:solidFill>
                  <a:srgbClr val="C5277F"/>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__</a:t>
            </a:r>
            <a:r>
              <a:rPr lang="en-US" sz="1050" dirty="0" err="1">
                <a:solidFill>
                  <a:srgbClr val="C5277F"/>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consumer_offsets</a:t>
            </a:r>
            <a:endParaRPr lang="en-US" sz="1050" dirty="0">
              <a:solidFill>
                <a:srgbClr val="C5277F"/>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endParaRPr>
          </a:p>
          <a:p>
            <a:pPr algn="just"/>
            <a:r>
              <a:rPr lang="en-US" sz="1050" dirty="0">
                <a:solidFill>
                  <a:srgbClr val="0079D1"/>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When a consumer in group has processed data received from </a:t>
            </a:r>
            <a:r>
              <a:rPr lang="en-US" sz="1050" dirty="0" err="1">
                <a:solidFill>
                  <a:srgbClr val="0079D1"/>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kafka</a:t>
            </a:r>
            <a:r>
              <a:rPr lang="en-US" sz="1050" dirty="0">
                <a:solidFill>
                  <a:srgbClr val="0079D1"/>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 it should be committing the offsets</a:t>
            </a:r>
          </a:p>
          <a:p>
            <a:pPr algn="just"/>
            <a:r>
              <a:rPr lang="en-US" sz="1050" dirty="0">
                <a:solidFill>
                  <a:srgbClr val="0079D1"/>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If a consumer dies, it will be able to read back from where it left off thanks to the committed consumer offset</a:t>
            </a:r>
          </a:p>
        </p:txBody>
      </p:sp>
      <p:sp>
        <p:nvSpPr>
          <p:cNvPr id="46" name="Rounded Rectangle 45">
            <a:extLst>
              <a:ext uri="{FF2B5EF4-FFF2-40B4-BE49-F238E27FC236}">
                <a16:creationId xmlns:a16="http://schemas.microsoft.com/office/drawing/2014/main" id="{84A1C45F-426C-1740-A021-A24E7AA870DA}"/>
              </a:ext>
            </a:extLst>
          </p:cNvPr>
          <p:cNvSpPr/>
          <p:nvPr/>
        </p:nvSpPr>
        <p:spPr>
          <a:xfrm>
            <a:off x="2795978" y="3296718"/>
            <a:ext cx="247614" cy="1194398"/>
          </a:xfrm>
          <a:prstGeom prst="roundRect">
            <a:avLst/>
          </a:prstGeom>
          <a:solidFill>
            <a:srgbClr val="87CBD8"/>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a:solidFill>
                  <a:srgbClr val="0079D1"/>
                </a:solidFill>
                <a:latin typeface="Nanum Pen Script" panose="03040600000000000000" pitchFamily="66" charset="-127"/>
                <a:ea typeface="Nanum Pen Script" panose="03040600000000000000" pitchFamily="66" charset="-127"/>
              </a:rPr>
              <a:t>4258</a:t>
            </a:r>
          </a:p>
        </p:txBody>
      </p:sp>
      <p:sp>
        <p:nvSpPr>
          <p:cNvPr id="91" name="Rounded Rectangle 90">
            <a:extLst>
              <a:ext uri="{FF2B5EF4-FFF2-40B4-BE49-F238E27FC236}">
                <a16:creationId xmlns:a16="http://schemas.microsoft.com/office/drawing/2014/main" id="{9192F040-365C-6849-9919-7C3CA1811A0D}"/>
              </a:ext>
            </a:extLst>
          </p:cNvPr>
          <p:cNvSpPr/>
          <p:nvPr/>
        </p:nvSpPr>
        <p:spPr>
          <a:xfrm>
            <a:off x="6986528" y="3075809"/>
            <a:ext cx="1597305" cy="1605779"/>
          </a:xfrm>
          <a:prstGeom prst="roundRect">
            <a:avLst/>
          </a:prstGeom>
          <a:solidFill>
            <a:schemeClr val="accent6">
              <a:lumMod val="75000"/>
              <a:alpha val="95000"/>
            </a:schemeClr>
          </a:solidFill>
          <a:ln w="952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t" anchorCtr="0" forceAA="0" compatLnSpc="1">
            <a:prstTxWarp prst="textNoShape">
              <a:avLst/>
            </a:prstTxWarp>
            <a:noAutofit/>
          </a:bodyPr>
          <a:lstStyle/>
          <a:p>
            <a:pPr algn="ctr" defTabSz="457200"/>
            <a:endParaRPr lang="en-US" sz="1200" dirty="0">
              <a:solidFill>
                <a:schemeClr val="bg1"/>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endParaRPr>
          </a:p>
          <a:p>
            <a:pPr algn="ctr" defTabSz="457200"/>
            <a:endParaRPr lang="en-US" sz="1200" dirty="0">
              <a:solidFill>
                <a:schemeClr val="bg1"/>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endParaRPr>
          </a:p>
          <a:p>
            <a:pPr algn="ctr" defTabSz="457200"/>
            <a:r>
              <a:rPr lang="en-US" sz="1050" dirty="0">
                <a:solidFill>
                  <a:schemeClr val="bg1"/>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Consumer from Consumer Group</a:t>
            </a:r>
          </a:p>
        </p:txBody>
      </p:sp>
      <p:sp>
        <p:nvSpPr>
          <p:cNvPr id="93" name="Google Shape;61;p12">
            <a:extLst>
              <a:ext uri="{FF2B5EF4-FFF2-40B4-BE49-F238E27FC236}">
                <a16:creationId xmlns:a16="http://schemas.microsoft.com/office/drawing/2014/main" id="{A25EC490-D7DA-8443-9E89-19D77BA3F796}"/>
              </a:ext>
            </a:extLst>
          </p:cNvPr>
          <p:cNvSpPr txBox="1">
            <a:spLocks/>
          </p:cNvSpPr>
          <p:nvPr/>
        </p:nvSpPr>
        <p:spPr>
          <a:xfrm>
            <a:off x="5679667" y="4373814"/>
            <a:ext cx="542591" cy="246221"/>
          </a:xfrm>
          <a:prstGeom prst="rect">
            <a:avLst/>
          </a:prstGeom>
          <a:noFill/>
        </p:spPr>
        <p:txBody>
          <a:bodyPr wrap="square" rtlCol="0">
            <a:spAutoFit/>
          </a:bodyPr>
          <a:lstStyle>
            <a:defPPr>
              <a:defRPr lang="en-US"/>
            </a:defPPr>
            <a:lvl1pPr algn="ctr" defTabSz="457200">
              <a:defRPr sz="90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defRPr>
            </a:lvl1pPr>
          </a:lstStyle>
          <a:p>
            <a:pPr algn="l"/>
            <a:r>
              <a:rPr lang="en-US" sz="1000" dirty="0">
                <a:solidFill>
                  <a:schemeClr val="tx1">
                    <a:lumMod val="50000"/>
                  </a:schemeClr>
                </a:solidFill>
                <a:latin typeface="Comic Sans MS" panose="030F0902030302020204" pitchFamily="66" charset="0"/>
              </a:rPr>
              <a:t>Reads</a:t>
            </a:r>
          </a:p>
        </p:txBody>
      </p:sp>
      <p:sp>
        <p:nvSpPr>
          <p:cNvPr id="94" name="Google Shape;61;p12">
            <a:extLst>
              <a:ext uri="{FF2B5EF4-FFF2-40B4-BE49-F238E27FC236}">
                <a16:creationId xmlns:a16="http://schemas.microsoft.com/office/drawing/2014/main" id="{6FB2F8A2-A4F7-2B42-BA00-78128DF42521}"/>
              </a:ext>
            </a:extLst>
          </p:cNvPr>
          <p:cNvSpPr txBox="1">
            <a:spLocks/>
          </p:cNvSpPr>
          <p:nvPr/>
        </p:nvSpPr>
        <p:spPr>
          <a:xfrm>
            <a:off x="404804" y="1097214"/>
            <a:ext cx="1707459" cy="261610"/>
          </a:xfrm>
          <a:prstGeom prst="rect">
            <a:avLst/>
          </a:prstGeom>
          <a:noFill/>
        </p:spPr>
        <p:txBody>
          <a:bodyPr wrap="square" rtlCol="0">
            <a:spAutoFit/>
          </a:bodyPr>
          <a:lstStyle>
            <a:defPPr>
              <a:defRPr lang="en-US"/>
            </a:defPPr>
            <a:lvl1pPr algn="ctr" defTabSz="457200">
              <a:defRPr sz="90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defRPr>
            </a:lvl1pPr>
          </a:lstStyle>
          <a:p>
            <a:pPr algn="l"/>
            <a:r>
              <a:rPr lang="en-US" sz="1100" dirty="0">
                <a:solidFill>
                  <a:srgbClr val="C5277F"/>
                </a:solidFill>
                <a:latin typeface="Comic Sans MS" panose="030F0902030302020204" pitchFamily="66" charset="0"/>
              </a:rPr>
              <a:t>Consumer Groups</a:t>
            </a:r>
          </a:p>
        </p:txBody>
      </p:sp>
      <p:sp>
        <p:nvSpPr>
          <p:cNvPr id="76" name="Rounded Rectangle 75">
            <a:extLst>
              <a:ext uri="{FF2B5EF4-FFF2-40B4-BE49-F238E27FC236}">
                <a16:creationId xmlns:a16="http://schemas.microsoft.com/office/drawing/2014/main" id="{0020444E-7CED-0148-A2F6-EE9CD57AB81E}"/>
              </a:ext>
            </a:extLst>
          </p:cNvPr>
          <p:cNvSpPr/>
          <p:nvPr/>
        </p:nvSpPr>
        <p:spPr>
          <a:xfrm>
            <a:off x="3046840" y="3294295"/>
            <a:ext cx="247614" cy="1194398"/>
          </a:xfrm>
          <a:prstGeom prst="roundRect">
            <a:avLst/>
          </a:prstGeom>
          <a:solidFill>
            <a:srgbClr val="87CBD8"/>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a:solidFill>
                  <a:srgbClr val="0079D1"/>
                </a:solidFill>
                <a:latin typeface="Nanum Pen Script" panose="03040600000000000000" pitchFamily="66" charset="-127"/>
                <a:ea typeface="Nanum Pen Script" panose="03040600000000000000" pitchFamily="66" charset="-127"/>
              </a:rPr>
              <a:t>4259</a:t>
            </a:r>
          </a:p>
        </p:txBody>
      </p:sp>
      <p:sp>
        <p:nvSpPr>
          <p:cNvPr id="88" name="Rounded Rectangle 87">
            <a:extLst>
              <a:ext uri="{FF2B5EF4-FFF2-40B4-BE49-F238E27FC236}">
                <a16:creationId xmlns:a16="http://schemas.microsoft.com/office/drawing/2014/main" id="{B151BB2E-C22D-2748-AD61-328B242EDA32}"/>
              </a:ext>
            </a:extLst>
          </p:cNvPr>
          <p:cNvSpPr/>
          <p:nvPr/>
        </p:nvSpPr>
        <p:spPr>
          <a:xfrm>
            <a:off x="3296078" y="3294295"/>
            <a:ext cx="247614" cy="1194398"/>
          </a:xfrm>
          <a:prstGeom prst="roundRect">
            <a:avLst/>
          </a:prstGeom>
          <a:solidFill>
            <a:srgbClr val="87CBD8"/>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a:solidFill>
                  <a:srgbClr val="0079D1"/>
                </a:solidFill>
                <a:latin typeface="Nanum Pen Script" panose="03040600000000000000" pitchFamily="66" charset="-127"/>
                <a:ea typeface="Nanum Pen Script" panose="03040600000000000000" pitchFamily="66" charset="-127"/>
              </a:rPr>
              <a:t>4260</a:t>
            </a:r>
          </a:p>
        </p:txBody>
      </p:sp>
      <p:sp>
        <p:nvSpPr>
          <p:cNvPr id="89" name="Rounded Rectangle 88">
            <a:extLst>
              <a:ext uri="{FF2B5EF4-FFF2-40B4-BE49-F238E27FC236}">
                <a16:creationId xmlns:a16="http://schemas.microsoft.com/office/drawing/2014/main" id="{36503A8D-90B6-2344-BCF4-E7C249CBF56A}"/>
              </a:ext>
            </a:extLst>
          </p:cNvPr>
          <p:cNvSpPr/>
          <p:nvPr/>
        </p:nvSpPr>
        <p:spPr>
          <a:xfrm>
            <a:off x="3550344" y="3294295"/>
            <a:ext cx="247614" cy="1194398"/>
          </a:xfrm>
          <a:prstGeom prst="roundRect">
            <a:avLst/>
          </a:prstGeom>
          <a:solidFill>
            <a:srgbClr val="87CBD8"/>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a:solidFill>
                  <a:srgbClr val="0079D1"/>
                </a:solidFill>
                <a:latin typeface="Nanum Pen Script" panose="03040600000000000000" pitchFamily="66" charset="-127"/>
                <a:ea typeface="Nanum Pen Script" panose="03040600000000000000" pitchFamily="66" charset="-127"/>
              </a:rPr>
              <a:t>4261</a:t>
            </a:r>
          </a:p>
        </p:txBody>
      </p:sp>
      <p:sp>
        <p:nvSpPr>
          <p:cNvPr id="95" name="Rounded Rectangle 94">
            <a:extLst>
              <a:ext uri="{FF2B5EF4-FFF2-40B4-BE49-F238E27FC236}">
                <a16:creationId xmlns:a16="http://schemas.microsoft.com/office/drawing/2014/main" id="{9DC8F856-EA91-AD40-8923-4F55C2859E28}"/>
              </a:ext>
            </a:extLst>
          </p:cNvPr>
          <p:cNvSpPr/>
          <p:nvPr/>
        </p:nvSpPr>
        <p:spPr>
          <a:xfrm>
            <a:off x="3793437" y="3294295"/>
            <a:ext cx="247614" cy="1194398"/>
          </a:xfrm>
          <a:prstGeom prst="roundRect">
            <a:avLst/>
          </a:prstGeom>
          <a:solidFill>
            <a:srgbClr val="87CBD8"/>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a:solidFill>
                  <a:srgbClr val="0079D1"/>
                </a:solidFill>
                <a:latin typeface="Nanum Pen Script" panose="03040600000000000000" pitchFamily="66" charset="-127"/>
                <a:ea typeface="Nanum Pen Script" panose="03040600000000000000" pitchFamily="66" charset="-127"/>
              </a:rPr>
              <a:t>4262</a:t>
            </a:r>
          </a:p>
        </p:txBody>
      </p:sp>
      <p:sp>
        <p:nvSpPr>
          <p:cNvPr id="96" name="Rounded Rectangle 95">
            <a:extLst>
              <a:ext uri="{FF2B5EF4-FFF2-40B4-BE49-F238E27FC236}">
                <a16:creationId xmlns:a16="http://schemas.microsoft.com/office/drawing/2014/main" id="{F829C1FB-C404-6B4E-A554-676C5BCCBAA7}"/>
              </a:ext>
            </a:extLst>
          </p:cNvPr>
          <p:cNvSpPr/>
          <p:nvPr/>
        </p:nvSpPr>
        <p:spPr>
          <a:xfrm>
            <a:off x="4036530" y="3294295"/>
            <a:ext cx="247614" cy="1194398"/>
          </a:xfrm>
          <a:prstGeom prst="roundRect">
            <a:avLst/>
          </a:prstGeom>
          <a:solidFill>
            <a:srgbClr val="87CBD8"/>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a:solidFill>
                  <a:srgbClr val="0079D1"/>
                </a:solidFill>
                <a:latin typeface="Nanum Pen Script" panose="03040600000000000000" pitchFamily="66" charset="-127"/>
                <a:ea typeface="Nanum Pen Script" panose="03040600000000000000" pitchFamily="66" charset="-127"/>
              </a:rPr>
              <a:t>4263</a:t>
            </a:r>
          </a:p>
        </p:txBody>
      </p:sp>
      <p:sp>
        <p:nvSpPr>
          <p:cNvPr id="97" name="Rounded Rectangle 96">
            <a:extLst>
              <a:ext uri="{FF2B5EF4-FFF2-40B4-BE49-F238E27FC236}">
                <a16:creationId xmlns:a16="http://schemas.microsoft.com/office/drawing/2014/main" id="{011BE847-8EB9-1242-8A12-5607C9611228}"/>
              </a:ext>
            </a:extLst>
          </p:cNvPr>
          <p:cNvSpPr/>
          <p:nvPr/>
        </p:nvSpPr>
        <p:spPr>
          <a:xfrm>
            <a:off x="4279931" y="3294295"/>
            <a:ext cx="247614" cy="1194398"/>
          </a:xfrm>
          <a:prstGeom prst="roundRect">
            <a:avLst/>
          </a:prstGeom>
          <a:solidFill>
            <a:srgbClr val="87CBD8"/>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a:solidFill>
                  <a:srgbClr val="0079D1"/>
                </a:solidFill>
                <a:latin typeface="Nanum Pen Script" panose="03040600000000000000" pitchFamily="66" charset="-127"/>
                <a:ea typeface="Nanum Pen Script" panose="03040600000000000000" pitchFamily="66" charset="-127"/>
              </a:rPr>
              <a:t>4264</a:t>
            </a:r>
          </a:p>
        </p:txBody>
      </p:sp>
      <p:sp>
        <p:nvSpPr>
          <p:cNvPr id="98" name="Rounded Rectangle 97">
            <a:extLst>
              <a:ext uri="{FF2B5EF4-FFF2-40B4-BE49-F238E27FC236}">
                <a16:creationId xmlns:a16="http://schemas.microsoft.com/office/drawing/2014/main" id="{0E8EAE46-309B-3545-AC0A-E86B7567EF20}"/>
              </a:ext>
            </a:extLst>
          </p:cNvPr>
          <p:cNvSpPr/>
          <p:nvPr/>
        </p:nvSpPr>
        <p:spPr>
          <a:xfrm>
            <a:off x="4523695" y="3294295"/>
            <a:ext cx="247614" cy="1194398"/>
          </a:xfrm>
          <a:prstGeom prst="roundRect">
            <a:avLst/>
          </a:prstGeom>
          <a:solidFill>
            <a:srgbClr val="87CBD8"/>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a:solidFill>
                  <a:srgbClr val="0079D1"/>
                </a:solidFill>
                <a:latin typeface="Nanum Pen Script" panose="03040600000000000000" pitchFamily="66" charset="-127"/>
                <a:ea typeface="Nanum Pen Script" panose="03040600000000000000" pitchFamily="66" charset="-127"/>
              </a:rPr>
              <a:t>4265</a:t>
            </a:r>
          </a:p>
        </p:txBody>
      </p:sp>
      <p:sp>
        <p:nvSpPr>
          <p:cNvPr id="99" name="Rounded Rectangle 98">
            <a:extLst>
              <a:ext uri="{FF2B5EF4-FFF2-40B4-BE49-F238E27FC236}">
                <a16:creationId xmlns:a16="http://schemas.microsoft.com/office/drawing/2014/main" id="{5B5EADEC-04D9-EB45-9E18-8616CBEA5D29}"/>
              </a:ext>
            </a:extLst>
          </p:cNvPr>
          <p:cNvSpPr/>
          <p:nvPr/>
        </p:nvSpPr>
        <p:spPr>
          <a:xfrm>
            <a:off x="4775763" y="3294295"/>
            <a:ext cx="247614" cy="1194398"/>
          </a:xfrm>
          <a:prstGeom prst="roundRect">
            <a:avLst/>
          </a:prstGeom>
          <a:solidFill>
            <a:srgbClr val="87CBD8"/>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a:solidFill>
                  <a:srgbClr val="0079D1"/>
                </a:solidFill>
                <a:latin typeface="Nanum Pen Script" panose="03040600000000000000" pitchFamily="66" charset="-127"/>
                <a:ea typeface="Nanum Pen Script" panose="03040600000000000000" pitchFamily="66" charset="-127"/>
              </a:rPr>
              <a:t>4266</a:t>
            </a:r>
          </a:p>
        </p:txBody>
      </p:sp>
      <p:sp>
        <p:nvSpPr>
          <p:cNvPr id="100" name="Rounded Rectangle 99">
            <a:extLst>
              <a:ext uri="{FF2B5EF4-FFF2-40B4-BE49-F238E27FC236}">
                <a16:creationId xmlns:a16="http://schemas.microsoft.com/office/drawing/2014/main" id="{B93F4DCA-5A18-004F-9708-FFEB32FF2ADF}"/>
              </a:ext>
            </a:extLst>
          </p:cNvPr>
          <p:cNvSpPr/>
          <p:nvPr/>
        </p:nvSpPr>
        <p:spPr>
          <a:xfrm>
            <a:off x="5019457" y="3294295"/>
            <a:ext cx="247614" cy="1194398"/>
          </a:xfrm>
          <a:prstGeom prst="roundRect">
            <a:avLst/>
          </a:prstGeom>
          <a:solidFill>
            <a:srgbClr val="87CBD8"/>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a:solidFill>
                  <a:srgbClr val="0079D1"/>
                </a:solidFill>
                <a:latin typeface="Nanum Pen Script" panose="03040600000000000000" pitchFamily="66" charset="-127"/>
                <a:ea typeface="Nanum Pen Script" panose="03040600000000000000" pitchFamily="66" charset="-127"/>
              </a:rPr>
              <a:t>4267</a:t>
            </a:r>
          </a:p>
        </p:txBody>
      </p:sp>
      <p:sp>
        <p:nvSpPr>
          <p:cNvPr id="101" name="Rounded Rectangle 100">
            <a:extLst>
              <a:ext uri="{FF2B5EF4-FFF2-40B4-BE49-F238E27FC236}">
                <a16:creationId xmlns:a16="http://schemas.microsoft.com/office/drawing/2014/main" id="{2988E4A5-8A35-344A-8025-4C211469654F}"/>
              </a:ext>
            </a:extLst>
          </p:cNvPr>
          <p:cNvSpPr/>
          <p:nvPr/>
        </p:nvSpPr>
        <p:spPr>
          <a:xfrm>
            <a:off x="5272844" y="3293554"/>
            <a:ext cx="247614" cy="1194398"/>
          </a:xfrm>
          <a:prstGeom prst="roundRect">
            <a:avLst/>
          </a:prstGeom>
          <a:solidFill>
            <a:srgbClr val="87CBD8"/>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a:solidFill>
                  <a:srgbClr val="0079D1"/>
                </a:solidFill>
                <a:latin typeface="Nanum Pen Script" panose="03040600000000000000" pitchFamily="66" charset="-127"/>
                <a:ea typeface="Nanum Pen Script" panose="03040600000000000000" pitchFamily="66" charset="-127"/>
              </a:rPr>
              <a:t>4268</a:t>
            </a:r>
          </a:p>
        </p:txBody>
      </p:sp>
      <p:sp>
        <p:nvSpPr>
          <p:cNvPr id="102" name="Rounded Rectangle 101">
            <a:extLst>
              <a:ext uri="{FF2B5EF4-FFF2-40B4-BE49-F238E27FC236}">
                <a16:creationId xmlns:a16="http://schemas.microsoft.com/office/drawing/2014/main" id="{B6840A7D-5CF3-F941-8B8D-3C1532BC21E5}"/>
              </a:ext>
            </a:extLst>
          </p:cNvPr>
          <p:cNvSpPr/>
          <p:nvPr/>
        </p:nvSpPr>
        <p:spPr>
          <a:xfrm>
            <a:off x="4001904" y="2996425"/>
            <a:ext cx="56820" cy="1825888"/>
          </a:xfrm>
          <a:prstGeom prst="roundRect">
            <a:avLst/>
          </a:prstGeom>
          <a:solidFill>
            <a:srgbClr val="EE4328"/>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dirty="0">
              <a:solidFill>
                <a:schemeClr val="bg1"/>
              </a:solidFill>
              <a:latin typeface="Nanum Pen Script" panose="03040600000000000000" pitchFamily="66" charset="-127"/>
              <a:ea typeface="Nanum Pen Script" panose="03040600000000000000" pitchFamily="66" charset="-127"/>
            </a:endParaRPr>
          </a:p>
        </p:txBody>
      </p:sp>
      <p:cxnSp>
        <p:nvCxnSpPr>
          <p:cNvPr id="103" name="Straight Connector 102">
            <a:extLst>
              <a:ext uri="{FF2B5EF4-FFF2-40B4-BE49-F238E27FC236}">
                <a16:creationId xmlns:a16="http://schemas.microsoft.com/office/drawing/2014/main" id="{24318351-D9AE-DB41-9C2A-97DC7AB27B39}"/>
              </a:ext>
            </a:extLst>
          </p:cNvPr>
          <p:cNvCxnSpPr>
            <a:cxnSpLocks/>
          </p:cNvCxnSpPr>
          <p:nvPr/>
        </p:nvCxnSpPr>
        <p:spPr>
          <a:xfrm>
            <a:off x="4036530" y="3203825"/>
            <a:ext cx="2949998" cy="0"/>
          </a:xfrm>
          <a:prstGeom prst="line">
            <a:avLst/>
          </a:prstGeom>
          <a:ln w="12700">
            <a:solidFill>
              <a:srgbClr val="F26F27"/>
            </a:solidFill>
            <a:headEnd type="oval"/>
            <a:tailEnd type="oval"/>
          </a:ln>
        </p:spPr>
        <p:style>
          <a:lnRef idx="1">
            <a:schemeClr val="accent1"/>
          </a:lnRef>
          <a:fillRef idx="0">
            <a:schemeClr val="accent1"/>
          </a:fillRef>
          <a:effectRef idx="0">
            <a:schemeClr val="accent1"/>
          </a:effectRef>
          <a:fontRef idx="minor">
            <a:schemeClr val="tx1"/>
          </a:fontRef>
        </p:style>
      </p:cxnSp>
      <p:cxnSp>
        <p:nvCxnSpPr>
          <p:cNvPr id="104" name="Straight Connector 103">
            <a:extLst>
              <a:ext uri="{FF2B5EF4-FFF2-40B4-BE49-F238E27FC236}">
                <a16:creationId xmlns:a16="http://schemas.microsoft.com/office/drawing/2014/main" id="{703552A9-5C98-8344-ACEA-D114ACFCC6A4}"/>
              </a:ext>
            </a:extLst>
          </p:cNvPr>
          <p:cNvCxnSpPr>
            <a:cxnSpLocks/>
          </p:cNvCxnSpPr>
          <p:nvPr/>
        </p:nvCxnSpPr>
        <p:spPr>
          <a:xfrm>
            <a:off x="4058724" y="4681591"/>
            <a:ext cx="2233641" cy="0"/>
          </a:xfrm>
          <a:prstGeom prst="line">
            <a:avLst/>
          </a:prstGeom>
          <a:ln w="12700">
            <a:solidFill>
              <a:srgbClr val="F26F27"/>
            </a:solidFill>
            <a:headEnd type="oval"/>
            <a:tailEnd type="oval"/>
          </a:ln>
        </p:spPr>
        <p:style>
          <a:lnRef idx="1">
            <a:schemeClr val="accent1"/>
          </a:lnRef>
          <a:fillRef idx="0">
            <a:schemeClr val="accent1"/>
          </a:fillRef>
          <a:effectRef idx="0">
            <a:schemeClr val="accent1"/>
          </a:effectRef>
          <a:fontRef idx="minor">
            <a:schemeClr val="tx1"/>
          </a:fontRef>
        </p:style>
      </p:cxnSp>
      <p:sp>
        <p:nvSpPr>
          <p:cNvPr id="105" name="Google Shape;61;p12">
            <a:extLst>
              <a:ext uri="{FF2B5EF4-FFF2-40B4-BE49-F238E27FC236}">
                <a16:creationId xmlns:a16="http://schemas.microsoft.com/office/drawing/2014/main" id="{03F502FA-0379-DE42-B1EC-CBD5541AF798}"/>
              </a:ext>
            </a:extLst>
          </p:cNvPr>
          <p:cNvSpPr txBox="1">
            <a:spLocks/>
          </p:cNvSpPr>
          <p:nvPr/>
        </p:nvSpPr>
        <p:spPr>
          <a:xfrm>
            <a:off x="5506843" y="2892416"/>
            <a:ext cx="1314329" cy="253916"/>
          </a:xfrm>
          <a:prstGeom prst="rect">
            <a:avLst/>
          </a:prstGeom>
          <a:noFill/>
        </p:spPr>
        <p:txBody>
          <a:bodyPr wrap="square" rtlCol="0">
            <a:spAutoFit/>
          </a:bodyPr>
          <a:lstStyle>
            <a:defPPr>
              <a:defRPr lang="en-US"/>
            </a:defPPr>
            <a:lvl1pPr algn="ctr" defTabSz="457200">
              <a:defRPr sz="90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defRPr>
            </a:lvl1pPr>
          </a:lstStyle>
          <a:p>
            <a:pPr algn="l"/>
            <a:r>
              <a:rPr lang="en-US" sz="1050" dirty="0">
                <a:solidFill>
                  <a:schemeClr val="tx1">
                    <a:lumMod val="50000"/>
                  </a:schemeClr>
                </a:solidFill>
                <a:latin typeface="Comic Sans MS" panose="030F0902030302020204" pitchFamily="66" charset="0"/>
              </a:rPr>
              <a:t>Committed offset</a:t>
            </a:r>
          </a:p>
        </p:txBody>
      </p:sp>
    </p:spTree>
    <p:extLst>
      <p:ext uri="{BB962C8B-B14F-4D97-AF65-F5344CB8AC3E}">
        <p14:creationId xmlns:p14="http://schemas.microsoft.com/office/powerpoint/2010/main" val="263242470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tangle 3">
            <a:extLst>
              <a:ext uri="{FF2B5EF4-FFF2-40B4-BE49-F238E27FC236}">
                <a16:creationId xmlns:a16="http://schemas.microsoft.com/office/drawing/2014/main" id="{A27FD23C-A522-0E4F-B70C-CC83BC4542BA}"/>
              </a:ext>
            </a:extLst>
          </p:cNvPr>
          <p:cNvSpPr txBox="1"/>
          <p:nvPr/>
        </p:nvSpPr>
        <p:spPr>
          <a:xfrm>
            <a:off x="404808" y="237462"/>
            <a:ext cx="7585857" cy="400105"/>
          </a:xfrm>
          <a:prstGeom prst="rect">
            <a:avLst/>
          </a:prstGeom>
          <a:ln w="12700">
            <a:miter lim="400000"/>
          </a:ln>
          <a:extLst>
            <a:ext uri="{C572A759-6A51-4108-AA02-DFA0A04FC94B}">
              <ma14:wrappingTextBoxFlag xmlns:ma14="http://schemas.microsoft.com/office/mac/drawingml/2011/main" xmlns="" val="1"/>
            </a:ext>
          </a:extLst>
        </p:spPr>
        <p:txBody>
          <a:bodyPr wrap="square" lIns="45718" tIns="45718" rIns="45718" bIns="45718">
            <a:spAutoFit/>
          </a:bodyPr>
          <a:lstStyle>
            <a:lvl1pPr algn="l" defTabSz="914400">
              <a:defRPr sz="2200" b="1">
                <a:solidFill>
                  <a:srgbClr val="FFFFFF"/>
                </a:solidFill>
                <a:latin typeface="Arial"/>
                <a:ea typeface="Arial"/>
                <a:cs typeface="Arial"/>
                <a:sym typeface="Arial"/>
              </a:defRPr>
            </a:lvl1pPr>
          </a:lstStyle>
          <a:p>
            <a:r>
              <a:rPr lang="en-US" sz="2000" dirty="0">
                <a:solidFill>
                  <a:srgbClr val="016AA2"/>
                </a:solidFill>
              </a:rPr>
              <a:t>Features and terminology (XII)</a:t>
            </a:r>
          </a:p>
        </p:txBody>
      </p:sp>
      <p:sp>
        <p:nvSpPr>
          <p:cNvPr id="65" name="Rectangle 3"/>
          <p:cNvSpPr txBox="1"/>
          <p:nvPr/>
        </p:nvSpPr>
        <p:spPr>
          <a:xfrm>
            <a:off x="404806" y="610135"/>
            <a:ext cx="8775769" cy="369328"/>
          </a:xfrm>
          <a:prstGeom prst="rect">
            <a:avLst/>
          </a:prstGeom>
          <a:ln w="12700">
            <a:miter lim="400000"/>
          </a:ln>
          <a:extLst>
            <a:ext uri="{C572A759-6A51-4108-AA02-DFA0A04FC94B}">
              <ma14:wrappingTextBoxFlag xmlns="" xmlns:ma14="http://schemas.microsoft.com/office/mac/drawingml/2011/main" val="1"/>
            </a:ext>
          </a:extLst>
        </p:spPr>
        <p:txBody>
          <a:bodyPr wrap="square" lIns="45718" tIns="45718" rIns="45718" bIns="45718">
            <a:spAutoFit/>
          </a:bodyPr>
          <a:lstStyle>
            <a:lvl1pPr algn="l" defTabSz="914400">
              <a:defRPr sz="2000">
                <a:solidFill>
                  <a:srgbClr val="104D6A"/>
                </a:solidFill>
                <a:latin typeface="Arial"/>
                <a:ea typeface="Arial"/>
                <a:cs typeface="Arial"/>
                <a:sym typeface="Arial"/>
              </a:defRPr>
            </a:lvl1pPr>
          </a:lstStyle>
          <a:p>
            <a:pPr>
              <a:defRPr/>
            </a:pPr>
            <a:r>
              <a:rPr lang="en-US" sz="1800" b="1" dirty="0">
                <a:solidFill>
                  <a:srgbClr val="73C4EF"/>
                </a:solidFill>
              </a:rPr>
              <a:t>Event Hub Architecture – Zookeeper</a:t>
            </a:r>
          </a:p>
        </p:txBody>
      </p:sp>
      <p:sp>
        <p:nvSpPr>
          <p:cNvPr id="94" name="Google Shape;61;p12">
            <a:extLst>
              <a:ext uri="{FF2B5EF4-FFF2-40B4-BE49-F238E27FC236}">
                <a16:creationId xmlns:a16="http://schemas.microsoft.com/office/drawing/2014/main" id="{6FB2F8A2-A4F7-2B42-BA00-78128DF42521}"/>
              </a:ext>
            </a:extLst>
          </p:cNvPr>
          <p:cNvSpPr txBox="1">
            <a:spLocks/>
          </p:cNvSpPr>
          <p:nvPr/>
        </p:nvSpPr>
        <p:spPr>
          <a:xfrm>
            <a:off x="404804" y="1097214"/>
            <a:ext cx="1707459" cy="276999"/>
          </a:xfrm>
          <a:prstGeom prst="rect">
            <a:avLst/>
          </a:prstGeom>
          <a:noFill/>
        </p:spPr>
        <p:txBody>
          <a:bodyPr wrap="square" rtlCol="0">
            <a:spAutoFit/>
          </a:bodyPr>
          <a:lstStyle>
            <a:defPPr>
              <a:defRPr lang="en-US"/>
            </a:defPPr>
            <a:lvl1pPr algn="ctr" defTabSz="457200">
              <a:defRPr sz="90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defRPr>
            </a:lvl1pPr>
          </a:lstStyle>
          <a:p>
            <a:pPr algn="l"/>
            <a:r>
              <a:rPr lang="en-US" sz="1200" dirty="0" err="1">
                <a:solidFill>
                  <a:srgbClr val="C5277F"/>
                </a:solidFill>
                <a:latin typeface="Comic Sans MS" panose="030F0902030302020204" pitchFamily="66" charset="0"/>
              </a:rPr>
              <a:t>Zookeper</a:t>
            </a:r>
            <a:endParaRPr lang="en-US" sz="1200" dirty="0">
              <a:solidFill>
                <a:srgbClr val="C5277F"/>
              </a:solidFill>
              <a:latin typeface="Comic Sans MS" panose="030F0902030302020204" pitchFamily="66" charset="0"/>
            </a:endParaRPr>
          </a:p>
        </p:txBody>
      </p:sp>
      <p:sp>
        <p:nvSpPr>
          <p:cNvPr id="23" name="Rectangle 22">
            <a:extLst>
              <a:ext uri="{FF2B5EF4-FFF2-40B4-BE49-F238E27FC236}">
                <a16:creationId xmlns:a16="http://schemas.microsoft.com/office/drawing/2014/main" id="{EA3E9382-73FE-894B-A0E3-C092C31AC5FF}"/>
              </a:ext>
            </a:extLst>
          </p:cNvPr>
          <p:cNvSpPr/>
          <p:nvPr/>
        </p:nvSpPr>
        <p:spPr>
          <a:xfrm>
            <a:off x="404805" y="1352618"/>
            <a:ext cx="11276911" cy="1289753"/>
          </a:xfrm>
          <a:prstGeom prst="rect">
            <a:avLst/>
          </a:prstGeom>
          <a:noFill/>
        </p:spPr>
        <p:txBody>
          <a:bodyPr wrap="square" tIns="90000" bIns="90000" rtlCol="0" anchor="t">
            <a:spAutoFit/>
          </a:bodyPr>
          <a:lstStyle/>
          <a:p>
            <a:pPr algn="just"/>
            <a:r>
              <a:rPr lang="en-US" sz="1200" dirty="0">
                <a:solidFill>
                  <a:srgbClr val="0079D1"/>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Zookeeper manager brokers (Keeps a list of them)</a:t>
            </a:r>
          </a:p>
          <a:p>
            <a:pPr algn="just"/>
            <a:r>
              <a:rPr lang="en-US" sz="1200" dirty="0">
                <a:solidFill>
                  <a:srgbClr val="0079D1"/>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Zookeeper help in performing leader election for partition</a:t>
            </a:r>
          </a:p>
          <a:p>
            <a:pPr algn="just"/>
            <a:r>
              <a:rPr lang="en-US" sz="1200" dirty="0">
                <a:solidFill>
                  <a:srgbClr val="0079D1"/>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Zookeeper send notification to Kafka in case of change (new topic, broker comes up delete topics, etc.)</a:t>
            </a:r>
          </a:p>
          <a:p>
            <a:pPr algn="just"/>
            <a:r>
              <a:rPr lang="en-US" sz="1200" dirty="0">
                <a:solidFill>
                  <a:srgbClr val="0079D1"/>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Kafka can’t work without Zookeeper</a:t>
            </a:r>
          </a:p>
          <a:p>
            <a:pPr algn="just"/>
            <a:r>
              <a:rPr lang="en-US" sz="1200" dirty="0">
                <a:solidFill>
                  <a:srgbClr val="0079D1"/>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Zookeeper by design operates with an odd number of server (3,5,7)</a:t>
            </a:r>
          </a:p>
          <a:p>
            <a:pPr algn="just"/>
            <a:r>
              <a:rPr lang="en-US" sz="1200" dirty="0">
                <a:solidFill>
                  <a:srgbClr val="0079D1"/>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Zookeeper has a leader (handle writes) the rest of the server are followers (handle reads)</a:t>
            </a:r>
          </a:p>
        </p:txBody>
      </p:sp>
    </p:spTree>
    <p:extLst>
      <p:ext uri="{BB962C8B-B14F-4D97-AF65-F5344CB8AC3E}">
        <p14:creationId xmlns:p14="http://schemas.microsoft.com/office/powerpoint/2010/main" val="93886665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tangle 3">
            <a:extLst>
              <a:ext uri="{FF2B5EF4-FFF2-40B4-BE49-F238E27FC236}">
                <a16:creationId xmlns:a16="http://schemas.microsoft.com/office/drawing/2014/main" id="{A27FD23C-A522-0E4F-B70C-CC83BC4542BA}"/>
              </a:ext>
            </a:extLst>
          </p:cNvPr>
          <p:cNvSpPr txBox="1"/>
          <p:nvPr/>
        </p:nvSpPr>
        <p:spPr>
          <a:xfrm>
            <a:off x="404808" y="237462"/>
            <a:ext cx="7585857" cy="400105"/>
          </a:xfrm>
          <a:prstGeom prst="rect">
            <a:avLst/>
          </a:prstGeom>
          <a:ln w="12700">
            <a:miter lim="400000"/>
          </a:ln>
          <a:extLst>
            <a:ext uri="{C572A759-6A51-4108-AA02-DFA0A04FC94B}">
              <ma14:wrappingTextBoxFlag xmlns:ma14="http://schemas.microsoft.com/office/mac/drawingml/2011/main" xmlns="" val="1"/>
            </a:ext>
          </a:extLst>
        </p:spPr>
        <p:txBody>
          <a:bodyPr wrap="square" lIns="45718" tIns="45718" rIns="45718" bIns="45718">
            <a:spAutoFit/>
          </a:bodyPr>
          <a:lstStyle>
            <a:lvl1pPr algn="l" defTabSz="914400">
              <a:defRPr sz="2200" b="1">
                <a:solidFill>
                  <a:srgbClr val="FFFFFF"/>
                </a:solidFill>
                <a:latin typeface="Arial"/>
                <a:ea typeface="Arial"/>
                <a:cs typeface="Arial"/>
                <a:sym typeface="Arial"/>
              </a:defRPr>
            </a:lvl1pPr>
          </a:lstStyle>
          <a:p>
            <a:r>
              <a:rPr lang="en-US" sz="2000" dirty="0">
                <a:solidFill>
                  <a:srgbClr val="016AA2"/>
                </a:solidFill>
              </a:rPr>
              <a:t>Features and terminology (XII)</a:t>
            </a:r>
          </a:p>
        </p:txBody>
      </p:sp>
      <p:sp>
        <p:nvSpPr>
          <p:cNvPr id="65" name="Rectangle 3"/>
          <p:cNvSpPr txBox="1"/>
          <p:nvPr/>
        </p:nvSpPr>
        <p:spPr>
          <a:xfrm>
            <a:off x="404806" y="610135"/>
            <a:ext cx="8775769" cy="369328"/>
          </a:xfrm>
          <a:prstGeom prst="rect">
            <a:avLst/>
          </a:prstGeom>
          <a:ln w="12700">
            <a:miter lim="400000"/>
          </a:ln>
          <a:extLst>
            <a:ext uri="{C572A759-6A51-4108-AA02-DFA0A04FC94B}">
              <ma14:wrappingTextBoxFlag xmlns="" xmlns:ma14="http://schemas.microsoft.com/office/mac/drawingml/2011/main" val="1"/>
            </a:ext>
          </a:extLst>
        </p:spPr>
        <p:txBody>
          <a:bodyPr wrap="square" lIns="45718" tIns="45718" rIns="45718" bIns="45718">
            <a:spAutoFit/>
          </a:bodyPr>
          <a:lstStyle>
            <a:lvl1pPr algn="l" defTabSz="914400">
              <a:defRPr sz="2000">
                <a:solidFill>
                  <a:srgbClr val="104D6A"/>
                </a:solidFill>
                <a:latin typeface="Arial"/>
                <a:ea typeface="Arial"/>
                <a:cs typeface="Arial"/>
                <a:sym typeface="Arial"/>
              </a:defRPr>
            </a:lvl1pPr>
          </a:lstStyle>
          <a:p>
            <a:pPr>
              <a:defRPr/>
            </a:pPr>
            <a:r>
              <a:rPr lang="en-US" sz="1800" b="1" dirty="0">
                <a:solidFill>
                  <a:srgbClr val="73C4EF"/>
                </a:solidFill>
              </a:rPr>
              <a:t>Event Hub Architecture – Consumers High-level API</a:t>
            </a:r>
          </a:p>
        </p:txBody>
      </p:sp>
      <p:pic>
        <p:nvPicPr>
          <p:cNvPr id="3" name="Picture 2">
            <a:extLst>
              <a:ext uri="{FF2B5EF4-FFF2-40B4-BE49-F238E27FC236}">
                <a16:creationId xmlns:a16="http://schemas.microsoft.com/office/drawing/2014/main" id="{E030C22A-6DB5-6E4D-BFBC-998CE65A2838}"/>
              </a:ext>
            </a:extLst>
          </p:cNvPr>
          <p:cNvPicPr>
            <a:picLocks noChangeAspect="1"/>
          </p:cNvPicPr>
          <p:nvPr/>
        </p:nvPicPr>
        <p:blipFill>
          <a:blip r:embed="rId2"/>
          <a:stretch>
            <a:fillRect/>
          </a:stretch>
        </p:blipFill>
        <p:spPr>
          <a:xfrm>
            <a:off x="4621216" y="2214402"/>
            <a:ext cx="5939716" cy="2429196"/>
          </a:xfrm>
          <a:prstGeom prst="rect">
            <a:avLst/>
          </a:prstGeom>
        </p:spPr>
      </p:pic>
      <p:cxnSp>
        <p:nvCxnSpPr>
          <p:cNvPr id="6" name="Straight Connector 5">
            <a:extLst>
              <a:ext uri="{FF2B5EF4-FFF2-40B4-BE49-F238E27FC236}">
                <a16:creationId xmlns:a16="http://schemas.microsoft.com/office/drawing/2014/main" id="{6E57351E-C5A4-4348-A462-3CEB3D6DC676}"/>
              </a:ext>
            </a:extLst>
          </p:cNvPr>
          <p:cNvCxnSpPr>
            <a:cxnSpLocks/>
          </p:cNvCxnSpPr>
          <p:nvPr/>
        </p:nvCxnSpPr>
        <p:spPr>
          <a:xfrm flipH="1" flipV="1">
            <a:off x="4387341" y="3215498"/>
            <a:ext cx="285246" cy="1"/>
          </a:xfrm>
          <a:prstGeom prst="line">
            <a:avLst/>
          </a:prstGeom>
          <a:ln w="12700">
            <a:solidFill>
              <a:srgbClr val="FF0000">
                <a:alpha val="50000"/>
              </a:srgbClr>
            </a:solidFill>
            <a:headEnd type="oval"/>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278BF81C-3FBD-7E4F-BC40-032693279D0B}"/>
              </a:ext>
            </a:extLst>
          </p:cNvPr>
          <p:cNvCxnSpPr>
            <a:cxnSpLocks/>
            <a:stCxn id="8" idx="2"/>
          </p:cNvCxnSpPr>
          <p:nvPr/>
        </p:nvCxnSpPr>
        <p:spPr>
          <a:xfrm flipH="1">
            <a:off x="4387341" y="1669744"/>
            <a:ext cx="749496" cy="1545754"/>
          </a:xfrm>
          <a:prstGeom prst="line">
            <a:avLst/>
          </a:prstGeom>
          <a:ln w="12700">
            <a:solidFill>
              <a:srgbClr val="FF0000">
                <a:alpha val="50000"/>
              </a:srgbClr>
            </a:solidFill>
            <a:headEnd type="oval"/>
          </a:ln>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E390E309-9AFC-DC49-8E4D-B00197DEB699}"/>
              </a:ext>
            </a:extLst>
          </p:cNvPr>
          <p:cNvSpPr txBox="1"/>
          <p:nvPr/>
        </p:nvSpPr>
        <p:spPr>
          <a:xfrm>
            <a:off x="3851949" y="1210987"/>
            <a:ext cx="2569775" cy="458757"/>
          </a:xfrm>
          <a:prstGeom prst="rect">
            <a:avLst/>
          </a:prstGeom>
          <a:noFill/>
        </p:spPr>
        <p:txBody>
          <a:bodyPr wrap="square" tIns="90000" bIns="90000" rtlCol="0" anchor="t">
            <a:spAutoFit/>
          </a:bodyPr>
          <a:lstStyle/>
          <a:p>
            <a:pPr algn="just"/>
            <a:r>
              <a:rPr lang="en-US" sz="900" dirty="0">
                <a:solidFill>
                  <a:schemeClr val="tx1">
                    <a:lumMod val="50000"/>
                  </a:schemeClr>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The </a:t>
            </a:r>
            <a:r>
              <a:rPr lang="en-US" sz="900" dirty="0" err="1">
                <a:solidFill>
                  <a:srgbClr val="C5277F"/>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createMessageStreams</a:t>
            </a:r>
            <a:r>
              <a:rPr lang="en-US" sz="900" dirty="0">
                <a:solidFill>
                  <a:schemeClr val="tx1">
                    <a:lumMod val="50000"/>
                  </a:schemeClr>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 method creates a list of massage streams for each topic.</a:t>
            </a:r>
          </a:p>
        </p:txBody>
      </p:sp>
      <p:sp>
        <p:nvSpPr>
          <p:cNvPr id="4" name="Left Brace 3">
            <a:extLst>
              <a:ext uri="{FF2B5EF4-FFF2-40B4-BE49-F238E27FC236}">
                <a16:creationId xmlns:a16="http://schemas.microsoft.com/office/drawing/2014/main" id="{6C15B34F-E757-E743-B3EE-2EBB2482B46E}"/>
              </a:ext>
            </a:extLst>
          </p:cNvPr>
          <p:cNvSpPr/>
          <p:nvPr/>
        </p:nvSpPr>
        <p:spPr>
          <a:xfrm>
            <a:off x="4723957" y="3102475"/>
            <a:ext cx="143838" cy="246580"/>
          </a:xfrm>
          <a:prstGeom prst="leftBrace">
            <a:avLst/>
          </a:prstGeom>
          <a:ln>
            <a:solidFill>
              <a:srgbClr val="FF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100">
              <a:latin typeface="Comic Sans MS" panose="030F0902030302020204" pitchFamily="66" charset="0"/>
            </a:endParaRPr>
          </a:p>
        </p:txBody>
      </p:sp>
      <p:cxnSp>
        <p:nvCxnSpPr>
          <p:cNvPr id="18" name="Straight Connector 17">
            <a:extLst>
              <a:ext uri="{FF2B5EF4-FFF2-40B4-BE49-F238E27FC236}">
                <a16:creationId xmlns:a16="http://schemas.microsoft.com/office/drawing/2014/main" id="{6309A447-BCE3-694D-BEC2-F93D9B06FEF9}"/>
              </a:ext>
            </a:extLst>
          </p:cNvPr>
          <p:cNvCxnSpPr>
            <a:cxnSpLocks/>
          </p:cNvCxnSpPr>
          <p:nvPr/>
        </p:nvCxnSpPr>
        <p:spPr>
          <a:xfrm flipV="1">
            <a:off x="8145252" y="1987197"/>
            <a:ext cx="215757" cy="817326"/>
          </a:xfrm>
          <a:prstGeom prst="line">
            <a:avLst/>
          </a:prstGeom>
          <a:ln w="12700">
            <a:solidFill>
              <a:srgbClr val="FF0000">
                <a:alpha val="50000"/>
              </a:srgbClr>
            </a:solidFill>
            <a:headEnd type="ova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B31663A4-B110-2E43-B1B3-EFE1182B7147}"/>
              </a:ext>
            </a:extLst>
          </p:cNvPr>
          <p:cNvCxnSpPr>
            <a:cxnSpLocks/>
            <a:stCxn id="25" idx="2"/>
          </p:cNvCxnSpPr>
          <p:nvPr/>
        </p:nvCxnSpPr>
        <p:spPr>
          <a:xfrm>
            <a:off x="8145252" y="1708798"/>
            <a:ext cx="213858" cy="278399"/>
          </a:xfrm>
          <a:prstGeom prst="line">
            <a:avLst/>
          </a:prstGeom>
          <a:ln w="12700">
            <a:solidFill>
              <a:srgbClr val="FF0000">
                <a:alpha val="50000"/>
              </a:srgbClr>
            </a:solidFill>
            <a:headEnd type="oval"/>
          </a:ln>
        </p:spPr>
        <p:style>
          <a:lnRef idx="1">
            <a:schemeClr val="accent1"/>
          </a:lnRef>
          <a:fillRef idx="0">
            <a:schemeClr val="accent1"/>
          </a:fillRef>
          <a:effectRef idx="0">
            <a:schemeClr val="accent1"/>
          </a:effectRef>
          <a:fontRef idx="minor">
            <a:schemeClr val="tx1"/>
          </a:fontRef>
        </p:style>
      </p:cxnSp>
      <p:sp>
        <p:nvSpPr>
          <p:cNvPr id="25" name="TextBox 24">
            <a:extLst>
              <a:ext uri="{FF2B5EF4-FFF2-40B4-BE49-F238E27FC236}">
                <a16:creationId xmlns:a16="http://schemas.microsoft.com/office/drawing/2014/main" id="{14BB55E2-526E-7D46-AA45-3378D65317F0}"/>
              </a:ext>
            </a:extLst>
          </p:cNvPr>
          <p:cNvSpPr txBox="1"/>
          <p:nvPr/>
        </p:nvSpPr>
        <p:spPr>
          <a:xfrm>
            <a:off x="7184000" y="1250041"/>
            <a:ext cx="1922503" cy="458757"/>
          </a:xfrm>
          <a:prstGeom prst="rect">
            <a:avLst/>
          </a:prstGeom>
          <a:noFill/>
        </p:spPr>
        <p:txBody>
          <a:bodyPr wrap="square" tIns="90000" bIns="90000" rtlCol="0" anchor="t">
            <a:spAutoFit/>
          </a:bodyPr>
          <a:lstStyle/>
          <a:p>
            <a:pPr algn="just"/>
            <a:r>
              <a:rPr lang="en-US" sz="900" dirty="0">
                <a:solidFill>
                  <a:schemeClr val="tx1">
                    <a:lumMod val="50000"/>
                  </a:schemeClr>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This the main interface for Java-based consumers.</a:t>
            </a:r>
          </a:p>
        </p:txBody>
      </p:sp>
      <p:sp>
        <p:nvSpPr>
          <p:cNvPr id="26" name="Left Brace 25">
            <a:extLst>
              <a:ext uri="{FF2B5EF4-FFF2-40B4-BE49-F238E27FC236}">
                <a16:creationId xmlns:a16="http://schemas.microsoft.com/office/drawing/2014/main" id="{AC4A9A95-E7FA-7F49-A1D3-65873BE64E16}"/>
              </a:ext>
            </a:extLst>
          </p:cNvPr>
          <p:cNvSpPr/>
          <p:nvPr/>
        </p:nvSpPr>
        <p:spPr>
          <a:xfrm rot="10800000">
            <a:off x="9865075" y="3287412"/>
            <a:ext cx="143837" cy="341380"/>
          </a:xfrm>
          <a:prstGeom prst="leftBrace">
            <a:avLst/>
          </a:prstGeom>
          <a:ln>
            <a:solidFill>
              <a:srgbClr val="FF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100" dirty="0">
              <a:latin typeface="Comic Sans MS" panose="030F0902030302020204" pitchFamily="66" charset="0"/>
            </a:endParaRPr>
          </a:p>
        </p:txBody>
      </p:sp>
      <p:cxnSp>
        <p:nvCxnSpPr>
          <p:cNvPr id="27" name="Straight Connector 26">
            <a:extLst>
              <a:ext uri="{FF2B5EF4-FFF2-40B4-BE49-F238E27FC236}">
                <a16:creationId xmlns:a16="http://schemas.microsoft.com/office/drawing/2014/main" id="{D9243ECE-83CA-734F-A0CA-4AFC7ABA56CC}"/>
              </a:ext>
            </a:extLst>
          </p:cNvPr>
          <p:cNvCxnSpPr>
            <a:cxnSpLocks/>
          </p:cNvCxnSpPr>
          <p:nvPr/>
        </p:nvCxnSpPr>
        <p:spPr>
          <a:xfrm flipH="1">
            <a:off x="8819738" y="3628820"/>
            <a:ext cx="983695" cy="0"/>
          </a:xfrm>
          <a:prstGeom prst="line">
            <a:avLst/>
          </a:prstGeom>
          <a:ln w="12700">
            <a:solidFill>
              <a:srgbClr val="FF0000">
                <a:alpha val="50000"/>
              </a:srgb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42C46904-1C5F-1141-A8A5-699CCF03D4AD}"/>
              </a:ext>
            </a:extLst>
          </p:cNvPr>
          <p:cNvCxnSpPr>
            <a:cxnSpLocks/>
          </p:cNvCxnSpPr>
          <p:nvPr/>
        </p:nvCxnSpPr>
        <p:spPr>
          <a:xfrm flipH="1">
            <a:off x="9550185" y="3287412"/>
            <a:ext cx="253248" cy="0"/>
          </a:xfrm>
          <a:prstGeom prst="line">
            <a:avLst/>
          </a:prstGeom>
          <a:ln w="12700">
            <a:solidFill>
              <a:srgbClr val="FF0000">
                <a:alpha val="50000"/>
              </a:srgb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FD99635E-CF0E-1E4E-A96E-43CB20544842}"/>
              </a:ext>
            </a:extLst>
          </p:cNvPr>
          <p:cNvCxnSpPr>
            <a:cxnSpLocks/>
          </p:cNvCxnSpPr>
          <p:nvPr/>
        </p:nvCxnSpPr>
        <p:spPr>
          <a:xfrm>
            <a:off x="10070556" y="3488939"/>
            <a:ext cx="215739" cy="0"/>
          </a:xfrm>
          <a:prstGeom prst="line">
            <a:avLst/>
          </a:prstGeom>
          <a:ln w="12700">
            <a:solidFill>
              <a:srgbClr val="FF0000">
                <a:alpha val="50000"/>
              </a:srgbClr>
            </a:solidFill>
            <a:headEnd type="oval"/>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E4699FA6-07E6-074B-9100-F00010FC6EF1}"/>
              </a:ext>
            </a:extLst>
          </p:cNvPr>
          <p:cNvCxnSpPr>
            <a:cxnSpLocks/>
            <a:stCxn id="41" idx="2"/>
          </p:cNvCxnSpPr>
          <p:nvPr/>
        </p:nvCxnSpPr>
        <p:spPr>
          <a:xfrm flipH="1">
            <a:off x="10286295" y="2032673"/>
            <a:ext cx="577072" cy="1456266"/>
          </a:xfrm>
          <a:prstGeom prst="line">
            <a:avLst/>
          </a:prstGeom>
          <a:ln w="12700">
            <a:solidFill>
              <a:srgbClr val="FF0000">
                <a:alpha val="50000"/>
              </a:srgbClr>
            </a:solidFill>
            <a:headEnd type="oval"/>
          </a:ln>
        </p:spPr>
        <p:style>
          <a:lnRef idx="1">
            <a:schemeClr val="accent1"/>
          </a:lnRef>
          <a:fillRef idx="0">
            <a:schemeClr val="accent1"/>
          </a:fillRef>
          <a:effectRef idx="0">
            <a:schemeClr val="accent1"/>
          </a:effectRef>
          <a:fontRef idx="minor">
            <a:schemeClr val="tx1"/>
          </a:fontRef>
        </p:style>
      </p:cxnSp>
      <p:sp>
        <p:nvSpPr>
          <p:cNvPr id="41" name="TextBox 40">
            <a:extLst>
              <a:ext uri="{FF2B5EF4-FFF2-40B4-BE49-F238E27FC236}">
                <a16:creationId xmlns:a16="http://schemas.microsoft.com/office/drawing/2014/main" id="{FD003B31-A8E1-D540-AEC9-C4FB34DE545B}"/>
              </a:ext>
            </a:extLst>
          </p:cNvPr>
          <p:cNvSpPr txBox="1"/>
          <p:nvPr/>
        </p:nvSpPr>
        <p:spPr>
          <a:xfrm>
            <a:off x="9803433" y="1112251"/>
            <a:ext cx="2119867" cy="920422"/>
          </a:xfrm>
          <a:prstGeom prst="rect">
            <a:avLst/>
          </a:prstGeom>
          <a:noFill/>
        </p:spPr>
        <p:txBody>
          <a:bodyPr wrap="square" tIns="90000" bIns="90000" rtlCol="0" anchor="t">
            <a:spAutoFit/>
          </a:bodyPr>
          <a:lstStyle/>
          <a:p>
            <a:pPr algn="just"/>
            <a:r>
              <a:rPr lang="en-US" sz="1200" dirty="0">
                <a:solidFill>
                  <a:schemeClr val="tx1">
                    <a:lumMod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The </a:t>
            </a:r>
            <a:r>
              <a:rPr lang="en-US" sz="1200" dirty="0" err="1">
                <a:solidFill>
                  <a:schemeClr val="tx1">
                    <a:lumMod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createMassageStremsByFilter</a:t>
            </a:r>
            <a:r>
              <a:rPr lang="en-US" sz="1200" dirty="0">
                <a:solidFill>
                  <a:schemeClr val="tx1">
                    <a:lumMod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 method creates a lists of mages streams for all topics that match given filter.</a:t>
            </a:r>
          </a:p>
        </p:txBody>
      </p:sp>
      <p:cxnSp>
        <p:nvCxnSpPr>
          <p:cNvPr id="42" name="Straight Connector 41">
            <a:extLst>
              <a:ext uri="{FF2B5EF4-FFF2-40B4-BE49-F238E27FC236}">
                <a16:creationId xmlns:a16="http://schemas.microsoft.com/office/drawing/2014/main" id="{6AD82251-1E06-AE4F-A209-EF90B6762B30}"/>
              </a:ext>
            </a:extLst>
          </p:cNvPr>
          <p:cNvCxnSpPr>
            <a:cxnSpLocks/>
          </p:cNvCxnSpPr>
          <p:nvPr/>
        </p:nvCxnSpPr>
        <p:spPr>
          <a:xfrm>
            <a:off x="6223985" y="3955229"/>
            <a:ext cx="1551398" cy="1105408"/>
          </a:xfrm>
          <a:prstGeom prst="line">
            <a:avLst/>
          </a:prstGeom>
          <a:ln w="12700">
            <a:solidFill>
              <a:srgbClr val="FF0000">
                <a:alpha val="50000"/>
              </a:srgbClr>
            </a:solidFill>
            <a:headEnd type="oval"/>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3F347DDC-A0DE-464B-A860-F305603D5B25}"/>
              </a:ext>
            </a:extLst>
          </p:cNvPr>
          <p:cNvCxnSpPr>
            <a:cxnSpLocks/>
          </p:cNvCxnSpPr>
          <p:nvPr/>
        </p:nvCxnSpPr>
        <p:spPr>
          <a:xfrm flipH="1">
            <a:off x="7775383" y="5055501"/>
            <a:ext cx="583726" cy="5136"/>
          </a:xfrm>
          <a:prstGeom prst="line">
            <a:avLst/>
          </a:prstGeom>
          <a:ln w="12700">
            <a:solidFill>
              <a:srgbClr val="FF0000">
                <a:alpha val="50000"/>
              </a:srgbClr>
            </a:solidFill>
            <a:headEnd type="oval"/>
          </a:ln>
        </p:spPr>
        <p:style>
          <a:lnRef idx="1">
            <a:schemeClr val="accent1"/>
          </a:lnRef>
          <a:fillRef idx="0">
            <a:schemeClr val="accent1"/>
          </a:fillRef>
          <a:effectRef idx="0">
            <a:schemeClr val="accent1"/>
          </a:effectRef>
          <a:fontRef idx="minor">
            <a:schemeClr val="tx1"/>
          </a:fontRef>
        </p:style>
      </p:cxnSp>
      <p:sp>
        <p:nvSpPr>
          <p:cNvPr id="44" name="TextBox 43">
            <a:extLst>
              <a:ext uri="{FF2B5EF4-FFF2-40B4-BE49-F238E27FC236}">
                <a16:creationId xmlns:a16="http://schemas.microsoft.com/office/drawing/2014/main" id="{078408C9-EFDA-6A41-BAD7-37E538935688}"/>
              </a:ext>
            </a:extLst>
          </p:cNvPr>
          <p:cNvSpPr txBox="1"/>
          <p:nvPr/>
        </p:nvSpPr>
        <p:spPr>
          <a:xfrm>
            <a:off x="8359109" y="4683368"/>
            <a:ext cx="2119867" cy="597256"/>
          </a:xfrm>
          <a:prstGeom prst="rect">
            <a:avLst/>
          </a:prstGeom>
          <a:noFill/>
        </p:spPr>
        <p:txBody>
          <a:bodyPr wrap="square" tIns="90000" bIns="90000" rtlCol="0" anchor="t">
            <a:spAutoFit/>
          </a:bodyPr>
          <a:lstStyle/>
          <a:p>
            <a:pPr algn="just"/>
            <a:r>
              <a:rPr lang="en-US" sz="900" dirty="0">
                <a:solidFill>
                  <a:schemeClr val="tx1">
                    <a:lumMod val="50000"/>
                  </a:schemeClr>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Commit the offsets of all broker partition connected by this connector.</a:t>
            </a:r>
          </a:p>
        </p:txBody>
      </p:sp>
      <p:cxnSp>
        <p:nvCxnSpPr>
          <p:cNvPr id="50" name="Straight Connector 49">
            <a:extLst>
              <a:ext uri="{FF2B5EF4-FFF2-40B4-BE49-F238E27FC236}">
                <a16:creationId xmlns:a16="http://schemas.microsoft.com/office/drawing/2014/main" id="{7166761E-0D9E-1840-9031-6CC855515520}"/>
              </a:ext>
            </a:extLst>
          </p:cNvPr>
          <p:cNvCxnSpPr>
            <a:cxnSpLocks/>
          </p:cNvCxnSpPr>
          <p:nvPr/>
        </p:nvCxnSpPr>
        <p:spPr>
          <a:xfrm flipH="1">
            <a:off x="5783230" y="4125596"/>
            <a:ext cx="10273" cy="1570672"/>
          </a:xfrm>
          <a:prstGeom prst="line">
            <a:avLst/>
          </a:prstGeom>
          <a:ln w="12700">
            <a:solidFill>
              <a:srgbClr val="FF0000">
                <a:alpha val="50000"/>
              </a:srgbClr>
            </a:solidFill>
            <a:headEnd type="oval"/>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A0D29C0A-3EE2-684F-93A3-D10F2CD6E951}"/>
              </a:ext>
            </a:extLst>
          </p:cNvPr>
          <p:cNvCxnSpPr>
            <a:cxnSpLocks/>
            <a:stCxn id="55" idx="1"/>
          </p:cNvCxnSpPr>
          <p:nvPr/>
        </p:nvCxnSpPr>
        <p:spPr>
          <a:xfrm flipH="1" flipV="1">
            <a:off x="5783231" y="5700952"/>
            <a:ext cx="347826" cy="219102"/>
          </a:xfrm>
          <a:prstGeom prst="line">
            <a:avLst/>
          </a:prstGeom>
          <a:ln w="12700">
            <a:solidFill>
              <a:srgbClr val="FF0000">
                <a:alpha val="50000"/>
              </a:srgbClr>
            </a:solidFill>
            <a:headEnd type="oval"/>
          </a:ln>
        </p:spPr>
        <p:style>
          <a:lnRef idx="1">
            <a:schemeClr val="accent1"/>
          </a:lnRef>
          <a:fillRef idx="0">
            <a:schemeClr val="accent1"/>
          </a:fillRef>
          <a:effectRef idx="0">
            <a:schemeClr val="accent1"/>
          </a:effectRef>
          <a:fontRef idx="minor">
            <a:schemeClr val="tx1"/>
          </a:fontRef>
        </p:style>
      </p:cxnSp>
      <p:sp>
        <p:nvSpPr>
          <p:cNvPr id="55" name="TextBox 54">
            <a:extLst>
              <a:ext uri="{FF2B5EF4-FFF2-40B4-BE49-F238E27FC236}">
                <a16:creationId xmlns:a16="http://schemas.microsoft.com/office/drawing/2014/main" id="{92E7B19B-50D2-8544-B04D-0B783DB8FE69}"/>
              </a:ext>
            </a:extLst>
          </p:cNvPr>
          <p:cNvSpPr txBox="1"/>
          <p:nvPr/>
        </p:nvSpPr>
        <p:spPr>
          <a:xfrm>
            <a:off x="6131057" y="5690675"/>
            <a:ext cx="2119867" cy="458757"/>
          </a:xfrm>
          <a:prstGeom prst="rect">
            <a:avLst/>
          </a:prstGeom>
          <a:noFill/>
        </p:spPr>
        <p:txBody>
          <a:bodyPr wrap="square" tIns="90000" bIns="90000" rtlCol="0" anchor="t">
            <a:spAutoFit/>
          </a:bodyPr>
          <a:lstStyle/>
          <a:p>
            <a:pPr algn="just"/>
            <a:r>
              <a:rPr lang="en-US" sz="900" dirty="0">
                <a:solidFill>
                  <a:schemeClr val="tx1">
                    <a:lumMod val="50000"/>
                  </a:schemeClr>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Shut down the connection of connector with Zookeeper</a:t>
            </a:r>
          </a:p>
        </p:txBody>
      </p:sp>
      <p:sp>
        <p:nvSpPr>
          <p:cNvPr id="29" name="TextBox 28">
            <a:extLst>
              <a:ext uri="{FF2B5EF4-FFF2-40B4-BE49-F238E27FC236}">
                <a16:creationId xmlns:a16="http://schemas.microsoft.com/office/drawing/2014/main" id="{37520629-F8FF-7247-8423-D3FE31432661}"/>
              </a:ext>
            </a:extLst>
          </p:cNvPr>
          <p:cNvSpPr txBox="1"/>
          <p:nvPr/>
        </p:nvSpPr>
        <p:spPr>
          <a:xfrm>
            <a:off x="347495" y="2834512"/>
            <a:ext cx="3886200" cy="874255"/>
          </a:xfrm>
          <a:prstGeom prst="rect">
            <a:avLst/>
          </a:prstGeom>
          <a:noFill/>
        </p:spPr>
        <p:txBody>
          <a:bodyPr wrap="square" tIns="90000" bIns="90000" rtlCol="0" anchor="t">
            <a:spAutoFit/>
          </a:bodyPr>
          <a:lstStyle/>
          <a:p>
            <a:pPr algn="just"/>
            <a:r>
              <a:rPr lang="en-US" sz="900" dirty="0" err="1">
                <a:solidFill>
                  <a:srgbClr val="C5277F"/>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ConsumerConnector</a:t>
            </a:r>
            <a:r>
              <a:rPr lang="en-US" sz="9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 Kafka provides the </a:t>
            </a:r>
            <a:r>
              <a:rPr lang="en-US" sz="900" dirty="0" err="1">
                <a:solidFill>
                  <a:srgbClr val="C5277F"/>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ConsumerConnector</a:t>
            </a:r>
            <a:r>
              <a:rPr lang="en-US" sz="9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 </a:t>
            </a:r>
            <a:r>
              <a:rPr lang="en-US" sz="900" dirty="0">
                <a:solidFill>
                  <a:srgbClr val="C5277F"/>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interface</a:t>
            </a:r>
            <a:r>
              <a:rPr lang="en-US" sz="9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 (interface </a:t>
            </a:r>
            <a:r>
              <a:rPr lang="en-US" sz="900" dirty="0" err="1">
                <a:solidFill>
                  <a:srgbClr val="C5277F"/>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ConsumerConnector</a:t>
            </a:r>
            <a:r>
              <a:rPr lang="en-US" sz="9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 that is further implemented by the </a:t>
            </a:r>
            <a:r>
              <a:rPr lang="en-US" sz="900" dirty="0" err="1">
                <a:solidFill>
                  <a:srgbClr val="C5277F"/>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ZookeeperConsumerConnector</a:t>
            </a:r>
            <a:r>
              <a:rPr lang="en-US" sz="9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 class (</a:t>
            </a:r>
            <a:r>
              <a:rPr lang="en-US" sz="900" dirty="0" err="1">
                <a:solidFill>
                  <a:srgbClr val="C5277F"/>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kafka.javaapi.consumer.ZookeeperConsumerConnector</a:t>
            </a:r>
            <a:r>
              <a:rPr lang="en-US" sz="9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 This class is responsible for all the interaction a consumer has with </a:t>
            </a:r>
            <a:r>
              <a:rPr lang="en-US" sz="900" dirty="0" err="1">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ZooKeeper</a:t>
            </a:r>
            <a:r>
              <a:rPr lang="en-US" sz="9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a:t>
            </a:r>
          </a:p>
        </p:txBody>
      </p:sp>
    </p:spTree>
    <p:extLst>
      <p:ext uri="{BB962C8B-B14F-4D97-AF65-F5344CB8AC3E}">
        <p14:creationId xmlns:p14="http://schemas.microsoft.com/office/powerpoint/2010/main" val="290049149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tangle 3">
            <a:extLst>
              <a:ext uri="{FF2B5EF4-FFF2-40B4-BE49-F238E27FC236}">
                <a16:creationId xmlns:a16="http://schemas.microsoft.com/office/drawing/2014/main" id="{A27FD23C-A522-0E4F-B70C-CC83BC4542BA}"/>
              </a:ext>
            </a:extLst>
          </p:cNvPr>
          <p:cNvSpPr txBox="1"/>
          <p:nvPr/>
        </p:nvSpPr>
        <p:spPr>
          <a:xfrm>
            <a:off x="404808" y="237462"/>
            <a:ext cx="7585857" cy="400105"/>
          </a:xfrm>
          <a:prstGeom prst="rect">
            <a:avLst/>
          </a:prstGeom>
          <a:ln w="12700">
            <a:miter lim="400000"/>
          </a:ln>
          <a:extLst>
            <a:ext uri="{C572A759-6A51-4108-AA02-DFA0A04FC94B}">
              <ma14:wrappingTextBoxFlag xmlns:ma14="http://schemas.microsoft.com/office/mac/drawingml/2011/main" xmlns="" val="1"/>
            </a:ext>
          </a:extLst>
        </p:spPr>
        <p:txBody>
          <a:bodyPr wrap="square" lIns="45718" tIns="45718" rIns="45718" bIns="45718">
            <a:spAutoFit/>
          </a:bodyPr>
          <a:lstStyle>
            <a:lvl1pPr algn="l" defTabSz="914400">
              <a:defRPr sz="2200" b="1">
                <a:solidFill>
                  <a:srgbClr val="FFFFFF"/>
                </a:solidFill>
                <a:latin typeface="Arial"/>
                <a:ea typeface="Arial"/>
                <a:cs typeface="Arial"/>
                <a:sym typeface="Arial"/>
              </a:defRPr>
            </a:lvl1pPr>
          </a:lstStyle>
          <a:p>
            <a:r>
              <a:rPr lang="en-US" sz="2000" dirty="0">
                <a:solidFill>
                  <a:srgbClr val="016AA2"/>
                </a:solidFill>
              </a:rPr>
              <a:t>Features and terminology (XIII)</a:t>
            </a:r>
          </a:p>
        </p:txBody>
      </p:sp>
      <p:sp>
        <p:nvSpPr>
          <p:cNvPr id="65" name="Rectangle 3"/>
          <p:cNvSpPr txBox="1"/>
          <p:nvPr/>
        </p:nvSpPr>
        <p:spPr>
          <a:xfrm>
            <a:off x="404806" y="610135"/>
            <a:ext cx="8775769" cy="369328"/>
          </a:xfrm>
          <a:prstGeom prst="rect">
            <a:avLst/>
          </a:prstGeom>
          <a:ln w="12700">
            <a:miter lim="400000"/>
          </a:ln>
          <a:extLst>
            <a:ext uri="{C572A759-6A51-4108-AA02-DFA0A04FC94B}">
              <ma14:wrappingTextBoxFlag xmlns="" xmlns:ma14="http://schemas.microsoft.com/office/mac/drawingml/2011/main" val="1"/>
            </a:ext>
          </a:extLst>
        </p:spPr>
        <p:txBody>
          <a:bodyPr wrap="square" lIns="45718" tIns="45718" rIns="45718" bIns="45718">
            <a:spAutoFit/>
          </a:bodyPr>
          <a:lstStyle>
            <a:lvl1pPr algn="l" defTabSz="914400">
              <a:defRPr sz="2000">
                <a:solidFill>
                  <a:srgbClr val="104D6A"/>
                </a:solidFill>
                <a:latin typeface="Arial"/>
                <a:ea typeface="Arial"/>
                <a:cs typeface="Arial"/>
                <a:sym typeface="Arial"/>
              </a:defRPr>
            </a:lvl1pPr>
          </a:lstStyle>
          <a:p>
            <a:pPr>
              <a:defRPr/>
            </a:pPr>
            <a:r>
              <a:rPr lang="en-US" sz="1800" b="1" dirty="0">
                <a:solidFill>
                  <a:srgbClr val="73C4EF"/>
                </a:solidFill>
              </a:rPr>
              <a:t>Event Hub Architecture – Consumers High-level API</a:t>
            </a:r>
          </a:p>
        </p:txBody>
      </p:sp>
      <p:sp>
        <p:nvSpPr>
          <p:cNvPr id="5" name="Google Shape;61;p12">
            <a:extLst>
              <a:ext uri="{FF2B5EF4-FFF2-40B4-BE49-F238E27FC236}">
                <a16:creationId xmlns:a16="http://schemas.microsoft.com/office/drawing/2014/main" id="{28CF5AAD-3382-CF47-8F35-AB0EF038602B}"/>
              </a:ext>
            </a:extLst>
          </p:cNvPr>
          <p:cNvSpPr txBox="1">
            <a:spLocks/>
          </p:cNvSpPr>
          <p:nvPr/>
        </p:nvSpPr>
        <p:spPr>
          <a:xfrm>
            <a:off x="404806" y="1090789"/>
            <a:ext cx="2595248" cy="261610"/>
          </a:xfrm>
          <a:prstGeom prst="rect">
            <a:avLst/>
          </a:prstGeom>
          <a:noFill/>
        </p:spPr>
        <p:txBody>
          <a:bodyPr wrap="square" rtlCol="0">
            <a:spAutoFit/>
          </a:bodyPr>
          <a:lstStyle>
            <a:defPPr>
              <a:defRPr lang="en-US"/>
            </a:defPPr>
            <a:lvl1pPr algn="ctr" defTabSz="457200">
              <a:defRPr sz="90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defRPr>
            </a:lvl1pPr>
          </a:lstStyle>
          <a:p>
            <a:pPr algn="l"/>
            <a:r>
              <a:rPr lang="en-US" sz="1100" dirty="0">
                <a:solidFill>
                  <a:srgbClr val="C5277F"/>
                </a:solidFill>
                <a:latin typeface="Comic Sans MS" panose="030F0902030302020204" pitchFamily="66" charset="0"/>
              </a:rPr>
              <a:t>Defining properties</a:t>
            </a:r>
            <a:endParaRPr lang="es-ES_tradnl" sz="1100" dirty="0">
              <a:solidFill>
                <a:srgbClr val="C5277F"/>
              </a:solidFill>
              <a:latin typeface="Comic Sans MS" panose="030F0902030302020204" pitchFamily="66" charset="0"/>
            </a:endParaRPr>
          </a:p>
        </p:txBody>
      </p:sp>
      <p:sp>
        <p:nvSpPr>
          <p:cNvPr id="6" name="Rectangle 5">
            <a:extLst>
              <a:ext uri="{FF2B5EF4-FFF2-40B4-BE49-F238E27FC236}">
                <a16:creationId xmlns:a16="http://schemas.microsoft.com/office/drawing/2014/main" id="{D7296D0E-604A-E042-845D-1C53BB0CBBBA}"/>
              </a:ext>
            </a:extLst>
          </p:cNvPr>
          <p:cNvSpPr/>
          <p:nvPr/>
        </p:nvSpPr>
        <p:spPr>
          <a:xfrm>
            <a:off x="404806" y="1374818"/>
            <a:ext cx="6170656" cy="1105088"/>
          </a:xfrm>
          <a:prstGeom prst="rect">
            <a:avLst/>
          </a:prstGeom>
          <a:solidFill>
            <a:schemeClr val="bg1"/>
          </a:solidFill>
        </p:spPr>
        <p:txBody>
          <a:bodyPr wrap="square" tIns="90000" bIns="90000" rtlCol="0" anchor="t">
            <a:spAutoFit/>
          </a:bodyPr>
          <a:lstStyle/>
          <a:p>
            <a:pPr algn="just"/>
            <a:r>
              <a:rPr lang="en-US" sz="10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class </a:t>
            </a:r>
            <a:r>
              <a:rPr lang="en-US" sz="1000" dirty="0" err="1">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KafkaStream</a:t>
            </a:r>
            <a:r>
              <a:rPr lang="en-US" sz="10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K,V](private </a:t>
            </a:r>
            <a:r>
              <a:rPr lang="en-US" sz="1000" dirty="0" err="1">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val</a:t>
            </a:r>
            <a:r>
              <a:rPr lang="en-US" sz="10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 queue: </a:t>
            </a:r>
          </a:p>
          <a:p>
            <a:pPr algn="just"/>
            <a:r>
              <a:rPr lang="en-US" sz="10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                      </a:t>
            </a:r>
            <a:r>
              <a:rPr lang="en-US" sz="1000" dirty="0" err="1">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BlockingQueue</a:t>
            </a:r>
            <a:r>
              <a:rPr lang="en-US" sz="10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a:t>
            </a:r>
            <a:r>
              <a:rPr lang="en-US" sz="1000" dirty="0" err="1">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FetchedDataChunk</a:t>
            </a:r>
            <a:r>
              <a:rPr lang="en-US" sz="10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a:t>
            </a:r>
          </a:p>
          <a:p>
            <a:pPr algn="just"/>
            <a:r>
              <a:rPr lang="en-US" sz="10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                      </a:t>
            </a:r>
            <a:r>
              <a:rPr lang="en-US" sz="1000" dirty="0" err="1">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consumerTimeoutMs</a:t>
            </a:r>
            <a:r>
              <a:rPr lang="en-US" sz="10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 Int,</a:t>
            </a:r>
          </a:p>
          <a:p>
            <a:pPr algn="just"/>
            <a:r>
              <a:rPr lang="en-US" sz="10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                      private </a:t>
            </a:r>
            <a:r>
              <a:rPr lang="en-US" sz="1000" dirty="0" err="1">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val</a:t>
            </a:r>
            <a:r>
              <a:rPr lang="en-US" sz="10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 </a:t>
            </a:r>
            <a:r>
              <a:rPr lang="en-US" sz="1000" dirty="0" err="1">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keyDecoder</a:t>
            </a:r>
            <a:r>
              <a:rPr lang="en-US" sz="10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 Decoder[K],</a:t>
            </a:r>
          </a:p>
          <a:p>
            <a:pPr algn="just"/>
            <a:r>
              <a:rPr lang="en-US" sz="10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                      private </a:t>
            </a:r>
            <a:r>
              <a:rPr lang="en-US" sz="1000" dirty="0" err="1">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val</a:t>
            </a:r>
            <a:r>
              <a:rPr lang="en-US" sz="10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 </a:t>
            </a:r>
            <a:r>
              <a:rPr lang="en-US" sz="1000" dirty="0" err="1">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valueDecoder</a:t>
            </a:r>
            <a:r>
              <a:rPr lang="en-US" sz="10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 Decoder[V],</a:t>
            </a:r>
          </a:p>
          <a:p>
            <a:pPr algn="just"/>
            <a:r>
              <a:rPr lang="en-US" sz="10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                      </a:t>
            </a:r>
            <a:r>
              <a:rPr lang="en-US" sz="1000" dirty="0" err="1">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val</a:t>
            </a:r>
            <a:r>
              <a:rPr lang="en-US" sz="10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 </a:t>
            </a:r>
            <a:r>
              <a:rPr lang="en-US" sz="1000" dirty="0" err="1">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clientId</a:t>
            </a:r>
            <a:r>
              <a:rPr lang="en-US" sz="10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 String)</a:t>
            </a:r>
          </a:p>
        </p:txBody>
      </p:sp>
      <p:sp>
        <p:nvSpPr>
          <p:cNvPr id="23" name="Google Shape;61;p12">
            <a:extLst>
              <a:ext uri="{FF2B5EF4-FFF2-40B4-BE49-F238E27FC236}">
                <a16:creationId xmlns:a16="http://schemas.microsoft.com/office/drawing/2014/main" id="{68EDE768-1986-C247-88B3-6510DB16FBCF}"/>
              </a:ext>
            </a:extLst>
          </p:cNvPr>
          <p:cNvSpPr txBox="1">
            <a:spLocks/>
          </p:cNvSpPr>
          <p:nvPr/>
        </p:nvSpPr>
        <p:spPr>
          <a:xfrm>
            <a:off x="404806" y="2700960"/>
            <a:ext cx="2595248" cy="261610"/>
          </a:xfrm>
          <a:prstGeom prst="rect">
            <a:avLst/>
          </a:prstGeom>
          <a:noFill/>
        </p:spPr>
        <p:txBody>
          <a:bodyPr wrap="square" rtlCol="0">
            <a:spAutoFit/>
          </a:bodyPr>
          <a:lstStyle>
            <a:defPPr>
              <a:defRPr lang="en-US"/>
            </a:defPPr>
            <a:lvl1pPr algn="ctr" defTabSz="457200">
              <a:defRPr sz="90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defRPr>
            </a:lvl1pPr>
          </a:lstStyle>
          <a:p>
            <a:pPr algn="l"/>
            <a:r>
              <a:rPr lang="en-US" sz="1100" dirty="0">
                <a:solidFill>
                  <a:srgbClr val="C5277F"/>
                </a:solidFill>
                <a:latin typeface="Comic Sans MS" panose="030F0902030302020204" pitchFamily="66" charset="0"/>
              </a:rPr>
              <a:t>The low-level consumer API</a:t>
            </a:r>
            <a:endParaRPr lang="es-ES_tradnl" sz="1100" dirty="0">
              <a:solidFill>
                <a:srgbClr val="C5277F"/>
              </a:solidFill>
              <a:latin typeface="Comic Sans MS" panose="030F0902030302020204" pitchFamily="66" charset="0"/>
            </a:endParaRPr>
          </a:p>
        </p:txBody>
      </p:sp>
      <p:sp>
        <p:nvSpPr>
          <p:cNvPr id="28" name="TextBox 27">
            <a:extLst>
              <a:ext uri="{FF2B5EF4-FFF2-40B4-BE49-F238E27FC236}">
                <a16:creationId xmlns:a16="http://schemas.microsoft.com/office/drawing/2014/main" id="{AEF5D701-2D87-C942-962F-E840771C3DD9}"/>
              </a:ext>
            </a:extLst>
          </p:cNvPr>
          <p:cNvSpPr txBox="1"/>
          <p:nvPr/>
        </p:nvSpPr>
        <p:spPr>
          <a:xfrm>
            <a:off x="7512691" y="707259"/>
            <a:ext cx="3886200" cy="874255"/>
          </a:xfrm>
          <a:prstGeom prst="rect">
            <a:avLst/>
          </a:prstGeom>
          <a:noFill/>
        </p:spPr>
        <p:txBody>
          <a:bodyPr wrap="square" tIns="90000" bIns="90000" rtlCol="0" anchor="t">
            <a:spAutoFit/>
          </a:bodyPr>
          <a:lstStyle/>
          <a:p>
            <a:pPr algn="just"/>
            <a:r>
              <a:rPr lang="en-US" sz="900" dirty="0" err="1">
                <a:solidFill>
                  <a:srgbClr val="C5277F"/>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KafkaStream</a:t>
            </a:r>
            <a:r>
              <a:rPr lang="en-US" sz="900" dirty="0">
                <a:solidFill>
                  <a:srgbClr val="C5277F"/>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 </a:t>
            </a:r>
            <a:r>
              <a:rPr lang="en-US" sz="9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Objects of the </a:t>
            </a:r>
            <a:r>
              <a:rPr lang="en-US" sz="900" dirty="0" err="1">
                <a:solidFill>
                  <a:srgbClr val="C5277F"/>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kafka.consumer.KafkaStream</a:t>
            </a:r>
            <a:r>
              <a:rPr lang="en-US" sz="9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 class are returned by the </a:t>
            </a:r>
            <a:r>
              <a:rPr lang="en-US" sz="900" dirty="0" err="1">
                <a:solidFill>
                  <a:srgbClr val="C5277F"/>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createMessageStreams</a:t>
            </a:r>
            <a:r>
              <a:rPr lang="en-US" sz="9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 call from the </a:t>
            </a:r>
            <a:r>
              <a:rPr lang="en-US" sz="900" dirty="0" err="1">
                <a:solidFill>
                  <a:srgbClr val="C5277F"/>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ConsumerConnector</a:t>
            </a:r>
            <a:r>
              <a:rPr lang="en-US" sz="9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 implementation. This list of the </a:t>
            </a:r>
            <a:r>
              <a:rPr lang="en-US" sz="900" dirty="0" err="1">
                <a:solidFill>
                  <a:srgbClr val="C5277F"/>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KafkaStream</a:t>
            </a:r>
            <a:r>
              <a:rPr lang="en-US" sz="9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 objects is returned for each topic, which can further create an iterator over messages in the stream.</a:t>
            </a:r>
          </a:p>
        </p:txBody>
      </p:sp>
      <p:cxnSp>
        <p:nvCxnSpPr>
          <p:cNvPr id="33" name="Straight Connector 32">
            <a:extLst>
              <a:ext uri="{FF2B5EF4-FFF2-40B4-BE49-F238E27FC236}">
                <a16:creationId xmlns:a16="http://schemas.microsoft.com/office/drawing/2014/main" id="{45ADB9B9-9C23-B14B-B8B7-984E28B8AEB2}"/>
              </a:ext>
            </a:extLst>
          </p:cNvPr>
          <p:cNvCxnSpPr>
            <a:cxnSpLocks/>
          </p:cNvCxnSpPr>
          <p:nvPr/>
        </p:nvCxnSpPr>
        <p:spPr>
          <a:xfrm flipV="1">
            <a:off x="1407560" y="1398566"/>
            <a:ext cx="616074" cy="121568"/>
          </a:xfrm>
          <a:prstGeom prst="line">
            <a:avLst/>
          </a:prstGeom>
          <a:ln w="12700">
            <a:solidFill>
              <a:srgbClr val="FF0000">
                <a:alpha val="50000"/>
              </a:srgbClr>
            </a:solidFill>
            <a:headEnd type="ova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B078603E-DF4F-5241-AADC-75928F8D0B17}"/>
              </a:ext>
            </a:extLst>
          </p:cNvPr>
          <p:cNvCxnSpPr>
            <a:cxnSpLocks/>
          </p:cNvCxnSpPr>
          <p:nvPr/>
        </p:nvCxnSpPr>
        <p:spPr>
          <a:xfrm flipH="1">
            <a:off x="2023634" y="868680"/>
            <a:ext cx="5489057" cy="527362"/>
          </a:xfrm>
          <a:prstGeom prst="line">
            <a:avLst/>
          </a:prstGeom>
          <a:ln w="12700">
            <a:solidFill>
              <a:srgbClr val="FF0000">
                <a:alpha val="50000"/>
              </a:srgbClr>
            </a:solidFill>
            <a:headEnd type="oval"/>
          </a:ln>
        </p:spPr>
        <p:style>
          <a:lnRef idx="1">
            <a:schemeClr val="accent1"/>
          </a:lnRef>
          <a:fillRef idx="0">
            <a:schemeClr val="accent1"/>
          </a:fillRef>
          <a:effectRef idx="0">
            <a:schemeClr val="accent1"/>
          </a:effectRef>
          <a:fontRef idx="minor">
            <a:schemeClr val="tx1"/>
          </a:fontRef>
        </p:style>
      </p:cxnSp>
      <p:sp>
        <p:nvSpPr>
          <p:cNvPr id="81" name="TextBox 80">
            <a:extLst>
              <a:ext uri="{FF2B5EF4-FFF2-40B4-BE49-F238E27FC236}">
                <a16:creationId xmlns:a16="http://schemas.microsoft.com/office/drawing/2014/main" id="{01BB1525-E22B-A549-A329-AA1178344E67}"/>
              </a:ext>
            </a:extLst>
          </p:cNvPr>
          <p:cNvSpPr txBox="1"/>
          <p:nvPr/>
        </p:nvSpPr>
        <p:spPr>
          <a:xfrm>
            <a:off x="7512691" y="1904789"/>
            <a:ext cx="3886200" cy="520312"/>
          </a:xfrm>
          <a:prstGeom prst="rect">
            <a:avLst/>
          </a:prstGeom>
          <a:noFill/>
        </p:spPr>
        <p:txBody>
          <a:bodyPr wrap="square" tIns="90000" bIns="90000" rtlCol="0" anchor="t">
            <a:spAutoFit/>
          </a:bodyPr>
          <a:lstStyle>
            <a:defPPr>
              <a:defRPr lang="en-US"/>
            </a:defPPr>
            <a:lvl1pPr algn="just">
              <a:defRPr sz="1200">
                <a:solidFill>
                  <a:srgbClr val="C5277F"/>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defRPr>
            </a:lvl1pPr>
          </a:lstStyle>
          <a:p>
            <a:r>
              <a:rPr lang="en-US" sz="1050" dirty="0">
                <a:solidFill>
                  <a:schemeClr val="bg1">
                    <a:lumMod val="50000"/>
                  </a:schemeClr>
                </a:solidFill>
                <a:latin typeface="Comic Sans MS" panose="030F0902030302020204" pitchFamily="66" charset="0"/>
              </a:rPr>
              <a:t>The parameters </a:t>
            </a:r>
            <a:r>
              <a:rPr lang="en-US" sz="1050" dirty="0">
                <a:solidFill>
                  <a:srgbClr val="EE4328"/>
                </a:solidFill>
                <a:latin typeface="Comic Sans MS" panose="030F0902030302020204" pitchFamily="66" charset="0"/>
              </a:rPr>
              <a:t>K</a:t>
            </a:r>
            <a:r>
              <a:rPr lang="en-US" sz="1050" dirty="0">
                <a:solidFill>
                  <a:schemeClr val="bg1">
                    <a:lumMod val="50000"/>
                  </a:schemeClr>
                </a:solidFill>
                <a:latin typeface="Comic Sans MS" panose="030F0902030302020204" pitchFamily="66" charset="0"/>
              </a:rPr>
              <a:t> and </a:t>
            </a:r>
            <a:r>
              <a:rPr lang="en-US" sz="1050" dirty="0">
                <a:solidFill>
                  <a:srgbClr val="EE4328"/>
                </a:solidFill>
                <a:latin typeface="Comic Sans MS" panose="030F0902030302020204" pitchFamily="66" charset="0"/>
              </a:rPr>
              <a:t>V</a:t>
            </a:r>
            <a:r>
              <a:rPr lang="en-US" sz="1050" dirty="0">
                <a:solidFill>
                  <a:schemeClr val="bg1">
                    <a:lumMod val="50000"/>
                  </a:schemeClr>
                </a:solidFill>
                <a:latin typeface="Comic Sans MS" panose="030F0902030302020204" pitchFamily="66" charset="0"/>
              </a:rPr>
              <a:t> specify the type for the partition key and message value, respectively</a:t>
            </a:r>
          </a:p>
        </p:txBody>
      </p:sp>
      <p:sp>
        <p:nvSpPr>
          <p:cNvPr id="84" name="TextBox 83">
            <a:extLst>
              <a:ext uri="{FF2B5EF4-FFF2-40B4-BE49-F238E27FC236}">
                <a16:creationId xmlns:a16="http://schemas.microsoft.com/office/drawing/2014/main" id="{CF2723BF-2020-474D-9BA8-EA7C660A095A}"/>
              </a:ext>
            </a:extLst>
          </p:cNvPr>
          <p:cNvSpPr txBox="1"/>
          <p:nvPr/>
        </p:nvSpPr>
        <p:spPr>
          <a:xfrm>
            <a:off x="523982" y="3183493"/>
            <a:ext cx="10874909" cy="2382360"/>
          </a:xfrm>
          <a:prstGeom prst="rect">
            <a:avLst/>
          </a:prstGeom>
          <a:noFill/>
        </p:spPr>
        <p:txBody>
          <a:bodyPr wrap="square" tIns="90000" bIns="90000" rtlCol="0" anchor="t">
            <a:spAutoFit/>
          </a:bodyPr>
          <a:lstStyle/>
          <a:p>
            <a:pPr algn="just"/>
            <a:r>
              <a:rPr lang="en-US" sz="1100" dirty="0">
                <a:solidFill>
                  <a:srgbClr val="0079D1"/>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The high-level API does not allow consumers to control interactions with brokers. Also known as "simple consumer API", the low-level consumer API is stateless and provides fine grained control over the communication between Kafka broker and the consumer. It allows consumers to set the message offset with every request raised to the broker and maintains the metadata at the consumer's end. This API can be used by both online as well as offline consumers such as Hadoop. These types of consumers can also perform multiple reads for the same message or manage transactions to ensure the message is consumed only once.</a:t>
            </a:r>
          </a:p>
          <a:p>
            <a:pPr algn="just"/>
            <a:endParaRPr lang="en-US" sz="1100" dirty="0">
              <a:solidFill>
                <a:srgbClr val="0079D1"/>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endParaRPr>
          </a:p>
          <a:p>
            <a:pPr algn="just"/>
            <a:r>
              <a:rPr lang="en-US" sz="1100" dirty="0">
                <a:solidFill>
                  <a:srgbClr val="0079D1"/>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Compared to the high-level consumer API, developers need to put in extra effort to gain low-level control within consumers by keeping track of offsets, figuring out the lead broker for the topic and partition, handling lead broker changes, and so on.</a:t>
            </a:r>
          </a:p>
          <a:p>
            <a:pPr algn="just"/>
            <a:endParaRPr lang="en-US" sz="1100" dirty="0">
              <a:solidFill>
                <a:srgbClr val="0079D1"/>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endParaRPr>
          </a:p>
          <a:p>
            <a:pPr algn="just"/>
            <a:r>
              <a:rPr lang="en-US" sz="1100" dirty="0">
                <a:solidFill>
                  <a:srgbClr val="0079D1"/>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In the low-level consumer API, consumers first query the live broker to find out the details about the lead broker. Information about the live broker can be passed on to the consumers either using a properties file or from the command line. The </a:t>
            </a:r>
            <a:r>
              <a:rPr lang="en-US" sz="1100" dirty="0" err="1">
                <a:solidFill>
                  <a:srgbClr val="0079D1"/>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topicsMetadata</a:t>
            </a:r>
            <a:r>
              <a:rPr lang="en-US" sz="1100" dirty="0">
                <a:solidFill>
                  <a:srgbClr val="0079D1"/>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 method of the </a:t>
            </a:r>
            <a:r>
              <a:rPr lang="en-US" sz="1100" dirty="0" err="1">
                <a:solidFill>
                  <a:srgbClr val="0079D1"/>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kafka.javaapi.TopicMetadataResponse</a:t>
            </a:r>
            <a:r>
              <a:rPr lang="en-US" sz="1100" dirty="0">
                <a:solidFill>
                  <a:srgbClr val="0079D1"/>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 class is used to find out metadata about the topic of interest from the lead broker. For message partition reading, the </a:t>
            </a:r>
            <a:r>
              <a:rPr lang="en-US" sz="1100" dirty="0" err="1">
                <a:solidFill>
                  <a:srgbClr val="0079D1"/>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kafka.api.OffsetRequest</a:t>
            </a:r>
            <a:r>
              <a:rPr lang="en-US" sz="1100" dirty="0">
                <a:solidFill>
                  <a:srgbClr val="0079D1"/>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 class defines two constants: </a:t>
            </a:r>
            <a:r>
              <a:rPr lang="en-US" sz="1100" dirty="0" err="1">
                <a:solidFill>
                  <a:srgbClr val="0079D1"/>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EarliestTime</a:t>
            </a:r>
            <a:r>
              <a:rPr lang="en-US" sz="1100" dirty="0">
                <a:solidFill>
                  <a:srgbClr val="0079D1"/>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 and </a:t>
            </a:r>
            <a:r>
              <a:rPr lang="en-US" sz="1100" dirty="0" err="1">
                <a:solidFill>
                  <a:srgbClr val="0079D1"/>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LatestTime</a:t>
            </a:r>
            <a:r>
              <a:rPr lang="en-US" sz="1100" dirty="0">
                <a:solidFill>
                  <a:srgbClr val="0079D1"/>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 to find the beginning of the data in the logs and the new messages stream. These constants also help consumers to track which messages are already read.</a:t>
            </a:r>
          </a:p>
        </p:txBody>
      </p:sp>
      <p:cxnSp>
        <p:nvCxnSpPr>
          <p:cNvPr id="25" name="Straight Connector 24">
            <a:extLst>
              <a:ext uri="{FF2B5EF4-FFF2-40B4-BE49-F238E27FC236}">
                <a16:creationId xmlns:a16="http://schemas.microsoft.com/office/drawing/2014/main" id="{5627AAC5-1BDB-C24F-A86E-67ECA043913D}"/>
              </a:ext>
            </a:extLst>
          </p:cNvPr>
          <p:cNvCxnSpPr>
            <a:cxnSpLocks/>
            <a:stCxn id="81" idx="1"/>
          </p:cNvCxnSpPr>
          <p:nvPr/>
        </p:nvCxnSpPr>
        <p:spPr>
          <a:xfrm flipH="1" flipV="1">
            <a:off x="2023635" y="1565928"/>
            <a:ext cx="5489056" cy="599017"/>
          </a:xfrm>
          <a:prstGeom prst="line">
            <a:avLst/>
          </a:prstGeom>
          <a:ln w="12700">
            <a:solidFill>
              <a:srgbClr val="FF0000">
                <a:alpha val="27000"/>
              </a:srgbClr>
            </a:solidFill>
            <a:headEnd type="oval"/>
            <a:tailEnd type="ova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7270040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Group 5">
            <a:extLst>
              <a:ext uri="{FF2B5EF4-FFF2-40B4-BE49-F238E27FC236}">
                <a16:creationId xmlns:a16="http://schemas.microsoft.com/office/drawing/2014/main" id="{16AA3C4F-7ADF-A541-9CA1-7E264F7DADDC}"/>
              </a:ext>
            </a:extLst>
          </p:cNvPr>
          <p:cNvGraphicFramePr>
            <a:graphicFrameLocks noGrp="1"/>
          </p:cNvGraphicFramePr>
          <p:nvPr>
            <p:extLst>
              <p:ext uri="{D42A27DB-BD31-4B8C-83A1-F6EECF244321}">
                <p14:modId xmlns:p14="http://schemas.microsoft.com/office/powerpoint/2010/main" val="2290313908"/>
              </p:ext>
            </p:extLst>
          </p:nvPr>
        </p:nvGraphicFramePr>
        <p:xfrm>
          <a:off x="1938528" y="1553100"/>
          <a:ext cx="9430386" cy="4075927"/>
        </p:xfrm>
        <a:graphic>
          <a:graphicData uri="http://schemas.openxmlformats.org/drawingml/2006/table">
            <a:tbl>
              <a:tblPr/>
              <a:tblGrid>
                <a:gridCol w="1005840">
                  <a:extLst>
                    <a:ext uri="{9D8B030D-6E8A-4147-A177-3AD203B41FA5}">
                      <a16:colId xmlns:a16="http://schemas.microsoft.com/office/drawing/2014/main" val="20000"/>
                    </a:ext>
                  </a:extLst>
                </a:gridCol>
                <a:gridCol w="1316736">
                  <a:extLst>
                    <a:ext uri="{9D8B030D-6E8A-4147-A177-3AD203B41FA5}">
                      <a16:colId xmlns:a16="http://schemas.microsoft.com/office/drawing/2014/main" val="20001"/>
                    </a:ext>
                  </a:extLst>
                </a:gridCol>
                <a:gridCol w="4233353">
                  <a:extLst>
                    <a:ext uri="{9D8B030D-6E8A-4147-A177-3AD203B41FA5}">
                      <a16:colId xmlns:a16="http://schemas.microsoft.com/office/drawing/2014/main" val="20002"/>
                    </a:ext>
                  </a:extLst>
                </a:gridCol>
                <a:gridCol w="2874457">
                  <a:extLst>
                    <a:ext uri="{9D8B030D-6E8A-4147-A177-3AD203B41FA5}">
                      <a16:colId xmlns:a16="http://schemas.microsoft.com/office/drawing/2014/main" val="20003"/>
                    </a:ext>
                  </a:extLst>
                </a:gridCol>
              </a:tblGrid>
              <a:tr h="412130">
                <a:tc>
                  <a:txBody>
                    <a:bodyPr/>
                    <a:lstStyle/>
                    <a:p>
                      <a:pPr marL="0" marR="0" lvl="0" indent="0" algn="ctr" defTabSz="914400" rtl="0" eaLnBrk="1" fontAlgn="base" latinLnBrk="0" hangingPunct="1">
                        <a:lnSpc>
                          <a:spcPct val="100000"/>
                        </a:lnSpc>
                        <a:spcBef>
                          <a:spcPct val="20000"/>
                        </a:spcBef>
                        <a:spcAft>
                          <a:spcPct val="0"/>
                        </a:spcAft>
                        <a:buClrTx/>
                        <a:buSzPct val="25000"/>
                        <a:buFont typeface="Times" pitchFamily="18" charset="0"/>
                        <a:buNone/>
                        <a:tabLst>
                          <a:tab pos="450850" algn="l"/>
                          <a:tab pos="900113" algn="l"/>
                          <a:tab pos="1349375" algn="l"/>
                          <a:tab pos="2251075" algn="l"/>
                        </a:tabLst>
                      </a:pPr>
                      <a:r>
                        <a:rPr kumimoji="0" lang="es-MX" sz="1200" b="1" i="0" u="none" strike="noStrike" cap="none" normalizeH="0" baseline="0" noProof="0" dirty="0">
                          <a:ln>
                            <a:noFill/>
                          </a:ln>
                          <a:solidFill>
                            <a:schemeClr val="bg1"/>
                          </a:solidFill>
                          <a:effectLst/>
                          <a:latin typeface="Arial" charset="0"/>
                        </a:rPr>
                        <a:t>Versión</a:t>
                      </a:r>
                    </a:p>
                  </a:txBody>
                  <a:tcPr marL="72000" marR="72000" marT="71860" marB="71860" anchor="ctr" horzOverflow="overflow">
                    <a:lnL w="12700" cap="flat" cmpd="sng" algn="ctr">
                      <a:solidFill>
                        <a:srgbClr val="000000"/>
                      </a:solidFill>
                      <a:prstDash val="solid"/>
                      <a:round/>
                      <a:headEnd type="none" w="med" len="med"/>
                      <a:tailEnd type="none" w="med" len="med"/>
                    </a:lnL>
                    <a:lnR w="12700" cap="flat" cmpd="sng" algn="ctr">
                      <a:solidFill>
                        <a:srgbClr val="87CBD8"/>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6AA2"/>
                      </a:solidFill>
                      <a:prstDash val="solid"/>
                      <a:round/>
                      <a:headEnd type="none" w="med" len="med"/>
                      <a:tailEnd type="none" w="med" len="med"/>
                    </a:lnB>
                    <a:lnTlToBr>
                      <a:noFill/>
                    </a:lnTlToBr>
                    <a:lnBlToTr>
                      <a:noFill/>
                    </a:lnBlToTr>
                    <a:solidFill>
                      <a:srgbClr val="006AA2"/>
                    </a:solidFill>
                  </a:tcPr>
                </a:tc>
                <a:tc>
                  <a:txBody>
                    <a:bodyPr/>
                    <a:lstStyle/>
                    <a:p>
                      <a:pPr marL="0" marR="0" lvl="0" indent="0" algn="ctr" defTabSz="914400" rtl="0" eaLnBrk="1" fontAlgn="base" latinLnBrk="0" hangingPunct="1">
                        <a:lnSpc>
                          <a:spcPct val="100000"/>
                        </a:lnSpc>
                        <a:spcBef>
                          <a:spcPct val="20000"/>
                        </a:spcBef>
                        <a:spcAft>
                          <a:spcPct val="0"/>
                        </a:spcAft>
                        <a:buClrTx/>
                        <a:buSzPct val="25000"/>
                        <a:buFont typeface="Times" pitchFamily="18" charset="0"/>
                        <a:buNone/>
                        <a:tabLst>
                          <a:tab pos="450850" algn="l"/>
                          <a:tab pos="900113" algn="l"/>
                          <a:tab pos="1349375" algn="l"/>
                          <a:tab pos="2251075" algn="l"/>
                        </a:tabLst>
                      </a:pPr>
                      <a:r>
                        <a:rPr kumimoji="0" lang="es-MX" sz="1200" b="1" i="0" u="none" strike="noStrike" cap="none" normalizeH="0" baseline="0" noProof="0" dirty="0">
                          <a:ln>
                            <a:noFill/>
                          </a:ln>
                          <a:solidFill>
                            <a:schemeClr val="bg1"/>
                          </a:solidFill>
                          <a:effectLst/>
                          <a:latin typeface="Arial" charset="0"/>
                        </a:rPr>
                        <a:t>Fecha</a:t>
                      </a:r>
                      <a:endParaRPr kumimoji="0" lang="es-MX" sz="1200" b="1" i="0" u="none" strike="noStrike" cap="none" normalizeH="0" baseline="0" noProof="0" dirty="0">
                        <a:ln>
                          <a:noFill/>
                        </a:ln>
                        <a:solidFill>
                          <a:schemeClr val="bg1"/>
                        </a:solidFill>
                        <a:effectLst/>
                        <a:latin typeface="Times New Roman" pitchFamily="18" charset="0"/>
                      </a:endParaRPr>
                    </a:p>
                  </a:txBody>
                  <a:tcPr marL="72000" marR="72000" marT="71860" marB="71860" anchor="ctr" horzOverflow="overflow">
                    <a:lnL w="12700" cap="flat" cmpd="sng" algn="ctr">
                      <a:solidFill>
                        <a:srgbClr val="87CBD8"/>
                      </a:solidFill>
                      <a:prstDash val="solid"/>
                      <a:round/>
                      <a:headEnd type="none" w="med" len="med"/>
                      <a:tailEnd type="none" w="med" len="med"/>
                    </a:lnL>
                    <a:lnR w="12700" cap="flat" cmpd="sng" algn="ctr">
                      <a:solidFill>
                        <a:srgbClr val="87CBD8"/>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6AA2"/>
                      </a:solidFill>
                      <a:prstDash val="solid"/>
                      <a:round/>
                      <a:headEnd type="none" w="med" len="med"/>
                      <a:tailEnd type="none" w="med" len="med"/>
                    </a:lnB>
                    <a:lnTlToBr>
                      <a:noFill/>
                    </a:lnTlToBr>
                    <a:lnBlToTr>
                      <a:noFill/>
                    </a:lnBlToTr>
                    <a:solidFill>
                      <a:srgbClr val="006AA2"/>
                    </a:solidFill>
                  </a:tcPr>
                </a:tc>
                <a:tc>
                  <a:txBody>
                    <a:bodyPr/>
                    <a:lstStyle/>
                    <a:p>
                      <a:pPr marL="0" marR="0" lvl="0" indent="0" algn="ctr" defTabSz="914400" rtl="0" eaLnBrk="1" fontAlgn="base" latinLnBrk="0" hangingPunct="1">
                        <a:lnSpc>
                          <a:spcPct val="100000"/>
                        </a:lnSpc>
                        <a:spcBef>
                          <a:spcPct val="20000"/>
                        </a:spcBef>
                        <a:spcAft>
                          <a:spcPct val="0"/>
                        </a:spcAft>
                        <a:buClrTx/>
                        <a:buSzPct val="25000"/>
                        <a:buFont typeface="Times" pitchFamily="18" charset="0"/>
                        <a:buNone/>
                        <a:tabLst>
                          <a:tab pos="450850" algn="l"/>
                          <a:tab pos="900113" algn="l"/>
                          <a:tab pos="1349375" algn="l"/>
                          <a:tab pos="2251075" algn="l"/>
                        </a:tabLst>
                      </a:pPr>
                      <a:r>
                        <a:rPr kumimoji="0" lang="es-MX" sz="1200" b="1" i="0" u="none" strike="noStrike" cap="none" normalizeH="0" baseline="0" noProof="0" dirty="0">
                          <a:ln>
                            <a:noFill/>
                          </a:ln>
                          <a:solidFill>
                            <a:schemeClr val="bg1"/>
                          </a:solidFill>
                          <a:effectLst/>
                          <a:latin typeface="Arial" charset="0"/>
                        </a:rPr>
                        <a:t>Descripción del Cambio</a:t>
                      </a:r>
                    </a:p>
                  </a:txBody>
                  <a:tcPr marL="72000" marR="72000" marT="71860" marB="71860" anchor="ctr" horzOverflow="overflow">
                    <a:lnL w="12700" cap="flat" cmpd="sng" algn="ctr">
                      <a:solidFill>
                        <a:srgbClr val="87CBD8"/>
                      </a:solidFill>
                      <a:prstDash val="solid"/>
                      <a:round/>
                      <a:headEnd type="none" w="med" len="med"/>
                      <a:tailEnd type="none" w="med" len="med"/>
                    </a:lnL>
                    <a:lnR w="12700" cap="flat" cmpd="sng" algn="ctr">
                      <a:solidFill>
                        <a:srgbClr val="87CBD8"/>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6AA2"/>
                      </a:solidFill>
                      <a:prstDash val="solid"/>
                      <a:round/>
                      <a:headEnd type="none" w="med" len="med"/>
                      <a:tailEnd type="none" w="med" len="med"/>
                    </a:lnB>
                    <a:lnTlToBr>
                      <a:noFill/>
                    </a:lnTlToBr>
                    <a:lnBlToTr>
                      <a:noFill/>
                    </a:lnBlToTr>
                    <a:solidFill>
                      <a:srgbClr val="006AA2"/>
                    </a:solidFill>
                  </a:tcPr>
                </a:tc>
                <a:tc>
                  <a:txBody>
                    <a:bodyPr/>
                    <a:lstStyle/>
                    <a:p>
                      <a:pPr marL="0" marR="0" lvl="0" indent="0" algn="ctr" defTabSz="914400" rtl="0" eaLnBrk="1" fontAlgn="base" latinLnBrk="0" hangingPunct="1">
                        <a:lnSpc>
                          <a:spcPct val="100000"/>
                        </a:lnSpc>
                        <a:spcBef>
                          <a:spcPct val="20000"/>
                        </a:spcBef>
                        <a:spcAft>
                          <a:spcPct val="0"/>
                        </a:spcAft>
                        <a:buClrTx/>
                        <a:buSzPct val="25000"/>
                        <a:buFont typeface="Times" pitchFamily="18" charset="0"/>
                        <a:buNone/>
                        <a:tabLst>
                          <a:tab pos="450850" algn="l"/>
                          <a:tab pos="900113" algn="l"/>
                          <a:tab pos="1349375" algn="l"/>
                          <a:tab pos="2251075" algn="l"/>
                        </a:tabLst>
                      </a:pPr>
                      <a:r>
                        <a:rPr kumimoji="0" lang="es-MX" sz="1200" b="1" i="0" u="none" strike="noStrike" cap="none" normalizeH="0" baseline="0" noProof="0" dirty="0">
                          <a:ln>
                            <a:noFill/>
                          </a:ln>
                          <a:solidFill>
                            <a:schemeClr val="bg1"/>
                          </a:solidFill>
                          <a:effectLst/>
                          <a:latin typeface="Arial" charset="0"/>
                        </a:rPr>
                        <a:t>Autor/Departamento</a:t>
                      </a:r>
                      <a:endParaRPr kumimoji="0" lang="es-MX" sz="1200" b="1" i="0" u="none" strike="noStrike" cap="none" normalizeH="0" baseline="0" noProof="0" dirty="0">
                        <a:ln>
                          <a:noFill/>
                        </a:ln>
                        <a:solidFill>
                          <a:schemeClr val="bg1"/>
                        </a:solidFill>
                        <a:effectLst/>
                        <a:latin typeface="Times New Roman" pitchFamily="18" charset="0"/>
                      </a:endParaRPr>
                    </a:p>
                  </a:txBody>
                  <a:tcPr marL="72000" marR="72000" marT="71860" marB="71860" anchor="ctr" horzOverflow="overflow">
                    <a:lnL w="12700" cap="flat" cmpd="sng" algn="ctr">
                      <a:solidFill>
                        <a:srgbClr val="87CBD8"/>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6AA2"/>
                      </a:solidFill>
                      <a:prstDash val="solid"/>
                      <a:round/>
                      <a:headEnd type="none" w="med" len="med"/>
                      <a:tailEnd type="none" w="med" len="med"/>
                    </a:lnB>
                    <a:lnTlToBr>
                      <a:noFill/>
                    </a:lnTlToBr>
                    <a:lnBlToTr>
                      <a:noFill/>
                    </a:lnBlToTr>
                    <a:solidFill>
                      <a:srgbClr val="006AA2"/>
                    </a:solidFill>
                  </a:tcPr>
                </a:tc>
                <a:extLst>
                  <a:ext uri="{0D108BD9-81ED-4DB2-BD59-A6C34878D82A}">
                    <a16:rowId xmlns:a16="http://schemas.microsoft.com/office/drawing/2014/main" val="10000"/>
                  </a:ext>
                </a:extLst>
              </a:tr>
              <a:tr h="607004">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pPr>
                      <a:r>
                        <a:rPr kumimoji="0" lang="es-MX" sz="1200" b="0" i="0" u="none" strike="noStrike" cap="none" normalizeH="0" baseline="0" noProof="0" dirty="0">
                          <a:ln>
                            <a:noFill/>
                          </a:ln>
                          <a:solidFill>
                            <a:srgbClr val="0079D1"/>
                          </a:solidFill>
                          <a:effectLst/>
                          <a:latin typeface="Arial" charset="0"/>
                        </a:rPr>
                        <a:t>0.1</a:t>
                      </a:r>
                    </a:p>
                  </a:txBody>
                  <a:tcPr marL="72000" marR="72000" marT="71860" marB="71860" anchor="ctr" horzOverflow="overflow">
                    <a:lnL w="12700" cap="flat" cmpd="sng" algn="ctr">
                      <a:solidFill>
                        <a:srgbClr val="000000"/>
                      </a:solidFill>
                      <a:prstDash val="solid"/>
                      <a:round/>
                      <a:headEnd type="none" w="med" len="med"/>
                      <a:tailEnd type="none" w="med" len="med"/>
                    </a:lnL>
                    <a:lnR w="12700" cap="flat" cmpd="sng" algn="ctr">
                      <a:solidFill>
                        <a:srgbClr val="006AA2"/>
                      </a:solidFill>
                      <a:prstDash val="solid"/>
                      <a:round/>
                      <a:headEnd type="none" w="med" len="med"/>
                      <a:tailEnd type="none" w="med" len="med"/>
                    </a:lnR>
                    <a:lnT w="12700" cap="flat" cmpd="sng" algn="ctr">
                      <a:solidFill>
                        <a:srgbClr val="006AA2"/>
                      </a:solidFill>
                      <a:prstDash val="solid"/>
                      <a:round/>
                      <a:headEnd type="none" w="med" len="med"/>
                      <a:tailEnd type="none" w="med" len="med"/>
                    </a:lnT>
                    <a:lnB w="12700" cap="flat" cmpd="sng" algn="ctr">
                      <a:solidFill>
                        <a:srgbClr val="006AA2"/>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pPr>
                      <a:r>
                        <a:rPr kumimoji="0" lang="es-MX" sz="1200" b="0" i="0" u="none" strike="noStrike" cap="none" normalizeH="0" baseline="0" noProof="0" dirty="0">
                          <a:ln>
                            <a:noFill/>
                          </a:ln>
                          <a:solidFill>
                            <a:srgbClr val="0079D1"/>
                          </a:solidFill>
                          <a:effectLst/>
                          <a:latin typeface="Arial" charset="0"/>
                        </a:rPr>
                        <a:t>10/05/2019</a:t>
                      </a:r>
                    </a:p>
                  </a:txBody>
                  <a:tcPr marL="72000" marR="72000" marT="71860" marB="71860" anchor="ctr" horzOverflow="overflow">
                    <a:lnL w="12700" cap="flat" cmpd="sng" algn="ctr">
                      <a:solidFill>
                        <a:srgbClr val="006AA2"/>
                      </a:solidFill>
                      <a:prstDash val="solid"/>
                      <a:round/>
                      <a:headEnd type="none" w="med" len="med"/>
                      <a:tailEnd type="none" w="med" len="med"/>
                    </a:lnL>
                    <a:lnR w="12700" cap="flat" cmpd="sng" algn="ctr">
                      <a:solidFill>
                        <a:srgbClr val="006AA2"/>
                      </a:solidFill>
                      <a:prstDash val="solid"/>
                      <a:round/>
                      <a:headEnd type="none" w="med" len="med"/>
                      <a:tailEnd type="none" w="med" len="med"/>
                    </a:lnR>
                    <a:lnT w="12700" cap="flat" cmpd="sng" algn="ctr">
                      <a:solidFill>
                        <a:srgbClr val="006AA2"/>
                      </a:solidFill>
                      <a:prstDash val="solid"/>
                      <a:round/>
                      <a:headEnd type="none" w="med" len="med"/>
                      <a:tailEnd type="none" w="med" len="med"/>
                    </a:lnT>
                    <a:lnB w="12700" cap="flat" cmpd="sng" algn="ctr">
                      <a:solidFill>
                        <a:srgbClr val="006AA2"/>
                      </a:solidFill>
                      <a:prstDash val="solid"/>
                      <a:round/>
                      <a:headEnd type="none" w="med" len="med"/>
                      <a:tailEnd type="none" w="med" len="med"/>
                    </a:lnB>
                    <a:lnTlToBr>
                      <a:noFill/>
                    </a:lnTlToBr>
                    <a:lnBlToTr>
                      <a:noFill/>
                    </a:lnBlToTr>
                    <a:noFill/>
                  </a:tcPr>
                </a:tc>
                <a:tc>
                  <a:txBody>
                    <a:bodyPr/>
                    <a:lstStyle/>
                    <a:p>
                      <a:pPr marL="0" marR="0" lvl="0" indent="0" algn="l" defTabSz="449263" rtl="0" eaLnBrk="1" fontAlgn="base" latinLnBrk="0" hangingPunct="1">
                        <a:lnSpc>
                          <a:spcPct val="93000"/>
                        </a:lnSpc>
                        <a:spcBef>
                          <a:spcPts val="350"/>
                        </a:spcBef>
                        <a:spcAft>
                          <a:spcPct val="0"/>
                        </a:spcAft>
                        <a:buClrTx/>
                        <a:buSzPct val="25000"/>
                        <a:buFontTx/>
                        <a:buNone/>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r>
                        <a:rPr kumimoji="0" lang="es-MX" sz="1200" b="0" i="0" u="none" strike="noStrike" cap="none" normalizeH="0" baseline="0" noProof="0" dirty="0">
                          <a:ln>
                            <a:noFill/>
                          </a:ln>
                          <a:solidFill>
                            <a:srgbClr val="0079D1"/>
                          </a:solidFill>
                          <a:effectLst/>
                          <a:latin typeface="Arial" charset="0"/>
                          <a:ea typeface="SimSun" pitchFamily="2" charset="-122"/>
                        </a:rPr>
                        <a:t>Creation of the document</a:t>
                      </a:r>
                    </a:p>
                  </a:txBody>
                  <a:tcPr marL="72000" marR="72000" marT="71860" marB="71860" anchor="ctr" horzOverflow="overflow">
                    <a:lnL w="12700" cap="flat" cmpd="sng" algn="ctr">
                      <a:solidFill>
                        <a:srgbClr val="006AA2"/>
                      </a:solidFill>
                      <a:prstDash val="solid"/>
                      <a:round/>
                      <a:headEnd type="none" w="med" len="med"/>
                      <a:tailEnd type="none" w="med" len="med"/>
                    </a:lnL>
                    <a:lnR w="12700" cap="flat" cmpd="sng" algn="ctr">
                      <a:solidFill>
                        <a:srgbClr val="006AA2"/>
                      </a:solidFill>
                      <a:prstDash val="solid"/>
                      <a:round/>
                      <a:headEnd type="none" w="med" len="med"/>
                      <a:tailEnd type="none" w="med" len="med"/>
                    </a:lnR>
                    <a:lnT w="12700" cap="flat" cmpd="sng" algn="ctr">
                      <a:solidFill>
                        <a:srgbClr val="006AA2"/>
                      </a:solidFill>
                      <a:prstDash val="solid"/>
                      <a:round/>
                      <a:headEnd type="none" w="med" len="med"/>
                      <a:tailEnd type="none" w="med" len="med"/>
                    </a:lnT>
                    <a:lnB w="12700" cap="flat" cmpd="sng" algn="ctr">
                      <a:solidFill>
                        <a:srgbClr val="006AA2"/>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defRPr/>
                      </a:pPr>
                      <a:r>
                        <a:rPr kumimoji="0" lang="es-MX" sz="1200" b="0" i="0" u="none" strike="noStrike" cap="none" normalizeH="0" baseline="0" noProof="0" dirty="0">
                          <a:ln>
                            <a:noFill/>
                          </a:ln>
                          <a:solidFill>
                            <a:srgbClr val="0079D1"/>
                          </a:solidFill>
                          <a:effectLst/>
                          <a:latin typeface="Arial" pitchFamily="34" charset="0"/>
                        </a:rPr>
                        <a:t>[Big Data Architecture]</a:t>
                      </a:r>
                    </a:p>
                  </a:txBody>
                  <a:tcPr marL="72000" marR="72000" marT="71860" marB="71860" anchor="ctr" horzOverflow="overflow">
                    <a:lnL w="12700" cap="flat" cmpd="sng" algn="ctr">
                      <a:solidFill>
                        <a:srgbClr val="006AA2"/>
                      </a:solidFill>
                      <a:prstDash val="solid"/>
                      <a:round/>
                      <a:headEnd type="none" w="med" len="med"/>
                      <a:tailEnd type="none" w="med" len="med"/>
                    </a:lnL>
                    <a:lnR w="12700" cap="flat" cmpd="sng" algn="ctr">
                      <a:solidFill>
                        <a:srgbClr val="006AA2"/>
                      </a:solidFill>
                      <a:prstDash val="solid"/>
                      <a:round/>
                      <a:headEnd type="none" w="med" len="med"/>
                      <a:tailEnd type="none" w="med" len="med"/>
                    </a:lnR>
                    <a:lnT w="12700" cap="flat" cmpd="sng" algn="ctr">
                      <a:solidFill>
                        <a:srgbClr val="006AA2"/>
                      </a:solidFill>
                      <a:prstDash val="solid"/>
                      <a:round/>
                      <a:headEnd type="none" w="med" len="med"/>
                      <a:tailEnd type="none" w="med" len="med"/>
                    </a:lnT>
                    <a:lnB w="12700" cap="flat" cmpd="sng" algn="ctr">
                      <a:solidFill>
                        <a:srgbClr val="006AA2"/>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726827">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defRPr/>
                      </a:pPr>
                      <a:r>
                        <a:rPr kumimoji="0" lang="es-MX" sz="1200" b="0" i="0" u="none" strike="noStrike" kern="1200" cap="none" normalizeH="0" baseline="0" noProof="0" dirty="0">
                          <a:ln>
                            <a:noFill/>
                          </a:ln>
                          <a:solidFill>
                            <a:srgbClr val="0079D1"/>
                          </a:solidFill>
                          <a:effectLst/>
                          <a:latin typeface="Arial" pitchFamily="34" charset="0"/>
                          <a:ea typeface="+mn-ea"/>
                          <a:cs typeface="+mn-cs"/>
                        </a:rPr>
                        <a:t>1.1</a:t>
                      </a:r>
                    </a:p>
                  </a:txBody>
                  <a:tcPr marL="72000" marR="72000" marT="71860" marB="71860" anchor="ctr" horzOverflow="overflow">
                    <a:lnL w="12700" cap="flat" cmpd="sng" algn="ctr">
                      <a:solidFill>
                        <a:srgbClr val="000000"/>
                      </a:solidFill>
                      <a:prstDash val="solid"/>
                      <a:round/>
                      <a:headEnd type="none" w="med" len="med"/>
                      <a:tailEnd type="none" w="med" len="med"/>
                    </a:lnL>
                    <a:lnR w="12700" cap="flat" cmpd="sng" algn="ctr">
                      <a:solidFill>
                        <a:srgbClr val="006AA2"/>
                      </a:solidFill>
                      <a:prstDash val="solid"/>
                      <a:round/>
                      <a:headEnd type="none" w="med" len="med"/>
                      <a:tailEnd type="none" w="med" len="med"/>
                    </a:lnR>
                    <a:lnT w="12700" cap="flat" cmpd="sng" algn="ctr">
                      <a:solidFill>
                        <a:srgbClr val="006AA2"/>
                      </a:solidFill>
                      <a:prstDash val="solid"/>
                      <a:round/>
                      <a:headEnd type="none" w="med" len="med"/>
                      <a:tailEnd type="none" w="med" len="med"/>
                    </a:lnT>
                    <a:lnB w="12700" cap="flat" cmpd="sng" algn="ctr">
                      <a:solidFill>
                        <a:srgbClr val="006AA2"/>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defRPr/>
                      </a:pPr>
                      <a:r>
                        <a:rPr kumimoji="0" lang="es-MX" sz="1200" b="0" i="0" u="none" strike="noStrike" kern="1200" cap="none" normalizeH="0" baseline="0" noProof="0" dirty="0">
                          <a:ln>
                            <a:noFill/>
                          </a:ln>
                          <a:solidFill>
                            <a:srgbClr val="0079D1"/>
                          </a:solidFill>
                          <a:effectLst/>
                          <a:latin typeface="Arial" pitchFamily="34" charset="0"/>
                          <a:ea typeface="+mn-ea"/>
                          <a:cs typeface="+mn-cs"/>
                        </a:rPr>
                        <a:t>02/08/2019</a:t>
                      </a:r>
                    </a:p>
                  </a:txBody>
                  <a:tcPr marL="72000" marR="72000" marT="71860" marB="71860" anchor="ctr" horzOverflow="overflow">
                    <a:lnL w="12700" cap="flat" cmpd="sng" algn="ctr">
                      <a:solidFill>
                        <a:srgbClr val="006AA2"/>
                      </a:solidFill>
                      <a:prstDash val="solid"/>
                      <a:round/>
                      <a:headEnd type="none" w="med" len="med"/>
                      <a:tailEnd type="none" w="med" len="med"/>
                    </a:lnL>
                    <a:lnR w="12700" cap="flat" cmpd="sng" algn="ctr">
                      <a:solidFill>
                        <a:srgbClr val="006AA2"/>
                      </a:solidFill>
                      <a:prstDash val="solid"/>
                      <a:round/>
                      <a:headEnd type="none" w="med" len="med"/>
                      <a:tailEnd type="none" w="med" len="med"/>
                    </a:lnR>
                    <a:lnT w="12700" cap="flat" cmpd="sng" algn="ctr">
                      <a:solidFill>
                        <a:srgbClr val="006AA2"/>
                      </a:solidFill>
                      <a:prstDash val="solid"/>
                      <a:round/>
                      <a:headEnd type="none" w="med" len="med"/>
                      <a:tailEnd type="none" w="med" len="med"/>
                    </a:lnT>
                    <a:lnB w="12700" cap="flat" cmpd="sng" algn="ctr">
                      <a:solidFill>
                        <a:srgbClr val="006AA2"/>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defRPr/>
                      </a:pPr>
                      <a:r>
                        <a:rPr kumimoji="0" lang="en-US" sz="1200" b="0" i="0" u="none" strike="noStrike" kern="1200" cap="none" normalizeH="0" baseline="0" dirty="0">
                          <a:ln>
                            <a:noFill/>
                          </a:ln>
                          <a:solidFill>
                            <a:srgbClr val="0079D1"/>
                          </a:solidFill>
                          <a:effectLst/>
                          <a:latin typeface="Arial" pitchFamily="34" charset="0"/>
                          <a:ea typeface="+mn-ea"/>
                          <a:cs typeface="+mn-cs"/>
                        </a:rPr>
                        <a:t>Integration pattern diagram, general component diagram, internal structure diagram of the </a:t>
                      </a:r>
                      <a:r>
                        <a:rPr kumimoji="0" lang="en-US" sz="1200" b="0" i="0" u="none" strike="noStrike" kern="1200" cap="none" normalizeH="0" baseline="0" dirty="0" err="1">
                          <a:ln>
                            <a:noFill/>
                          </a:ln>
                          <a:solidFill>
                            <a:srgbClr val="0079D1"/>
                          </a:solidFill>
                          <a:effectLst/>
                          <a:latin typeface="Arial" pitchFamily="34" charset="0"/>
                          <a:ea typeface="+mn-ea"/>
                          <a:cs typeface="+mn-cs"/>
                        </a:rPr>
                        <a:t>citiIntegration</a:t>
                      </a:r>
                      <a:r>
                        <a:rPr kumimoji="0" lang="en-US" sz="1200" b="0" i="0" u="none" strike="noStrike" kern="1200" cap="none" normalizeH="0" baseline="0" dirty="0">
                          <a:ln>
                            <a:noFill/>
                          </a:ln>
                          <a:solidFill>
                            <a:srgbClr val="0079D1"/>
                          </a:solidFill>
                          <a:effectLst/>
                          <a:latin typeface="Arial" pitchFamily="34" charset="0"/>
                          <a:ea typeface="+mn-ea"/>
                          <a:cs typeface="+mn-cs"/>
                        </a:rPr>
                        <a:t> component and </a:t>
                      </a:r>
                      <a:r>
                        <a:rPr kumimoji="0" lang="en-US" sz="1200" b="0" i="0" u="none" strike="noStrike" kern="1200" cap="none" normalizeH="0" baseline="0" dirty="0" err="1">
                          <a:ln>
                            <a:noFill/>
                          </a:ln>
                          <a:solidFill>
                            <a:srgbClr val="0079D1"/>
                          </a:solidFill>
                          <a:effectLst/>
                          <a:latin typeface="Arial" pitchFamily="34" charset="0"/>
                          <a:ea typeface="+mn-ea"/>
                          <a:cs typeface="+mn-cs"/>
                        </a:rPr>
                        <a:t>citiConsumerEngine</a:t>
                      </a:r>
                      <a:r>
                        <a:rPr kumimoji="0" lang="en-US" sz="1200" b="0" i="0" u="none" strike="noStrike" kern="1200" cap="none" normalizeH="0" baseline="0" dirty="0">
                          <a:ln>
                            <a:noFill/>
                          </a:ln>
                          <a:solidFill>
                            <a:srgbClr val="0079D1"/>
                          </a:solidFill>
                          <a:effectLst/>
                          <a:latin typeface="Arial" pitchFamily="34" charset="0"/>
                          <a:ea typeface="+mn-ea"/>
                          <a:cs typeface="+mn-cs"/>
                        </a:rPr>
                        <a:t> are incorporated</a:t>
                      </a:r>
                      <a:endParaRPr kumimoji="0" lang="es-MX" sz="1200" b="0" i="0" u="none" strike="noStrike" kern="1200" cap="none" normalizeH="0" baseline="0" noProof="0" dirty="0">
                        <a:ln>
                          <a:noFill/>
                        </a:ln>
                        <a:solidFill>
                          <a:srgbClr val="0079D1"/>
                        </a:solidFill>
                        <a:effectLst/>
                        <a:latin typeface="Arial" pitchFamily="34" charset="0"/>
                        <a:ea typeface="+mn-ea"/>
                        <a:cs typeface="+mn-cs"/>
                      </a:endParaRPr>
                    </a:p>
                  </a:txBody>
                  <a:tcPr marL="72000" marR="72000" marT="71860" marB="71860" anchor="ctr" horzOverflow="overflow">
                    <a:lnL w="12700" cap="flat" cmpd="sng" algn="ctr">
                      <a:solidFill>
                        <a:srgbClr val="006AA2"/>
                      </a:solidFill>
                      <a:prstDash val="solid"/>
                      <a:round/>
                      <a:headEnd type="none" w="med" len="med"/>
                      <a:tailEnd type="none" w="med" len="med"/>
                    </a:lnL>
                    <a:lnR w="12700" cap="flat" cmpd="sng" algn="ctr">
                      <a:solidFill>
                        <a:srgbClr val="006AA2"/>
                      </a:solidFill>
                      <a:prstDash val="solid"/>
                      <a:round/>
                      <a:headEnd type="none" w="med" len="med"/>
                      <a:tailEnd type="none" w="med" len="med"/>
                    </a:lnR>
                    <a:lnT w="12700" cap="flat" cmpd="sng" algn="ctr">
                      <a:solidFill>
                        <a:srgbClr val="006AA2"/>
                      </a:solidFill>
                      <a:prstDash val="solid"/>
                      <a:round/>
                      <a:headEnd type="none" w="med" len="med"/>
                      <a:tailEnd type="none" w="med" len="med"/>
                    </a:lnT>
                    <a:lnB w="12700" cap="flat" cmpd="sng" algn="ctr">
                      <a:solidFill>
                        <a:srgbClr val="006AA2"/>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defRPr/>
                      </a:pPr>
                      <a:r>
                        <a:rPr kumimoji="0" lang="es-MX" sz="1200" b="0" i="0" u="none" strike="noStrike" cap="none" normalizeH="0" baseline="0" noProof="0" dirty="0">
                          <a:ln>
                            <a:noFill/>
                          </a:ln>
                          <a:solidFill>
                            <a:srgbClr val="0079D1"/>
                          </a:solidFill>
                          <a:effectLst/>
                          <a:latin typeface="Arial" pitchFamily="34" charset="0"/>
                        </a:rPr>
                        <a:t>[Big Data Architecture]</a:t>
                      </a:r>
                    </a:p>
                  </a:txBody>
                  <a:tcPr marL="72000" marR="72000" marT="71860" marB="71860" anchor="ctr" horzOverflow="overflow">
                    <a:lnL w="12700" cap="flat" cmpd="sng" algn="ctr">
                      <a:solidFill>
                        <a:srgbClr val="006AA2"/>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6AA2"/>
                      </a:solidFill>
                      <a:prstDash val="solid"/>
                      <a:round/>
                      <a:headEnd type="none" w="med" len="med"/>
                      <a:tailEnd type="none" w="med" len="med"/>
                    </a:lnT>
                    <a:lnB w="12700" cap="flat" cmpd="sng" algn="ctr">
                      <a:solidFill>
                        <a:srgbClr val="006AA2"/>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726827">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defRPr/>
                      </a:pPr>
                      <a:r>
                        <a:rPr kumimoji="0" lang="es-MX" sz="1200" b="0" i="0" u="none" strike="noStrike" kern="1200" cap="none" normalizeH="0" baseline="0" noProof="0" dirty="0">
                          <a:ln>
                            <a:noFill/>
                          </a:ln>
                          <a:solidFill>
                            <a:srgbClr val="0079D1"/>
                          </a:solidFill>
                          <a:effectLst/>
                          <a:latin typeface="Arial" pitchFamily="34" charset="0"/>
                          <a:ea typeface="+mn-ea"/>
                          <a:cs typeface="+mn-cs"/>
                        </a:rPr>
                        <a:t>1.2</a:t>
                      </a:r>
                    </a:p>
                  </a:txBody>
                  <a:tcPr marL="72000" marR="72000" marT="71860" marB="71860" anchor="ctr" horzOverflow="overflow">
                    <a:lnL w="12700" cap="flat" cmpd="sng" algn="ctr">
                      <a:solidFill>
                        <a:srgbClr val="000000"/>
                      </a:solidFill>
                      <a:prstDash val="solid"/>
                      <a:round/>
                      <a:headEnd type="none" w="med" len="med"/>
                      <a:tailEnd type="none" w="med" len="med"/>
                    </a:lnL>
                    <a:lnR w="12700" cap="flat" cmpd="sng" algn="ctr">
                      <a:solidFill>
                        <a:srgbClr val="006AA2"/>
                      </a:solidFill>
                      <a:prstDash val="solid"/>
                      <a:round/>
                      <a:headEnd type="none" w="med" len="med"/>
                      <a:tailEnd type="none" w="med" len="med"/>
                    </a:lnR>
                    <a:lnT w="12700" cap="flat" cmpd="sng" algn="ctr">
                      <a:solidFill>
                        <a:srgbClr val="006AA2"/>
                      </a:solidFill>
                      <a:prstDash val="solid"/>
                      <a:round/>
                      <a:headEnd type="none" w="med" len="med"/>
                      <a:tailEnd type="none" w="med" len="med"/>
                    </a:lnT>
                    <a:lnB w="12700" cap="flat" cmpd="sng" algn="ctr">
                      <a:solidFill>
                        <a:srgbClr val="006AA2"/>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defRPr/>
                      </a:pPr>
                      <a:r>
                        <a:rPr kumimoji="0" lang="es-MX" sz="1200" b="0" i="0" u="none" strike="noStrike" kern="1200" cap="none" normalizeH="0" baseline="0" noProof="0" dirty="0">
                          <a:ln>
                            <a:noFill/>
                          </a:ln>
                          <a:solidFill>
                            <a:srgbClr val="0079D1"/>
                          </a:solidFill>
                          <a:effectLst/>
                          <a:latin typeface="Arial" pitchFamily="34" charset="0"/>
                          <a:ea typeface="+mn-ea"/>
                          <a:cs typeface="+mn-cs"/>
                        </a:rPr>
                        <a:t>05/08/2019</a:t>
                      </a:r>
                    </a:p>
                  </a:txBody>
                  <a:tcPr marL="72000" marR="72000" marT="71860" marB="71860" anchor="ctr" horzOverflow="overflow">
                    <a:lnL w="12700" cap="flat" cmpd="sng" algn="ctr">
                      <a:solidFill>
                        <a:srgbClr val="006AA2"/>
                      </a:solidFill>
                      <a:prstDash val="solid"/>
                      <a:round/>
                      <a:headEnd type="none" w="med" len="med"/>
                      <a:tailEnd type="none" w="med" len="med"/>
                    </a:lnL>
                    <a:lnR w="12700" cap="flat" cmpd="sng" algn="ctr">
                      <a:solidFill>
                        <a:srgbClr val="006AA2"/>
                      </a:solidFill>
                      <a:prstDash val="solid"/>
                      <a:round/>
                      <a:headEnd type="none" w="med" len="med"/>
                      <a:tailEnd type="none" w="med" len="med"/>
                    </a:lnR>
                    <a:lnT w="12700" cap="flat" cmpd="sng" algn="ctr">
                      <a:solidFill>
                        <a:srgbClr val="006AA2"/>
                      </a:solidFill>
                      <a:prstDash val="solid"/>
                      <a:round/>
                      <a:headEnd type="none" w="med" len="med"/>
                      <a:tailEnd type="none" w="med" len="med"/>
                    </a:lnT>
                    <a:lnB w="12700" cap="flat" cmpd="sng" algn="ctr">
                      <a:solidFill>
                        <a:srgbClr val="006AA2"/>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defRPr/>
                      </a:pPr>
                      <a:r>
                        <a:rPr kumimoji="0" lang="en-US" sz="1200" b="0" i="0" u="none" strike="noStrike" kern="1200" cap="none" normalizeH="0" baseline="0" dirty="0">
                          <a:ln>
                            <a:noFill/>
                          </a:ln>
                          <a:solidFill>
                            <a:srgbClr val="0079D1"/>
                          </a:solidFill>
                          <a:effectLst/>
                          <a:latin typeface="Arial" pitchFamily="34" charset="0"/>
                          <a:ea typeface="+mn-ea"/>
                          <a:cs typeface="+mn-cs"/>
                        </a:rPr>
                        <a:t>Document structure and component diagram of the Event Hub architecture are modified</a:t>
                      </a:r>
                      <a:endParaRPr kumimoji="0" lang="es-MX" sz="1200" b="0" i="0" u="none" strike="noStrike" kern="1200" cap="none" normalizeH="0" baseline="0" noProof="0" dirty="0">
                        <a:ln>
                          <a:noFill/>
                        </a:ln>
                        <a:solidFill>
                          <a:srgbClr val="0079D1"/>
                        </a:solidFill>
                        <a:effectLst/>
                        <a:latin typeface="Arial" pitchFamily="34" charset="0"/>
                        <a:ea typeface="+mn-ea"/>
                        <a:cs typeface="+mn-cs"/>
                      </a:endParaRPr>
                    </a:p>
                  </a:txBody>
                  <a:tcPr marL="72000" marR="72000" marT="71860" marB="71860" anchor="ctr" horzOverflow="overflow">
                    <a:lnL w="12700" cap="flat" cmpd="sng" algn="ctr">
                      <a:solidFill>
                        <a:srgbClr val="006AA2"/>
                      </a:solidFill>
                      <a:prstDash val="solid"/>
                      <a:round/>
                      <a:headEnd type="none" w="med" len="med"/>
                      <a:tailEnd type="none" w="med" len="med"/>
                    </a:lnL>
                    <a:lnR w="12700" cap="flat" cmpd="sng" algn="ctr">
                      <a:solidFill>
                        <a:srgbClr val="006AA2"/>
                      </a:solidFill>
                      <a:prstDash val="solid"/>
                      <a:round/>
                      <a:headEnd type="none" w="med" len="med"/>
                      <a:tailEnd type="none" w="med" len="med"/>
                    </a:lnR>
                    <a:lnT w="12700" cap="flat" cmpd="sng" algn="ctr">
                      <a:solidFill>
                        <a:srgbClr val="006AA2"/>
                      </a:solidFill>
                      <a:prstDash val="solid"/>
                      <a:round/>
                      <a:headEnd type="none" w="med" len="med"/>
                      <a:tailEnd type="none" w="med" len="med"/>
                    </a:lnT>
                    <a:lnB w="12700" cap="flat" cmpd="sng" algn="ctr">
                      <a:solidFill>
                        <a:srgbClr val="006AA2"/>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defRPr/>
                      </a:pPr>
                      <a:r>
                        <a:rPr kumimoji="0" lang="es-MX" sz="1200" b="0" i="0" u="none" strike="noStrike" cap="none" normalizeH="0" baseline="0" noProof="0" dirty="0">
                          <a:ln>
                            <a:noFill/>
                          </a:ln>
                          <a:solidFill>
                            <a:srgbClr val="0079D1"/>
                          </a:solidFill>
                          <a:effectLst/>
                          <a:latin typeface="Arial" pitchFamily="34" charset="0"/>
                        </a:rPr>
                        <a:t>[Big Data Architecture]</a:t>
                      </a:r>
                    </a:p>
                  </a:txBody>
                  <a:tcPr marL="72000" marR="72000" marT="71860" marB="71860" anchor="ctr" horzOverflow="overflow">
                    <a:lnL w="12700" cap="flat" cmpd="sng" algn="ctr">
                      <a:solidFill>
                        <a:srgbClr val="006AA2"/>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6AA2"/>
                      </a:solidFill>
                      <a:prstDash val="solid"/>
                      <a:round/>
                      <a:headEnd type="none" w="med" len="med"/>
                      <a:tailEnd type="none" w="med" len="med"/>
                    </a:lnT>
                    <a:lnB w="12700" cap="flat" cmpd="sng" algn="ctr">
                      <a:solidFill>
                        <a:srgbClr val="006AA2"/>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3342971020"/>
                  </a:ext>
                </a:extLst>
              </a:tr>
              <a:tr h="876312">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defRPr/>
                      </a:pPr>
                      <a:r>
                        <a:rPr kumimoji="0" lang="es-MX" sz="1200" b="0" i="0" u="none" strike="noStrike" kern="1200" cap="none" normalizeH="0" baseline="0" noProof="0" dirty="0">
                          <a:ln>
                            <a:noFill/>
                          </a:ln>
                          <a:solidFill>
                            <a:srgbClr val="0079D1"/>
                          </a:solidFill>
                          <a:effectLst/>
                          <a:latin typeface="Arial" pitchFamily="34" charset="0"/>
                          <a:ea typeface="+mn-ea"/>
                          <a:cs typeface="+mn-cs"/>
                        </a:rPr>
                        <a:t>1.3</a:t>
                      </a:r>
                    </a:p>
                  </a:txBody>
                  <a:tcPr marL="72000" marR="72000" marT="71860" marB="71860" anchor="ctr" horzOverflow="overflow">
                    <a:lnL w="12700" cap="flat" cmpd="sng" algn="ctr">
                      <a:solidFill>
                        <a:srgbClr val="000000"/>
                      </a:solidFill>
                      <a:prstDash val="solid"/>
                      <a:round/>
                      <a:headEnd type="none" w="med" len="med"/>
                      <a:tailEnd type="none" w="med" len="med"/>
                    </a:lnL>
                    <a:lnR w="12700" cap="flat" cmpd="sng" algn="ctr">
                      <a:solidFill>
                        <a:srgbClr val="006AA2"/>
                      </a:solidFill>
                      <a:prstDash val="solid"/>
                      <a:round/>
                      <a:headEnd type="none" w="med" len="med"/>
                      <a:tailEnd type="none" w="med" len="med"/>
                    </a:lnR>
                    <a:lnT w="12700" cap="flat" cmpd="sng" algn="ctr">
                      <a:solidFill>
                        <a:srgbClr val="006AA2"/>
                      </a:solidFill>
                      <a:prstDash val="solid"/>
                      <a:round/>
                      <a:headEnd type="none" w="med" len="med"/>
                      <a:tailEnd type="none" w="med" len="med"/>
                    </a:lnT>
                    <a:lnB w="12700" cap="flat" cmpd="sng" algn="ctr">
                      <a:solidFill>
                        <a:srgbClr val="006AA2"/>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defRPr/>
                      </a:pPr>
                      <a:r>
                        <a:rPr kumimoji="0" lang="es-MX" sz="1200" b="0" i="0" u="none" strike="noStrike" kern="1200" cap="none" normalizeH="0" baseline="0" noProof="0" dirty="0">
                          <a:ln>
                            <a:noFill/>
                          </a:ln>
                          <a:solidFill>
                            <a:srgbClr val="0079D1"/>
                          </a:solidFill>
                          <a:effectLst/>
                          <a:latin typeface="Arial" pitchFamily="34" charset="0"/>
                          <a:ea typeface="+mn-ea"/>
                          <a:cs typeface="+mn-cs"/>
                        </a:rPr>
                        <a:t>07/08/2019</a:t>
                      </a:r>
                    </a:p>
                  </a:txBody>
                  <a:tcPr marL="72000" marR="72000" marT="71860" marB="71860" anchor="ctr" horzOverflow="overflow">
                    <a:lnL w="12700" cap="flat" cmpd="sng" algn="ctr">
                      <a:solidFill>
                        <a:srgbClr val="006AA2"/>
                      </a:solidFill>
                      <a:prstDash val="solid"/>
                      <a:round/>
                      <a:headEnd type="none" w="med" len="med"/>
                      <a:tailEnd type="none" w="med" len="med"/>
                    </a:lnL>
                    <a:lnR w="12700" cap="flat" cmpd="sng" algn="ctr">
                      <a:solidFill>
                        <a:srgbClr val="006AA2"/>
                      </a:solidFill>
                      <a:prstDash val="solid"/>
                      <a:round/>
                      <a:headEnd type="none" w="med" len="med"/>
                      <a:tailEnd type="none" w="med" len="med"/>
                    </a:lnR>
                    <a:lnT w="12700" cap="flat" cmpd="sng" algn="ctr">
                      <a:solidFill>
                        <a:srgbClr val="006AA2"/>
                      </a:solidFill>
                      <a:prstDash val="solid"/>
                      <a:round/>
                      <a:headEnd type="none" w="med" len="med"/>
                      <a:tailEnd type="none" w="med" len="med"/>
                    </a:lnT>
                    <a:lnB w="12700" cap="flat" cmpd="sng" algn="ctr">
                      <a:solidFill>
                        <a:srgbClr val="006AA2"/>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defRPr/>
                      </a:pPr>
                      <a:r>
                        <a:rPr kumimoji="0" lang="es-MX" sz="1200" b="0" i="0" u="none" strike="noStrike" kern="1200" cap="none" normalizeH="0" baseline="0" noProof="0" dirty="0">
                          <a:ln>
                            <a:noFill/>
                          </a:ln>
                          <a:solidFill>
                            <a:srgbClr val="0079D1"/>
                          </a:solidFill>
                          <a:effectLst/>
                          <a:latin typeface="Arial" pitchFamily="34" charset="0"/>
                          <a:ea typeface="+mn-ea"/>
                          <a:cs typeface="+mn-cs"/>
                        </a:rPr>
                        <a:t>Integration of the Impact of Dimensions on Systemic Qualities table</a:t>
                      </a:r>
                    </a:p>
                  </a:txBody>
                  <a:tcPr marL="72000" marR="72000" marT="71860" marB="71860" anchor="ctr" horzOverflow="overflow">
                    <a:lnL w="12700" cap="flat" cmpd="sng" algn="ctr">
                      <a:solidFill>
                        <a:srgbClr val="006AA2"/>
                      </a:solidFill>
                      <a:prstDash val="solid"/>
                      <a:round/>
                      <a:headEnd type="none" w="med" len="med"/>
                      <a:tailEnd type="none" w="med" len="med"/>
                    </a:lnL>
                    <a:lnR w="12700" cap="flat" cmpd="sng" algn="ctr">
                      <a:solidFill>
                        <a:srgbClr val="006AA2"/>
                      </a:solidFill>
                      <a:prstDash val="solid"/>
                      <a:round/>
                      <a:headEnd type="none" w="med" len="med"/>
                      <a:tailEnd type="none" w="med" len="med"/>
                    </a:lnR>
                    <a:lnT w="12700" cap="flat" cmpd="sng" algn="ctr">
                      <a:solidFill>
                        <a:srgbClr val="006AA2"/>
                      </a:solidFill>
                      <a:prstDash val="solid"/>
                      <a:round/>
                      <a:headEnd type="none" w="med" len="med"/>
                      <a:tailEnd type="none" w="med" len="med"/>
                    </a:lnT>
                    <a:lnB w="12700" cap="flat" cmpd="sng" algn="ctr">
                      <a:solidFill>
                        <a:srgbClr val="006AA2"/>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defRPr/>
                      </a:pPr>
                      <a:r>
                        <a:rPr kumimoji="0" lang="es-MX" sz="1200" b="0" i="0" u="none" strike="noStrike" cap="none" normalizeH="0" baseline="0" noProof="0" dirty="0">
                          <a:ln>
                            <a:noFill/>
                          </a:ln>
                          <a:solidFill>
                            <a:srgbClr val="0079D1"/>
                          </a:solidFill>
                          <a:effectLst/>
                          <a:latin typeface="Arial" pitchFamily="34" charset="0"/>
                        </a:rPr>
                        <a:t>[Big Data Architecture]</a:t>
                      </a:r>
                    </a:p>
                  </a:txBody>
                  <a:tcPr marL="72000" marR="72000" marT="71860" marB="71860" anchor="ctr" horzOverflow="overflow">
                    <a:lnL w="12700" cap="flat" cmpd="sng" algn="ctr">
                      <a:solidFill>
                        <a:srgbClr val="006AA2"/>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6AA2"/>
                      </a:solidFill>
                      <a:prstDash val="solid"/>
                      <a:round/>
                      <a:headEnd type="none" w="med" len="med"/>
                      <a:tailEnd type="none" w="med" len="med"/>
                    </a:lnT>
                    <a:lnB w="12700" cap="flat" cmpd="sng" algn="ctr">
                      <a:solidFill>
                        <a:srgbClr val="006AA2"/>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3524266419"/>
                  </a:ext>
                </a:extLst>
              </a:tr>
              <a:tr h="726827">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defRPr/>
                      </a:pPr>
                      <a:r>
                        <a:rPr kumimoji="0" lang="es-MX" sz="1200" b="0" i="0" u="none" strike="noStrike" kern="1200" cap="none" normalizeH="0" baseline="0" noProof="0" dirty="0">
                          <a:ln>
                            <a:noFill/>
                          </a:ln>
                          <a:solidFill>
                            <a:srgbClr val="0079D1"/>
                          </a:solidFill>
                          <a:effectLst/>
                          <a:latin typeface="Arial" pitchFamily="34" charset="0"/>
                          <a:ea typeface="+mn-ea"/>
                          <a:cs typeface="+mn-cs"/>
                        </a:rPr>
                        <a:t>1.4</a:t>
                      </a:r>
                    </a:p>
                  </a:txBody>
                  <a:tcPr marL="72000" marR="72000" marT="71860" marB="71860" anchor="ctr" horzOverflow="overflow">
                    <a:lnL w="12700" cap="flat" cmpd="sng" algn="ctr">
                      <a:solidFill>
                        <a:srgbClr val="000000"/>
                      </a:solidFill>
                      <a:prstDash val="solid"/>
                      <a:round/>
                      <a:headEnd type="none" w="med" len="med"/>
                      <a:tailEnd type="none" w="med" len="med"/>
                    </a:lnL>
                    <a:lnR w="12700" cap="flat" cmpd="sng" algn="ctr">
                      <a:solidFill>
                        <a:srgbClr val="006AA2"/>
                      </a:solidFill>
                      <a:prstDash val="solid"/>
                      <a:round/>
                      <a:headEnd type="none" w="med" len="med"/>
                      <a:tailEnd type="none" w="med" len="med"/>
                    </a:lnR>
                    <a:lnT w="12700" cap="flat" cmpd="sng" algn="ctr">
                      <a:solidFill>
                        <a:srgbClr val="006AA2"/>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defRPr/>
                      </a:pPr>
                      <a:r>
                        <a:rPr kumimoji="0" lang="es-MX" sz="1200" b="0" i="0" u="none" strike="noStrike" kern="1200" cap="none" normalizeH="0" baseline="0" noProof="0" dirty="0">
                          <a:ln>
                            <a:noFill/>
                          </a:ln>
                          <a:solidFill>
                            <a:srgbClr val="0079D1"/>
                          </a:solidFill>
                          <a:effectLst/>
                          <a:latin typeface="Arial" pitchFamily="34" charset="0"/>
                          <a:ea typeface="+mn-ea"/>
                          <a:cs typeface="+mn-cs"/>
                        </a:rPr>
                        <a:t>16/08/2019</a:t>
                      </a:r>
                    </a:p>
                  </a:txBody>
                  <a:tcPr marL="72000" marR="72000" marT="71860" marB="71860" anchor="ctr" horzOverflow="overflow">
                    <a:lnL w="12700" cap="flat" cmpd="sng" algn="ctr">
                      <a:solidFill>
                        <a:srgbClr val="006AA2"/>
                      </a:solidFill>
                      <a:prstDash val="solid"/>
                      <a:round/>
                      <a:headEnd type="none" w="med" len="med"/>
                      <a:tailEnd type="none" w="med" len="med"/>
                    </a:lnL>
                    <a:lnR w="12700" cap="flat" cmpd="sng" algn="ctr">
                      <a:solidFill>
                        <a:srgbClr val="006AA2"/>
                      </a:solidFill>
                      <a:prstDash val="solid"/>
                      <a:round/>
                      <a:headEnd type="none" w="med" len="med"/>
                      <a:tailEnd type="none" w="med" len="med"/>
                    </a:lnR>
                    <a:lnT w="12700" cap="flat" cmpd="sng" algn="ctr">
                      <a:solidFill>
                        <a:srgbClr val="006AA2"/>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defRPr/>
                      </a:pPr>
                      <a:r>
                        <a:rPr kumimoji="0" lang="en-US" sz="1200" b="0" i="0" u="none" strike="noStrike" kern="1200" cap="none" normalizeH="0" baseline="0" dirty="0">
                          <a:ln>
                            <a:noFill/>
                          </a:ln>
                          <a:solidFill>
                            <a:srgbClr val="0079D1"/>
                          </a:solidFill>
                          <a:effectLst/>
                          <a:latin typeface="Arial" pitchFamily="34" charset="0"/>
                          <a:ea typeface="+mn-ea"/>
                          <a:cs typeface="+mn-cs"/>
                        </a:rPr>
                        <a:t>Include a pattern of API Producer Service</a:t>
                      </a:r>
                      <a:endParaRPr kumimoji="0" lang="es-MX" sz="1200" b="0" i="0" u="none" strike="noStrike" kern="1200" cap="none" normalizeH="0" baseline="0" noProof="0" dirty="0">
                        <a:ln>
                          <a:noFill/>
                        </a:ln>
                        <a:solidFill>
                          <a:srgbClr val="0079D1"/>
                        </a:solidFill>
                        <a:effectLst/>
                        <a:latin typeface="Arial" pitchFamily="34" charset="0"/>
                        <a:ea typeface="+mn-ea"/>
                        <a:cs typeface="+mn-cs"/>
                      </a:endParaRPr>
                    </a:p>
                  </a:txBody>
                  <a:tcPr marL="72000" marR="72000" marT="71860" marB="71860" anchor="ctr" horzOverflow="overflow">
                    <a:lnL w="12700" cap="flat" cmpd="sng" algn="ctr">
                      <a:solidFill>
                        <a:srgbClr val="006AA2"/>
                      </a:solidFill>
                      <a:prstDash val="solid"/>
                      <a:round/>
                      <a:headEnd type="none" w="med" len="med"/>
                      <a:tailEnd type="none" w="med" len="med"/>
                    </a:lnL>
                    <a:lnR w="12700" cap="flat" cmpd="sng" algn="ctr">
                      <a:solidFill>
                        <a:srgbClr val="006AA2"/>
                      </a:solidFill>
                      <a:prstDash val="solid"/>
                      <a:round/>
                      <a:headEnd type="none" w="med" len="med"/>
                      <a:tailEnd type="none" w="med" len="med"/>
                    </a:lnR>
                    <a:lnT w="12700" cap="flat" cmpd="sng" algn="ctr">
                      <a:solidFill>
                        <a:srgbClr val="006AA2"/>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defRPr/>
                      </a:pPr>
                      <a:r>
                        <a:rPr kumimoji="0" lang="es-MX" sz="1200" b="0" i="0" u="none" strike="noStrike" cap="none" normalizeH="0" baseline="0" noProof="0" dirty="0">
                          <a:ln>
                            <a:noFill/>
                          </a:ln>
                          <a:solidFill>
                            <a:srgbClr val="0079D1"/>
                          </a:solidFill>
                          <a:effectLst/>
                          <a:latin typeface="Arial" pitchFamily="34" charset="0"/>
                        </a:rPr>
                        <a:t>[Big Data Architecture]</a:t>
                      </a:r>
                    </a:p>
                  </a:txBody>
                  <a:tcPr marL="72000" marR="72000" marT="71860" marB="71860" anchor="ctr" horzOverflow="overflow">
                    <a:lnL w="12700" cap="flat" cmpd="sng" algn="ctr">
                      <a:solidFill>
                        <a:srgbClr val="006AA2"/>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6AA2"/>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2894362487"/>
                  </a:ext>
                </a:extLst>
              </a:tr>
            </a:tbl>
          </a:graphicData>
        </a:graphic>
      </p:graphicFrame>
      <p:sp>
        <p:nvSpPr>
          <p:cNvPr id="3" name="Rectangle 2">
            <a:extLst>
              <a:ext uri="{FF2B5EF4-FFF2-40B4-BE49-F238E27FC236}">
                <a16:creationId xmlns:a16="http://schemas.microsoft.com/office/drawing/2014/main" id="{3FA47EE3-533E-C348-9389-41C10829E2F0}"/>
              </a:ext>
            </a:extLst>
          </p:cNvPr>
          <p:cNvSpPr txBox="1">
            <a:spLocks noChangeArrowheads="1"/>
          </p:cNvSpPr>
          <p:nvPr/>
        </p:nvSpPr>
        <p:spPr>
          <a:xfrm>
            <a:off x="1916113" y="381000"/>
            <a:ext cx="8408987" cy="552450"/>
          </a:xfrm>
          <a:prstGeom prst="rect">
            <a:avLst/>
          </a:prstGeom>
        </p:spPr>
        <p:txBody>
          <a:bodyPr/>
          <a:lstStyle>
            <a:lvl1pPr algn="l" defTabSz="844083" rtl="0" eaLnBrk="1" latinLnBrk="0" hangingPunct="1">
              <a:spcBef>
                <a:spcPct val="0"/>
              </a:spcBef>
              <a:buNone/>
              <a:defRPr sz="1846" b="1" kern="1200" baseline="0">
                <a:solidFill>
                  <a:srgbClr val="4472C4"/>
                </a:solidFill>
                <a:latin typeface="Arial"/>
                <a:ea typeface="+mj-ea"/>
                <a:cs typeface="Arial"/>
                <a:sym typeface="Arial"/>
              </a:defRPr>
            </a:lvl1pPr>
          </a:lstStyle>
          <a:p>
            <a:r>
              <a:rPr lang="en-US" altLang="es-MX" dirty="0">
                <a:solidFill>
                  <a:srgbClr val="0079D1"/>
                </a:solidFill>
              </a:rPr>
              <a:t>Change control</a:t>
            </a:r>
          </a:p>
        </p:txBody>
      </p:sp>
    </p:spTree>
    <p:extLst>
      <p:ext uri="{BB962C8B-B14F-4D97-AF65-F5344CB8AC3E}">
        <p14:creationId xmlns:p14="http://schemas.microsoft.com/office/powerpoint/2010/main" val="218167026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10C19DD1-2601-9642-B025-70D76A8B870F}"/>
              </a:ext>
            </a:extLst>
          </p:cNvPr>
          <p:cNvPicPr>
            <a:picLocks noChangeAspect="1"/>
          </p:cNvPicPr>
          <p:nvPr/>
        </p:nvPicPr>
        <p:blipFill>
          <a:blip r:embed="rId2"/>
          <a:stretch>
            <a:fillRect/>
          </a:stretch>
        </p:blipFill>
        <p:spPr>
          <a:xfrm>
            <a:off x="3261022" y="2186532"/>
            <a:ext cx="4846797" cy="2308209"/>
          </a:xfrm>
          <a:prstGeom prst="rect">
            <a:avLst/>
          </a:prstGeom>
        </p:spPr>
      </p:pic>
      <p:sp>
        <p:nvSpPr>
          <p:cNvPr id="31" name="Rectangle 3">
            <a:extLst>
              <a:ext uri="{FF2B5EF4-FFF2-40B4-BE49-F238E27FC236}">
                <a16:creationId xmlns:a16="http://schemas.microsoft.com/office/drawing/2014/main" id="{A27FD23C-A522-0E4F-B70C-CC83BC4542BA}"/>
              </a:ext>
            </a:extLst>
          </p:cNvPr>
          <p:cNvSpPr txBox="1"/>
          <p:nvPr/>
        </p:nvSpPr>
        <p:spPr>
          <a:xfrm>
            <a:off x="404808" y="237462"/>
            <a:ext cx="7585857" cy="400105"/>
          </a:xfrm>
          <a:prstGeom prst="rect">
            <a:avLst/>
          </a:prstGeom>
          <a:ln w="12700">
            <a:miter lim="400000"/>
          </a:ln>
          <a:extLst>
            <a:ext uri="{C572A759-6A51-4108-AA02-DFA0A04FC94B}">
              <ma14:wrappingTextBoxFlag xmlns:ma14="http://schemas.microsoft.com/office/mac/drawingml/2011/main" xmlns="" val="1"/>
            </a:ext>
          </a:extLst>
        </p:spPr>
        <p:txBody>
          <a:bodyPr wrap="square" lIns="45718" tIns="45718" rIns="45718" bIns="45718">
            <a:spAutoFit/>
          </a:bodyPr>
          <a:lstStyle>
            <a:lvl1pPr algn="l" defTabSz="914400">
              <a:defRPr sz="2200" b="1">
                <a:solidFill>
                  <a:srgbClr val="FFFFFF"/>
                </a:solidFill>
                <a:latin typeface="Arial"/>
                <a:ea typeface="Arial"/>
                <a:cs typeface="Arial"/>
                <a:sym typeface="Arial"/>
              </a:defRPr>
            </a:lvl1pPr>
          </a:lstStyle>
          <a:p>
            <a:r>
              <a:rPr lang="en-US" sz="2000" dirty="0">
                <a:solidFill>
                  <a:srgbClr val="016AA2"/>
                </a:solidFill>
              </a:rPr>
              <a:t>Features and terminology (XIV)</a:t>
            </a:r>
          </a:p>
        </p:txBody>
      </p:sp>
      <p:sp>
        <p:nvSpPr>
          <p:cNvPr id="65" name="Rectangle 3"/>
          <p:cNvSpPr txBox="1"/>
          <p:nvPr/>
        </p:nvSpPr>
        <p:spPr>
          <a:xfrm>
            <a:off x="404806" y="610135"/>
            <a:ext cx="8775769" cy="369328"/>
          </a:xfrm>
          <a:prstGeom prst="rect">
            <a:avLst/>
          </a:prstGeom>
          <a:ln w="12700">
            <a:miter lim="400000"/>
          </a:ln>
          <a:extLst>
            <a:ext uri="{C572A759-6A51-4108-AA02-DFA0A04FC94B}">
              <ma14:wrappingTextBoxFlag xmlns="" xmlns:ma14="http://schemas.microsoft.com/office/mac/drawingml/2011/main" val="1"/>
            </a:ext>
          </a:extLst>
        </p:spPr>
        <p:txBody>
          <a:bodyPr wrap="square" lIns="45718" tIns="45718" rIns="45718" bIns="45718">
            <a:spAutoFit/>
          </a:bodyPr>
          <a:lstStyle>
            <a:lvl1pPr algn="l" defTabSz="914400">
              <a:defRPr sz="2000">
                <a:solidFill>
                  <a:srgbClr val="104D6A"/>
                </a:solidFill>
                <a:latin typeface="Arial"/>
                <a:ea typeface="Arial"/>
                <a:cs typeface="Arial"/>
                <a:sym typeface="Arial"/>
              </a:defRPr>
            </a:lvl1pPr>
          </a:lstStyle>
          <a:p>
            <a:pPr>
              <a:defRPr/>
            </a:pPr>
            <a:r>
              <a:rPr lang="en-US" sz="1800" b="1" dirty="0">
                <a:solidFill>
                  <a:srgbClr val="73C4EF"/>
                </a:solidFill>
              </a:rPr>
              <a:t>Event Hub Architecture – Consumers Low-level API</a:t>
            </a:r>
          </a:p>
        </p:txBody>
      </p:sp>
      <p:cxnSp>
        <p:nvCxnSpPr>
          <p:cNvPr id="6" name="Straight Connector 5">
            <a:extLst>
              <a:ext uri="{FF2B5EF4-FFF2-40B4-BE49-F238E27FC236}">
                <a16:creationId xmlns:a16="http://schemas.microsoft.com/office/drawing/2014/main" id="{6E57351E-C5A4-4348-A462-3CEB3D6DC676}"/>
              </a:ext>
            </a:extLst>
          </p:cNvPr>
          <p:cNvCxnSpPr>
            <a:cxnSpLocks/>
          </p:cNvCxnSpPr>
          <p:nvPr/>
        </p:nvCxnSpPr>
        <p:spPr>
          <a:xfrm flipH="1" flipV="1">
            <a:off x="3066743" y="3156909"/>
            <a:ext cx="727616" cy="128158"/>
          </a:xfrm>
          <a:prstGeom prst="line">
            <a:avLst/>
          </a:prstGeom>
          <a:ln w="12700">
            <a:solidFill>
              <a:srgbClr val="FF0000">
                <a:alpha val="50000"/>
              </a:srgbClr>
            </a:solidFill>
            <a:headEnd type="oval"/>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278BF81C-3FBD-7E4F-BC40-032693279D0B}"/>
              </a:ext>
            </a:extLst>
          </p:cNvPr>
          <p:cNvCxnSpPr>
            <a:cxnSpLocks/>
            <a:stCxn id="8" idx="2"/>
          </p:cNvCxnSpPr>
          <p:nvPr/>
        </p:nvCxnSpPr>
        <p:spPr>
          <a:xfrm>
            <a:off x="3066743" y="1998712"/>
            <a:ext cx="0" cy="1158197"/>
          </a:xfrm>
          <a:prstGeom prst="line">
            <a:avLst/>
          </a:prstGeom>
          <a:ln w="12700">
            <a:solidFill>
              <a:srgbClr val="FF0000">
                <a:alpha val="50000"/>
              </a:srgbClr>
            </a:solidFill>
            <a:headEnd type="oval"/>
          </a:ln>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E390E309-9AFC-DC49-8E4D-B00197DEB699}"/>
              </a:ext>
            </a:extLst>
          </p:cNvPr>
          <p:cNvSpPr txBox="1"/>
          <p:nvPr/>
        </p:nvSpPr>
        <p:spPr>
          <a:xfrm>
            <a:off x="1781855" y="1124457"/>
            <a:ext cx="2569775" cy="874255"/>
          </a:xfrm>
          <a:prstGeom prst="rect">
            <a:avLst/>
          </a:prstGeom>
          <a:noFill/>
        </p:spPr>
        <p:txBody>
          <a:bodyPr wrap="square" tIns="90000" bIns="90000" rtlCol="0" anchor="t">
            <a:spAutoFit/>
          </a:bodyPr>
          <a:lstStyle/>
          <a:p>
            <a:pPr algn="just"/>
            <a:r>
              <a:rPr lang="en-US" sz="900" dirty="0">
                <a:solidFill>
                  <a:schemeClr val="tx1">
                    <a:lumMod val="50000"/>
                  </a:schemeClr>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This method returns the set of messages from topic. Here </a:t>
            </a:r>
            <a:r>
              <a:rPr lang="en-US" sz="900" dirty="0" err="1">
                <a:solidFill>
                  <a:schemeClr val="tx1">
                    <a:lumMod val="50000"/>
                  </a:schemeClr>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FetchRequest</a:t>
            </a:r>
            <a:r>
              <a:rPr lang="en-US" sz="900" dirty="0">
                <a:solidFill>
                  <a:schemeClr val="tx1">
                    <a:lumMod val="50000"/>
                  </a:schemeClr>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 specifies the topic name, topic partition, </a:t>
            </a:r>
            <a:r>
              <a:rPr lang="en-US" sz="900" dirty="0" err="1">
                <a:solidFill>
                  <a:schemeClr val="tx1">
                    <a:lumMod val="50000"/>
                  </a:schemeClr>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strating</a:t>
            </a:r>
            <a:r>
              <a:rPr lang="en-US" sz="900" dirty="0">
                <a:solidFill>
                  <a:schemeClr val="tx1">
                    <a:lumMod val="50000"/>
                  </a:schemeClr>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 byte offset, and maximus byte to be fetched.</a:t>
            </a:r>
          </a:p>
        </p:txBody>
      </p:sp>
      <p:cxnSp>
        <p:nvCxnSpPr>
          <p:cNvPr id="18" name="Straight Connector 17">
            <a:extLst>
              <a:ext uri="{FF2B5EF4-FFF2-40B4-BE49-F238E27FC236}">
                <a16:creationId xmlns:a16="http://schemas.microsoft.com/office/drawing/2014/main" id="{6309A447-BCE3-694D-BEC2-F93D9B06FEF9}"/>
              </a:ext>
            </a:extLst>
          </p:cNvPr>
          <p:cNvCxnSpPr>
            <a:cxnSpLocks/>
          </p:cNvCxnSpPr>
          <p:nvPr/>
        </p:nvCxnSpPr>
        <p:spPr>
          <a:xfrm flipV="1">
            <a:off x="6725159" y="1903226"/>
            <a:ext cx="215757" cy="817326"/>
          </a:xfrm>
          <a:prstGeom prst="line">
            <a:avLst/>
          </a:prstGeom>
          <a:ln w="12700">
            <a:solidFill>
              <a:srgbClr val="FF0000">
                <a:alpha val="50000"/>
              </a:srgbClr>
            </a:solidFill>
            <a:headEnd type="ova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B31663A4-B110-2E43-B1B3-EFE1182B7147}"/>
              </a:ext>
            </a:extLst>
          </p:cNvPr>
          <p:cNvCxnSpPr>
            <a:cxnSpLocks/>
          </p:cNvCxnSpPr>
          <p:nvPr/>
        </p:nvCxnSpPr>
        <p:spPr>
          <a:xfrm flipH="1">
            <a:off x="6939016" y="1627681"/>
            <a:ext cx="433415" cy="275545"/>
          </a:xfrm>
          <a:prstGeom prst="line">
            <a:avLst/>
          </a:prstGeom>
          <a:ln w="12700">
            <a:solidFill>
              <a:srgbClr val="FF0000">
                <a:alpha val="50000"/>
              </a:srgbClr>
            </a:solidFill>
            <a:headEnd type="oval"/>
          </a:ln>
        </p:spPr>
        <p:style>
          <a:lnRef idx="1">
            <a:schemeClr val="accent1"/>
          </a:lnRef>
          <a:fillRef idx="0">
            <a:schemeClr val="accent1"/>
          </a:fillRef>
          <a:effectRef idx="0">
            <a:schemeClr val="accent1"/>
          </a:effectRef>
          <a:fontRef idx="minor">
            <a:schemeClr val="tx1"/>
          </a:fontRef>
        </p:style>
      </p:cxnSp>
      <p:sp>
        <p:nvSpPr>
          <p:cNvPr id="25" name="TextBox 24">
            <a:extLst>
              <a:ext uri="{FF2B5EF4-FFF2-40B4-BE49-F238E27FC236}">
                <a16:creationId xmlns:a16="http://schemas.microsoft.com/office/drawing/2014/main" id="{14BB55E2-526E-7D46-AA45-3378D65317F0}"/>
              </a:ext>
            </a:extLst>
          </p:cNvPr>
          <p:cNvSpPr txBox="1"/>
          <p:nvPr/>
        </p:nvSpPr>
        <p:spPr>
          <a:xfrm>
            <a:off x="7372431" y="1352136"/>
            <a:ext cx="2804842" cy="597256"/>
          </a:xfrm>
          <a:prstGeom prst="rect">
            <a:avLst/>
          </a:prstGeom>
          <a:noFill/>
        </p:spPr>
        <p:txBody>
          <a:bodyPr wrap="square" tIns="90000" bIns="90000" rtlCol="0" anchor="t">
            <a:spAutoFit/>
          </a:bodyPr>
          <a:lstStyle/>
          <a:p>
            <a:pPr algn="just"/>
            <a:r>
              <a:rPr lang="en-US" sz="900" dirty="0">
                <a:solidFill>
                  <a:schemeClr val="tx1">
                    <a:lumMod val="50000"/>
                  </a:schemeClr>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Consumer class for Kafka massages, accepts lead broker, broker port, connection timeout, buffer size, and client ID.	</a:t>
            </a:r>
          </a:p>
        </p:txBody>
      </p:sp>
      <p:cxnSp>
        <p:nvCxnSpPr>
          <p:cNvPr id="32" name="Straight Connector 31">
            <a:extLst>
              <a:ext uri="{FF2B5EF4-FFF2-40B4-BE49-F238E27FC236}">
                <a16:creationId xmlns:a16="http://schemas.microsoft.com/office/drawing/2014/main" id="{FD99635E-CF0E-1E4E-A96E-43CB20544842}"/>
              </a:ext>
            </a:extLst>
          </p:cNvPr>
          <p:cNvCxnSpPr>
            <a:cxnSpLocks/>
          </p:cNvCxnSpPr>
          <p:nvPr/>
        </p:nvCxnSpPr>
        <p:spPr>
          <a:xfrm>
            <a:off x="5724758" y="3591235"/>
            <a:ext cx="3124200" cy="0"/>
          </a:xfrm>
          <a:prstGeom prst="line">
            <a:avLst/>
          </a:prstGeom>
          <a:ln w="12700">
            <a:solidFill>
              <a:srgbClr val="FF0000">
                <a:alpha val="50000"/>
              </a:srgbClr>
            </a:solidFill>
            <a:headEnd type="oval"/>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E4699FA6-07E6-074B-9100-F00010FC6EF1}"/>
              </a:ext>
            </a:extLst>
          </p:cNvPr>
          <p:cNvCxnSpPr>
            <a:cxnSpLocks/>
          </p:cNvCxnSpPr>
          <p:nvPr/>
        </p:nvCxnSpPr>
        <p:spPr>
          <a:xfrm flipH="1">
            <a:off x="8848958" y="2884943"/>
            <a:ext cx="363798" cy="706292"/>
          </a:xfrm>
          <a:prstGeom prst="line">
            <a:avLst/>
          </a:prstGeom>
          <a:ln w="12700">
            <a:solidFill>
              <a:srgbClr val="FF0000">
                <a:alpha val="50000"/>
              </a:srgbClr>
            </a:solidFill>
            <a:headEnd type="oval"/>
          </a:ln>
        </p:spPr>
        <p:style>
          <a:lnRef idx="1">
            <a:schemeClr val="accent1"/>
          </a:lnRef>
          <a:fillRef idx="0">
            <a:schemeClr val="accent1"/>
          </a:fillRef>
          <a:effectRef idx="0">
            <a:schemeClr val="accent1"/>
          </a:effectRef>
          <a:fontRef idx="minor">
            <a:schemeClr val="tx1"/>
          </a:fontRef>
        </p:style>
      </p:cxnSp>
      <p:sp>
        <p:nvSpPr>
          <p:cNvPr id="41" name="TextBox 40">
            <a:extLst>
              <a:ext uri="{FF2B5EF4-FFF2-40B4-BE49-F238E27FC236}">
                <a16:creationId xmlns:a16="http://schemas.microsoft.com/office/drawing/2014/main" id="{FD003B31-A8E1-D540-AEC9-C4FB34DE545B}"/>
              </a:ext>
            </a:extLst>
          </p:cNvPr>
          <p:cNvSpPr txBox="1"/>
          <p:nvPr/>
        </p:nvSpPr>
        <p:spPr>
          <a:xfrm>
            <a:off x="9202481" y="2548022"/>
            <a:ext cx="2119867" cy="458757"/>
          </a:xfrm>
          <a:prstGeom prst="rect">
            <a:avLst/>
          </a:prstGeom>
          <a:noFill/>
        </p:spPr>
        <p:txBody>
          <a:bodyPr wrap="square" tIns="90000" bIns="90000" rtlCol="0" anchor="t">
            <a:spAutoFit/>
          </a:bodyPr>
          <a:lstStyle/>
          <a:p>
            <a:pPr algn="just"/>
            <a:r>
              <a:rPr lang="en-US" sz="900" dirty="0">
                <a:solidFill>
                  <a:schemeClr val="tx1">
                    <a:lumMod val="50000"/>
                  </a:schemeClr>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The method returns the list of valid offsets before the given time.</a:t>
            </a:r>
          </a:p>
        </p:txBody>
      </p:sp>
      <p:cxnSp>
        <p:nvCxnSpPr>
          <p:cNvPr id="42" name="Straight Connector 41">
            <a:extLst>
              <a:ext uri="{FF2B5EF4-FFF2-40B4-BE49-F238E27FC236}">
                <a16:creationId xmlns:a16="http://schemas.microsoft.com/office/drawing/2014/main" id="{6AD82251-1E06-AE4F-A209-EF90B6762B30}"/>
              </a:ext>
            </a:extLst>
          </p:cNvPr>
          <p:cNvCxnSpPr>
            <a:cxnSpLocks/>
          </p:cNvCxnSpPr>
          <p:nvPr/>
        </p:nvCxnSpPr>
        <p:spPr>
          <a:xfrm>
            <a:off x="4803892" y="3871258"/>
            <a:ext cx="1551398" cy="1105408"/>
          </a:xfrm>
          <a:prstGeom prst="line">
            <a:avLst/>
          </a:prstGeom>
          <a:ln w="12700">
            <a:solidFill>
              <a:srgbClr val="FF0000">
                <a:alpha val="50000"/>
              </a:srgbClr>
            </a:solidFill>
            <a:headEnd type="oval"/>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3F347DDC-A0DE-464B-A860-F305603D5B25}"/>
              </a:ext>
            </a:extLst>
          </p:cNvPr>
          <p:cNvCxnSpPr>
            <a:cxnSpLocks/>
          </p:cNvCxnSpPr>
          <p:nvPr/>
        </p:nvCxnSpPr>
        <p:spPr>
          <a:xfrm flipH="1">
            <a:off x="6355290" y="4971530"/>
            <a:ext cx="583726" cy="5136"/>
          </a:xfrm>
          <a:prstGeom prst="line">
            <a:avLst/>
          </a:prstGeom>
          <a:ln w="12700">
            <a:solidFill>
              <a:srgbClr val="FF0000">
                <a:alpha val="50000"/>
              </a:srgbClr>
            </a:solidFill>
            <a:headEnd type="oval"/>
          </a:ln>
        </p:spPr>
        <p:style>
          <a:lnRef idx="1">
            <a:schemeClr val="accent1"/>
          </a:lnRef>
          <a:fillRef idx="0">
            <a:schemeClr val="accent1"/>
          </a:fillRef>
          <a:effectRef idx="0">
            <a:schemeClr val="accent1"/>
          </a:effectRef>
          <a:fontRef idx="minor">
            <a:schemeClr val="tx1"/>
          </a:fontRef>
        </p:style>
      </p:cxnSp>
      <p:sp>
        <p:nvSpPr>
          <p:cNvPr id="44" name="TextBox 43">
            <a:extLst>
              <a:ext uri="{FF2B5EF4-FFF2-40B4-BE49-F238E27FC236}">
                <a16:creationId xmlns:a16="http://schemas.microsoft.com/office/drawing/2014/main" id="{078408C9-EFDA-6A41-BAD7-37E538935688}"/>
              </a:ext>
            </a:extLst>
          </p:cNvPr>
          <p:cNvSpPr txBox="1"/>
          <p:nvPr/>
        </p:nvSpPr>
        <p:spPr>
          <a:xfrm>
            <a:off x="6939016" y="4599397"/>
            <a:ext cx="2119867" cy="597256"/>
          </a:xfrm>
          <a:prstGeom prst="rect">
            <a:avLst/>
          </a:prstGeom>
          <a:noFill/>
        </p:spPr>
        <p:txBody>
          <a:bodyPr wrap="square" tIns="90000" bIns="90000" rtlCol="0" anchor="t">
            <a:spAutoFit/>
          </a:bodyPr>
          <a:lstStyle/>
          <a:p>
            <a:pPr algn="just"/>
            <a:r>
              <a:rPr lang="en-US" sz="900" dirty="0">
                <a:solidFill>
                  <a:schemeClr val="tx1">
                    <a:lumMod val="50000"/>
                  </a:schemeClr>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This method returns the offsets for a topic passed as </a:t>
            </a:r>
            <a:r>
              <a:rPr lang="en-US" sz="900" dirty="0" err="1">
                <a:solidFill>
                  <a:schemeClr val="tx1">
                    <a:lumMod val="50000"/>
                  </a:schemeClr>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OffsetFetchRequest</a:t>
            </a:r>
            <a:r>
              <a:rPr lang="en-US" sz="900" dirty="0">
                <a:solidFill>
                  <a:schemeClr val="tx1">
                    <a:lumMod val="50000"/>
                  </a:schemeClr>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a:t>
            </a:r>
          </a:p>
        </p:txBody>
      </p:sp>
      <p:cxnSp>
        <p:nvCxnSpPr>
          <p:cNvPr id="50" name="Straight Connector 49">
            <a:extLst>
              <a:ext uri="{FF2B5EF4-FFF2-40B4-BE49-F238E27FC236}">
                <a16:creationId xmlns:a16="http://schemas.microsoft.com/office/drawing/2014/main" id="{7166761E-0D9E-1840-9031-6CC855515520}"/>
              </a:ext>
            </a:extLst>
          </p:cNvPr>
          <p:cNvCxnSpPr>
            <a:cxnSpLocks/>
          </p:cNvCxnSpPr>
          <p:nvPr/>
        </p:nvCxnSpPr>
        <p:spPr>
          <a:xfrm flipH="1">
            <a:off x="4363137" y="4041625"/>
            <a:ext cx="10273" cy="1570672"/>
          </a:xfrm>
          <a:prstGeom prst="line">
            <a:avLst/>
          </a:prstGeom>
          <a:ln w="12700">
            <a:solidFill>
              <a:srgbClr val="FF0000">
                <a:alpha val="50000"/>
              </a:srgbClr>
            </a:solidFill>
            <a:headEnd type="oval"/>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A0D29C0A-3EE2-684F-93A3-D10F2CD6E951}"/>
              </a:ext>
            </a:extLst>
          </p:cNvPr>
          <p:cNvCxnSpPr>
            <a:cxnSpLocks/>
            <a:stCxn id="55" idx="1"/>
          </p:cNvCxnSpPr>
          <p:nvPr/>
        </p:nvCxnSpPr>
        <p:spPr>
          <a:xfrm flipH="1" flipV="1">
            <a:off x="4363138" y="5616981"/>
            <a:ext cx="347826" cy="219102"/>
          </a:xfrm>
          <a:prstGeom prst="line">
            <a:avLst/>
          </a:prstGeom>
          <a:ln w="12700">
            <a:solidFill>
              <a:srgbClr val="FF0000">
                <a:alpha val="50000"/>
              </a:srgbClr>
            </a:solidFill>
            <a:headEnd type="oval"/>
          </a:ln>
        </p:spPr>
        <p:style>
          <a:lnRef idx="1">
            <a:schemeClr val="accent1"/>
          </a:lnRef>
          <a:fillRef idx="0">
            <a:schemeClr val="accent1"/>
          </a:fillRef>
          <a:effectRef idx="0">
            <a:schemeClr val="accent1"/>
          </a:effectRef>
          <a:fontRef idx="minor">
            <a:schemeClr val="tx1"/>
          </a:fontRef>
        </p:style>
      </p:cxnSp>
      <p:sp>
        <p:nvSpPr>
          <p:cNvPr id="55" name="TextBox 54">
            <a:extLst>
              <a:ext uri="{FF2B5EF4-FFF2-40B4-BE49-F238E27FC236}">
                <a16:creationId xmlns:a16="http://schemas.microsoft.com/office/drawing/2014/main" id="{92E7B19B-50D2-8544-B04D-0B783DB8FE69}"/>
              </a:ext>
            </a:extLst>
          </p:cNvPr>
          <p:cNvSpPr txBox="1"/>
          <p:nvPr/>
        </p:nvSpPr>
        <p:spPr>
          <a:xfrm>
            <a:off x="4710964" y="5606704"/>
            <a:ext cx="2119867" cy="458757"/>
          </a:xfrm>
          <a:prstGeom prst="rect">
            <a:avLst/>
          </a:prstGeom>
          <a:noFill/>
        </p:spPr>
        <p:txBody>
          <a:bodyPr wrap="square" tIns="90000" bIns="90000" rtlCol="0" anchor="t">
            <a:spAutoFit/>
          </a:bodyPr>
          <a:lstStyle/>
          <a:p>
            <a:pPr algn="just"/>
            <a:r>
              <a:rPr lang="en-US" sz="900" dirty="0">
                <a:solidFill>
                  <a:schemeClr val="tx1">
                    <a:lumMod val="50000"/>
                  </a:schemeClr>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Shut down the connection of connector with Zookeeper</a:t>
            </a:r>
          </a:p>
        </p:txBody>
      </p:sp>
      <p:cxnSp>
        <p:nvCxnSpPr>
          <p:cNvPr id="33" name="Straight Connector 32">
            <a:extLst>
              <a:ext uri="{FF2B5EF4-FFF2-40B4-BE49-F238E27FC236}">
                <a16:creationId xmlns:a16="http://schemas.microsoft.com/office/drawing/2014/main" id="{77FE9DFC-7ABA-514F-8FBF-E57897E2EDB2}"/>
              </a:ext>
            </a:extLst>
          </p:cNvPr>
          <p:cNvCxnSpPr>
            <a:cxnSpLocks/>
          </p:cNvCxnSpPr>
          <p:nvPr/>
        </p:nvCxnSpPr>
        <p:spPr>
          <a:xfrm>
            <a:off x="6068208" y="3735169"/>
            <a:ext cx="2706644" cy="306456"/>
          </a:xfrm>
          <a:prstGeom prst="line">
            <a:avLst/>
          </a:prstGeom>
          <a:ln w="12700">
            <a:solidFill>
              <a:srgbClr val="FF0000">
                <a:alpha val="50000"/>
              </a:srgbClr>
            </a:solidFill>
            <a:headEnd type="oval"/>
          </a:ln>
        </p:spPr>
        <p:style>
          <a:lnRef idx="1">
            <a:schemeClr val="accent1"/>
          </a:lnRef>
          <a:fillRef idx="0">
            <a:schemeClr val="accent1"/>
          </a:fillRef>
          <a:effectRef idx="0">
            <a:schemeClr val="accent1"/>
          </a:effectRef>
          <a:fontRef idx="minor">
            <a:schemeClr val="tx1"/>
          </a:fontRef>
        </p:style>
      </p:cxnSp>
      <p:sp>
        <p:nvSpPr>
          <p:cNvPr id="35" name="TextBox 34">
            <a:extLst>
              <a:ext uri="{FF2B5EF4-FFF2-40B4-BE49-F238E27FC236}">
                <a16:creationId xmlns:a16="http://schemas.microsoft.com/office/drawing/2014/main" id="{3F276294-2D1C-4B40-9A5E-549D51D7DB65}"/>
              </a:ext>
            </a:extLst>
          </p:cNvPr>
          <p:cNvSpPr txBox="1"/>
          <p:nvPr/>
        </p:nvSpPr>
        <p:spPr>
          <a:xfrm>
            <a:off x="9855072" y="3591235"/>
            <a:ext cx="1957220" cy="597256"/>
          </a:xfrm>
          <a:prstGeom prst="rect">
            <a:avLst/>
          </a:prstGeom>
          <a:noFill/>
        </p:spPr>
        <p:txBody>
          <a:bodyPr wrap="square" tIns="90000" bIns="90000" rtlCol="0" anchor="t">
            <a:spAutoFit/>
          </a:bodyPr>
          <a:lstStyle/>
          <a:p>
            <a:pPr algn="just"/>
            <a:r>
              <a:rPr lang="en-US" sz="900" dirty="0">
                <a:solidFill>
                  <a:schemeClr val="tx1">
                    <a:lumMod val="50000"/>
                  </a:schemeClr>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The method commits the offsets for a topic passed as </a:t>
            </a:r>
            <a:r>
              <a:rPr lang="en-US" sz="900" dirty="0" err="1">
                <a:solidFill>
                  <a:schemeClr val="tx1">
                    <a:lumMod val="50000"/>
                  </a:schemeClr>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OffsetCommitRequest</a:t>
            </a:r>
            <a:r>
              <a:rPr lang="en-US" sz="900" dirty="0">
                <a:solidFill>
                  <a:schemeClr val="tx1">
                    <a:lumMod val="50000"/>
                  </a:schemeClr>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a:t>
            </a:r>
          </a:p>
        </p:txBody>
      </p:sp>
      <p:cxnSp>
        <p:nvCxnSpPr>
          <p:cNvPr id="37" name="Straight Connector 36">
            <a:extLst>
              <a:ext uri="{FF2B5EF4-FFF2-40B4-BE49-F238E27FC236}">
                <a16:creationId xmlns:a16="http://schemas.microsoft.com/office/drawing/2014/main" id="{C21A562A-A41F-9B49-AF86-EFA30A895897}"/>
              </a:ext>
            </a:extLst>
          </p:cNvPr>
          <p:cNvCxnSpPr>
            <a:cxnSpLocks/>
            <a:stCxn id="35" idx="1"/>
          </p:cNvCxnSpPr>
          <p:nvPr/>
        </p:nvCxnSpPr>
        <p:spPr>
          <a:xfrm flipH="1">
            <a:off x="8774854" y="3889863"/>
            <a:ext cx="1080218" cy="151763"/>
          </a:xfrm>
          <a:prstGeom prst="line">
            <a:avLst/>
          </a:prstGeom>
          <a:ln w="12700">
            <a:solidFill>
              <a:srgbClr val="FF0000">
                <a:alpha val="50000"/>
              </a:srgbClr>
            </a:solidFill>
            <a:headEnd type="oval"/>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2342F6FE-87BF-5B4B-B10C-539BFA186815}"/>
              </a:ext>
            </a:extLst>
          </p:cNvPr>
          <p:cNvCxnSpPr>
            <a:cxnSpLocks/>
          </p:cNvCxnSpPr>
          <p:nvPr/>
        </p:nvCxnSpPr>
        <p:spPr>
          <a:xfrm flipH="1">
            <a:off x="2869735" y="3435727"/>
            <a:ext cx="924624" cy="0"/>
          </a:xfrm>
          <a:prstGeom prst="line">
            <a:avLst/>
          </a:prstGeom>
          <a:ln w="12700">
            <a:solidFill>
              <a:srgbClr val="FF0000">
                <a:alpha val="50000"/>
              </a:srgbClr>
            </a:solidFill>
            <a:headEnd type="oval"/>
          </a:ln>
        </p:spPr>
        <p:style>
          <a:lnRef idx="1">
            <a:schemeClr val="accent1"/>
          </a:lnRef>
          <a:fillRef idx="0">
            <a:schemeClr val="accent1"/>
          </a:fillRef>
          <a:effectRef idx="0">
            <a:schemeClr val="accent1"/>
          </a:effectRef>
          <a:fontRef idx="minor">
            <a:schemeClr val="tx1"/>
          </a:fontRef>
        </p:style>
      </p:cxnSp>
      <p:sp>
        <p:nvSpPr>
          <p:cNvPr id="57" name="TextBox 56">
            <a:extLst>
              <a:ext uri="{FF2B5EF4-FFF2-40B4-BE49-F238E27FC236}">
                <a16:creationId xmlns:a16="http://schemas.microsoft.com/office/drawing/2014/main" id="{EEA4C3E1-3B79-4245-B800-DB043B7072DD}"/>
              </a:ext>
            </a:extLst>
          </p:cNvPr>
          <p:cNvSpPr txBox="1"/>
          <p:nvPr/>
        </p:nvSpPr>
        <p:spPr>
          <a:xfrm>
            <a:off x="561494" y="4139186"/>
            <a:ext cx="2569775" cy="874255"/>
          </a:xfrm>
          <a:prstGeom prst="rect">
            <a:avLst/>
          </a:prstGeom>
          <a:noFill/>
        </p:spPr>
        <p:txBody>
          <a:bodyPr wrap="square" tIns="90000" bIns="90000" rtlCol="0" anchor="t">
            <a:spAutoFit/>
          </a:bodyPr>
          <a:lstStyle/>
          <a:p>
            <a:pPr algn="just"/>
            <a:r>
              <a:rPr lang="en-US" sz="900" dirty="0">
                <a:solidFill>
                  <a:schemeClr val="tx1">
                    <a:lumMod val="50000"/>
                  </a:schemeClr>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This method returns the set of messages from topic. Here </a:t>
            </a:r>
            <a:r>
              <a:rPr lang="en-US" sz="900" dirty="0" err="1">
                <a:solidFill>
                  <a:schemeClr val="tx1">
                    <a:lumMod val="50000"/>
                  </a:schemeClr>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FetchRequest</a:t>
            </a:r>
            <a:r>
              <a:rPr lang="en-US" sz="900" dirty="0">
                <a:solidFill>
                  <a:schemeClr val="tx1">
                    <a:lumMod val="50000"/>
                  </a:schemeClr>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 specifies the topic name, topic partition, </a:t>
            </a:r>
            <a:r>
              <a:rPr lang="en-US" sz="900" dirty="0" err="1">
                <a:solidFill>
                  <a:schemeClr val="tx1">
                    <a:lumMod val="50000"/>
                  </a:schemeClr>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strating</a:t>
            </a:r>
            <a:r>
              <a:rPr lang="en-US" sz="900" dirty="0">
                <a:solidFill>
                  <a:schemeClr val="tx1">
                    <a:lumMod val="50000"/>
                  </a:schemeClr>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 byte offset, and maximus byte to be fetched.</a:t>
            </a:r>
          </a:p>
        </p:txBody>
      </p:sp>
      <p:cxnSp>
        <p:nvCxnSpPr>
          <p:cNvPr id="62" name="Straight Connector 61">
            <a:extLst>
              <a:ext uri="{FF2B5EF4-FFF2-40B4-BE49-F238E27FC236}">
                <a16:creationId xmlns:a16="http://schemas.microsoft.com/office/drawing/2014/main" id="{090ECC62-3BD4-624C-972E-2D67FAFFF101}"/>
              </a:ext>
            </a:extLst>
          </p:cNvPr>
          <p:cNvCxnSpPr>
            <a:cxnSpLocks/>
            <a:stCxn id="57" idx="0"/>
          </p:cNvCxnSpPr>
          <p:nvPr/>
        </p:nvCxnSpPr>
        <p:spPr>
          <a:xfrm flipV="1">
            <a:off x="1846382" y="3435728"/>
            <a:ext cx="1023351" cy="703458"/>
          </a:xfrm>
          <a:prstGeom prst="line">
            <a:avLst/>
          </a:prstGeom>
          <a:ln w="12700">
            <a:solidFill>
              <a:srgbClr val="FF0000">
                <a:alpha val="50000"/>
              </a:srgbClr>
            </a:solidFill>
            <a:headEnd type="ova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0705344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tangle 3">
            <a:extLst>
              <a:ext uri="{FF2B5EF4-FFF2-40B4-BE49-F238E27FC236}">
                <a16:creationId xmlns:a16="http://schemas.microsoft.com/office/drawing/2014/main" id="{A27FD23C-A522-0E4F-B70C-CC83BC4542BA}"/>
              </a:ext>
            </a:extLst>
          </p:cNvPr>
          <p:cNvSpPr txBox="1"/>
          <p:nvPr/>
        </p:nvSpPr>
        <p:spPr>
          <a:xfrm>
            <a:off x="404808" y="237462"/>
            <a:ext cx="7585857" cy="400105"/>
          </a:xfrm>
          <a:prstGeom prst="rect">
            <a:avLst/>
          </a:prstGeom>
          <a:ln w="12700">
            <a:miter lim="400000"/>
          </a:ln>
          <a:extLst>
            <a:ext uri="{C572A759-6A51-4108-AA02-DFA0A04FC94B}">
              <ma14:wrappingTextBoxFlag xmlns:ma14="http://schemas.microsoft.com/office/mac/drawingml/2011/main" xmlns="" val="1"/>
            </a:ext>
          </a:extLst>
        </p:spPr>
        <p:txBody>
          <a:bodyPr wrap="square" lIns="45718" tIns="45718" rIns="45718" bIns="45718">
            <a:spAutoFit/>
          </a:bodyPr>
          <a:lstStyle>
            <a:lvl1pPr algn="l" defTabSz="914400">
              <a:defRPr sz="2200" b="1">
                <a:solidFill>
                  <a:srgbClr val="FFFFFF"/>
                </a:solidFill>
                <a:latin typeface="Arial"/>
                <a:ea typeface="Arial"/>
                <a:cs typeface="Arial"/>
                <a:sym typeface="Arial"/>
              </a:defRPr>
            </a:lvl1pPr>
          </a:lstStyle>
          <a:p>
            <a:r>
              <a:rPr lang="en-US" sz="2000" dirty="0">
                <a:solidFill>
                  <a:srgbClr val="016AA2"/>
                </a:solidFill>
              </a:rPr>
              <a:t>Features and terminology (XV)</a:t>
            </a:r>
          </a:p>
        </p:txBody>
      </p:sp>
      <p:sp>
        <p:nvSpPr>
          <p:cNvPr id="65" name="Rectangle 3"/>
          <p:cNvSpPr txBox="1"/>
          <p:nvPr/>
        </p:nvSpPr>
        <p:spPr>
          <a:xfrm>
            <a:off x="404806" y="610135"/>
            <a:ext cx="8775769" cy="369328"/>
          </a:xfrm>
          <a:prstGeom prst="rect">
            <a:avLst/>
          </a:prstGeom>
          <a:ln w="12700">
            <a:miter lim="400000"/>
          </a:ln>
          <a:extLst>
            <a:ext uri="{C572A759-6A51-4108-AA02-DFA0A04FC94B}">
              <ma14:wrappingTextBoxFlag xmlns="" xmlns:ma14="http://schemas.microsoft.com/office/mac/drawingml/2011/main" val="1"/>
            </a:ext>
          </a:extLst>
        </p:spPr>
        <p:txBody>
          <a:bodyPr wrap="square" lIns="45718" tIns="45718" rIns="45718" bIns="45718">
            <a:spAutoFit/>
          </a:bodyPr>
          <a:lstStyle>
            <a:lvl1pPr algn="l" defTabSz="914400">
              <a:defRPr sz="2000">
                <a:solidFill>
                  <a:srgbClr val="104D6A"/>
                </a:solidFill>
                <a:latin typeface="Arial"/>
                <a:ea typeface="Arial"/>
                <a:cs typeface="Arial"/>
                <a:sym typeface="Arial"/>
              </a:defRPr>
            </a:lvl1pPr>
          </a:lstStyle>
          <a:p>
            <a:pPr>
              <a:defRPr/>
            </a:pPr>
            <a:r>
              <a:rPr lang="en-US" sz="1800" b="1" dirty="0">
                <a:solidFill>
                  <a:srgbClr val="73C4EF"/>
                </a:solidFill>
              </a:rPr>
              <a:t>Event Hub Architecture – Consumers Low-level API</a:t>
            </a:r>
          </a:p>
        </p:txBody>
      </p:sp>
      <p:sp>
        <p:nvSpPr>
          <p:cNvPr id="26" name="Google Shape;61;p12">
            <a:extLst>
              <a:ext uri="{FF2B5EF4-FFF2-40B4-BE49-F238E27FC236}">
                <a16:creationId xmlns:a16="http://schemas.microsoft.com/office/drawing/2014/main" id="{CA840CCA-9978-6A46-8078-59E3606FBF84}"/>
              </a:ext>
            </a:extLst>
          </p:cNvPr>
          <p:cNvSpPr txBox="1">
            <a:spLocks/>
          </p:cNvSpPr>
          <p:nvPr/>
        </p:nvSpPr>
        <p:spPr>
          <a:xfrm>
            <a:off x="404806" y="935341"/>
            <a:ext cx="2595248" cy="261610"/>
          </a:xfrm>
          <a:prstGeom prst="rect">
            <a:avLst/>
          </a:prstGeom>
          <a:noFill/>
        </p:spPr>
        <p:txBody>
          <a:bodyPr wrap="square" rtlCol="0">
            <a:spAutoFit/>
          </a:bodyPr>
          <a:lstStyle>
            <a:defPPr>
              <a:defRPr lang="en-US"/>
            </a:defPPr>
            <a:lvl1pPr algn="ctr" defTabSz="457200">
              <a:defRPr sz="90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defRPr>
            </a:lvl1pPr>
          </a:lstStyle>
          <a:p>
            <a:pPr algn="l"/>
            <a:r>
              <a:rPr lang="en-US" sz="1100" dirty="0">
                <a:solidFill>
                  <a:srgbClr val="C5277F"/>
                </a:solidFill>
                <a:latin typeface="Comic Sans MS" panose="030F0902030302020204" pitchFamily="66" charset="0"/>
              </a:rPr>
              <a:t>Simple Java consumers</a:t>
            </a:r>
            <a:endParaRPr lang="es-ES_tradnl" sz="1100" dirty="0">
              <a:solidFill>
                <a:srgbClr val="C5277F"/>
              </a:solidFill>
              <a:latin typeface="Comic Sans MS" panose="030F0902030302020204" pitchFamily="66" charset="0"/>
            </a:endParaRPr>
          </a:p>
        </p:txBody>
      </p:sp>
      <p:sp>
        <p:nvSpPr>
          <p:cNvPr id="27" name="Rectangle 26">
            <a:extLst>
              <a:ext uri="{FF2B5EF4-FFF2-40B4-BE49-F238E27FC236}">
                <a16:creationId xmlns:a16="http://schemas.microsoft.com/office/drawing/2014/main" id="{C92680C2-E178-674A-AB4D-CDF8AA96682B}"/>
              </a:ext>
            </a:extLst>
          </p:cNvPr>
          <p:cNvSpPr/>
          <p:nvPr/>
        </p:nvSpPr>
        <p:spPr>
          <a:xfrm>
            <a:off x="404805" y="1197170"/>
            <a:ext cx="11276911" cy="351035"/>
          </a:xfrm>
          <a:prstGeom prst="rect">
            <a:avLst/>
          </a:prstGeom>
          <a:noFill/>
        </p:spPr>
        <p:txBody>
          <a:bodyPr wrap="square" tIns="90000" bIns="90000" rtlCol="0" anchor="t">
            <a:spAutoFit/>
          </a:bodyPr>
          <a:lstStyle/>
          <a:p>
            <a:pPr algn="just"/>
            <a:r>
              <a:rPr lang="en-US" sz="1100" dirty="0">
                <a:solidFill>
                  <a:srgbClr val="0079D1"/>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This is a single-threaded simple Java consumer developed using the high-level consumer API for consuming the messages from a topic.</a:t>
            </a:r>
          </a:p>
        </p:txBody>
      </p:sp>
      <p:sp>
        <p:nvSpPr>
          <p:cNvPr id="28" name="Rectangle 27">
            <a:extLst>
              <a:ext uri="{FF2B5EF4-FFF2-40B4-BE49-F238E27FC236}">
                <a16:creationId xmlns:a16="http://schemas.microsoft.com/office/drawing/2014/main" id="{2721080E-AF0B-EF4C-B28A-E54C68DF6F8D}"/>
              </a:ext>
            </a:extLst>
          </p:cNvPr>
          <p:cNvSpPr/>
          <p:nvPr/>
        </p:nvSpPr>
        <p:spPr>
          <a:xfrm>
            <a:off x="3879620" y="2987375"/>
            <a:ext cx="4304354" cy="1258976"/>
          </a:xfrm>
          <a:prstGeom prst="rect">
            <a:avLst/>
          </a:prstGeom>
          <a:solidFill>
            <a:schemeClr val="bg1"/>
          </a:solidFill>
        </p:spPr>
        <p:txBody>
          <a:bodyPr wrap="square" tIns="90000" bIns="90000" rtlCol="0" anchor="t">
            <a:spAutoFit/>
          </a:bodyPr>
          <a:lstStyle/>
          <a:p>
            <a:pPr algn="just"/>
            <a:r>
              <a:rPr lang="en-US" sz="10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Properties props = new Properties();</a:t>
            </a:r>
          </a:p>
          <a:p>
            <a:pPr algn="just"/>
            <a:r>
              <a:rPr lang="en-US" sz="1000" dirty="0" err="1">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props.put</a:t>
            </a:r>
            <a:r>
              <a:rPr lang="en-US" sz="10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a:t>
            </a:r>
            <a:r>
              <a:rPr lang="en-US" sz="1000" dirty="0" err="1">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zookeeper.connect</a:t>
            </a:r>
            <a:r>
              <a:rPr lang="en-US" sz="10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 "localhost:2181");</a:t>
            </a:r>
          </a:p>
          <a:p>
            <a:pPr algn="just"/>
            <a:r>
              <a:rPr lang="en-US" sz="1000" dirty="0" err="1">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props.put</a:t>
            </a:r>
            <a:r>
              <a:rPr lang="en-US" sz="10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a:t>
            </a:r>
            <a:r>
              <a:rPr lang="en-US" sz="1000" dirty="0" err="1">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group.id</a:t>
            </a:r>
            <a:r>
              <a:rPr lang="en-US" sz="10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 "</a:t>
            </a:r>
            <a:r>
              <a:rPr lang="en-US" sz="1000" dirty="0" err="1">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testgroup</a:t>
            </a:r>
            <a:r>
              <a:rPr lang="en-US" sz="10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a:t>
            </a:r>
          </a:p>
          <a:p>
            <a:pPr algn="just"/>
            <a:r>
              <a:rPr lang="en-US" sz="1000" dirty="0" err="1">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props.put</a:t>
            </a:r>
            <a:r>
              <a:rPr lang="en-US" sz="10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a:t>
            </a:r>
            <a:r>
              <a:rPr lang="en-US" sz="1000" dirty="0" err="1">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zookeeper.session.timeout.ms</a:t>
            </a:r>
            <a:r>
              <a:rPr lang="en-US" sz="10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 "500");</a:t>
            </a:r>
          </a:p>
          <a:p>
            <a:pPr algn="just"/>
            <a:r>
              <a:rPr lang="en-US" sz="1000" dirty="0" err="1">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props.put</a:t>
            </a:r>
            <a:r>
              <a:rPr lang="en-US" sz="10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a:t>
            </a:r>
            <a:r>
              <a:rPr lang="en-US" sz="1000" dirty="0" err="1">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zookeeper.sync.time.ms</a:t>
            </a:r>
            <a:r>
              <a:rPr lang="en-US" sz="10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 "250");</a:t>
            </a:r>
          </a:p>
          <a:p>
            <a:pPr algn="just"/>
            <a:r>
              <a:rPr lang="en-US" sz="1000" dirty="0" err="1">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props.put</a:t>
            </a:r>
            <a:r>
              <a:rPr lang="en-US" sz="10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a:t>
            </a:r>
            <a:r>
              <a:rPr lang="en-US" sz="1000" dirty="0" err="1">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auto.commit.interval.ms</a:t>
            </a:r>
            <a:r>
              <a:rPr lang="en-US" sz="10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 "1000");</a:t>
            </a:r>
          </a:p>
          <a:p>
            <a:pPr algn="just"/>
            <a:r>
              <a:rPr lang="en-US" sz="10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new </a:t>
            </a:r>
            <a:r>
              <a:rPr lang="en-US" sz="1000" dirty="0" err="1">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ConsumerConfig</a:t>
            </a:r>
            <a:r>
              <a:rPr lang="en-US" sz="1000" dirty="0">
                <a:solidFill>
                  <a:schemeClr val="accent1">
                    <a:lumMod val="10000"/>
                  </a:schemeClr>
                </a:solidFill>
                <a:effectLst>
                  <a:outerShdw blurRad="50800" dist="50800" dir="5400000" algn="ctr" rotWithShape="0">
                    <a:srgbClr val="000000">
                      <a:alpha val="0"/>
                    </a:srgbClr>
                  </a:outerShdw>
                  <a:reflection endPos="0" dist="50800" dir="5400000" sy="-100000" algn="bl" rotWithShape="0"/>
                </a:effectLst>
                <a:latin typeface="Courier" pitchFamily="2" charset="0"/>
                <a:ea typeface="Nanum Pen Script" panose="03040600000000000000" pitchFamily="66" charset="-127"/>
                <a:cs typeface="Arial" panose="020B0604020202020204" pitchFamily="34" charset="0"/>
              </a:rPr>
              <a:t>(props);</a:t>
            </a:r>
          </a:p>
        </p:txBody>
      </p:sp>
      <p:sp>
        <p:nvSpPr>
          <p:cNvPr id="29" name="Google Shape;61;p12">
            <a:extLst>
              <a:ext uri="{FF2B5EF4-FFF2-40B4-BE49-F238E27FC236}">
                <a16:creationId xmlns:a16="http://schemas.microsoft.com/office/drawing/2014/main" id="{1426F90D-07A6-8843-B193-7F989BCB0CD4}"/>
              </a:ext>
            </a:extLst>
          </p:cNvPr>
          <p:cNvSpPr txBox="1">
            <a:spLocks/>
          </p:cNvSpPr>
          <p:nvPr/>
        </p:nvSpPr>
        <p:spPr>
          <a:xfrm>
            <a:off x="404806" y="1626899"/>
            <a:ext cx="2595248" cy="261610"/>
          </a:xfrm>
          <a:prstGeom prst="rect">
            <a:avLst/>
          </a:prstGeom>
          <a:noFill/>
        </p:spPr>
        <p:txBody>
          <a:bodyPr wrap="square" rtlCol="0">
            <a:spAutoFit/>
          </a:bodyPr>
          <a:lstStyle>
            <a:defPPr>
              <a:defRPr lang="en-US"/>
            </a:defPPr>
            <a:lvl1pPr algn="ctr" defTabSz="457200">
              <a:defRPr sz="90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defRPr>
            </a:lvl1pPr>
          </a:lstStyle>
          <a:p>
            <a:pPr algn="l"/>
            <a:r>
              <a:rPr lang="en-US" sz="1100" dirty="0">
                <a:solidFill>
                  <a:srgbClr val="C5277F"/>
                </a:solidFill>
                <a:latin typeface="Comic Sans MS" panose="030F0902030302020204" pitchFamily="66" charset="0"/>
              </a:rPr>
              <a:t>Defining properties</a:t>
            </a:r>
            <a:endParaRPr lang="es-ES_tradnl" sz="1100" dirty="0">
              <a:solidFill>
                <a:srgbClr val="C5277F"/>
              </a:solidFill>
              <a:latin typeface="Comic Sans MS" panose="030F0902030302020204" pitchFamily="66" charset="0"/>
            </a:endParaRPr>
          </a:p>
        </p:txBody>
      </p:sp>
      <p:sp>
        <p:nvSpPr>
          <p:cNvPr id="30" name="Rectangle 29">
            <a:extLst>
              <a:ext uri="{FF2B5EF4-FFF2-40B4-BE49-F238E27FC236}">
                <a16:creationId xmlns:a16="http://schemas.microsoft.com/office/drawing/2014/main" id="{A8803600-BC4A-3D4D-B946-AC6311403DC2}"/>
              </a:ext>
            </a:extLst>
          </p:cNvPr>
          <p:cNvSpPr/>
          <p:nvPr/>
        </p:nvSpPr>
        <p:spPr>
          <a:xfrm>
            <a:off x="404804" y="1882527"/>
            <a:ext cx="11276911" cy="351035"/>
          </a:xfrm>
          <a:prstGeom prst="rect">
            <a:avLst/>
          </a:prstGeom>
          <a:noFill/>
        </p:spPr>
        <p:txBody>
          <a:bodyPr wrap="square" tIns="90000" bIns="90000" rtlCol="0" anchor="t">
            <a:spAutoFit/>
          </a:bodyPr>
          <a:lstStyle/>
          <a:p>
            <a:pPr algn="just"/>
            <a:r>
              <a:rPr lang="en-US" sz="1100" dirty="0">
                <a:solidFill>
                  <a:srgbClr val="0079D1"/>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Properties for making a connection with Zookeeper and pass these properties to the Kafka consumer </a:t>
            </a:r>
          </a:p>
        </p:txBody>
      </p:sp>
      <p:sp>
        <p:nvSpPr>
          <p:cNvPr id="34" name="TextBox 33">
            <a:extLst>
              <a:ext uri="{FF2B5EF4-FFF2-40B4-BE49-F238E27FC236}">
                <a16:creationId xmlns:a16="http://schemas.microsoft.com/office/drawing/2014/main" id="{E2A5F57C-6359-1242-9FF8-46868A2215AD}"/>
              </a:ext>
            </a:extLst>
          </p:cNvPr>
          <p:cNvSpPr txBox="1"/>
          <p:nvPr/>
        </p:nvSpPr>
        <p:spPr>
          <a:xfrm>
            <a:off x="1392788" y="5750042"/>
            <a:ext cx="4997726" cy="612645"/>
          </a:xfrm>
          <a:prstGeom prst="rect">
            <a:avLst/>
          </a:prstGeom>
          <a:noFill/>
        </p:spPr>
        <p:txBody>
          <a:bodyPr wrap="square" tIns="90000" bIns="90000" rtlCol="0" anchor="t">
            <a:spAutoFit/>
          </a:bodyPr>
          <a:lstStyle/>
          <a:p>
            <a:pPr algn="just"/>
            <a:r>
              <a:rPr lang="en-US" sz="1400" dirty="0">
                <a:solidFill>
                  <a:srgbClr val="EE4328"/>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Note: This is an example, it is recommended the use of good practices at the design and language level in which the producer will be implemented</a:t>
            </a:r>
          </a:p>
        </p:txBody>
      </p:sp>
      <p:grpSp>
        <p:nvGrpSpPr>
          <p:cNvPr id="38" name="Group 37">
            <a:extLst>
              <a:ext uri="{FF2B5EF4-FFF2-40B4-BE49-F238E27FC236}">
                <a16:creationId xmlns:a16="http://schemas.microsoft.com/office/drawing/2014/main" id="{8A33E697-3981-CF45-AFC9-085CDCA9D7A1}"/>
              </a:ext>
            </a:extLst>
          </p:cNvPr>
          <p:cNvGrpSpPr/>
          <p:nvPr/>
        </p:nvGrpSpPr>
        <p:grpSpPr>
          <a:xfrm rot="21011211">
            <a:off x="1090044" y="5802245"/>
            <a:ext cx="413266" cy="400110"/>
            <a:chOff x="713814" y="1074049"/>
            <a:chExt cx="301686" cy="456942"/>
          </a:xfrm>
        </p:grpSpPr>
        <p:sp>
          <p:nvSpPr>
            <p:cNvPr id="39" name="Google Shape;431;p39">
              <a:extLst>
                <a:ext uri="{FF2B5EF4-FFF2-40B4-BE49-F238E27FC236}">
                  <a16:creationId xmlns:a16="http://schemas.microsoft.com/office/drawing/2014/main" id="{B7B01BC1-10FB-3A4E-9E25-E38649EC3F12}"/>
                </a:ext>
              </a:extLst>
            </p:cNvPr>
            <p:cNvSpPr/>
            <p:nvPr/>
          </p:nvSpPr>
          <p:spPr>
            <a:xfrm>
              <a:off x="736556" y="1203599"/>
              <a:ext cx="219241" cy="290724"/>
            </a:xfrm>
            <a:custGeom>
              <a:avLst/>
              <a:gdLst/>
              <a:ahLst/>
              <a:cxnLst/>
              <a:rect l="0" t="0" r="0" b="0"/>
              <a:pathLst>
                <a:path w="67641" h="69056" extrusionOk="0">
                  <a:moveTo>
                    <a:pt x="49622" y="2736"/>
                  </a:moveTo>
                  <a:lnTo>
                    <a:pt x="49622" y="2736"/>
                  </a:lnTo>
                  <a:lnTo>
                    <a:pt x="49622" y="2736"/>
                  </a:lnTo>
                  <a:close/>
                  <a:moveTo>
                    <a:pt x="59622" y="55565"/>
                  </a:moveTo>
                  <a:lnTo>
                    <a:pt x="59622" y="55565"/>
                  </a:lnTo>
                  <a:lnTo>
                    <a:pt x="59622" y="55565"/>
                  </a:lnTo>
                  <a:close/>
                  <a:moveTo>
                    <a:pt x="35471" y="0"/>
                  </a:moveTo>
                  <a:lnTo>
                    <a:pt x="34433" y="95"/>
                  </a:lnTo>
                  <a:lnTo>
                    <a:pt x="33584" y="189"/>
                  </a:lnTo>
                  <a:lnTo>
                    <a:pt x="32735" y="378"/>
                  </a:lnTo>
                  <a:lnTo>
                    <a:pt x="32169" y="566"/>
                  </a:lnTo>
                  <a:lnTo>
                    <a:pt x="31509" y="472"/>
                  </a:lnTo>
                  <a:lnTo>
                    <a:pt x="30754" y="472"/>
                  </a:lnTo>
                  <a:lnTo>
                    <a:pt x="29339" y="566"/>
                  </a:lnTo>
                  <a:lnTo>
                    <a:pt x="27830" y="849"/>
                  </a:lnTo>
                  <a:lnTo>
                    <a:pt x="26320" y="1321"/>
                  </a:lnTo>
                  <a:lnTo>
                    <a:pt x="24811" y="1981"/>
                  </a:lnTo>
                  <a:lnTo>
                    <a:pt x="23207" y="2736"/>
                  </a:lnTo>
                  <a:lnTo>
                    <a:pt x="21698" y="3585"/>
                  </a:lnTo>
                  <a:lnTo>
                    <a:pt x="20188" y="4623"/>
                  </a:lnTo>
                  <a:lnTo>
                    <a:pt x="18679" y="5661"/>
                  </a:lnTo>
                  <a:lnTo>
                    <a:pt x="17170" y="6793"/>
                  </a:lnTo>
                  <a:lnTo>
                    <a:pt x="15754" y="8019"/>
                  </a:lnTo>
                  <a:lnTo>
                    <a:pt x="14434" y="9151"/>
                  </a:lnTo>
                  <a:lnTo>
                    <a:pt x="11981" y="11510"/>
                  </a:lnTo>
                  <a:lnTo>
                    <a:pt x="10000" y="13774"/>
                  </a:lnTo>
                  <a:lnTo>
                    <a:pt x="7736" y="16981"/>
                  </a:lnTo>
                  <a:lnTo>
                    <a:pt x="8019" y="16321"/>
                  </a:lnTo>
                  <a:lnTo>
                    <a:pt x="8302" y="15660"/>
                  </a:lnTo>
                  <a:lnTo>
                    <a:pt x="7736" y="16604"/>
                  </a:lnTo>
                  <a:lnTo>
                    <a:pt x="7075" y="17642"/>
                  </a:lnTo>
                  <a:lnTo>
                    <a:pt x="7170" y="17830"/>
                  </a:lnTo>
                  <a:lnTo>
                    <a:pt x="6509" y="18868"/>
                  </a:lnTo>
                  <a:lnTo>
                    <a:pt x="7075" y="17359"/>
                  </a:lnTo>
                  <a:lnTo>
                    <a:pt x="6132" y="19057"/>
                  </a:lnTo>
                  <a:lnTo>
                    <a:pt x="5189" y="20849"/>
                  </a:lnTo>
                  <a:lnTo>
                    <a:pt x="4434" y="22736"/>
                  </a:lnTo>
                  <a:lnTo>
                    <a:pt x="3679" y="24622"/>
                  </a:lnTo>
                  <a:lnTo>
                    <a:pt x="2453" y="28490"/>
                  </a:lnTo>
                  <a:lnTo>
                    <a:pt x="1321" y="32169"/>
                  </a:lnTo>
                  <a:lnTo>
                    <a:pt x="1509" y="32264"/>
                  </a:lnTo>
                  <a:lnTo>
                    <a:pt x="1604" y="32453"/>
                  </a:lnTo>
                  <a:lnTo>
                    <a:pt x="1604" y="32641"/>
                  </a:lnTo>
                  <a:lnTo>
                    <a:pt x="1509" y="32924"/>
                  </a:lnTo>
                  <a:lnTo>
                    <a:pt x="1226" y="33396"/>
                  </a:lnTo>
                  <a:lnTo>
                    <a:pt x="1038" y="33585"/>
                  </a:lnTo>
                  <a:lnTo>
                    <a:pt x="1038" y="33773"/>
                  </a:lnTo>
                  <a:lnTo>
                    <a:pt x="1038" y="35000"/>
                  </a:lnTo>
                  <a:lnTo>
                    <a:pt x="849" y="36132"/>
                  </a:lnTo>
                  <a:lnTo>
                    <a:pt x="660" y="37358"/>
                  </a:lnTo>
                  <a:lnTo>
                    <a:pt x="472" y="38867"/>
                  </a:lnTo>
                  <a:lnTo>
                    <a:pt x="283" y="38301"/>
                  </a:lnTo>
                  <a:lnTo>
                    <a:pt x="94" y="39811"/>
                  </a:lnTo>
                  <a:lnTo>
                    <a:pt x="0" y="41509"/>
                  </a:lnTo>
                  <a:lnTo>
                    <a:pt x="94" y="43301"/>
                  </a:lnTo>
                  <a:lnTo>
                    <a:pt x="283" y="44056"/>
                  </a:lnTo>
                  <a:lnTo>
                    <a:pt x="472" y="44622"/>
                  </a:lnTo>
                  <a:lnTo>
                    <a:pt x="566" y="45660"/>
                  </a:lnTo>
                  <a:lnTo>
                    <a:pt x="755" y="46792"/>
                  </a:lnTo>
                  <a:lnTo>
                    <a:pt x="1226" y="48962"/>
                  </a:lnTo>
                  <a:lnTo>
                    <a:pt x="1981" y="51037"/>
                  </a:lnTo>
                  <a:lnTo>
                    <a:pt x="2924" y="53112"/>
                  </a:lnTo>
                  <a:lnTo>
                    <a:pt x="4057" y="55094"/>
                  </a:lnTo>
                  <a:lnTo>
                    <a:pt x="5283" y="56980"/>
                  </a:lnTo>
                  <a:lnTo>
                    <a:pt x="6698" y="58678"/>
                  </a:lnTo>
                  <a:lnTo>
                    <a:pt x="8113" y="60282"/>
                  </a:lnTo>
                  <a:lnTo>
                    <a:pt x="9056" y="61131"/>
                  </a:lnTo>
                  <a:lnTo>
                    <a:pt x="10000" y="61980"/>
                  </a:lnTo>
                  <a:lnTo>
                    <a:pt x="11038" y="62829"/>
                  </a:lnTo>
                  <a:lnTo>
                    <a:pt x="12075" y="63584"/>
                  </a:lnTo>
                  <a:lnTo>
                    <a:pt x="14339" y="64905"/>
                  </a:lnTo>
                  <a:lnTo>
                    <a:pt x="16604" y="66131"/>
                  </a:lnTo>
                  <a:lnTo>
                    <a:pt x="19056" y="67169"/>
                  </a:lnTo>
                  <a:lnTo>
                    <a:pt x="21509" y="67923"/>
                  </a:lnTo>
                  <a:lnTo>
                    <a:pt x="24056" y="68584"/>
                  </a:lnTo>
                  <a:lnTo>
                    <a:pt x="26603" y="69055"/>
                  </a:lnTo>
                  <a:lnTo>
                    <a:pt x="27830" y="69055"/>
                  </a:lnTo>
                  <a:lnTo>
                    <a:pt x="30188" y="68867"/>
                  </a:lnTo>
                  <a:lnTo>
                    <a:pt x="33113" y="68678"/>
                  </a:lnTo>
                  <a:lnTo>
                    <a:pt x="36509" y="68301"/>
                  </a:lnTo>
                  <a:lnTo>
                    <a:pt x="39811" y="67923"/>
                  </a:lnTo>
                  <a:lnTo>
                    <a:pt x="42735" y="67452"/>
                  </a:lnTo>
                  <a:lnTo>
                    <a:pt x="44905" y="66980"/>
                  </a:lnTo>
                  <a:lnTo>
                    <a:pt x="45565" y="66791"/>
                  </a:lnTo>
                  <a:lnTo>
                    <a:pt x="45943" y="66508"/>
                  </a:lnTo>
                  <a:lnTo>
                    <a:pt x="47358" y="65942"/>
                  </a:lnTo>
                  <a:lnTo>
                    <a:pt x="48018" y="65565"/>
                  </a:lnTo>
                  <a:lnTo>
                    <a:pt x="48678" y="65188"/>
                  </a:lnTo>
                  <a:lnTo>
                    <a:pt x="47924" y="65471"/>
                  </a:lnTo>
                  <a:lnTo>
                    <a:pt x="51509" y="62924"/>
                  </a:lnTo>
                  <a:lnTo>
                    <a:pt x="53301" y="61508"/>
                  </a:lnTo>
                  <a:lnTo>
                    <a:pt x="55093" y="59905"/>
                  </a:lnTo>
                  <a:lnTo>
                    <a:pt x="55093" y="59905"/>
                  </a:lnTo>
                  <a:lnTo>
                    <a:pt x="54810" y="60376"/>
                  </a:lnTo>
                  <a:lnTo>
                    <a:pt x="54339" y="60754"/>
                  </a:lnTo>
                  <a:lnTo>
                    <a:pt x="55376" y="59999"/>
                  </a:lnTo>
                  <a:lnTo>
                    <a:pt x="56320" y="59056"/>
                  </a:lnTo>
                  <a:lnTo>
                    <a:pt x="57075" y="58395"/>
                  </a:lnTo>
                  <a:lnTo>
                    <a:pt x="57169" y="58207"/>
                  </a:lnTo>
                  <a:lnTo>
                    <a:pt x="57075" y="58207"/>
                  </a:lnTo>
                  <a:lnTo>
                    <a:pt x="57924" y="57546"/>
                  </a:lnTo>
                  <a:lnTo>
                    <a:pt x="58678" y="56697"/>
                  </a:lnTo>
                  <a:lnTo>
                    <a:pt x="59339" y="55754"/>
                  </a:lnTo>
                  <a:lnTo>
                    <a:pt x="59905" y="54905"/>
                  </a:lnTo>
                  <a:lnTo>
                    <a:pt x="59716" y="54999"/>
                  </a:lnTo>
                  <a:lnTo>
                    <a:pt x="59622" y="54999"/>
                  </a:lnTo>
                  <a:lnTo>
                    <a:pt x="59810" y="54622"/>
                  </a:lnTo>
                  <a:lnTo>
                    <a:pt x="59150" y="55565"/>
                  </a:lnTo>
                  <a:lnTo>
                    <a:pt x="59527" y="55094"/>
                  </a:lnTo>
                  <a:lnTo>
                    <a:pt x="59433" y="55377"/>
                  </a:lnTo>
                  <a:lnTo>
                    <a:pt x="58867" y="56037"/>
                  </a:lnTo>
                  <a:lnTo>
                    <a:pt x="59056" y="55660"/>
                  </a:lnTo>
                  <a:lnTo>
                    <a:pt x="59056" y="55660"/>
                  </a:lnTo>
                  <a:lnTo>
                    <a:pt x="58678" y="56037"/>
                  </a:lnTo>
                  <a:lnTo>
                    <a:pt x="59810" y="54339"/>
                  </a:lnTo>
                  <a:lnTo>
                    <a:pt x="60282" y="53490"/>
                  </a:lnTo>
                  <a:lnTo>
                    <a:pt x="60282" y="53301"/>
                  </a:lnTo>
                  <a:lnTo>
                    <a:pt x="60188" y="53395"/>
                  </a:lnTo>
                  <a:lnTo>
                    <a:pt x="60188" y="53395"/>
                  </a:lnTo>
                  <a:lnTo>
                    <a:pt x="60565" y="52924"/>
                  </a:lnTo>
                  <a:lnTo>
                    <a:pt x="61037" y="52452"/>
                  </a:lnTo>
                  <a:lnTo>
                    <a:pt x="61886" y="51509"/>
                  </a:lnTo>
                  <a:lnTo>
                    <a:pt x="61508" y="52452"/>
                  </a:lnTo>
                  <a:lnTo>
                    <a:pt x="60848" y="53584"/>
                  </a:lnTo>
                  <a:lnTo>
                    <a:pt x="59622" y="55565"/>
                  </a:lnTo>
                  <a:lnTo>
                    <a:pt x="60376" y="54528"/>
                  </a:lnTo>
                  <a:lnTo>
                    <a:pt x="60942" y="53678"/>
                  </a:lnTo>
                  <a:lnTo>
                    <a:pt x="61980" y="51792"/>
                  </a:lnTo>
                  <a:lnTo>
                    <a:pt x="61886" y="51886"/>
                  </a:lnTo>
                  <a:lnTo>
                    <a:pt x="61886" y="51697"/>
                  </a:lnTo>
                  <a:lnTo>
                    <a:pt x="62169" y="51037"/>
                  </a:lnTo>
                  <a:lnTo>
                    <a:pt x="62735" y="49999"/>
                  </a:lnTo>
                  <a:lnTo>
                    <a:pt x="61508" y="51603"/>
                  </a:lnTo>
                  <a:lnTo>
                    <a:pt x="61603" y="51037"/>
                  </a:lnTo>
                  <a:lnTo>
                    <a:pt x="61697" y="50377"/>
                  </a:lnTo>
                  <a:lnTo>
                    <a:pt x="62169" y="48962"/>
                  </a:lnTo>
                  <a:lnTo>
                    <a:pt x="62829" y="47358"/>
                  </a:lnTo>
                  <a:lnTo>
                    <a:pt x="63678" y="45565"/>
                  </a:lnTo>
                  <a:lnTo>
                    <a:pt x="65376" y="42169"/>
                  </a:lnTo>
                  <a:lnTo>
                    <a:pt x="66131" y="40660"/>
                  </a:lnTo>
                  <a:lnTo>
                    <a:pt x="66697" y="39339"/>
                  </a:lnTo>
                  <a:lnTo>
                    <a:pt x="66603" y="39528"/>
                  </a:lnTo>
                  <a:lnTo>
                    <a:pt x="66697" y="39056"/>
                  </a:lnTo>
                  <a:lnTo>
                    <a:pt x="66791" y="38962"/>
                  </a:lnTo>
                  <a:lnTo>
                    <a:pt x="66791" y="39056"/>
                  </a:lnTo>
                  <a:lnTo>
                    <a:pt x="66886" y="38584"/>
                  </a:lnTo>
                  <a:lnTo>
                    <a:pt x="66791" y="38867"/>
                  </a:lnTo>
                  <a:lnTo>
                    <a:pt x="66980" y="38207"/>
                  </a:lnTo>
                  <a:lnTo>
                    <a:pt x="67169" y="37264"/>
                  </a:lnTo>
                  <a:lnTo>
                    <a:pt x="67263" y="36415"/>
                  </a:lnTo>
                  <a:lnTo>
                    <a:pt x="67357" y="36509"/>
                  </a:lnTo>
                  <a:lnTo>
                    <a:pt x="67452" y="36509"/>
                  </a:lnTo>
                  <a:lnTo>
                    <a:pt x="67546" y="35943"/>
                  </a:lnTo>
                  <a:lnTo>
                    <a:pt x="67546" y="34811"/>
                  </a:lnTo>
                  <a:lnTo>
                    <a:pt x="67640" y="31037"/>
                  </a:lnTo>
                  <a:lnTo>
                    <a:pt x="67640" y="28490"/>
                  </a:lnTo>
                  <a:lnTo>
                    <a:pt x="67546" y="27736"/>
                  </a:lnTo>
                  <a:lnTo>
                    <a:pt x="67546" y="27547"/>
                  </a:lnTo>
                  <a:lnTo>
                    <a:pt x="67452" y="27547"/>
                  </a:lnTo>
                  <a:lnTo>
                    <a:pt x="67074" y="26792"/>
                  </a:lnTo>
                  <a:lnTo>
                    <a:pt x="66791" y="25660"/>
                  </a:lnTo>
                  <a:lnTo>
                    <a:pt x="66508" y="24528"/>
                  </a:lnTo>
                  <a:lnTo>
                    <a:pt x="66414" y="23585"/>
                  </a:lnTo>
                  <a:lnTo>
                    <a:pt x="66320" y="23679"/>
                  </a:lnTo>
                  <a:lnTo>
                    <a:pt x="66320" y="23490"/>
                  </a:lnTo>
                  <a:lnTo>
                    <a:pt x="65942" y="22924"/>
                  </a:lnTo>
                  <a:lnTo>
                    <a:pt x="65565" y="22358"/>
                  </a:lnTo>
                  <a:lnTo>
                    <a:pt x="64527" y="21132"/>
                  </a:lnTo>
                  <a:lnTo>
                    <a:pt x="63584" y="19906"/>
                  </a:lnTo>
                  <a:lnTo>
                    <a:pt x="63207" y="19340"/>
                  </a:lnTo>
                  <a:lnTo>
                    <a:pt x="63018" y="18774"/>
                  </a:lnTo>
                  <a:lnTo>
                    <a:pt x="63112" y="18962"/>
                  </a:lnTo>
                  <a:lnTo>
                    <a:pt x="63301" y="19057"/>
                  </a:lnTo>
                  <a:lnTo>
                    <a:pt x="63301" y="19057"/>
                  </a:lnTo>
                  <a:lnTo>
                    <a:pt x="63207" y="18868"/>
                  </a:lnTo>
                  <a:lnTo>
                    <a:pt x="62923" y="18491"/>
                  </a:lnTo>
                  <a:lnTo>
                    <a:pt x="61980" y="17453"/>
                  </a:lnTo>
                  <a:lnTo>
                    <a:pt x="61037" y="16509"/>
                  </a:lnTo>
                  <a:lnTo>
                    <a:pt x="61037" y="16698"/>
                  </a:lnTo>
                  <a:lnTo>
                    <a:pt x="61037" y="16887"/>
                  </a:lnTo>
                  <a:lnTo>
                    <a:pt x="60093" y="15943"/>
                  </a:lnTo>
                  <a:lnTo>
                    <a:pt x="60376" y="16321"/>
                  </a:lnTo>
                  <a:lnTo>
                    <a:pt x="59527" y="15377"/>
                  </a:lnTo>
                  <a:lnTo>
                    <a:pt x="59056" y="14906"/>
                  </a:lnTo>
                  <a:lnTo>
                    <a:pt x="59244" y="14906"/>
                  </a:lnTo>
                  <a:lnTo>
                    <a:pt x="59905" y="15472"/>
                  </a:lnTo>
                  <a:lnTo>
                    <a:pt x="59905" y="15472"/>
                  </a:lnTo>
                  <a:lnTo>
                    <a:pt x="57641" y="13396"/>
                  </a:lnTo>
                  <a:lnTo>
                    <a:pt x="58112" y="13868"/>
                  </a:lnTo>
                  <a:lnTo>
                    <a:pt x="56886" y="13019"/>
                  </a:lnTo>
                  <a:lnTo>
                    <a:pt x="55754" y="12453"/>
                  </a:lnTo>
                  <a:lnTo>
                    <a:pt x="56603" y="13113"/>
                  </a:lnTo>
                  <a:lnTo>
                    <a:pt x="57452" y="13774"/>
                  </a:lnTo>
                  <a:lnTo>
                    <a:pt x="58961" y="15283"/>
                  </a:lnTo>
                  <a:lnTo>
                    <a:pt x="60376" y="16604"/>
                  </a:lnTo>
                  <a:lnTo>
                    <a:pt x="61225" y="17264"/>
                  </a:lnTo>
                  <a:lnTo>
                    <a:pt x="62074" y="17925"/>
                  </a:lnTo>
                  <a:lnTo>
                    <a:pt x="62074" y="17925"/>
                  </a:lnTo>
                  <a:lnTo>
                    <a:pt x="61414" y="17547"/>
                  </a:lnTo>
                  <a:lnTo>
                    <a:pt x="60659" y="16981"/>
                  </a:lnTo>
                  <a:lnTo>
                    <a:pt x="60754" y="17264"/>
                  </a:lnTo>
                  <a:lnTo>
                    <a:pt x="60942" y="17642"/>
                  </a:lnTo>
                  <a:lnTo>
                    <a:pt x="61980" y="19151"/>
                  </a:lnTo>
                  <a:lnTo>
                    <a:pt x="63301" y="20943"/>
                  </a:lnTo>
                  <a:lnTo>
                    <a:pt x="63207" y="20943"/>
                  </a:lnTo>
                  <a:lnTo>
                    <a:pt x="63395" y="21038"/>
                  </a:lnTo>
                  <a:lnTo>
                    <a:pt x="63490" y="21321"/>
                  </a:lnTo>
                  <a:lnTo>
                    <a:pt x="63678" y="21604"/>
                  </a:lnTo>
                  <a:lnTo>
                    <a:pt x="63773" y="21698"/>
                  </a:lnTo>
                  <a:lnTo>
                    <a:pt x="63584" y="21321"/>
                  </a:lnTo>
                  <a:lnTo>
                    <a:pt x="63584" y="21321"/>
                  </a:lnTo>
                  <a:lnTo>
                    <a:pt x="64244" y="22170"/>
                  </a:lnTo>
                  <a:lnTo>
                    <a:pt x="64716" y="22641"/>
                  </a:lnTo>
                  <a:lnTo>
                    <a:pt x="64905" y="22830"/>
                  </a:lnTo>
                  <a:lnTo>
                    <a:pt x="64999" y="22830"/>
                  </a:lnTo>
                  <a:lnTo>
                    <a:pt x="64999" y="22641"/>
                  </a:lnTo>
                  <a:lnTo>
                    <a:pt x="64905" y="22358"/>
                  </a:lnTo>
                  <a:lnTo>
                    <a:pt x="65282" y="23207"/>
                  </a:lnTo>
                  <a:lnTo>
                    <a:pt x="65565" y="24056"/>
                  </a:lnTo>
                  <a:lnTo>
                    <a:pt x="66225" y="25943"/>
                  </a:lnTo>
                  <a:lnTo>
                    <a:pt x="66697" y="27830"/>
                  </a:lnTo>
                  <a:lnTo>
                    <a:pt x="66886" y="28490"/>
                  </a:lnTo>
                  <a:lnTo>
                    <a:pt x="66980" y="28868"/>
                  </a:lnTo>
                  <a:lnTo>
                    <a:pt x="66886" y="28962"/>
                  </a:lnTo>
                  <a:lnTo>
                    <a:pt x="66697" y="28679"/>
                  </a:lnTo>
                  <a:lnTo>
                    <a:pt x="66697" y="29245"/>
                  </a:lnTo>
                  <a:lnTo>
                    <a:pt x="66791" y="29905"/>
                  </a:lnTo>
                  <a:lnTo>
                    <a:pt x="66886" y="29905"/>
                  </a:lnTo>
                  <a:lnTo>
                    <a:pt x="66886" y="30094"/>
                  </a:lnTo>
                  <a:lnTo>
                    <a:pt x="66886" y="30566"/>
                  </a:lnTo>
                  <a:lnTo>
                    <a:pt x="66697" y="30377"/>
                  </a:lnTo>
                  <a:lnTo>
                    <a:pt x="66603" y="30188"/>
                  </a:lnTo>
                  <a:lnTo>
                    <a:pt x="66603" y="30094"/>
                  </a:lnTo>
                  <a:lnTo>
                    <a:pt x="66697" y="29905"/>
                  </a:lnTo>
                  <a:lnTo>
                    <a:pt x="66508" y="28679"/>
                  </a:lnTo>
                  <a:lnTo>
                    <a:pt x="66225" y="27358"/>
                  </a:lnTo>
                  <a:lnTo>
                    <a:pt x="66603" y="30283"/>
                  </a:lnTo>
                  <a:lnTo>
                    <a:pt x="66697" y="31792"/>
                  </a:lnTo>
                  <a:lnTo>
                    <a:pt x="66697" y="33302"/>
                  </a:lnTo>
                  <a:lnTo>
                    <a:pt x="66603" y="34717"/>
                  </a:lnTo>
                  <a:lnTo>
                    <a:pt x="66414" y="36226"/>
                  </a:lnTo>
                  <a:lnTo>
                    <a:pt x="66131" y="37547"/>
                  </a:lnTo>
                  <a:lnTo>
                    <a:pt x="65659" y="38962"/>
                  </a:lnTo>
                  <a:lnTo>
                    <a:pt x="65848" y="38584"/>
                  </a:lnTo>
                  <a:lnTo>
                    <a:pt x="65942" y="38584"/>
                  </a:lnTo>
                  <a:lnTo>
                    <a:pt x="65848" y="39245"/>
                  </a:lnTo>
                  <a:lnTo>
                    <a:pt x="65565" y="40188"/>
                  </a:lnTo>
                  <a:lnTo>
                    <a:pt x="65471" y="40471"/>
                  </a:lnTo>
                  <a:lnTo>
                    <a:pt x="65282" y="40660"/>
                  </a:lnTo>
                  <a:lnTo>
                    <a:pt x="65282" y="40566"/>
                  </a:lnTo>
                  <a:lnTo>
                    <a:pt x="65093" y="41132"/>
                  </a:lnTo>
                  <a:lnTo>
                    <a:pt x="64433" y="43018"/>
                  </a:lnTo>
                  <a:lnTo>
                    <a:pt x="63678" y="45282"/>
                  </a:lnTo>
                  <a:lnTo>
                    <a:pt x="62735" y="47264"/>
                  </a:lnTo>
                  <a:lnTo>
                    <a:pt x="61697" y="49056"/>
                  </a:lnTo>
                  <a:lnTo>
                    <a:pt x="60659" y="50943"/>
                  </a:lnTo>
                  <a:lnTo>
                    <a:pt x="59433" y="52735"/>
                  </a:lnTo>
                  <a:lnTo>
                    <a:pt x="58207" y="54433"/>
                  </a:lnTo>
                  <a:lnTo>
                    <a:pt x="56886" y="56037"/>
                  </a:lnTo>
                  <a:lnTo>
                    <a:pt x="55376" y="57641"/>
                  </a:lnTo>
                  <a:lnTo>
                    <a:pt x="53867" y="59150"/>
                  </a:lnTo>
                  <a:lnTo>
                    <a:pt x="52169" y="60376"/>
                  </a:lnTo>
                  <a:lnTo>
                    <a:pt x="48961" y="62452"/>
                  </a:lnTo>
                  <a:lnTo>
                    <a:pt x="44528" y="65282"/>
                  </a:lnTo>
                  <a:lnTo>
                    <a:pt x="44622" y="65188"/>
                  </a:lnTo>
                  <a:lnTo>
                    <a:pt x="44716" y="65093"/>
                  </a:lnTo>
                  <a:lnTo>
                    <a:pt x="45094" y="64810"/>
                  </a:lnTo>
                  <a:lnTo>
                    <a:pt x="45660" y="64527"/>
                  </a:lnTo>
                  <a:lnTo>
                    <a:pt x="43867" y="65376"/>
                  </a:lnTo>
                  <a:lnTo>
                    <a:pt x="43113" y="65754"/>
                  </a:lnTo>
                  <a:lnTo>
                    <a:pt x="42924" y="65754"/>
                  </a:lnTo>
                  <a:lnTo>
                    <a:pt x="43113" y="65659"/>
                  </a:lnTo>
                  <a:lnTo>
                    <a:pt x="41603" y="66037"/>
                  </a:lnTo>
                  <a:lnTo>
                    <a:pt x="39999" y="66320"/>
                  </a:lnTo>
                  <a:lnTo>
                    <a:pt x="38396" y="66508"/>
                  </a:lnTo>
                  <a:lnTo>
                    <a:pt x="36792" y="66697"/>
                  </a:lnTo>
                  <a:lnTo>
                    <a:pt x="33584" y="66980"/>
                  </a:lnTo>
                  <a:lnTo>
                    <a:pt x="32169" y="67169"/>
                  </a:lnTo>
                  <a:lnTo>
                    <a:pt x="30754" y="67357"/>
                  </a:lnTo>
                  <a:lnTo>
                    <a:pt x="30094" y="67357"/>
                  </a:lnTo>
                  <a:lnTo>
                    <a:pt x="29339" y="67263"/>
                  </a:lnTo>
                  <a:lnTo>
                    <a:pt x="27830" y="66886"/>
                  </a:lnTo>
                  <a:lnTo>
                    <a:pt x="26415" y="66508"/>
                  </a:lnTo>
                  <a:lnTo>
                    <a:pt x="25754" y="66414"/>
                  </a:lnTo>
                  <a:lnTo>
                    <a:pt x="25094" y="66414"/>
                  </a:lnTo>
                  <a:lnTo>
                    <a:pt x="25566" y="66980"/>
                  </a:lnTo>
                  <a:lnTo>
                    <a:pt x="25471" y="67074"/>
                  </a:lnTo>
                  <a:lnTo>
                    <a:pt x="25188" y="66980"/>
                  </a:lnTo>
                  <a:lnTo>
                    <a:pt x="24339" y="66791"/>
                  </a:lnTo>
                  <a:lnTo>
                    <a:pt x="23773" y="66508"/>
                  </a:lnTo>
                  <a:lnTo>
                    <a:pt x="24245" y="66414"/>
                  </a:lnTo>
                  <a:lnTo>
                    <a:pt x="24717" y="66603"/>
                  </a:lnTo>
                  <a:lnTo>
                    <a:pt x="24811" y="66414"/>
                  </a:lnTo>
                  <a:lnTo>
                    <a:pt x="24811" y="66320"/>
                  </a:lnTo>
                  <a:lnTo>
                    <a:pt x="24717" y="66225"/>
                  </a:lnTo>
                  <a:lnTo>
                    <a:pt x="24528" y="66131"/>
                  </a:lnTo>
                  <a:lnTo>
                    <a:pt x="24151" y="66225"/>
                  </a:lnTo>
                  <a:lnTo>
                    <a:pt x="23679" y="66320"/>
                  </a:lnTo>
                  <a:lnTo>
                    <a:pt x="23018" y="66414"/>
                  </a:lnTo>
                  <a:lnTo>
                    <a:pt x="23490" y="66225"/>
                  </a:lnTo>
                  <a:lnTo>
                    <a:pt x="22075" y="65942"/>
                  </a:lnTo>
                  <a:lnTo>
                    <a:pt x="20943" y="65659"/>
                  </a:lnTo>
                  <a:lnTo>
                    <a:pt x="20000" y="65282"/>
                  </a:lnTo>
                  <a:lnTo>
                    <a:pt x="19056" y="64810"/>
                  </a:lnTo>
                  <a:lnTo>
                    <a:pt x="19056" y="64810"/>
                  </a:lnTo>
                  <a:lnTo>
                    <a:pt x="19717" y="64999"/>
                  </a:lnTo>
                  <a:lnTo>
                    <a:pt x="19151" y="64716"/>
                  </a:lnTo>
                  <a:lnTo>
                    <a:pt x="18962" y="64810"/>
                  </a:lnTo>
                  <a:lnTo>
                    <a:pt x="19151" y="64905"/>
                  </a:lnTo>
                  <a:lnTo>
                    <a:pt x="18490" y="64905"/>
                  </a:lnTo>
                  <a:lnTo>
                    <a:pt x="17830" y="64716"/>
                  </a:lnTo>
                  <a:lnTo>
                    <a:pt x="17264" y="64527"/>
                  </a:lnTo>
                  <a:lnTo>
                    <a:pt x="16698" y="64150"/>
                  </a:lnTo>
                  <a:lnTo>
                    <a:pt x="16981" y="64056"/>
                  </a:lnTo>
                  <a:lnTo>
                    <a:pt x="17264" y="64150"/>
                  </a:lnTo>
                  <a:lnTo>
                    <a:pt x="17264" y="64150"/>
                  </a:lnTo>
                  <a:lnTo>
                    <a:pt x="15188" y="63207"/>
                  </a:lnTo>
                  <a:lnTo>
                    <a:pt x="14622" y="62829"/>
                  </a:lnTo>
                  <a:lnTo>
                    <a:pt x="14717" y="62924"/>
                  </a:lnTo>
                  <a:lnTo>
                    <a:pt x="13773" y="62546"/>
                  </a:lnTo>
                  <a:lnTo>
                    <a:pt x="12924" y="62075"/>
                  </a:lnTo>
                  <a:lnTo>
                    <a:pt x="12358" y="61697"/>
                  </a:lnTo>
                  <a:lnTo>
                    <a:pt x="12264" y="61508"/>
                  </a:lnTo>
                  <a:lnTo>
                    <a:pt x="12170" y="61320"/>
                  </a:lnTo>
                  <a:lnTo>
                    <a:pt x="11698" y="60942"/>
                  </a:lnTo>
                  <a:lnTo>
                    <a:pt x="11132" y="60471"/>
                  </a:lnTo>
                  <a:lnTo>
                    <a:pt x="9906" y="59244"/>
                  </a:lnTo>
                  <a:lnTo>
                    <a:pt x="9906" y="59244"/>
                  </a:lnTo>
                  <a:lnTo>
                    <a:pt x="10566" y="59527"/>
                  </a:lnTo>
                  <a:lnTo>
                    <a:pt x="9434" y="58584"/>
                  </a:lnTo>
                  <a:lnTo>
                    <a:pt x="8207" y="57546"/>
                  </a:lnTo>
                  <a:lnTo>
                    <a:pt x="7547" y="56886"/>
                  </a:lnTo>
                  <a:lnTo>
                    <a:pt x="6981" y="56131"/>
                  </a:lnTo>
                  <a:lnTo>
                    <a:pt x="6226" y="55094"/>
                  </a:lnTo>
                  <a:lnTo>
                    <a:pt x="6415" y="55377"/>
                  </a:lnTo>
                  <a:lnTo>
                    <a:pt x="6038" y="54905"/>
                  </a:lnTo>
                  <a:lnTo>
                    <a:pt x="5472" y="54244"/>
                  </a:lnTo>
                  <a:lnTo>
                    <a:pt x="5283" y="53961"/>
                  </a:lnTo>
                  <a:lnTo>
                    <a:pt x="5094" y="53867"/>
                  </a:lnTo>
                  <a:lnTo>
                    <a:pt x="5377" y="54622"/>
                  </a:lnTo>
                  <a:lnTo>
                    <a:pt x="5849" y="55282"/>
                  </a:lnTo>
                  <a:lnTo>
                    <a:pt x="6321" y="55943"/>
                  </a:lnTo>
                  <a:lnTo>
                    <a:pt x="6698" y="56603"/>
                  </a:lnTo>
                  <a:lnTo>
                    <a:pt x="6226" y="56226"/>
                  </a:lnTo>
                  <a:lnTo>
                    <a:pt x="5943" y="55848"/>
                  </a:lnTo>
                  <a:lnTo>
                    <a:pt x="6038" y="56037"/>
                  </a:lnTo>
                  <a:lnTo>
                    <a:pt x="5943" y="55943"/>
                  </a:lnTo>
                  <a:lnTo>
                    <a:pt x="5377" y="55188"/>
                  </a:lnTo>
                  <a:lnTo>
                    <a:pt x="5000" y="54716"/>
                  </a:lnTo>
                  <a:lnTo>
                    <a:pt x="4717" y="54150"/>
                  </a:lnTo>
                  <a:lnTo>
                    <a:pt x="4528" y="53678"/>
                  </a:lnTo>
                  <a:lnTo>
                    <a:pt x="4528" y="53584"/>
                  </a:lnTo>
                  <a:lnTo>
                    <a:pt x="4623" y="53395"/>
                  </a:lnTo>
                  <a:lnTo>
                    <a:pt x="5094" y="54244"/>
                  </a:lnTo>
                  <a:lnTo>
                    <a:pt x="4717" y="53301"/>
                  </a:lnTo>
                  <a:lnTo>
                    <a:pt x="4528" y="53018"/>
                  </a:lnTo>
                  <a:lnTo>
                    <a:pt x="4151" y="52263"/>
                  </a:lnTo>
                  <a:lnTo>
                    <a:pt x="4151" y="52169"/>
                  </a:lnTo>
                  <a:lnTo>
                    <a:pt x="3774" y="51509"/>
                  </a:lnTo>
                  <a:lnTo>
                    <a:pt x="3396" y="50660"/>
                  </a:lnTo>
                  <a:lnTo>
                    <a:pt x="3585" y="51603"/>
                  </a:lnTo>
                  <a:lnTo>
                    <a:pt x="3396" y="51226"/>
                  </a:lnTo>
                  <a:lnTo>
                    <a:pt x="3208" y="50848"/>
                  </a:lnTo>
                  <a:lnTo>
                    <a:pt x="3208" y="50471"/>
                  </a:lnTo>
                  <a:lnTo>
                    <a:pt x="3208" y="50094"/>
                  </a:lnTo>
                  <a:lnTo>
                    <a:pt x="3585" y="50754"/>
                  </a:lnTo>
                  <a:lnTo>
                    <a:pt x="3868" y="51509"/>
                  </a:lnTo>
                  <a:lnTo>
                    <a:pt x="3868" y="51509"/>
                  </a:lnTo>
                  <a:lnTo>
                    <a:pt x="3208" y="49528"/>
                  </a:lnTo>
                  <a:lnTo>
                    <a:pt x="3208" y="49528"/>
                  </a:lnTo>
                  <a:lnTo>
                    <a:pt x="3868" y="50754"/>
                  </a:lnTo>
                  <a:lnTo>
                    <a:pt x="3208" y="48962"/>
                  </a:lnTo>
                  <a:lnTo>
                    <a:pt x="3585" y="49339"/>
                  </a:lnTo>
                  <a:lnTo>
                    <a:pt x="3774" y="49433"/>
                  </a:lnTo>
                  <a:lnTo>
                    <a:pt x="3962" y="49528"/>
                  </a:lnTo>
                  <a:lnTo>
                    <a:pt x="4057" y="49905"/>
                  </a:lnTo>
                  <a:lnTo>
                    <a:pt x="3868" y="48962"/>
                  </a:lnTo>
                  <a:lnTo>
                    <a:pt x="3491" y="47924"/>
                  </a:lnTo>
                  <a:lnTo>
                    <a:pt x="2641" y="45565"/>
                  </a:lnTo>
                  <a:lnTo>
                    <a:pt x="2170" y="43867"/>
                  </a:lnTo>
                  <a:lnTo>
                    <a:pt x="1698" y="41886"/>
                  </a:lnTo>
                  <a:lnTo>
                    <a:pt x="1698" y="41886"/>
                  </a:lnTo>
                  <a:lnTo>
                    <a:pt x="1887" y="42075"/>
                  </a:lnTo>
                  <a:lnTo>
                    <a:pt x="1981" y="41981"/>
                  </a:lnTo>
                  <a:lnTo>
                    <a:pt x="2075" y="42075"/>
                  </a:lnTo>
                  <a:lnTo>
                    <a:pt x="2264" y="42169"/>
                  </a:lnTo>
                  <a:lnTo>
                    <a:pt x="2170" y="40283"/>
                  </a:lnTo>
                  <a:lnTo>
                    <a:pt x="2075" y="38301"/>
                  </a:lnTo>
                  <a:lnTo>
                    <a:pt x="2170" y="36415"/>
                  </a:lnTo>
                  <a:lnTo>
                    <a:pt x="2358" y="35566"/>
                  </a:lnTo>
                  <a:lnTo>
                    <a:pt x="2453" y="34811"/>
                  </a:lnTo>
                  <a:lnTo>
                    <a:pt x="2830" y="32830"/>
                  </a:lnTo>
                  <a:lnTo>
                    <a:pt x="2830" y="33207"/>
                  </a:lnTo>
                  <a:lnTo>
                    <a:pt x="2924" y="33490"/>
                  </a:lnTo>
                  <a:lnTo>
                    <a:pt x="2924" y="32453"/>
                  </a:lnTo>
                  <a:lnTo>
                    <a:pt x="3019" y="31415"/>
                  </a:lnTo>
                  <a:lnTo>
                    <a:pt x="3396" y="29245"/>
                  </a:lnTo>
                  <a:lnTo>
                    <a:pt x="3868" y="27075"/>
                  </a:lnTo>
                  <a:lnTo>
                    <a:pt x="4623" y="25000"/>
                  </a:lnTo>
                  <a:lnTo>
                    <a:pt x="5566" y="22830"/>
                  </a:lnTo>
                  <a:lnTo>
                    <a:pt x="6604" y="20849"/>
                  </a:lnTo>
                  <a:lnTo>
                    <a:pt x="7830" y="18868"/>
                  </a:lnTo>
                  <a:lnTo>
                    <a:pt x="9151" y="16887"/>
                  </a:lnTo>
                  <a:lnTo>
                    <a:pt x="10566" y="15094"/>
                  </a:lnTo>
                  <a:lnTo>
                    <a:pt x="12075" y="13302"/>
                  </a:lnTo>
                  <a:lnTo>
                    <a:pt x="13773" y="11698"/>
                  </a:lnTo>
                  <a:lnTo>
                    <a:pt x="15377" y="10095"/>
                  </a:lnTo>
                  <a:lnTo>
                    <a:pt x="17170" y="8679"/>
                  </a:lnTo>
                  <a:lnTo>
                    <a:pt x="18962" y="7453"/>
                  </a:lnTo>
                  <a:lnTo>
                    <a:pt x="20754" y="6321"/>
                  </a:lnTo>
                  <a:lnTo>
                    <a:pt x="22547" y="5378"/>
                  </a:lnTo>
                  <a:lnTo>
                    <a:pt x="21603" y="6227"/>
                  </a:lnTo>
                  <a:lnTo>
                    <a:pt x="22641" y="5472"/>
                  </a:lnTo>
                  <a:lnTo>
                    <a:pt x="23302" y="5095"/>
                  </a:lnTo>
                  <a:lnTo>
                    <a:pt x="25377" y="4151"/>
                  </a:lnTo>
                  <a:lnTo>
                    <a:pt x="24811" y="4151"/>
                  </a:lnTo>
                  <a:lnTo>
                    <a:pt x="25660" y="3774"/>
                  </a:lnTo>
                  <a:lnTo>
                    <a:pt x="26886" y="3208"/>
                  </a:lnTo>
                  <a:lnTo>
                    <a:pt x="26603" y="3585"/>
                  </a:lnTo>
                  <a:lnTo>
                    <a:pt x="26886" y="3585"/>
                  </a:lnTo>
                  <a:lnTo>
                    <a:pt x="26886" y="3680"/>
                  </a:lnTo>
                  <a:lnTo>
                    <a:pt x="26792" y="3774"/>
                  </a:lnTo>
                  <a:lnTo>
                    <a:pt x="28301" y="3302"/>
                  </a:lnTo>
                  <a:lnTo>
                    <a:pt x="29622" y="2736"/>
                  </a:lnTo>
                  <a:lnTo>
                    <a:pt x="31037" y="2264"/>
                  </a:lnTo>
                  <a:lnTo>
                    <a:pt x="31792" y="2076"/>
                  </a:lnTo>
                  <a:lnTo>
                    <a:pt x="32641" y="1981"/>
                  </a:lnTo>
                  <a:lnTo>
                    <a:pt x="32547" y="2076"/>
                  </a:lnTo>
                  <a:lnTo>
                    <a:pt x="32924" y="1981"/>
                  </a:lnTo>
                  <a:lnTo>
                    <a:pt x="34245" y="1793"/>
                  </a:lnTo>
                  <a:lnTo>
                    <a:pt x="35848" y="1415"/>
                  </a:lnTo>
                  <a:lnTo>
                    <a:pt x="36981" y="1132"/>
                  </a:lnTo>
                  <a:lnTo>
                    <a:pt x="36981" y="1415"/>
                  </a:lnTo>
                  <a:lnTo>
                    <a:pt x="40943" y="1227"/>
                  </a:lnTo>
                  <a:lnTo>
                    <a:pt x="41509" y="1038"/>
                  </a:lnTo>
                  <a:lnTo>
                    <a:pt x="41697" y="1132"/>
                  </a:lnTo>
                  <a:lnTo>
                    <a:pt x="41509" y="1227"/>
                  </a:lnTo>
                  <a:lnTo>
                    <a:pt x="41320" y="1321"/>
                  </a:lnTo>
                  <a:lnTo>
                    <a:pt x="42263" y="1321"/>
                  </a:lnTo>
                  <a:lnTo>
                    <a:pt x="43113" y="1227"/>
                  </a:lnTo>
                  <a:lnTo>
                    <a:pt x="43396" y="1415"/>
                  </a:lnTo>
                  <a:lnTo>
                    <a:pt x="44056" y="1604"/>
                  </a:lnTo>
                  <a:lnTo>
                    <a:pt x="45943" y="2076"/>
                  </a:lnTo>
                  <a:lnTo>
                    <a:pt x="48018" y="2359"/>
                  </a:lnTo>
                  <a:lnTo>
                    <a:pt x="49622" y="2736"/>
                  </a:lnTo>
                  <a:lnTo>
                    <a:pt x="47641" y="1981"/>
                  </a:lnTo>
                  <a:lnTo>
                    <a:pt x="45282" y="1321"/>
                  </a:lnTo>
                  <a:lnTo>
                    <a:pt x="42735" y="755"/>
                  </a:lnTo>
                  <a:lnTo>
                    <a:pt x="40188" y="283"/>
                  </a:lnTo>
                  <a:lnTo>
                    <a:pt x="37735" y="95"/>
                  </a:lnTo>
                  <a:lnTo>
                    <a:pt x="35471" y="0"/>
                  </a:lnTo>
                  <a:close/>
                </a:path>
              </a:pathLst>
            </a:custGeom>
            <a:solidFill>
              <a:srgbClr val="FF0000"/>
            </a:solidFill>
            <a:ln>
              <a:noFill/>
            </a:ln>
          </p:spPr>
          <p:txBody>
            <a:bodyPr spcFirstLastPara="1" wrap="square" lIns="91425" tIns="91425" rIns="91425" bIns="91425" anchor="ctr" anchorCtr="0">
              <a:noAutofit/>
            </a:bodyPr>
            <a:lstStyle/>
            <a:p>
              <a:pPr marL="0" lvl="0" indent="0">
                <a:spcBef>
                  <a:spcPts val="0"/>
                </a:spcBef>
                <a:spcAft>
                  <a:spcPts val="0"/>
                </a:spcAft>
                <a:buNone/>
              </a:pPr>
              <a:endParaRPr sz="1200" dirty="0"/>
            </a:p>
          </p:txBody>
        </p:sp>
        <p:sp>
          <p:nvSpPr>
            <p:cNvPr id="40" name="TextBox 39">
              <a:extLst>
                <a:ext uri="{FF2B5EF4-FFF2-40B4-BE49-F238E27FC236}">
                  <a16:creationId xmlns:a16="http://schemas.microsoft.com/office/drawing/2014/main" id="{B4499C96-AD89-6C49-80D6-47EBC3F10096}"/>
                </a:ext>
              </a:extLst>
            </p:cNvPr>
            <p:cNvSpPr txBox="1"/>
            <p:nvPr/>
          </p:nvSpPr>
          <p:spPr>
            <a:xfrm>
              <a:off x="713814" y="1074049"/>
              <a:ext cx="301686" cy="456942"/>
            </a:xfrm>
            <a:prstGeom prst="rect">
              <a:avLst/>
            </a:prstGeom>
            <a:noFill/>
          </p:spPr>
          <p:txBody>
            <a:bodyPr wrap="square" rtlCol="0">
              <a:spAutoFit/>
            </a:bodyPr>
            <a:lstStyle/>
            <a:p>
              <a:r>
                <a:rPr lang="en-US" sz="1200" dirty="0">
                  <a:solidFill>
                    <a:srgbClr val="F36F26"/>
                  </a:solidFill>
                </a:rPr>
                <a:t> </a:t>
              </a:r>
              <a:r>
                <a:rPr lang="en-US" sz="2000" dirty="0">
                  <a:solidFill>
                    <a:srgbClr val="F36F26"/>
                  </a:solidFill>
                </a:rPr>
                <a:t>¡</a:t>
              </a:r>
              <a:endParaRPr lang="en-US" sz="1200" dirty="0">
                <a:solidFill>
                  <a:srgbClr val="F36F26"/>
                </a:solidFill>
              </a:endParaRPr>
            </a:p>
          </p:txBody>
        </p:sp>
      </p:grpSp>
      <p:cxnSp>
        <p:nvCxnSpPr>
          <p:cNvPr id="48" name="Straight Connector 47">
            <a:extLst>
              <a:ext uri="{FF2B5EF4-FFF2-40B4-BE49-F238E27FC236}">
                <a16:creationId xmlns:a16="http://schemas.microsoft.com/office/drawing/2014/main" id="{2B2379EB-6209-9340-A2B9-17FCE4810757}"/>
              </a:ext>
            </a:extLst>
          </p:cNvPr>
          <p:cNvCxnSpPr>
            <a:cxnSpLocks/>
            <a:stCxn id="49" idx="3"/>
          </p:cNvCxnSpPr>
          <p:nvPr/>
        </p:nvCxnSpPr>
        <p:spPr>
          <a:xfrm>
            <a:off x="3721608" y="3021752"/>
            <a:ext cx="987552" cy="264767"/>
          </a:xfrm>
          <a:prstGeom prst="line">
            <a:avLst/>
          </a:prstGeom>
          <a:ln w="12700">
            <a:solidFill>
              <a:srgbClr val="FF0000">
                <a:alpha val="50000"/>
              </a:srgbClr>
            </a:solidFill>
            <a:headEnd type="oval"/>
            <a:tailEnd type="oval"/>
          </a:ln>
        </p:spPr>
        <p:style>
          <a:lnRef idx="1">
            <a:schemeClr val="accent1"/>
          </a:lnRef>
          <a:fillRef idx="0">
            <a:schemeClr val="accent1"/>
          </a:fillRef>
          <a:effectRef idx="0">
            <a:schemeClr val="accent1"/>
          </a:effectRef>
          <a:fontRef idx="minor">
            <a:schemeClr val="tx1"/>
          </a:fontRef>
        </p:style>
      </p:cxnSp>
      <p:sp>
        <p:nvSpPr>
          <p:cNvPr id="49" name="TextBox 48">
            <a:extLst>
              <a:ext uri="{FF2B5EF4-FFF2-40B4-BE49-F238E27FC236}">
                <a16:creationId xmlns:a16="http://schemas.microsoft.com/office/drawing/2014/main" id="{30D9E41C-ED01-AE41-A068-F14FF6A13716}"/>
              </a:ext>
            </a:extLst>
          </p:cNvPr>
          <p:cNvSpPr txBox="1"/>
          <p:nvPr/>
        </p:nvSpPr>
        <p:spPr>
          <a:xfrm>
            <a:off x="530522" y="2515374"/>
            <a:ext cx="3191086" cy="1012755"/>
          </a:xfrm>
          <a:prstGeom prst="rect">
            <a:avLst/>
          </a:prstGeom>
          <a:noFill/>
        </p:spPr>
        <p:txBody>
          <a:bodyPr wrap="square" tIns="90000" bIns="90000" rtlCol="0" anchor="t">
            <a:spAutoFit/>
          </a:bodyPr>
          <a:lstStyle/>
          <a:p>
            <a:pPr algn="just"/>
            <a:r>
              <a:rPr lang="en-US" sz="900" dirty="0" err="1">
                <a:solidFill>
                  <a:srgbClr val="C5277F"/>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zookeeper.connect</a:t>
            </a:r>
            <a:r>
              <a:rPr lang="en-US" sz="900" dirty="0">
                <a:solidFill>
                  <a:srgbClr val="C5277F"/>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 </a:t>
            </a:r>
            <a:r>
              <a:rPr lang="en-US" sz="9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This property specifies the </a:t>
            </a:r>
            <a:r>
              <a:rPr lang="en-US" sz="900" dirty="0" err="1">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ZooKeeper</a:t>
            </a:r>
            <a:r>
              <a:rPr lang="en-US" sz="9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 </a:t>
            </a:r>
            <a:r>
              <a:rPr lang="en-US" sz="900" dirty="0">
                <a:solidFill>
                  <a:srgbClr val="C5277F"/>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lt;</a:t>
            </a:r>
            <a:r>
              <a:rPr lang="en-US" sz="900" dirty="0" err="1">
                <a:solidFill>
                  <a:srgbClr val="C5277F"/>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node:port</a:t>
            </a:r>
            <a:r>
              <a:rPr lang="en-US" sz="900" dirty="0">
                <a:solidFill>
                  <a:srgbClr val="C5277F"/>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gt; </a:t>
            </a:r>
            <a:r>
              <a:rPr lang="en-US" sz="9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connection detail that is used to find the Zookeeper running instance in the cluster. In the Kafka cluster, Zookeeper is used to store offsets of messages consumed for a specific topic and partition by this consumer group.</a:t>
            </a:r>
          </a:p>
        </p:txBody>
      </p:sp>
      <p:sp>
        <p:nvSpPr>
          <p:cNvPr id="51" name="TextBox 50">
            <a:extLst>
              <a:ext uri="{FF2B5EF4-FFF2-40B4-BE49-F238E27FC236}">
                <a16:creationId xmlns:a16="http://schemas.microsoft.com/office/drawing/2014/main" id="{F5E76A76-21D4-3046-AE1F-77E48A5B656A}"/>
              </a:ext>
            </a:extLst>
          </p:cNvPr>
          <p:cNvSpPr txBox="1"/>
          <p:nvPr/>
        </p:nvSpPr>
        <p:spPr>
          <a:xfrm>
            <a:off x="7856615" y="2547430"/>
            <a:ext cx="3804863" cy="643423"/>
          </a:xfrm>
          <a:prstGeom prst="rect">
            <a:avLst/>
          </a:prstGeom>
          <a:noFill/>
        </p:spPr>
        <p:txBody>
          <a:bodyPr wrap="square" tIns="90000" bIns="90000" rtlCol="0" anchor="t">
            <a:spAutoFit/>
          </a:bodyPr>
          <a:lstStyle/>
          <a:p>
            <a:pPr algn="just"/>
            <a:r>
              <a:rPr lang="en-US" sz="1000" dirty="0" err="1">
                <a:solidFill>
                  <a:srgbClr val="C5277F"/>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group.id</a:t>
            </a:r>
            <a:r>
              <a:rPr lang="en-US" sz="10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 This property specifies the name for the consumer group shared by all the consumers within the group. This is also the process name used by Zookeeper to store offsets.</a:t>
            </a:r>
          </a:p>
        </p:txBody>
      </p:sp>
      <p:cxnSp>
        <p:nvCxnSpPr>
          <p:cNvPr id="53" name="Straight Connector 52">
            <a:extLst>
              <a:ext uri="{FF2B5EF4-FFF2-40B4-BE49-F238E27FC236}">
                <a16:creationId xmlns:a16="http://schemas.microsoft.com/office/drawing/2014/main" id="{B6E1C61F-1358-984B-A3A9-4C5E56856F67}"/>
              </a:ext>
            </a:extLst>
          </p:cNvPr>
          <p:cNvCxnSpPr>
            <a:cxnSpLocks/>
            <a:endCxn id="51" idx="1"/>
          </p:cNvCxnSpPr>
          <p:nvPr/>
        </p:nvCxnSpPr>
        <p:spPr>
          <a:xfrm flipV="1">
            <a:off x="5440680" y="2869142"/>
            <a:ext cx="2415935" cy="559859"/>
          </a:xfrm>
          <a:prstGeom prst="line">
            <a:avLst/>
          </a:prstGeom>
          <a:ln w="12700">
            <a:solidFill>
              <a:srgbClr val="FF0000">
                <a:alpha val="50000"/>
              </a:srgbClr>
            </a:solidFill>
            <a:headEnd type="oval"/>
            <a:tailEnd type="oval"/>
          </a:ln>
        </p:spPr>
        <p:style>
          <a:lnRef idx="1">
            <a:schemeClr val="accent1"/>
          </a:lnRef>
          <a:fillRef idx="0">
            <a:schemeClr val="accent1"/>
          </a:fillRef>
          <a:effectRef idx="0">
            <a:schemeClr val="accent1"/>
          </a:effectRef>
          <a:fontRef idx="minor">
            <a:schemeClr val="tx1"/>
          </a:fontRef>
        </p:style>
      </p:cxnSp>
      <p:sp>
        <p:nvSpPr>
          <p:cNvPr id="54" name="TextBox 53">
            <a:extLst>
              <a:ext uri="{FF2B5EF4-FFF2-40B4-BE49-F238E27FC236}">
                <a16:creationId xmlns:a16="http://schemas.microsoft.com/office/drawing/2014/main" id="{38EE3A1B-6B6B-C44C-8847-A17803505499}"/>
              </a:ext>
            </a:extLst>
          </p:cNvPr>
          <p:cNvSpPr txBox="1"/>
          <p:nvPr/>
        </p:nvSpPr>
        <p:spPr>
          <a:xfrm>
            <a:off x="7856615" y="3492477"/>
            <a:ext cx="3804863" cy="735756"/>
          </a:xfrm>
          <a:prstGeom prst="rect">
            <a:avLst/>
          </a:prstGeom>
          <a:noFill/>
        </p:spPr>
        <p:txBody>
          <a:bodyPr wrap="square" tIns="90000" bIns="90000" rtlCol="0" anchor="t">
            <a:spAutoFit/>
          </a:bodyPr>
          <a:lstStyle/>
          <a:p>
            <a:pPr algn="just"/>
            <a:r>
              <a:rPr lang="en-US" sz="900" dirty="0" err="1">
                <a:solidFill>
                  <a:srgbClr val="C5277F"/>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zookeeper.session.timeout.ms</a:t>
            </a:r>
            <a:r>
              <a:rPr lang="en-US" sz="9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 This property specifies the Zookeeper session timeout in milliseconds and represents the amount of time Kafka will wait for Zookeeper to respond to a request before giving up and continuing to consume messages.</a:t>
            </a:r>
          </a:p>
        </p:txBody>
      </p:sp>
      <p:cxnSp>
        <p:nvCxnSpPr>
          <p:cNvPr id="58" name="Straight Connector 57">
            <a:extLst>
              <a:ext uri="{FF2B5EF4-FFF2-40B4-BE49-F238E27FC236}">
                <a16:creationId xmlns:a16="http://schemas.microsoft.com/office/drawing/2014/main" id="{C9C5C362-A487-F449-9D8C-4B5441D4B96B}"/>
              </a:ext>
            </a:extLst>
          </p:cNvPr>
          <p:cNvCxnSpPr>
            <a:cxnSpLocks/>
            <a:endCxn id="54" idx="1"/>
          </p:cNvCxnSpPr>
          <p:nvPr/>
        </p:nvCxnSpPr>
        <p:spPr>
          <a:xfrm>
            <a:off x="6986016" y="3570064"/>
            <a:ext cx="870599" cy="290291"/>
          </a:xfrm>
          <a:prstGeom prst="line">
            <a:avLst/>
          </a:prstGeom>
          <a:ln w="12700">
            <a:solidFill>
              <a:srgbClr val="FF0000">
                <a:alpha val="50000"/>
              </a:srgbClr>
            </a:solidFill>
            <a:headEnd type="oval"/>
            <a:tailEnd type="oval"/>
          </a:ln>
        </p:spPr>
        <p:style>
          <a:lnRef idx="1">
            <a:schemeClr val="accent1"/>
          </a:lnRef>
          <a:fillRef idx="0">
            <a:schemeClr val="accent1"/>
          </a:fillRef>
          <a:effectRef idx="0">
            <a:schemeClr val="accent1"/>
          </a:effectRef>
          <a:fontRef idx="minor">
            <a:schemeClr val="tx1"/>
          </a:fontRef>
        </p:style>
      </p:cxnSp>
      <p:sp>
        <p:nvSpPr>
          <p:cNvPr id="71" name="TextBox 70">
            <a:extLst>
              <a:ext uri="{FF2B5EF4-FFF2-40B4-BE49-F238E27FC236}">
                <a16:creationId xmlns:a16="http://schemas.microsoft.com/office/drawing/2014/main" id="{B232A513-DBCC-5B4C-90FE-262428835260}"/>
              </a:ext>
            </a:extLst>
          </p:cNvPr>
          <p:cNvSpPr txBox="1"/>
          <p:nvPr/>
        </p:nvSpPr>
        <p:spPr>
          <a:xfrm>
            <a:off x="6462854" y="4535957"/>
            <a:ext cx="3804863" cy="643423"/>
          </a:xfrm>
          <a:prstGeom prst="rect">
            <a:avLst/>
          </a:prstGeom>
          <a:noFill/>
        </p:spPr>
        <p:txBody>
          <a:bodyPr wrap="square" tIns="90000" bIns="90000" rtlCol="0" anchor="t">
            <a:spAutoFit/>
          </a:bodyPr>
          <a:lstStyle/>
          <a:p>
            <a:pPr algn="just"/>
            <a:r>
              <a:rPr lang="en-US" sz="1000" dirty="0" err="1">
                <a:solidFill>
                  <a:srgbClr val="C5277F"/>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zookeeper.sync.time.ms</a:t>
            </a:r>
            <a:r>
              <a:rPr lang="en-US" sz="10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 This property specifies the </a:t>
            </a:r>
            <a:r>
              <a:rPr lang="en-US" sz="1000" dirty="0" err="1">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ZooKeeper</a:t>
            </a:r>
            <a:r>
              <a:rPr lang="en-US" sz="10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 sync time in milliseconds between the </a:t>
            </a:r>
            <a:r>
              <a:rPr lang="en-US" sz="1000" dirty="0" err="1">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ZooKeeper</a:t>
            </a:r>
            <a:r>
              <a:rPr lang="en-US" sz="10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 leader and the followers.</a:t>
            </a:r>
          </a:p>
        </p:txBody>
      </p:sp>
      <p:cxnSp>
        <p:nvCxnSpPr>
          <p:cNvPr id="72" name="Straight Connector 71">
            <a:extLst>
              <a:ext uri="{FF2B5EF4-FFF2-40B4-BE49-F238E27FC236}">
                <a16:creationId xmlns:a16="http://schemas.microsoft.com/office/drawing/2014/main" id="{427EB3EE-A71A-1E41-B4D9-245358A4A583}"/>
              </a:ext>
            </a:extLst>
          </p:cNvPr>
          <p:cNvCxnSpPr>
            <a:cxnSpLocks/>
            <a:endCxn id="71" idx="0"/>
          </p:cNvCxnSpPr>
          <p:nvPr/>
        </p:nvCxnSpPr>
        <p:spPr>
          <a:xfrm>
            <a:off x="6565392" y="3887988"/>
            <a:ext cx="1799894" cy="647969"/>
          </a:xfrm>
          <a:prstGeom prst="line">
            <a:avLst/>
          </a:prstGeom>
          <a:ln w="12700">
            <a:solidFill>
              <a:srgbClr val="FF0000">
                <a:alpha val="50000"/>
              </a:srgbClr>
            </a:solidFill>
            <a:headEnd type="oval"/>
            <a:tailEnd type="oval"/>
          </a:ln>
        </p:spPr>
        <p:style>
          <a:lnRef idx="1">
            <a:schemeClr val="accent1"/>
          </a:lnRef>
          <a:fillRef idx="0">
            <a:schemeClr val="accent1"/>
          </a:fillRef>
          <a:effectRef idx="0">
            <a:schemeClr val="accent1"/>
          </a:effectRef>
          <a:fontRef idx="minor">
            <a:schemeClr val="tx1"/>
          </a:fontRef>
        </p:style>
      </p:cxnSp>
      <p:sp>
        <p:nvSpPr>
          <p:cNvPr id="76" name="TextBox 75">
            <a:extLst>
              <a:ext uri="{FF2B5EF4-FFF2-40B4-BE49-F238E27FC236}">
                <a16:creationId xmlns:a16="http://schemas.microsoft.com/office/drawing/2014/main" id="{C9CBEBD5-A22F-5446-9414-75CDCB8B07BE}"/>
              </a:ext>
            </a:extLst>
          </p:cNvPr>
          <p:cNvSpPr txBox="1"/>
          <p:nvPr/>
        </p:nvSpPr>
        <p:spPr>
          <a:xfrm>
            <a:off x="1665647" y="4654872"/>
            <a:ext cx="3804863" cy="735756"/>
          </a:xfrm>
          <a:prstGeom prst="rect">
            <a:avLst/>
          </a:prstGeom>
          <a:noFill/>
        </p:spPr>
        <p:txBody>
          <a:bodyPr wrap="square" tIns="90000" bIns="90000" rtlCol="0" anchor="t">
            <a:spAutoFit/>
          </a:bodyPr>
          <a:lstStyle/>
          <a:p>
            <a:pPr algn="just"/>
            <a:r>
              <a:rPr lang="en-US" sz="1200" dirty="0" err="1">
                <a:solidFill>
                  <a:srgbClr val="C5277F"/>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auto.commit.interval.ms</a:t>
            </a:r>
            <a:r>
              <a:rPr lang="en-US" sz="12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 This property defines the frequency in milliseconds at which consumer offsets get committed to Zookeeper.</a:t>
            </a:r>
          </a:p>
        </p:txBody>
      </p:sp>
      <p:cxnSp>
        <p:nvCxnSpPr>
          <p:cNvPr id="77" name="Straight Connector 76">
            <a:extLst>
              <a:ext uri="{FF2B5EF4-FFF2-40B4-BE49-F238E27FC236}">
                <a16:creationId xmlns:a16="http://schemas.microsoft.com/office/drawing/2014/main" id="{6A04AEFE-9FF1-734B-BD6F-6B4CD0B781BF}"/>
              </a:ext>
            </a:extLst>
          </p:cNvPr>
          <p:cNvCxnSpPr>
            <a:cxnSpLocks/>
            <a:endCxn id="76" idx="0"/>
          </p:cNvCxnSpPr>
          <p:nvPr/>
        </p:nvCxnSpPr>
        <p:spPr>
          <a:xfrm flipH="1">
            <a:off x="3568079" y="3887988"/>
            <a:ext cx="1189319" cy="766884"/>
          </a:xfrm>
          <a:prstGeom prst="line">
            <a:avLst/>
          </a:prstGeom>
          <a:ln w="12700">
            <a:solidFill>
              <a:srgbClr val="FF0000">
                <a:alpha val="50000"/>
              </a:srgbClr>
            </a:solidFill>
            <a:headEnd type="oval"/>
            <a:tailEnd type="ova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6108053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tangle 3">
            <a:extLst>
              <a:ext uri="{FF2B5EF4-FFF2-40B4-BE49-F238E27FC236}">
                <a16:creationId xmlns:a16="http://schemas.microsoft.com/office/drawing/2014/main" id="{A27FD23C-A522-0E4F-B70C-CC83BC4542BA}"/>
              </a:ext>
            </a:extLst>
          </p:cNvPr>
          <p:cNvSpPr txBox="1"/>
          <p:nvPr/>
        </p:nvSpPr>
        <p:spPr>
          <a:xfrm>
            <a:off x="404808" y="237462"/>
            <a:ext cx="7585857" cy="400105"/>
          </a:xfrm>
          <a:prstGeom prst="rect">
            <a:avLst/>
          </a:prstGeom>
          <a:ln w="12700">
            <a:miter lim="400000"/>
          </a:ln>
          <a:extLst>
            <a:ext uri="{C572A759-6A51-4108-AA02-DFA0A04FC94B}">
              <ma14:wrappingTextBoxFlag xmlns:ma14="http://schemas.microsoft.com/office/mac/drawingml/2011/main" xmlns="" val="1"/>
            </a:ext>
          </a:extLst>
        </p:spPr>
        <p:txBody>
          <a:bodyPr wrap="square" lIns="45718" tIns="45718" rIns="45718" bIns="45718">
            <a:spAutoFit/>
          </a:bodyPr>
          <a:lstStyle>
            <a:lvl1pPr algn="l" defTabSz="914400">
              <a:defRPr sz="2200" b="1">
                <a:solidFill>
                  <a:srgbClr val="FFFFFF"/>
                </a:solidFill>
                <a:latin typeface="Arial"/>
                <a:ea typeface="Arial"/>
                <a:cs typeface="Arial"/>
                <a:sym typeface="Arial"/>
              </a:defRPr>
            </a:lvl1pPr>
          </a:lstStyle>
          <a:p>
            <a:r>
              <a:rPr lang="en-US" sz="2000" dirty="0">
                <a:solidFill>
                  <a:srgbClr val="016AA2"/>
                </a:solidFill>
              </a:rPr>
              <a:t>Features and terminology (XVI)</a:t>
            </a:r>
          </a:p>
        </p:txBody>
      </p:sp>
      <p:sp>
        <p:nvSpPr>
          <p:cNvPr id="65" name="Rectangle 3"/>
          <p:cNvSpPr txBox="1"/>
          <p:nvPr/>
        </p:nvSpPr>
        <p:spPr>
          <a:xfrm>
            <a:off x="404806" y="610135"/>
            <a:ext cx="8775769" cy="369328"/>
          </a:xfrm>
          <a:prstGeom prst="rect">
            <a:avLst/>
          </a:prstGeom>
          <a:ln w="12700">
            <a:miter lim="400000"/>
          </a:ln>
          <a:extLst>
            <a:ext uri="{C572A759-6A51-4108-AA02-DFA0A04FC94B}">
              <ma14:wrappingTextBoxFlag xmlns="" xmlns:ma14="http://schemas.microsoft.com/office/mac/drawingml/2011/main" val="1"/>
            </a:ext>
          </a:extLst>
        </p:spPr>
        <p:txBody>
          <a:bodyPr wrap="square" lIns="45718" tIns="45718" rIns="45718" bIns="45718">
            <a:spAutoFit/>
          </a:bodyPr>
          <a:lstStyle>
            <a:lvl1pPr algn="l" defTabSz="914400">
              <a:defRPr sz="2000">
                <a:solidFill>
                  <a:srgbClr val="104D6A"/>
                </a:solidFill>
                <a:latin typeface="Arial"/>
                <a:ea typeface="Arial"/>
                <a:cs typeface="Arial"/>
                <a:sym typeface="Arial"/>
              </a:defRPr>
            </a:lvl1pPr>
          </a:lstStyle>
          <a:p>
            <a:pPr>
              <a:defRPr/>
            </a:pPr>
            <a:r>
              <a:rPr lang="en-US" sz="1800" b="1" dirty="0">
                <a:solidFill>
                  <a:srgbClr val="73C4EF"/>
                </a:solidFill>
              </a:rPr>
              <a:t>Event Hub Architecture – Zookeeper</a:t>
            </a:r>
          </a:p>
        </p:txBody>
      </p:sp>
      <p:sp>
        <p:nvSpPr>
          <p:cNvPr id="23" name="Rectangle 22">
            <a:extLst>
              <a:ext uri="{FF2B5EF4-FFF2-40B4-BE49-F238E27FC236}">
                <a16:creationId xmlns:a16="http://schemas.microsoft.com/office/drawing/2014/main" id="{7D2D7898-338D-DC46-9568-09BFC84C2082}"/>
              </a:ext>
            </a:extLst>
          </p:cNvPr>
          <p:cNvSpPr/>
          <p:nvPr/>
        </p:nvSpPr>
        <p:spPr>
          <a:xfrm>
            <a:off x="2426401" y="1723866"/>
            <a:ext cx="1851949" cy="1022621"/>
          </a:xfrm>
          <a:prstGeom prst="rect">
            <a:avLst/>
          </a:prstGeom>
          <a:solidFill>
            <a:srgbClr val="87CBD8">
              <a:alpha val="95000"/>
            </a:srgb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t" anchorCtr="0" forceAA="0" compatLnSpc="1">
            <a:prstTxWarp prst="textNoShape">
              <a:avLst/>
            </a:prstTxWarp>
            <a:noAutofit/>
          </a:bodyPr>
          <a:lstStyle/>
          <a:p>
            <a:pPr algn="ctr" defTabSz="457200"/>
            <a:r>
              <a:rPr lang="en-US" sz="1000" dirty="0">
                <a:solidFill>
                  <a:srgbClr val="0067B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Zookeeper</a:t>
            </a:r>
          </a:p>
        </p:txBody>
      </p:sp>
      <p:sp>
        <p:nvSpPr>
          <p:cNvPr id="27" name="Rounded Rectangle 26">
            <a:extLst>
              <a:ext uri="{FF2B5EF4-FFF2-40B4-BE49-F238E27FC236}">
                <a16:creationId xmlns:a16="http://schemas.microsoft.com/office/drawing/2014/main" id="{AF71E98F-F1C5-4743-A5B8-E03E01986D03}"/>
              </a:ext>
            </a:extLst>
          </p:cNvPr>
          <p:cNvSpPr/>
          <p:nvPr/>
        </p:nvSpPr>
        <p:spPr>
          <a:xfrm>
            <a:off x="2548287" y="2018706"/>
            <a:ext cx="1597305" cy="572334"/>
          </a:xfrm>
          <a:prstGeom prst="roundRect">
            <a:avLst/>
          </a:prstGeom>
          <a:solidFill>
            <a:srgbClr val="87CBD8">
              <a:alpha val="95000"/>
            </a:srgbClr>
          </a:solidFill>
          <a:ln w="9525">
            <a:solidFill>
              <a:srgbClr val="0079D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t" anchorCtr="0" forceAA="0" compatLnSpc="1">
            <a:prstTxWarp prst="textNoShape">
              <a:avLst/>
            </a:prstTxWarp>
            <a:noAutofit/>
          </a:bodyPr>
          <a:lstStyle/>
          <a:p>
            <a:pPr algn="ctr" defTabSz="457200"/>
            <a:r>
              <a:rPr lang="en-US" sz="1000" dirty="0">
                <a:solidFill>
                  <a:srgbClr val="0067B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Server 1</a:t>
            </a:r>
          </a:p>
          <a:p>
            <a:pPr algn="ctr" defTabSz="457200"/>
            <a:r>
              <a:rPr lang="en-US" sz="1000" dirty="0">
                <a:solidFill>
                  <a:srgbClr val="0067B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Follower)</a:t>
            </a:r>
          </a:p>
        </p:txBody>
      </p:sp>
      <p:sp>
        <p:nvSpPr>
          <p:cNvPr id="28" name="Rectangle 27">
            <a:extLst>
              <a:ext uri="{FF2B5EF4-FFF2-40B4-BE49-F238E27FC236}">
                <a16:creationId xmlns:a16="http://schemas.microsoft.com/office/drawing/2014/main" id="{7AF72B9D-4BDD-5842-B4D0-0D3F1540E4F5}"/>
              </a:ext>
            </a:extLst>
          </p:cNvPr>
          <p:cNvSpPr/>
          <p:nvPr/>
        </p:nvSpPr>
        <p:spPr>
          <a:xfrm>
            <a:off x="5120833" y="1723866"/>
            <a:ext cx="1851949" cy="1022621"/>
          </a:xfrm>
          <a:prstGeom prst="rect">
            <a:avLst/>
          </a:prstGeom>
          <a:solidFill>
            <a:srgbClr val="87CBD8">
              <a:alpha val="95000"/>
            </a:srgb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t" anchorCtr="0" forceAA="0" compatLnSpc="1">
            <a:prstTxWarp prst="textNoShape">
              <a:avLst/>
            </a:prstTxWarp>
            <a:noAutofit/>
          </a:bodyPr>
          <a:lstStyle/>
          <a:p>
            <a:pPr algn="ctr" defTabSz="457200"/>
            <a:r>
              <a:rPr lang="en-US" sz="1000" dirty="0">
                <a:solidFill>
                  <a:srgbClr val="0067B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Zookeeper</a:t>
            </a:r>
          </a:p>
        </p:txBody>
      </p:sp>
      <p:sp>
        <p:nvSpPr>
          <p:cNvPr id="29" name="Rounded Rectangle 28">
            <a:extLst>
              <a:ext uri="{FF2B5EF4-FFF2-40B4-BE49-F238E27FC236}">
                <a16:creationId xmlns:a16="http://schemas.microsoft.com/office/drawing/2014/main" id="{396DACBD-9AFA-8C41-9513-44333FEAD47C}"/>
              </a:ext>
            </a:extLst>
          </p:cNvPr>
          <p:cNvSpPr/>
          <p:nvPr/>
        </p:nvSpPr>
        <p:spPr>
          <a:xfrm>
            <a:off x="5242719" y="2018706"/>
            <a:ext cx="1597305" cy="572334"/>
          </a:xfrm>
          <a:prstGeom prst="roundRect">
            <a:avLst/>
          </a:prstGeom>
          <a:solidFill>
            <a:srgbClr val="87CBD8">
              <a:alpha val="95000"/>
            </a:srgbClr>
          </a:solidFill>
          <a:ln w="9525">
            <a:solidFill>
              <a:srgbClr val="0079D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t" anchorCtr="0" forceAA="0" compatLnSpc="1">
            <a:prstTxWarp prst="textNoShape">
              <a:avLst/>
            </a:prstTxWarp>
            <a:noAutofit/>
          </a:bodyPr>
          <a:lstStyle/>
          <a:p>
            <a:pPr algn="ctr" defTabSz="457200"/>
            <a:r>
              <a:rPr lang="en-US" sz="1000" dirty="0">
                <a:solidFill>
                  <a:srgbClr val="0067B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Server 1</a:t>
            </a:r>
          </a:p>
          <a:p>
            <a:pPr algn="ctr" defTabSz="457200"/>
            <a:r>
              <a:rPr lang="en-US" sz="1000" dirty="0">
                <a:solidFill>
                  <a:srgbClr val="0067B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Leader)</a:t>
            </a:r>
          </a:p>
        </p:txBody>
      </p:sp>
      <p:sp>
        <p:nvSpPr>
          <p:cNvPr id="30" name="Rectangle 29">
            <a:extLst>
              <a:ext uri="{FF2B5EF4-FFF2-40B4-BE49-F238E27FC236}">
                <a16:creationId xmlns:a16="http://schemas.microsoft.com/office/drawing/2014/main" id="{B900CFCB-120E-6148-9B5C-61B93222989A}"/>
              </a:ext>
            </a:extLst>
          </p:cNvPr>
          <p:cNvSpPr/>
          <p:nvPr/>
        </p:nvSpPr>
        <p:spPr>
          <a:xfrm>
            <a:off x="8088406" y="1736748"/>
            <a:ext cx="1851949" cy="1022621"/>
          </a:xfrm>
          <a:prstGeom prst="rect">
            <a:avLst/>
          </a:prstGeom>
          <a:solidFill>
            <a:srgbClr val="87CBD8">
              <a:alpha val="95000"/>
            </a:srgb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t" anchorCtr="0" forceAA="0" compatLnSpc="1">
            <a:prstTxWarp prst="textNoShape">
              <a:avLst/>
            </a:prstTxWarp>
            <a:noAutofit/>
          </a:bodyPr>
          <a:lstStyle/>
          <a:p>
            <a:pPr algn="ctr" defTabSz="457200"/>
            <a:r>
              <a:rPr lang="en-US" sz="1000" dirty="0">
                <a:solidFill>
                  <a:srgbClr val="0067B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Zookeeper</a:t>
            </a:r>
          </a:p>
        </p:txBody>
      </p:sp>
      <p:sp>
        <p:nvSpPr>
          <p:cNvPr id="34" name="Rounded Rectangle 33">
            <a:extLst>
              <a:ext uri="{FF2B5EF4-FFF2-40B4-BE49-F238E27FC236}">
                <a16:creationId xmlns:a16="http://schemas.microsoft.com/office/drawing/2014/main" id="{939491E2-0A76-5E44-BBEA-F5E78A283575}"/>
              </a:ext>
            </a:extLst>
          </p:cNvPr>
          <p:cNvSpPr/>
          <p:nvPr/>
        </p:nvSpPr>
        <p:spPr>
          <a:xfrm>
            <a:off x="8210292" y="2031588"/>
            <a:ext cx="1597305" cy="572334"/>
          </a:xfrm>
          <a:prstGeom prst="roundRect">
            <a:avLst/>
          </a:prstGeom>
          <a:solidFill>
            <a:srgbClr val="87CBD8">
              <a:alpha val="95000"/>
            </a:srgbClr>
          </a:solidFill>
          <a:ln w="9525">
            <a:solidFill>
              <a:srgbClr val="0079D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t" anchorCtr="0" forceAA="0" compatLnSpc="1">
            <a:prstTxWarp prst="textNoShape">
              <a:avLst/>
            </a:prstTxWarp>
            <a:noAutofit/>
          </a:bodyPr>
          <a:lstStyle/>
          <a:p>
            <a:pPr algn="ctr" defTabSz="457200"/>
            <a:r>
              <a:rPr lang="en-US" sz="1000" dirty="0">
                <a:solidFill>
                  <a:srgbClr val="0067B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Server 1</a:t>
            </a:r>
          </a:p>
          <a:p>
            <a:pPr algn="ctr" defTabSz="457200"/>
            <a:r>
              <a:rPr lang="en-US" sz="1000" dirty="0">
                <a:solidFill>
                  <a:srgbClr val="0067B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Follower)</a:t>
            </a:r>
          </a:p>
        </p:txBody>
      </p:sp>
      <p:sp>
        <p:nvSpPr>
          <p:cNvPr id="35" name="Rectangle 34">
            <a:extLst>
              <a:ext uri="{FF2B5EF4-FFF2-40B4-BE49-F238E27FC236}">
                <a16:creationId xmlns:a16="http://schemas.microsoft.com/office/drawing/2014/main" id="{5230C1BF-D69B-2740-8273-3FAD1E922290}"/>
              </a:ext>
            </a:extLst>
          </p:cNvPr>
          <p:cNvSpPr/>
          <p:nvPr/>
        </p:nvSpPr>
        <p:spPr>
          <a:xfrm>
            <a:off x="1611277" y="3636648"/>
            <a:ext cx="1458932" cy="920422"/>
          </a:xfrm>
          <a:prstGeom prst="rect">
            <a:avLst/>
          </a:prstGeom>
          <a:solidFill>
            <a:srgbClr val="0079D1">
              <a:alpha val="95000"/>
            </a:srgb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t" anchorCtr="0" forceAA="0" compatLnSpc="1">
            <a:prstTxWarp prst="textNoShape">
              <a:avLst/>
            </a:prstTxWarp>
            <a:noAutofit/>
          </a:bodyPr>
          <a:lstStyle/>
          <a:p>
            <a:pPr algn="ctr" defTabSz="457200"/>
            <a:r>
              <a:rPr lang="en-US" sz="1000" dirty="0">
                <a:solidFill>
                  <a:schemeClr val="bg1"/>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Kafka</a:t>
            </a:r>
          </a:p>
        </p:txBody>
      </p:sp>
      <p:sp>
        <p:nvSpPr>
          <p:cNvPr id="36" name="Rounded Rectangle 35">
            <a:extLst>
              <a:ext uri="{FF2B5EF4-FFF2-40B4-BE49-F238E27FC236}">
                <a16:creationId xmlns:a16="http://schemas.microsoft.com/office/drawing/2014/main" id="{2CA9F648-B90B-9B40-B248-0DC1D94B0174}"/>
              </a:ext>
            </a:extLst>
          </p:cNvPr>
          <p:cNvSpPr/>
          <p:nvPr/>
        </p:nvSpPr>
        <p:spPr>
          <a:xfrm>
            <a:off x="1827035" y="3931487"/>
            <a:ext cx="986320" cy="481893"/>
          </a:xfrm>
          <a:prstGeom prst="roundRect">
            <a:avLst/>
          </a:prstGeom>
          <a:solidFill>
            <a:srgbClr val="0079D1">
              <a:alpha val="95000"/>
            </a:srgbClr>
          </a:solidFill>
          <a:ln w="952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t" anchorCtr="0" forceAA="0" compatLnSpc="1">
            <a:prstTxWarp prst="textNoShape">
              <a:avLst/>
            </a:prstTxWarp>
            <a:noAutofit/>
          </a:bodyPr>
          <a:lstStyle/>
          <a:p>
            <a:pPr algn="ctr" defTabSz="457200"/>
            <a:r>
              <a:rPr lang="en-US" sz="1000" dirty="0">
                <a:solidFill>
                  <a:schemeClr val="bg1"/>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Broker 1</a:t>
            </a:r>
          </a:p>
        </p:txBody>
      </p:sp>
      <p:cxnSp>
        <p:nvCxnSpPr>
          <p:cNvPr id="47" name="Straight Connector 46">
            <a:extLst>
              <a:ext uri="{FF2B5EF4-FFF2-40B4-BE49-F238E27FC236}">
                <a16:creationId xmlns:a16="http://schemas.microsoft.com/office/drawing/2014/main" id="{8843EE52-216F-4840-89B8-1F87526BB69B}"/>
              </a:ext>
            </a:extLst>
          </p:cNvPr>
          <p:cNvCxnSpPr>
            <a:cxnSpLocks/>
            <a:stCxn id="35" idx="0"/>
            <a:endCxn id="23" idx="2"/>
          </p:cNvCxnSpPr>
          <p:nvPr/>
        </p:nvCxnSpPr>
        <p:spPr>
          <a:xfrm flipV="1">
            <a:off x="2340743" y="2746487"/>
            <a:ext cx="1011633" cy="890161"/>
          </a:xfrm>
          <a:prstGeom prst="line">
            <a:avLst/>
          </a:prstGeom>
          <a:ln w="12700">
            <a:solidFill>
              <a:srgbClr val="C5277F"/>
            </a:solidFill>
            <a:headEnd type="oval"/>
            <a:tailEnd type="oval"/>
          </a:ln>
        </p:spPr>
        <p:style>
          <a:lnRef idx="1">
            <a:schemeClr val="accent1"/>
          </a:lnRef>
          <a:fillRef idx="0">
            <a:schemeClr val="accent1"/>
          </a:fillRef>
          <a:effectRef idx="0">
            <a:schemeClr val="accent1"/>
          </a:effectRef>
          <a:fontRef idx="minor">
            <a:schemeClr val="tx1"/>
          </a:fontRef>
        </p:style>
      </p:cxnSp>
      <p:sp>
        <p:nvSpPr>
          <p:cNvPr id="54" name="Rectangle 53">
            <a:extLst>
              <a:ext uri="{FF2B5EF4-FFF2-40B4-BE49-F238E27FC236}">
                <a16:creationId xmlns:a16="http://schemas.microsoft.com/office/drawing/2014/main" id="{24FD8BCF-1FA3-8D42-B3B8-DDB395D88541}"/>
              </a:ext>
            </a:extLst>
          </p:cNvPr>
          <p:cNvSpPr/>
          <p:nvPr/>
        </p:nvSpPr>
        <p:spPr>
          <a:xfrm>
            <a:off x="3315661" y="3652804"/>
            <a:ext cx="1458932" cy="920422"/>
          </a:xfrm>
          <a:prstGeom prst="rect">
            <a:avLst/>
          </a:prstGeom>
          <a:solidFill>
            <a:srgbClr val="0079D1">
              <a:alpha val="95000"/>
            </a:srgb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t" anchorCtr="0" forceAA="0" compatLnSpc="1">
            <a:prstTxWarp prst="textNoShape">
              <a:avLst/>
            </a:prstTxWarp>
            <a:noAutofit/>
          </a:bodyPr>
          <a:lstStyle/>
          <a:p>
            <a:pPr algn="ctr" defTabSz="457200"/>
            <a:r>
              <a:rPr lang="en-US" sz="1000" dirty="0">
                <a:solidFill>
                  <a:schemeClr val="bg1"/>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Kafka</a:t>
            </a:r>
          </a:p>
        </p:txBody>
      </p:sp>
      <p:sp>
        <p:nvSpPr>
          <p:cNvPr id="55" name="Rounded Rectangle 54">
            <a:extLst>
              <a:ext uri="{FF2B5EF4-FFF2-40B4-BE49-F238E27FC236}">
                <a16:creationId xmlns:a16="http://schemas.microsoft.com/office/drawing/2014/main" id="{AB4AD3C9-E5A1-2744-A3AD-20BD7BD9F243}"/>
              </a:ext>
            </a:extLst>
          </p:cNvPr>
          <p:cNvSpPr/>
          <p:nvPr/>
        </p:nvSpPr>
        <p:spPr>
          <a:xfrm>
            <a:off x="3531419" y="3947643"/>
            <a:ext cx="986320" cy="481893"/>
          </a:xfrm>
          <a:prstGeom prst="roundRect">
            <a:avLst/>
          </a:prstGeom>
          <a:solidFill>
            <a:srgbClr val="0079D1">
              <a:alpha val="95000"/>
            </a:srgbClr>
          </a:solidFill>
          <a:ln w="952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t" anchorCtr="0" forceAA="0" compatLnSpc="1">
            <a:prstTxWarp prst="textNoShape">
              <a:avLst/>
            </a:prstTxWarp>
            <a:noAutofit/>
          </a:bodyPr>
          <a:lstStyle/>
          <a:p>
            <a:pPr algn="ctr" defTabSz="457200"/>
            <a:r>
              <a:rPr lang="en-US" sz="1000" dirty="0">
                <a:solidFill>
                  <a:schemeClr val="bg1"/>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Broker 2</a:t>
            </a:r>
          </a:p>
        </p:txBody>
      </p:sp>
      <p:sp>
        <p:nvSpPr>
          <p:cNvPr id="57" name="Rectangle 56">
            <a:extLst>
              <a:ext uri="{FF2B5EF4-FFF2-40B4-BE49-F238E27FC236}">
                <a16:creationId xmlns:a16="http://schemas.microsoft.com/office/drawing/2014/main" id="{133D74C6-3898-ED45-9921-E6658FB45096}"/>
              </a:ext>
            </a:extLst>
          </p:cNvPr>
          <p:cNvSpPr/>
          <p:nvPr/>
        </p:nvSpPr>
        <p:spPr>
          <a:xfrm>
            <a:off x="5120833" y="3652804"/>
            <a:ext cx="1458932" cy="920422"/>
          </a:xfrm>
          <a:prstGeom prst="rect">
            <a:avLst/>
          </a:prstGeom>
          <a:solidFill>
            <a:srgbClr val="0079D1">
              <a:alpha val="95000"/>
            </a:srgb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t" anchorCtr="0" forceAA="0" compatLnSpc="1">
            <a:prstTxWarp prst="textNoShape">
              <a:avLst/>
            </a:prstTxWarp>
            <a:noAutofit/>
          </a:bodyPr>
          <a:lstStyle/>
          <a:p>
            <a:pPr algn="ctr" defTabSz="457200"/>
            <a:r>
              <a:rPr lang="en-US" sz="1000" dirty="0">
                <a:solidFill>
                  <a:schemeClr val="bg1"/>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Kafka</a:t>
            </a:r>
          </a:p>
        </p:txBody>
      </p:sp>
      <p:sp>
        <p:nvSpPr>
          <p:cNvPr id="58" name="Rounded Rectangle 57">
            <a:extLst>
              <a:ext uri="{FF2B5EF4-FFF2-40B4-BE49-F238E27FC236}">
                <a16:creationId xmlns:a16="http://schemas.microsoft.com/office/drawing/2014/main" id="{44422E62-27C6-AA43-8346-C368D993E447}"/>
              </a:ext>
            </a:extLst>
          </p:cNvPr>
          <p:cNvSpPr/>
          <p:nvPr/>
        </p:nvSpPr>
        <p:spPr>
          <a:xfrm>
            <a:off x="5336591" y="3947643"/>
            <a:ext cx="986320" cy="481893"/>
          </a:xfrm>
          <a:prstGeom prst="roundRect">
            <a:avLst/>
          </a:prstGeom>
          <a:solidFill>
            <a:srgbClr val="0079D1">
              <a:alpha val="95000"/>
            </a:srgbClr>
          </a:solidFill>
          <a:ln w="952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t" anchorCtr="0" forceAA="0" compatLnSpc="1">
            <a:prstTxWarp prst="textNoShape">
              <a:avLst/>
            </a:prstTxWarp>
            <a:noAutofit/>
          </a:bodyPr>
          <a:lstStyle/>
          <a:p>
            <a:pPr algn="ctr" defTabSz="457200"/>
            <a:r>
              <a:rPr lang="en-US" sz="1000" dirty="0">
                <a:solidFill>
                  <a:schemeClr val="bg1"/>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Broker 3</a:t>
            </a:r>
          </a:p>
        </p:txBody>
      </p:sp>
      <p:sp>
        <p:nvSpPr>
          <p:cNvPr id="60" name="Rectangle 59">
            <a:extLst>
              <a:ext uri="{FF2B5EF4-FFF2-40B4-BE49-F238E27FC236}">
                <a16:creationId xmlns:a16="http://schemas.microsoft.com/office/drawing/2014/main" id="{C8E574FD-E842-1B40-9AA4-C53B4B87BA0C}"/>
              </a:ext>
            </a:extLst>
          </p:cNvPr>
          <p:cNvSpPr/>
          <p:nvPr/>
        </p:nvSpPr>
        <p:spPr>
          <a:xfrm>
            <a:off x="6840024" y="3684581"/>
            <a:ext cx="1458932" cy="920422"/>
          </a:xfrm>
          <a:prstGeom prst="rect">
            <a:avLst/>
          </a:prstGeom>
          <a:solidFill>
            <a:srgbClr val="0079D1">
              <a:alpha val="95000"/>
            </a:srgb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t" anchorCtr="0" forceAA="0" compatLnSpc="1">
            <a:prstTxWarp prst="textNoShape">
              <a:avLst/>
            </a:prstTxWarp>
            <a:noAutofit/>
          </a:bodyPr>
          <a:lstStyle/>
          <a:p>
            <a:pPr algn="ctr" defTabSz="457200"/>
            <a:r>
              <a:rPr lang="en-US" sz="1000" dirty="0">
                <a:solidFill>
                  <a:schemeClr val="bg1"/>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Kafka</a:t>
            </a:r>
          </a:p>
        </p:txBody>
      </p:sp>
      <p:sp>
        <p:nvSpPr>
          <p:cNvPr id="64" name="Rounded Rectangle 63">
            <a:extLst>
              <a:ext uri="{FF2B5EF4-FFF2-40B4-BE49-F238E27FC236}">
                <a16:creationId xmlns:a16="http://schemas.microsoft.com/office/drawing/2014/main" id="{AB8A97B6-8143-2C43-BADA-C1BF4988B5CA}"/>
              </a:ext>
            </a:extLst>
          </p:cNvPr>
          <p:cNvSpPr/>
          <p:nvPr/>
        </p:nvSpPr>
        <p:spPr>
          <a:xfrm>
            <a:off x="7055782" y="3979420"/>
            <a:ext cx="986320" cy="481893"/>
          </a:xfrm>
          <a:prstGeom prst="roundRect">
            <a:avLst/>
          </a:prstGeom>
          <a:solidFill>
            <a:srgbClr val="0079D1">
              <a:alpha val="95000"/>
            </a:srgbClr>
          </a:solidFill>
          <a:ln w="952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t" anchorCtr="0" forceAA="0" compatLnSpc="1">
            <a:prstTxWarp prst="textNoShape">
              <a:avLst/>
            </a:prstTxWarp>
            <a:noAutofit/>
          </a:bodyPr>
          <a:lstStyle/>
          <a:p>
            <a:pPr algn="ctr" defTabSz="457200"/>
            <a:r>
              <a:rPr lang="en-US" sz="1000" dirty="0">
                <a:solidFill>
                  <a:schemeClr val="bg1"/>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Broker 4</a:t>
            </a:r>
          </a:p>
        </p:txBody>
      </p:sp>
      <p:sp>
        <p:nvSpPr>
          <p:cNvPr id="66" name="Rectangle 65">
            <a:extLst>
              <a:ext uri="{FF2B5EF4-FFF2-40B4-BE49-F238E27FC236}">
                <a16:creationId xmlns:a16="http://schemas.microsoft.com/office/drawing/2014/main" id="{E9A05816-AFB4-2548-95B2-C8E4B5433A8A}"/>
              </a:ext>
            </a:extLst>
          </p:cNvPr>
          <p:cNvSpPr/>
          <p:nvPr/>
        </p:nvSpPr>
        <p:spPr>
          <a:xfrm>
            <a:off x="8666984" y="3684581"/>
            <a:ext cx="1458932" cy="920422"/>
          </a:xfrm>
          <a:prstGeom prst="rect">
            <a:avLst/>
          </a:prstGeom>
          <a:solidFill>
            <a:srgbClr val="0079D1">
              <a:alpha val="95000"/>
            </a:srgb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t" anchorCtr="0" forceAA="0" compatLnSpc="1">
            <a:prstTxWarp prst="textNoShape">
              <a:avLst/>
            </a:prstTxWarp>
            <a:noAutofit/>
          </a:bodyPr>
          <a:lstStyle/>
          <a:p>
            <a:pPr algn="ctr" defTabSz="457200"/>
            <a:r>
              <a:rPr lang="en-US" sz="1000" dirty="0">
                <a:solidFill>
                  <a:schemeClr val="bg1"/>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Kafka</a:t>
            </a:r>
          </a:p>
        </p:txBody>
      </p:sp>
      <p:sp>
        <p:nvSpPr>
          <p:cNvPr id="67" name="Rounded Rectangle 66">
            <a:extLst>
              <a:ext uri="{FF2B5EF4-FFF2-40B4-BE49-F238E27FC236}">
                <a16:creationId xmlns:a16="http://schemas.microsoft.com/office/drawing/2014/main" id="{D6927BF9-4C07-9448-A6F0-7E71BEF152D1}"/>
              </a:ext>
            </a:extLst>
          </p:cNvPr>
          <p:cNvSpPr/>
          <p:nvPr/>
        </p:nvSpPr>
        <p:spPr>
          <a:xfrm>
            <a:off x="8882742" y="3979420"/>
            <a:ext cx="986320" cy="481893"/>
          </a:xfrm>
          <a:prstGeom prst="roundRect">
            <a:avLst/>
          </a:prstGeom>
          <a:solidFill>
            <a:srgbClr val="0079D1">
              <a:alpha val="95000"/>
            </a:srgbClr>
          </a:solidFill>
          <a:ln w="952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t" anchorCtr="0" forceAA="0" compatLnSpc="1">
            <a:prstTxWarp prst="textNoShape">
              <a:avLst/>
            </a:prstTxWarp>
            <a:noAutofit/>
          </a:bodyPr>
          <a:lstStyle/>
          <a:p>
            <a:pPr algn="ctr" defTabSz="457200"/>
            <a:r>
              <a:rPr lang="en-US" sz="1000" dirty="0">
                <a:solidFill>
                  <a:schemeClr val="bg1"/>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Broker 5</a:t>
            </a:r>
          </a:p>
        </p:txBody>
      </p:sp>
      <p:cxnSp>
        <p:nvCxnSpPr>
          <p:cNvPr id="48" name="Straight Connector 47">
            <a:extLst>
              <a:ext uri="{FF2B5EF4-FFF2-40B4-BE49-F238E27FC236}">
                <a16:creationId xmlns:a16="http://schemas.microsoft.com/office/drawing/2014/main" id="{3E0C77C7-AA4C-6043-A591-8E06222DF13A}"/>
              </a:ext>
            </a:extLst>
          </p:cNvPr>
          <p:cNvCxnSpPr>
            <a:cxnSpLocks/>
            <a:stCxn id="54" idx="0"/>
            <a:endCxn id="23" idx="2"/>
          </p:cNvCxnSpPr>
          <p:nvPr/>
        </p:nvCxnSpPr>
        <p:spPr>
          <a:xfrm flipH="1" flipV="1">
            <a:off x="3352376" y="2746487"/>
            <a:ext cx="692751" cy="906317"/>
          </a:xfrm>
          <a:prstGeom prst="line">
            <a:avLst/>
          </a:prstGeom>
          <a:ln w="12700">
            <a:solidFill>
              <a:srgbClr val="C5277F"/>
            </a:solidFill>
            <a:headEnd type="oval"/>
            <a:tailEnd type="oval"/>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815EFB84-8824-B842-B917-8C77E223426D}"/>
              </a:ext>
            </a:extLst>
          </p:cNvPr>
          <p:cNvCxnSpPr>
            <a:cxnSpLocks/>
            <a:stCxn id="57" idx="0"/>
            <a:endCxn id="28" idx="2"/>
          </p:cNvCxnSpPr>
          <p:nvPr/>
        </p:nvCxnSpPr>
        <p:spPr>
          <a:xfrm flipV="1">
            <a:off x="5850299" y="2746487"/>
            <a:ext cx="196509" cy="906317"/>
          </a:xfrm>
          <a:prstGeom prst="line">
            <a:avLst/>
          </a:prstGeom>
          <a:ln w="12700">
            <a:solidFill>
              <a:srgbClr val="C5277F"/>
            </a:solidFill>
            <a:headEnd type="oval"/>
            <a:tailEnd type="oval"/>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17328479-5496-124E-9306-18703A0CEF34}"/>
              </a:ext>
            </a:extLst>
          </p:cNvPr>
          <p:cNvCxnSpPr>
            <a:cxnSpLocks/>
            <a:stCxn id="60" idx="0"/>
            <a:endCxn id="28" idx="2"/>
          </p:cNvCxnSpPr>
          <p:nvPr/>
        </p:nvCxnSpPr>
        <p:spPr>
          <a:xfrm flipH="1" flipV="1">
            <a:off x="6046808" y="2746487"/>
            <a:ext cx="1522682" cy="938094"/>
          </a:xfrm>
          <a:prstGeom prst="line">
            <a:avLst/>
          </a:prstGeom>
          <a:ln w="12700">
            <a:solidFill>
              <a:srgbClr val="C5277F"/>
            </a:solidFill>
            <a:headEnd type="oval"/>
            <a:tailEnd type="oval"/>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4D36112B-2CED-ED4B-9F59-07CEE72A8DE5}"/>
              </a:ext>
            </a:extLst>
          </p:cNvPr>
          <p:cNvCxnSpPr>
            <a:cxnSpLocks/>
            <a:stCxn id="66" idx="0"/>
            <a:endCxn id="30" idx="2"/>
          </p:cNvCxnSpPr>
          <p:nvPr/>
        </p:nvCxnSpPr>
        <p:spPr>
          <a:xfrm flipH="1" flipV="1">
            <a:off x="9014381" y="2759369"/>
            <a:ext cx="382069" cy="925212"/>
          </a:xfrm>
          <a:prstGeom prst="line">
            <a:avLst/>
          </a:prstGeom>
          <a:ln w="12700">
            <a:solidFill>
              <a:srgbClr val="C5277F"/>
            </a:solidFill>
            <a:headEnd type="oval"/>
            <a:tailEnd type="oval"/>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6DD87C7C-6C13-0F4E-85E8-E804A0B12D87}"/>
              </a:ext>
            </a:extLst>
          </p:cNvPr>
          <p:cNvCxnSpPr>
            <a:cxnSpLocks/>
            <a:stCxn id="30" idx="1"/>
            <a:endCxn id="28" idx="3"/>
          </p:cNvCxnSpPr>
          <p:nvPr/>
        </p:nvCxnSpPr>
        <p:spPr>
          <a:xfrm flipH="1" flipV="1">
            <a:off x="6972782" y="2235177"/>
            <a:ext cx="1115624" cy="12882"/>
          </a:xfrm>
          <a:prstGeom prst="line">
            <a:avLst/>
          </a:prstGeom>
          <a:ln w="12700">
            <a:solidFill>
              <a:srgbClr val="0079D1"/>
            </a:solidFill>
            <a:headEnd type="triangle"/>
            <a:tailEnd type="oval"/>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DA8A4803-E248-404A-9817-09DEEEAB05B4}"/>
              </a:ext>
            </a:extLst>
          </p:cNvPr>
          <p:cNvCxnSpPr>
            <a:cxnSpLocks/>
            <a:stCxn id="23" idx="3"/>
            <a:endCxn id="28" idx="1"/>
          </p:cNvCxnSpPr>
          <p:nvPr/>
        </p:nvCxnSpPr>
        <p:spPr>
          <a:xfrm>
            <a:off x="4278350" y="2235177"/>
            <a:ext cx="842483" cy="0"/>
          </a:xfrm>
          <a:prstGeom prst="line">
            <a:avLst/>
          </a:prstGeom>
          <a:ln w="12700">
            <a:solidFill>
              <a:srgbClr val="0079D1"/>
            </a:solidFill>
            <a:headEnd type="triangle"/>
            <a:tailEnd type="ova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3602452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val 1">
            <a:extLst>
              <a:ext uri="{FF2B5EF4-FFF2-40B4-BE49-F238E27FC236}">
                <a16:creationId xmlns:a16="http://schemas.microsoft.com/office/drawing/2014/main" id="{9915EED1-CA04-C541-85A0-C2E7459AE521}"/>
              </a:ext>
            </a:extLst>
          </p:cNvPr>
          <p:cNvSpPr/>
          <p:nvPr/>
        </p:nvSpPr>
        <p:spPr>
          <a:xfrm>
            <a:off x="1735698" y="2098066"/>
            <a:ext cx="2270819" cy="2218287"/>
          </a:xfrm>
          <a:prstGeom prst="ellipse">
            <a:avLst/>
          </a:prstGeom>
          <a:solidFill>
            <a:srgbClr val="F26F27">
              <a:alpha val="32000"/>
            </a:srgb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a:solidFill>
                <a:srgbClr val="002D72"/>
              </a:solidFill>
              <a:latin typeface="Arial" pitchFamily="34" charset="0"/>
              <a:cs typeface="Arial" pitchFamily="34" charset="0"/>
            </a:endParaRPr>
          </a:p>
        </p:txBody>
      </p:sp>
      <p:sp>
        <p:nvSpPr>
          <p:cNvPr id="31" name="Rectangle 3">
            <a:extLst>
              <a:ext uri="{FF2B5EF4-FFF2-40B4-BE49-F238E27FC236}">
                <a16:creationId xmlns:a16="http://schemas.microsoft.com/office/drawing/2014/main" id="{A27FD23C-A522-0E4F-B70C-CC83BC4542BA}"/>
              </a:ext>
            </a:extLst>
          </p:cNvPr>
          <p:cNvSpPr txBox="1"/>
          <p:nvPr/>
        </p:nvSpPr>
        <p:spPr>
          <a:xfrm>
            <a:off x="404808" y="237462"/>
            <a:ext cx="7585857" cy="400105"/>
          </a:xfrm>
          <a:prstGeom prst="rect">
            <a:avLst/>
          </a:prstGeom>
          <a:ln w="12700">
            <a:miter lim="400000"/>
          </a:ln>
          <a:extLst>
            <a:ext uri="{C572A759-6A51-4108-AA02-DFA0A04FC94B}">
              <ma14:wrappingTextBoxFlag xmlns:ma14="http://schemas.microsoft.com/office/mac/drawingml/2011/main" xmlns="" val="1"/>
            </a:ext>
          </a:extLst>
        </p:spPr>
        <p:txBody>
          <a:bodyPr wrap="square" lIns="45718" tIns="45718" rIns="45718" bIns="45718">
            <a:spAutoFit/>
          </a:bodyPr>
          <a:lstStyle>
            <a:lvl1pPr algn="l" defTabSz="914400">
              <a:defRPr sz="2200" b="1">
                <a:solidFill>
                  <a:srgbClr val="FFFFFF"/>
                </a:solidFill>
                <a:latin typeface="Arial"/>
                <a:ea typeface="Arial"/>
                <a:cs typeface="Arial"/>
                <a:sym typeface="Arial"/>
              </a:defRPr>
            </a:lvl1pPr>
          </a:lstStyle>
          <a:p>
            <a:r>
              <a:rPr lang="en-US" sz="2000" dirty="0">
                <a:solidFill>
                  <a:srgbClr val="016AA2"/>
                </a:solidFill>
              </a:rPr>
              <a:t>Features and terminology (XVII)</a:t>
            </a:r>
          </a:p>
        </p:txBody>
      </p:sp>
      <p:sp>
        <p:nvSpPr>
          <p:cNvPr id="65" name="Rectangle 3"/>
          <p:cNvSpPr txBox="1"/>
          <p:nvPr/>
        </p:nvSpPr>
        <p:spPr>
          <a:xfrm>
            <a:off x="404806" y="610135"/>
            <a:ext cx="8775769" cy="369328"/>
          </a:xfrm>
          <a:prstGeom prst="rect">
            <a:avLst/>
          </a:prstGeom>
          <a:ln w="12700">
            <a:miter lim="400000"/>
          </a:ln>
          <a:extLst>
            <a:ext uri="{C572A759-6A51-4108-AA02-DFA0A04FC94B}">
              <ma14:wrappingTextBoxFlag xmlns="" xmlns:ma14="http://schemas.microsoft.com/office/mac/drawingml/2011/main" val="1"/>
            </a:ext>
          </a:extLst>
        </p:spPr>
        <p:txBody>
          <a:bodyPr wrap="square" lIns="45718" tIns="45718" rIns="45718" bIns="45718">
            <a:spAutoFit/>
          </a:bodyPr>
          <a:lstStyle>
            <a:lvl1pPr algn="l" defTabSz="914400">
              <a:defRPr sz="2000">
                <a:solidFill>
                  <a:srgbClr val="104D6A"/>
                </a:solidFill>
                <a:latin typeface="Arial"/>
                <a:ea typeface="Arial"/>
                <a:cs typeface="Arial"/>
                <a:sym typeface="Arial"/>
              </a:defRPr>
            </a:lvl1pPr>
          </a:lstStyle>
          <a:p>
            <a:pPr>
              <a:defRPr/>
            </a:pPr>
            <a:r>
              <a:rPr lang="en-US" sz="1800" b="1" dirty="0">
                <a:solidFill>
                  <a:srgbClr val="73C4EF"/>
                </a:solidFill>
              </a:rPr>
              <a:t>Event Hub Architecture – Even Driver</a:t>
            </a:r>
          </a:p>
        </p:txBody>
      </p:sp>
      <p:sp>
        <p:nvSpPr>
          <p:cNvPr id="88" name="Google Shape;431;p39">
            <a:extLst>
              <a:ext uri="{FF2B5EF4-FFF2-40B4-BE49-F238E27FC236}">
                <a16:creationId xmlns:a16="http://schemas.microsoft.com/office/drawing/2014/main" id="{3DAC1F9E-581B-054A-B11F-360B5046DC49}"/>
              </a:ext>
            </a:extLst>
          </p:cNvPr>
          <p:cNvSpPr/>
          <p:nvPr/>
        </p:nvSpPr>
        <p:spPr>
          <a:xfrm rot="21011211">
            <a:off x="1690527" y="1947861"/>
            <a:ext cx="2367582" cy="2391959"/>
          </a:xfrm>
          <a:custGeom>
            <a:avLst/>
            <a:gdLst/>
            <a:ahLst/>
            <a:cxnLst/>
            <a:rect l="0" t="0" r="0" b="0"/>
            <a:pathLst>
              <a:path w="67641" h="69056" extrusionOk="0">
                <a:moveTo>
                  <a:pt x="49622" y="2736"/>
                </a:moveTo>
                <a:lnTo>
                  <a:pt x="49622" y="2736"/>
                </a:lnTo>
                <a:lnTo>
                  <a:pt x="49622" y="2736"/>
                </a:lnTo>
                <a:close/>
                <a:moveTo>
                  <a:pt x="59622" y="55565"/>
                </a:moveTo>
                <a:lnTo>
                  <a:pt x="59622" y="55565"/>
                </a:lnTo>
                <a:lnTo>
                  <a:pt x="59622" y="55565"/>
                </a:lnTo>
                <a:close/>
                <a:moveTo>
                  <a:pt x="35471" y="0"/>
                </a:moveTo>
                <a:lnTo>
                  <a:pt x="34433" y="95"/>
                </a:lnTo>
                <a:lnTo>
                  <a:pt x="33584" y="189"/>
                </a:lnTo>
                <a:lnTo>
                  <a:pt x="32735" y="378"/>
                </a:lnTo>
                <a:lnTo>
                  <a:pt x="32169" y="566"/>
                </a:lnTo>
                <a:lnTo>
                  <a:pt x="31509" y="472"/>
                </a:lnTo>
                <a:lnTo>
                  <a:pt x="30754" y="472"/>
                </a:lnTo>
                <a:lnTo>
                  <a:pt x="29339" y="566"/>
                </a:lnTo>
                <a:lnTo>
                  <a:pt x="27830" y="849"/>
                </a:lnTo>
                <a:lnTo>
                  <a:pt x="26320" y="1321"/>
                </a:lnTo>
                <a:lnTo>
                  <a:pt x="24811" y="1981"/>
                </a:lnTo>
                <a:lnTo>
                  <a:pt x="23207" y="2736"/>
                </a:lnTo>
                <a:lnTo>
                  <a:pt x="21698" y="3585"/>
                </a:lnTo>
                <a:lnTo>
                  <a:pt x="20188" y="4623"/>
                </a:lnTo>
                <a:lnTo>
                  <a:pt x="18679" y="5661"/>
                </a:lnTo>
                <a:lnTo>
                  <a:pt x="17170" y="6793"/>
                </a:lnTo>
                <a:lnTo>
                  <a:pt x="15754" y="8019"/>
                </a:lnTo>
                <a:lnTo>
                  <a:pt x="14434" y="9151"/>
                </a:lnTo>
                <a:lnTo>
                  <a:pt x="11981" y="11510"/>
                </a:lnTo>
                <a:lnTo>
                  <a:pt x="10000" y="13774"/>
                </a:lnTo>
                <a:lnTo>
                  <a:pt x="7736" y="16981"/>
                </a:lnTo>
                <a:lnTo>
                  <a:pt x="8019" y="16321"/>
                </a:lnTo>
                <a:lnTo>
                  <a:pt x="8302" y="15660"/>
                </a:lnTo>
                <a:lnTo>
                  <a:pt x="7736" y="16604"/>
                </a:lnTo>
                <a:lnTo>
                  <a:pt x="7075" y="17642"/>
                </a:lnTo>
                <a:lnTo>
                  <a:pt x="7170" y="17830"/>
                </a:lnTo>
                <a:lnTo>
                  <a:pt x="6509" y="18868"/>
                </a:lnTo>
                <a:lnTo>
                  <a:pt x="7075" y="17359"/>
                </a:lnTo>
                <a:lnTo>
                  <a:pt x="6132" y="19057"/>
                </a:lnTo>
                <a:lnTo>
                  <a:pt x="5189" y="20849"/>
                </a:lnTo>
                <a:lnTo>
                  <a:pt x="4434" y="22736"/>
                </a:lnTo>
                <a:lnTo>
                  <a:pt x="3679" y="24622"/>
                </a:lnTo>
                <a:lnTo>
                  <a:pt x="2453" y="28490"/>
                </a:lnTo>
                <a:lnTo>
                  <a:pt x="1321" y="32169"/>
                </a:lnTo>
                <a:lnTo>
                  <a:pt x="1509" y="32264"/>
                </a:lnTo>
                <a:lnTo>
                  <a:pt x="1604" y="32453"/>
                </a:lnTo>
                <a:lnTo>
                  <a:pt x="1604" y="32641"/>
                </a:lnTo>
                <a:lnTo>
                  <a:pt x="1509" y="32924"/>
                </a:lnTo>
                <a:lnTo>
                  <a:pt x="1226" y="33396"/>
                </a:lnTo>
                <a:lnTo>
                  <a:pt x="1038" y="33585"/>
                </a:lnTo>
                <a:lnTo>
                  <a:pt x="1038" y="33773"/>
                </a:lnTo>
                <a:lnTo>
                  <a:pt x="1038" y="35000"/>
                </a:lnTo>
                <a:lnTo>
                  <a:pt x="849" y="36132"/>
                </a:lnTo>
                <a:lnTo>
                  <a:pt x="660" y="37358"/>
                </a:lnTo>
                <a:lnTo>
                  <a:pt x="472" y="38867"/>
                </a:lnTo>
                <a:lnTo>
                  <a:pt x="283" y="38301"/>
                </a:lnTo>
                <a:lnTo>
                  <a:pt x="94" y="39811"/>
                </a:lnTo>
                <a:lnTo>
                  <a:pt x="0" y="41509"/>
                </a:lnTo>
                <a:lnTo>
                  <a:pt x="94" y="43301"/>
                </a:lnTo>
                <a:lnTo>
                  <a:pt x="283" y="44056"/>
                </a:lnTo>
                <a:lnTo>
                  <a:pt x="472" y="44622"/>
                </a:lnTo>
                <a:lnTo>
                  <a:pt x="566" y="45660"/>
                </a:lnTo>
                <a:lnTo>
                  <a:pt x="755" y="46792"/>
                </a:lnTo>
                <a:lnTo>
                  <a:pt x="1226" y="48962"/>
                </a:lnTo>
                <a:lnTo>
                  <a:pt x="1981" y="51037"/>
                </a:lnTo>
                <a:lnTo>
                  <a:pt x="2924" y="53112"/>
                </a:lnTo>
                <a:lnTo>
                  <a:pt x="4057" y="55094"/>
                </a:lnTo>
                <a:lnTo>
                  <a:pt x="5283" y="56980"/>
                </a:lnTo>
                <a:lnTo>
                  <a:pt x="6698" y="58678"/>
                </a:lnTo>
                <a:lnTo>
                  <a:pt x="8113" y="60282"/>
                </a:lnTo>
                <a:lnTo>
                  <a:pt x="9056" y="61131"/>
                </a:lnTo>
                <a:lnTo>
                  <a:pt x="10000" y="61980"/>
                </a:lnTo>
                <a:lnTo>
                  <a:pt x="11038" y="62829"/>
                </a:lnTo>
                <a:lnTo>
                  <a:pt x="12075" y="63584"/>
                </a:lnTo>
                <a:lnTo>
                  <a:pt x="14339" y="64905"/>
                </a:lnTo>
                <a:lnTo>
                  <a:pt x="16604" y="66131"/>
                </a:lnTo>
                <a:lnTo>
                  <a:pt x="19056" y="67169"/>
                </a:lnTo>
                <a:lnTo>
                  <a:pt x="21509" y="67923"/>
                </a:lnTo>
                <a:lnTo>
                  <a:pt x="24056" y="68584"/>
                </a:lnTo>
                <a:lnTo>
                  <a:pt x="26603" y="69055"/>
                </a:lnTo>
                <a:lnTo>
                  <a:pt x="27830" y="69055"/>
                </a:lnTo>
                <a:lnTo>
                  <a:pt x="30188" y="68867"/>
                </a:lnTo>
                <a:lnTo>
                  <a:pt x="33113" y="68678"/>
                </a:lnTo>
                <a:lnTo>
                  <a:pt x="36509" y="68301"/>
                </a:lnTo>
                <a:lnTo>
                  <a:pt x="39811" y="67923"/>
                </a:lnTo>
                <a:lnTo>
                  <a:pt x="42735" y="67452"/>
                </a:lnTo>
                <a:lnTo>
                  <a:pt x="44905" y="66980"/>
                </a:lnTo>
                <a:lnTo>
                  <a:pt x="45565" y="66791"/>
                </a:lnTo>
                <a:lnTo>
                  <a:pt x="45943" y="66508"/>
                </a:lnTo>
                <a:lnTo>
                  <a:pt x="47358" y="65942"/>
                </a:lnTo>
                <a:lnTo>
                  <a:pt x="48018" y="65565"/>
                </a:lnTo>
                <a:lnTo>
                  <a:pt x="48678" y="65188"/>
                </a:lnTo>
                <a:lnTo>
                  <a:pt x="47924" y="65471"/>
                </a:lnTo>
                <a:lnTo>
                  <a:pt x="51509" y="62924"/>
                </a:lnTo>
                <a:lnTo>
                  <a:pt x="53301" y="61508"/>
                </a:lnTo>
                <a:lnTo>
                  <a:pt x="55093" y="59905"/>
                </a:lnTo>
                <a:lnTo>
                  <a:pt x="55093" y="59905"/>
                </a:lnTo>
                <a:lnTo>
                  <a:pt x="54810" y="60376"/>
                </a:lnTo>
                <a:lnTo>
                  <a:pt x="54339" y="60754"/>
                </a:lnTo>
                <a:lnTo>
                  <a:pt x="55376" y="59999"/>
                </a:lnTo>
                <a:lnTo>
                  <a:pt x="56320" y="59056"/>
                </a:lnTo>
                <a:lnTo>
                  <a:pt x="57075" y="58395"/>
                </a:lnTo>
                <a:lnTo>
                  <a:pt x="57169" y="58207"/>
                </a:lnTo>
                <a:lnTo>
                  <a:pt x="57075" y="58207"/>
                </a:lnTo>
                <a:lnTo>
                  <a:pt x="57924" y="57546"/>
                </a:lnTo>
                <a:lnTo>
                  <a:pt x="58678" y="56697"/>
                </a:lnTo>
                <a:lnTo>
                  <a:pt x="59339" y="55754"/>
                </a:lnTo>
                <a:lnTo>
                  <a:pt x="59905" y="54905"/>
                </a:lnTo>
                <a:lnTo>
                  <a:pt x="59716" y="54999"/>
                </a:lnTo>
                <a:lnTo>
                  <a:pt x="59622" y="54999"/>
                </a:lnTo>
                <a:lnTo>
                  <a:pt x="59810" y="54622"/>
                </a:lnTo>
                <a:lnTo>
                  <a:pt x="59150" y="55565"/>
                </a:lnTo>
                <a:lnTo>
                  <a:pt x="59527" y="55094"/>
                </a:lnTo>
                <a:lnTo>
                  <a:pt x="59433" y="55377"/>
                </a:lnTo>
                <a:lnTo>
                  <a:pt x="58867" y="56037"/>
                </a:lnTo>
                <a:lnTo>
                  <a:pt x="59056" y="55660"/>
                </a:lnTo>
                <a:lnTo>
                  <a:pt x="59056" y="55660"/>
                </a:lnTo>
                <a:lnTo>
                  <a:pt x="58678" y="56037"/>
                </a:lnTo>
                <a:lnTo>
                  <a:pt x="59810" y="54339"/>
                </a:lnTo>
                <a:lnTo>
                  <a:pt x="60282" y="53490"/>
                </a:lnTo>
                <a:lnTo>
                  <a:pt x="60282" y="53301"/>
                </a:lnTo>
                <a:lnTo>
                  <a:pt x="60188" y="53395"/>
                </a:lnTo>
                <a:lnTo>
                  <a:pt x="60188" y="53395"/>
                </a:lnTo>
                <a:lnTo>
                  <a:pt x="60565" y="52924"/>
                </a:lnTo>
                <a:lnTo>
                  <a:pt x="61037" y="52452"/>
                </a:lnTo>
                <a:lnTo>
                  <a:pt x="61886" y="51509"/>
                </a:lnTo>
                <a:lnTo>
                  <a:pt x="61508" y="52452"/>
                </a:lnTo>
                <a:lnTo>
                  <a:pt x="60848" y="53584"/>
                </a:lnTo>
                <a:lnTo>
                  <a:pt x="59622" y="55565"/>
                </a:lnTo>
                <a:lnTo>
                  <a:pt x="60376" y="54528"/>
                </a:lnTo>
                <a:lnTo>
                  <a:pt x="60942" y="53678"/>
                </a:lnTo>
                <a:lnTo>
                  <a:pt x="61980" y="51792"/>
                </a:lnTo>
                <a:lnTo>
                  <a:pt x="61886" y="51886"/>
                </a:lnTo>
                <a:lnTo>
                  <a:pt x="61886" y="51697"/>
                </a:lnTo>
                <a:lnTo>
                  <a:pt x="62169" y="51037"/>
                </a:lnTo>
                <a:lnTo>
                  <a:pt x="62735" y="49999"/>
                </a:lnTo>
                <a:lnTo>
                  <a:pt x="61508" y="51603"/>
                </a:lnTo>
                <a:lnTo>
                  <a:pt x="61603" y="51037"/>
                </a:lnTo>
                <a:lnTo>
                  <a:pt x="61697" y="50377"/>
                </a:lnTo>
                <a:lnTo>
                  <a:pt x="62169" y="48962"/>
                </a:lnTo>
                <a:lnTo>
                  <a:pt x="62829" y="47358"/>
                </a:lnTo>
                <a:lnTo>
                  <a:pt x="63678" y="45565"/>
                </a:lnTo>
                <a:lnTo>
                  <a:pt x="65376" y="42169"/>
                </a:lnTo>
                <a:lnTo>
                  <a:pt x="66131" y="40660"/>
                </a:lnTo>
                <a:lnTo>
                  <a:pt x="66697" y="39339"/>
                </a:lnTo>
                <a:lnTo>
                  <a:pt x="66603" y="39528"/>
                </a:lnTo>
                <a:lnTo>
                  <a:pt x="66697" y="39056"/>
                </a:lnTo>
                <a:lnTo>
                  <a:pt x="66791" y="38962"/>
                </a:lnTo>
                <a:lnTo>
                  <a:pt x="66791" y="39056"/>
                </a:lnTo>
                <a:lnTo>
                  <a:pt x="66886" y="38584"/>
                </a:lnTo>
                <a:lnTo>
                  <a:pt x="66791" y="38867"/>
                </a:lnTo>
                <a:lnTo>
                  <a:pt x="66980" y="38207"/>
                </a:lnTo>
                <a:lnTo>
                  <a:pt x="67169" y="37264"/>
                </a:lnTo>
                <a:lnTo>
                  <a:pt x="67263" y="36415"/>
                </a:lnTo>
                <a:lnTo>
                  <a:pt x="67357" y="36509"/>
                </a:lnTo>
                <a:lnTo>
                  <a:pt x="67452" y="36509"/>
                </a:lnTo>
                <a:lnTo>
                  <a:pt x="67546" y="35943"/>
                </a:lnTo>
                <a:lnTo>
                  <a:pt x="67546" y="34811"/>
                </a:lnTo>
                <a:lnTo>
                  <a:pt x="67640" y="31037"/>
                </a:lnTo>
                <a:lnTo>
                  <a:pt x="67640" y="28490"/>
                </a:lnTo>
                <a:lnTo>
                  <a:pt x="67546" y="27736"/>
                </a:lnTo>
                <a:lnTo>
                  <a:pt x="67546" y="27547"/>
                </a:lnTo>
                <a:lnTo>
                  <a:pt x="67452" y="27547"/>
                </a:lnTo>
                <a:lnTo>
                  <a:pt x="67074" y="26792"/>
                </a:lnTo>
                <a:lnTo>
                  <a:pt x="66791" y="25660"/>
                </a:lnTo>
                <a:lnTo>
                  <a:pt x="66508" y="24528"/>
                </a:lnTo>
                <a:lnTo>
                  <a:pt x="66414" y="23585"/>
                </a:lnTo>
                <a:lnTo>
                  <a:pt x="66320" y="23679"/>
                </a:lnTo>
                <a:lnTo>
                  <a:pt x="66320" y="23490"/>
                </a:lnTo>
                <a:lnTo>
                  <a:pt x="65942" y="22924"/>
                </a:lnTo>
                <a:lnTo>
                  <a:pt x="65565" y="22358"/>
                </a:lnTo>
                <a:lnTo>
                  <a:pt x="64527" y="21132"/>
                </a:lnTo>
                <a:lnTo>
                  <a:pt x="63584" y="19906"/>
                </a:lnTo>
                <a:lnTo>
                  <a:pt x="63207" y="19340"/>
                </a:lnTo>
                <a:lnTo>
                  <a:pt x="63018" y="18774"/>
                </a:lnTo>
                <a:lnTo>
                  <a:pt x="63112" y="18962"/>
                </a:lnTo>
                <a:lnTo>
                  <a:pt x="63301" y="19057"/>
                </a:lnTo>
                <a:lnTo>
                  <a:pt x="63301" y="19057"/>
                </a:lnTo>
                <a:lnTo>
                  <a:pt x="63207" y="18868"/>
                </a:lnTo>
                <a:lnTo>
                  <a:pt x="62923" y="18491"/>
                </a:lnTo>
                <a:lnTo>
                  <a:pt x="61980" y="17453"/>
                </a:lnTo>
                <a:lnTo>
                  <a:pt x="61037" y="16509"/>
                </a:lnTo>
                <a:lnTo>
                  <a:pt x="61037" y="16698"/>
                </a:lnTo>
                <a:lnTo>
                  <a:pt x="61037" y="16887"/>
                </a:lnTo>
                <a:lnTo>
                  <a:pt x="60093" y="15943"/>
                </a:lnTo>
                <a:lnTo>
                  <a:pt x="60376" y="16321"/>
                </a:lnTo>
                <a:lnTo>
                  <a:pt x="59527" y="15377"/>
                </a:lnTo>
                <a:lnTo>
                  <a:pt x="59056" y="14906"/>
                </a:lnTo>
                <a:lnTo>
                  <a:pt x="59244" y="14906"/>
                </a:lnTo>
                <a:lnTo>
                  <a:pt x="59905" y="15472"/>
                </a:lnTo>
                <a:lnTo>
                  <a:pt x="59905" y="15472"/>
                </a:lnTo>
                <a:lnTo>
                  <a:pt x="57641" y="13396"/>
                </a:lnTo>
                <a:lnTo>
                  <a:pt x="58112" y="13868"/>
                </a:lnTo>
                <a:lnTo>
                  <a:pt x="56886" y="13019"/>
                </a:lnTo>
                <a:lnTo>
                  <a:pt x="55754" y="12453"/>
                </a:lnTo>
                <a:lnTo>
                  <a:pt x="56603" y="13113"/>
                </a:lnTo>
                <a:lnTo>
                  <a:pt x="57452" y="13774"/>
                </a:lnTo>
                <a:lnTo>
                  <a:pt x="58961" y="15283"/>
                </a:lnTo>
                <a:lnTo>
                  <a:pt x="60376" y="16604"/>
                </a:lnTo>
                <a:lnTo>
                  <a:pt x="61225" y="17264"/>
                </a:lnTo>
                <a:lnTo>
                  <a:pt x="62074" y="17925"/>
                </a:lnTo>
                <a:lnTo>
                  <a:pt x="62074" y="17925"/>
                </a:lnTo>
                <a:lnTo>
                  <a:pt x="61414" y="17547"/>
                </a:lnTo>
                <a:lnTo>
                  <a:pt x="60659" y="16981"/>
                </a:lnTo>
                <a:lnTo>
                  <a:pt x="60754" y="17264"/>
                </a:lnTo>
                <a:lnTo>
                  <a:pt x="60942" y="17642"/>
                </a:lnTo>
                <a:lnTo>
                  <a:pt x="61980" y="19151"/>
                </a:lnTo>
                <a:lnTo>
                  <a:pt x="63301" y="20943"/>
                </a:lnTo>
                <a:lnTo>
                  <a:pt x="63207" y="20943"/>
                </a:lnTo>
                <a:lnTo>
                  <a:pt x="63395" y="21038"/>
                </a:lnTo>
                <a:lnTo>
                  <a:pt x="63490" y="21321"/>
                </a:lnTo>
                <a:lnTo>
                  <a:pt x="63678" y="21604"/>
                </a:lnTo>
                <a:lnTo>
                  <a:pt x="63773" y="21698"/>
                </a:lnTo>
                <a:lnTo>
                  <a:pt x="63584" y="21321"/>
                </a:lnTo>
                <a:lnTo>
                  <a:pt x="63584" y="21321"/>
                </a:lnTo>
                <a:lnTo>
                  <a:pt x="64244" y="22170"/>
                </a:lnTo>
                <a:lnTo>
                  <a:pt x="64716" y="22641"/>
                </a:lnTo>
                <a:lnTo>
                  <a:pt x="64905" y="22830"/>
                </a:lnTo>
                <a:lnTo>
                  <a:pt x="64999" y="22830"/>
                </a:lnTo>
                <a:lnTo>
                  <a:pt x="64999" y="22641"/>
                </a:lnTo>
                <a:lnTo>
                  <a:pt x="64905" y="22358"/>
                </a:lnTo>
                <a:lnTo>
                  <a:pt x="65282" y="23207"/>
                </a:lnTo>
                <a:lnTo>
                  <a:pt x="65565" y="24056"/>
                </a:lnTo>
                <a:lnTo>
                  <a:pt x="66225" y="25943"/>
                </a:lnTo>
                <a:lnTo>
                  <a:pt x="66697" y="27830"/>
                </a:lnTo>
                <a:lnTo>
                  <a:pt x="66886" y="28490"/>
                </a:lnTo>
                <a:lnTo>
                  <a:pt x="66980" y="28868"/>
                </a:lnTo>
                <a:lnTo>
                  <a:pt x="66886" y="28962"/>
                </a:lnTo>
                <a:lnTo>
                  <a:pt x="66697" y="28679"/>
                </a:lnTo>
                <a:lnTo>
                  <a:pt x="66697" y="29245"/>
                </a:lnTo>
                <a:lnTo>
                  <a:pt x="66791" y="29905"/>
                </a:lnTo>
                <a:lnTo>
                  <a:pt x="66886" y="29905"/>
                </a:lnTo>
                <a:lnTo>
                  <a:pt x="66886" y="30094"/>
                </a:lnTo>
                <a:lnTo>
                  <a:pt x="66886" y="30566"/>
                </a:lnTo>
                <a:lnTo>
                  <a:pt x="66697" y="30377"/>
                </a:lnTo>
                <a:lnTo>
                  <a:pt x="66603" y="30188"/>
                </a:lnTo>
                <a:lnTo>
                  <a:pt x="66603" y="30094"/>
                </a:lnTo>
                <a:lnTo>
                  <a:pt x="66697" y="29905"/>
                </a:lnTo>
                <a:lnTo>
                  <a:pt x="66508" y="28679"/>
                </a:lnTo>
                <a:lnTo>
                  <a:pt x="66225" y="27358"/>
                </a:lnTo>
                <a:lnTo>
                  <a:pt x="66603" y="30283"/>
                </a:lnTo>
                <a:lnTo>
                  <a:pt x="66697" y="31792"/>
                </a:lnTo>
                <a:lnTo>
                  <a:pt x="66697" y="33302"/>
                </a:lnTo>
                <a:lnTo>
                  <a:pt x="66603" y="34717"/>
                </a:lnTo>
                <a:lnTo>
                  <a:pt x="66414" y="36226"/>
                </a:lnTo>
                <a:lnTo>
                  <a:pt x="66131" y="37547"/>
                </a:lnTo>
                <a:lnTo>
                  <a:pt x="65659" y="38962"/>
                </a:lnTo>
                <a:lnTo>
                  <a:pt x="65848" y="38584"/>
                </a:lnTo>
                <a:lnTo>
                  <a:pt x="65942" y="38584"/>
                </a:lnTo>
                <a:lnTo>
                  <a:pt x="65848" y="39245"/>
                </a:lnTo>
                <a:lnTo>
                  <a:pt x="65565" y="40188"/>
                </a:lnTo>
                <a:lnTo>
                  <a:pt x="65471" y="40471"/>
                </a:lnTo>
                <a:lnTo>
                  <a:pt x="65282" y="40660"/>
                </a:lnTo>
                <a:lnTo>
                  <a:pt x="65282" y="40566"/>
                </a:lnTo>
                <a:lnTo>
                  <a:pt x="65093" y="41132"/>
                </a:lnTo>
                <a:lnTo>
                  <a:pt x="64433" y="43018"/>
                </a:lnTo>
                <a:lnTo>
                  <a:pt x="63678" y="45282"/>
                </a:lnTo>
                <a:lnTo>
                  <a:pt x="62735" y="47264"/>
                </a:lnTo>
                <a:lnTo>
                  <a:pt x="61697" y="49056"/>
                </a:lnTo>
                <a:lnTo>
                  <a:pt x="60659" y="50943"/>
                </a:lnTo>
                <a:lnTo>
                  <a:pt x="59433" y="52735"/>
                </a:lnTo>
                <a:lnTo>
                  <a:pt x="58207" y="54433"/>
                </a:lnTo>
                <a:lnTo>
                  <a:pt x="56886" y="56037"/>
                </a:lnTo>
                <a:lnTo>
                  <a:pt x="55376" y="57641"/>
                </a:lnTo>
                <a:lnTo>
                  <a:pt x="53867" y="59150"/>
                </a:lnTo>
                <a:lnTo>
                  <a:pt x="52169" y="60376"/>
                </a:lnTo>
                <a:lnTo>
                  <a:pt x="48961" y="62452"/>
                </a:lnTo>
                <a:lnTo>
                  <a:pt x="44528" y="65282"/>
                </a:lnTo>
                <a:lnTo>
                  <a:pt x="44622" y="65188"/>
                </a:lnTo>
                <a:lnTo>
                  <a:pt x="44716" y="65093"/>
                </a:lnTo>
                <a:lnTo>
                  <a:pt x="45094" y="64810"/>
                </a:lnTo>
                <a:lnTo>
                  <a:pt x="45660" y="64527"/>
                </a:lnTo>
                <a:lnTo>
                  <a:pt x="43867" y="65376"/>
                </a:lnTo>
                <a:lnTo>
                  <a:pt x="43113" y="65754"/>
                </a:lnTo>
                <a:lnTo>
                  <a:pt x="42924" y="65754"/>
                </a:lnTo>
                <a:lnTo>
                  <a:pt x="43113" y="65659"/>
                </a:lnTo>
                <a:lnTo>
                  <a:pt x="41603" y="66037"/>
                </a:lnTo>
                <a:lnTo>
                  <a:pt x="39999" y="66320"/>
                </a:lnTo>
                <a:lnTo>
                  <a:pt x="38396" y="66508"/>
                </a:lnTo>
                <a:lnTo>
                  <a:pt x="36792" y="66697"/>
                </a:lnTo>
                <a:lnTo>
                  <a:pt x="33584" y="66980"/>
                </a:lnTo>
                <a:lnTo>
                  <a:pt x="32169" y="67169"/>
                </a:lnTo>
                <a:lnTo>
                  <a:pt x="30754" y="67357"/>
                </a:lnTo>
                <a:lnTo>
                  <a:pt x="30094" y="67357"/>
                </a:lnTo>
                <a:lnTo>
                  <a:pt x="29339" y="67263"/>
                </a:lnTo>
                <a:lnTo>
                  <a:pt x="27830" y="66886"/>
                </a:lnTo>
                <a:lnTo>
                  <a:pt x="26415" y="66508"/>
                </a:lnTo>
                <a:lnTo>
                  <a:pt x="25754" y="66414"/>
                </a:lnTo>
                <a:lnTo>
                  <a:pt x="25094" y="66414"/>
                </a:lnTo>
                <a:lnTo>
                  <a:pt x="25566" y="66980"/>
                </a:lnTo>
                <a:lnTo>
                  <a:pt x="25471" y="67074"/>
                </a:lnTo>
                <a:lnTo>
                  <a:pt x="25188" y="66980"/>
                </a:lnTo>
                <a:lnTo>
                  <a:pt x="24339" y="66791"/>
                </a:lnTo>
                <a:lnTo>
                  <a:pt x="23773" y="66508"/>
                </a:lnTo>
                <a:lnTo>
                  <a:pt x="24245" y="66414"/>
                </a:lnTo>
                <a:lnTo>
                  <a:pt x="24717" y="66603"/>
                </a:lnTo>
                <a:lnTo>
                  <a:pt x="24811" y="66414"/>
                </a:lnTo>
                <a:lnTo>
                  <a:pt x="24811" y="66320"/>
                </a:lnTo>
                <a:lnTo>
                  <a:pt x="24717" y="66225"/>
                </a:lnTo>
                <a:lnTo>
                  <a:pt x="24528" y="66131"/>
                </a:lnTo>
                <a:lnTo>
                  <a:pt x="24151" y="66225"/>
                </a:lnTo>
                <a:lnTo>
                  <a:pt x="23679" y="66320"/>
                </a:lnTo>
                <a:lnTo>
                  <a:pt x="23018" y="66414"/>
                </a:lnTo>
                <a:lnTo>
                  <a:pt x="23490" y="66225"/>
                </a:lnTo>
                <a:lnTo>
                  <a:pt x="22075" y="65942"/>
                </a:lnTo>
                <a:lnTo>
                  <a:pt x="20943" y="65659"/>
                </a:lnTo>
                <a:lnTo>
                  <a:pt x="20000" y="65282"/>
                </a:lnTo>
                <a:lnTo>
                  <a:pt x="19056" y="64810"/>
                </a:lnTo>
                <a:lnTo>
                  <a:pt x="19056" y="64810"/>
                </a:lnTo>
                <a:lnTo>
                  <a:pt x="19717" y="64999"/>
                </a:lnTo>
                <a:lnTo>
                  <a:pt x="19151" y="64716"/>
                </a:lnTo>
                <a:lnTo>
                  <a:pt x="18962" y="64810"/>
                </a:lnTo>
                <a:lnTo>
                  <a:pt x="19151" y="64905"/>
                </a:lnTo>
                <a:lnTo>
                  <a:pt x="18490" y="64905"/>
                </a:lnTo>
                <a:lnTo>
                  <a:pt x="17830" y="64716"/>
                </a:lnTo>
                <a:lnTo>
                  <a:pt x="17264" y="64527"/>
                </a:lnTo>
                <a:lnTo>
                  <a:pt x="16698" y="64150"/>
                </a:lnTo>
                <a:lnTo>
                  <a:pt x="16981" y="64056"/>
                </a:lnTo>
                <a:lnTo>
                  <a:pt x="17264" y="64150"/>
                </a:lnTo>
                <a:lnTo>
                  <a:pt x="17264" y="64150"/>
                </a:lnTo>
                <a:lnTo>
                  <a:pt x="15188" y="63207"/>
                </a:lnTo>
                <a:lnTo>
                  <a:pt x="14622" y="62829"/>
                </a:lnTo>
                <a:lnTo>
                  <a:pt x="14717" y="62924"/>
                </a:lnTo>
                <a:lnTo>
                  <a:pt x="13773" y="62546"/>
                </a:lnTo>
                <a:lnTo>
                  <a:pt x="12924" y="62075"/>
                </a:lnTo>
                <a:lnTo>
                  <a:pt x="12358" y="61697"/>
                </a:lnTo>
                <a:lnTo>
                  <a:pt x="12264" y="61508"/>
                </a:lnTo>
                <a:lnTo>
                  <a:pt x="12170" y="61320"/>
                </a:lnTo>
                <a:lnTo>
                  <a:pt x="11698" y="60942"/>
                </a:lnTo>
                <a:lnTo>
                  <a:pt x="11132" y="60471"/>
                </a:lnTo>
                <a:lnTo>
                  <a:pt x="9906" y="59244"/>
                </a:lnTo>
                <a:lnTo>
                  <a:pt x="9906" y="59244"/>
                </a:lnTo>
                <a:lnTo>
                  <a:pt x="10566" y="59527"/>
                </a:lnTo>
                <a:lnTo>
                  <a:pt x="9434" y="58584"/>
                </a:lnTo>
                <a:lnTo>
                  <a:pt x="8207" y="57546"/>
                </a:lnTo>
                <a:lnTo>
                  <a:pt x="7547" y="56886"/>
                </a:lnTo>
                <a:lnTo>
                  <a:pt x="6981" y="56131"/>
                </a:lnTo>
                <a:lnTo>
                  <a:pt x="6226" y="55094"/>
                </a:lnTo>
                <a:lnTo>
                  <a:pt x="6415" y="55377"/>
                </a:lnTo>
                <a:lnTo>
                  <a:pt x="6038" y="54905"/>
                </a:lnTo>
                <a:lnTo>
                  <a:pt x="5472" y="54244"/>
                </a:lnTo>
                <a:lnTo>
                  <a:pt x="5283" y="53961"/>
                </a:lnTo>
                <a:lnTo>
                  <a:pt x="5094" y="53867"/>
                </a:lnTo>
                <a:lnTo>
                  <a:pt x="5377" y="54622"/>
                </a:lnTo>
                <a:lnTo>
                  <a:pt x="5849" y="55282"/>
                </a:lnTo>
                <a:lnTo>
                  <a:pt x="6321" y="55943"/>
                </a:lnTo>
                <a:lnTo>
                  <a:pt x="6698" y="56603"/>
                </a:lnTo>
                <a:lnTo>
                  <a:pt x="6226" y="56226"/>
                </a:lnTo>
                <a:lnTo>
                  <a:pt x="5943" y="55848"/>
                </a:lnTo>
                <a:lnTo>
                  <a:pt x="6038" y="56037"/>
                </a:lnTo>
                <a:lnTo>
                  <a:pt x="5943" y="55943"/>
                </a:lnTo>
                <a:lnTo>
                  <a:pt x="5377" y="55188"/>
                </a:lnTo>
                <a:lnTo>
                  <a:pt x="5000" y="54716"/>
                </a:lnTo>
                <a:lnTo>
                  <a:pt x="4717" y="54150"/>
                </a:lnTo>
                <a:lnTo>
                  <a:pt x="4528" y="53678"/>
                </a:lnTo>
                <a:lnTo>
                  <a:pt x="4528" y="53584"/>
                </a:lnTo>
                <a:lnTo>
                  <a:pt x="4623" y="53395"/>
                </a:lnTo>
                <a:lnTo>
                  <a:pt x="5094" y="54244"/>
                </a:lnTo>
                <a:lnTo>
                  <a:pt x="4717" y="53301"/>
                </a:lnTo>
                <a:lnTo>
                  <a:pt x="4528" y="53018"/>
                </a:lnTo>
                <a:lnTo>
                  <a:pt x="4151" y="52263"/>
                </a:lnTo>
                <a:lnTo>
                  <a:pt x="4151" y="52169"/>
                </a:lnTo>
                <a:lnTo>
                  <a:pt x="3774" y="51509"/>
                </a:lnTo>
                <a:lnTo>
                  <a:pt x="3396" y="50660"/>
                </a:lnTo>
                <a:lnTo>
                  <a:pt x="3585" y="51603"/>
                </a:lnTo>
                <a:lnTo>
                  <a:pt x="3396" y="51226"/>
                </a:lnTo>
                <a:lnTo>
                  <a:pt x="3208" y="50848"/>
                </a:lnTo>
                <a:lnTo>
                  <a:pt x="3208" y="50471"/>
                </a:lnTo>
                <a:lnTo>
                  <a:pt x="3208" y="50094"/>
                </a:lnTo>
                <a:lnTo>
                  <a:pt x="3585" y="50754"/>
                </a:lnTo>
                <a:lnTo>
                  <a:pt x="3868" y="51509"/>
                </a:lnTo>
                <a:lnTo>
                  <a:pt x="3868" y="51509"/>
                </a:lnTo>
                <a:lnTo>
                  <a:pt x="3208" y="49528"/>
                </a:lnTo>
                <a:lnTo>
                  <a:pt x="3208" y="49528"/>
                </a:lnTo>
                <a:lnTo>
                  <a:pt x="3868" y="50754"/>
                </a:lnTo>
                <a:lnTo>
                  <a:pt x="3208" y="48962"/>
                </a:lnTo>
                <a:lnTo>
                  <a:pt x="3585" y="49339"/>
                </a:lnTo>
                <a:lnTo>
                  <a:pt x="3774" y="49433"/>
                </a:lnTo>
                <a:lnTo>
                  <a:pt x="3962" y="49528"/>
                </a:lnTo>
                <a:lnTo>
                  <a:pt x="4057" y="49905"/>
                </a:lnTo>
                <a:lnTo>
                  <a:pt x="3868" y="48962"/>
                </a:lnTo>
                <a:lnTo>
                  <a:pt x="3491" y="47924"/>
                </a:lnTo>
                <a:lnTo>
                  <a:pt x="2641" y="45565"/>
                </a:lnTo>
                <a:lnTo>
                  <a:pt x="2170" y="43867"/>
                </a:lnTo>
                <a:lnTo>
                  <a:pt x="1698" y="41886"/>
                </a:lnTo>
                <a:lnTo>
                  <a:pt x="1698" y="41886"/>
                </a:lnTo>
                <a:lnTo>
                  <a:pt x="1887" y="42075"/>
                </a:lnTo>
                <a:lnTo>
                  <a:pt x="1981" y="41981"/>
                </a:lnTo>
                <a:lnTo>
                  <a:pt x="2075" y="42075"/>
                </a:lnTo>
                <a:lnTo>
                  <a:pt x="2264" y="42169"/>
                </a:lnTo>
                <a:lnTo>
                  <a:pt x="2170" y="40283"/>
                </a:lnTo>
                <a:lnTo>
                  <a:pt x="2075" y="38301"/>
                </a:lnTo>
                <a:lnTo>
                  <a:pt x="2170" y="36415"/>
                </a:lnTo>
                <a:lnTo>
                  <a:pt x="2358" y="35566"/>
                </a:lnTo>
                <a:lnTo>
                  <a:pt x="2453" y="34811"/>
                </a:lnTo>
                <a:lnTo>
                  <a:pt x="2830" y="32830"/>
                </a:lnTo>
                <a:lnTo>
                  <a:pt x="2830" y="33207"/>
                </a:lnTo>
                <a:lnTo>
                  <a:pt x="2924" y="33490"/>
                </a:lnTo>
                <a:lnTo>
                  <a:pt x="2924" y="32453"/>
                </a:lnTo>
                <a:lnTo>
                  <a:pt x="3019" y="31415"/>
                </a:lnTo>
                <a:lnTo>
                  <a:pt x="3396" y="29245"/>
                </a:lnTo>
                <a:lnTo>
                  <a:pt x="3868" y="27075"/>
                </a:lnTo>
                <a:lnTo>
                  <a:pt x="4623" y="25000"/>
                </a:lnTo>
                <a:lnTo>
                  <a:pt x="5566" y="22830"/>
                </a:lnTo>
                <a:lnTo>
                  <a:pt x="6604" y="20849"/>
                </a:lnTo>
                <a:lnTo>
                  <a:pt x="7830" y="18868"/>
                </a:lnTo>
                <a:lnTo>
                  <a:pt x="9151" y="16887"/>
                </a:lnTo>
                <a:lnTo>
                  <a:pt x="10566" y="15094"/>
                </a:lnTo>
                <a:lnTo>
                  <a:pt x="12075" y="13302"/>
                </a:lnTo>
                <a:lnTo>
                  <a:pt x="13773" y="11698"/>
                </a:lnTo>
                <a:lnTo>
                  <a:pt x="15377" y="10095"/>
                </a:lnTo>
                <a:lnTo>
                  <a:pt x="17170" y="8679"/>
                </a:lnTo>
                <a:lnTo>
                  <a:pt x="18962" y="7453"/>
                </a:lnTo>
                <a:lnTo>
                  <a:pt x="20754" y="6321"/>
                </a:lnTo>
                <a:lnTo>
                  <a:pt x="22547" y="5378"/>
                </a:lnTo>
                <a:lnTo>
                  <a:pt x="21603" y="6227"/>
                </a:lnTo>
                <a:lnTo>
                  <a:pt x="22641" y="5472"/>
                </a:lnTo>
                <a:lnTo>
                  <a:pt x="23302" y="5095"/>
                </a:lnTo>
                <a:lnTo>
                  <a:pt x="25377" y="4151"/>
                </a:lnTo>
                <a:lnTo>
                  <a:pt x="24811" y="4151"/>
                </a:lnTo>
                <a:lnTo>
                  <a:pt x="25660" y="3774"/>
                </a:lnTo>
                <a:lnTo>
                  <a:pt x="26886" y="3208"/>
                </a:lnTo>
                <a:lnTo>
                  <a:pt x="26603" y="3585"/>
                </a:lnTo>
                <a:lnTo>
                  <a:pt x="26886" y="3585"/>
                </a:lnTo>
                <a:lnTo>
                  <a:pt x="26886" y="3680"/>
                </a:lnTo>
                <a:lnTo>
                  <a:pt x="26792" y="3774"/>
                </a:lnTo>
                <a:lnTo>
                  <a:pt x="28301" y="3302"/>
                </a:lnTo>
                <a:lnTo>
                  <a:pt x="29622" y="2736"/>
                </a:lnTo>
                <a:lnTo>
                  <a:pt x="31037" y="2264"/>
                </a:lnTo>
                <a:lnTo>
                  <a:pt x="31792" y="2076"/>
                </a:lnTo>
                <a:lnTo>
                  <a:pt x="32641" y="1981"/>
                </a:lnTo>
                <a:lnTo>
                  <a:pt x="32547" y="2076"/>
                </a:lnTo>
                <a:lnTo>
                  <a:pt x="32924" y="1981"/>
                </a:lnTo>
                <a:lnTo>
                  <a:pt x="34245" y="1793"/>
                </a:lnTo>
                <a:lnTo>
                  <a:pt x="35848" y="1415"/>
                </a:lnTo>
                <a:lnTo>
                  <a:pt x="36981" y="1132"/>
                </a:lnTo>
                <a:lnTo>
                  <a:pt x="36981" y="1415"/>
                </a:lnTo>
                <a:lnTo>
                  <a:pt x="40943" y="1227"/>
                </a:lnTo>
                <a:lnTo>
                  <a:pt x="41509" y="1038"/>
                </a:lnTo>
                <a:lnTo>
                  <a:pt x="41697" y="1132"/>
                </a:lnTo>
                <a:lnTo>
                  <a:pt x="41509" y="1227"/>
                </a:lnTo>
                <a:lnTo>
                  <a:pt x="41320" y="1321"/>
                </a:lnTo>
                <a:lnTo>
                  <a:pt x="42263" y="1321"/>
                </a:lnTo>
                <a:lnTo>
                  <a:pt x="43113" y="1227"/>
                </a:lnTo>
                <a:lnTo>
                  <a:pt x="43396" y="1415"/>
                </a:lnTo>
                <a:lnTo>
                  <a:pt x="44056" y="1604"/>
                </a:lnTo>
                <a:lnTo>
                  <a:pt x="45943" y="2076"/>
                </a:lnTo>
                <a:lnTo>
                  <a:pt x="48018" y="2359"/>
                </a:lnTo>
                <a:lnTo>
                  <a:pt x="49622" y="2736"/>
                </a:lnTo>
                <a:lnTo>
                  <a:pt x="47641" y="1981"/>
                </a:lnTo>
                <a:lnTo>
                  <a:pt x="45282" y="1321"/>
                </a:lnTo>
                <a:lnTo>
                  <a:pt x="42735" y="755"/>
                </a:lnTo>
                <a:lnTo>
                  <a:pt x="40188" y="283"/>
                </a:lnTo>
                <a:lnTo>
                  <a:pt x="37735" y="95"/>
                </a:lnTo>
                <a:lnTo>
                  <a:pt x="35471" y="0"/>
                </a:lnTo>
                <a:close/>
              </a:path>
            </a:pathLst>
          </a:custGeom>
          <a:solidFill>
            <a:srgbClr val="F26F27">
              <a:alpha val="50000"/>
            </a:srgbClr>
          </a:solidFill>
          <a:ln w="0">
            <a:solidFill>
              <a:srgbClr val="F26F27">
                <a:alpha val="55000"/>
              </a:srgbClr>
            </a:solidFill>
          </a:ln>
        </p:spPr>
        <p:txBody>
          <a:bodyPr spcFirstLastPara="1" wrap="square" lIns="91425" tIns="91425" rIns="91425" bIns="91425" anchor="ctr" anchorCtr="0">
            <a:noAutofit/>
          </a:bodyPr>
          <a:lstStyle/>
          <a:p>
            <a:pPr marL="0" lvl="0" indent="0">
              <a:spcBef>
                <a:spcPts val="0"/>
              </a:spcBef>
              <a:spcAft>
                <a:spcPts val="0"/>
              </a:spcAft>
              <a:buNone/>
            </a:pPr>
            <a:endParaRPr dirty="0"/>
          </a:p>
        </p:txBody>
      </p:sp>
      <p:grpSp>
        <p:nvGrpSpPr>
          <p:cNvPr id="5" name="Group 4">
            <a:extLst>
              <a:ext uri="{FF2B5EF4-FFF2-40B4-BE49-F238E27FC236}">
                <a16:creationId xmlns:a16="http://schemas.microsoft.com/office/drawing/2014/main" id="{17549791-0840-8245-B5FD-2308778513F5}"/>
              </a:ext>
            </a:extLst>
          </p:cNvPr>
          <p:cNvGrpSpPr/>
          <p:nvPr/>
        </p:nvGrpSpPr>
        <p:grpSpPr>
          <a:xfrm rot="355199">
            <a:off x="2505045" y="2290637"/>
            <a:ext cx="680148" cy="500697"/>
            <a:chOff x="8110618" y="1534789"/>
            <a:chExt cx="439673" cy="428597"/>
          </a:xfrm>
        </p:grpSpPr>
        <p:sp>
          <p:nvSpPr>
            <p:cNvPr id="90" name="TextBox 89">
              <a:extLst>
                <a:ext uri="{FF2B5EF4-FFF2-40B4-BE49-F238E27FC236}">
                  <a16:creationId xmlns:a16="http://schemas.microsoft.com/office/drawing/2014/main" id="{A9A9EFD4-48A7-084F-8F70-821F3F353C58}"/>
                </a:ext>
              </a:extLst>
            </p:cNvPr>
            <p:cNvSpPr txBox="1"/>
            <p:nvPr/>
          </p:nvSpPr>
          <p:spPr>
            <a:xfrm>
              <a:off x="8154146" y="1582749"/>
              <a:ext cx="380825" cy="340004"/>
            </a:xfrm>
            <a:prstGeom prst="rect">
              <a:avLst/>
            </a:prstGeom>
            <a:noFill/>
          </p:spPr>
          <p:txBody>
            <a:bodyPr wrap="square" tIns="90000" bIns="90000" rtlCol="0" anchor="t">
              <a:spAutoFit/>
            </a:bodyPr>
            <a:lstStyle/>
            <a:p>
              <a:pPr algn="ctr"/>
              <a:r>
                <a:rPr lang="en-US" sz="1400" dirty="0">
                  <a:solidFill>
                    <a:schemeClr val="tx1">
                      <a:lumMod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Logic</a:t>
              </a:r>
            </a:p>
          </p:txBody>
        </p:sp>
        <p:sp>
          <p:nvSpPr>
            <p:cNvPr id="3" name="Arc 2">
              <a:extLst>
                <a:ext uri="{FF2B5EF4-FFF2-40B4-BE49-F238E27FC236}">
                  <a16:creationId xmlns:a16="http://schemas.microsoft.com/office/drawing/2014/main" id="{9F4468AD-7217-4C44-A3E4-653F7CBECB2D}"/>
                </a:ext>
              </a:extLst>
            </p:cNvPr>
            <p:cNvSpPr/>
            <p:nvPr/>
          </p:nvSpPr>
          <p:spPr>
            <a:xfrm>
              <a:off x="8110618" y="1534789"/>
              <a:ext cx="437940" cy="411480"/>
            </a:xfrm>
            <a:prstGeom prst="arc">
              <a:avLst>
                <a:gd name="adj1" fmla="val 10955217"/>
                <a:gd name="adj2" fmla="val 32241"/>
              </a:avLst>
            </a:prstGeom>
            <a:ln w="25400">
              <a:solidFill>
                <a:schemeClr val="tx1">
                  <a:lumMod val="50000"/>
                </a:schemeClr>
              </a:solidFill>
              <a:headEnd type="none"/>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solidFill>
                  <a:schemeClr val="tx1">
                    <a:lumMod val="50000"/>
                  </a:schemeClr>
                </a:solidFill>
              </a:endParaRPr>
            </a:p>
          </p:txBody>
        </p:sp>
        <p:sp>
          <p:nvSpPr>
            <p:cNvPr id="92" name="Arc 91">
              <a:extLst>
                <a:ext uri="{FF2B5EF4-FFF2-40B4-BE49-F238E27FC236}">
                  <a16:creationId xmlns:a16="http://schemas.microsoft.com/office/drawing/2014/main" id="{B6EB20EC-7935-2D42-8954-0EE07A0303CF}"/>
                </a:ext>
              </a:extLst>
            </p:cNvPr>
            <p:cNvSpPr/>
            <p:nvPr/>
          </p:nvSpPr>
          <p:spPr>
            <a:xfrm rot="11182285">
              <a:off x="8112351" y="1618192"/>
              <a:ext cx="437940" cy="345194"/>
            </a:xfrm>
            <a:prstGeom prst="arc">
              <a:avLst>
                <a:gd name="adj1" fmla="val 10284682"/>
                <a:gd name="adj2" fmla="val 21540638"/>
              </a:avLst>
            </a:prstGeom>
            <a:ln w="25400">
              <a:solidFill>
                <a:schemeClr val="bg2">
                  <a:lumMod val="50000"/>
                </a:schemeClr>
              </a:solidFill>
              <a:headEnd type="none"/>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solidFill>
                  <a:schemeClr val="tx1">
                    <a:lumMod val="50000"/>
                  </a:schemeClr>
                </a:solidFill>
              </a:endParaRPr>
            </a:p>
          </p:txBody>
        </p:sp>
      </p:grpSp>
      <p:sp>
        <p:nvSpPr>
          <p:cNvPr id="6" name="Down Arrow 5">
            <a:extLst>
              <a:ext uri="{FF2B5EF4-FFF2-40B4-BE49-F238E27FC236}">
                <a16:creationId xmlns:a16="http://schemas.microsoft.com/office/drawing/2014/main" id="{060BDC4C-E66D-074D-8AC0-BD0B08528BB5}"/>
              </a:ext>
            </a:extLst>
          </p:cNvPr>
          <p:cNvSpPr/>
          <p:nvPr/>
        </p:nvSpPr>
        <p:spPr>
          <a:xfrm>
            <a:off x="2650032" y="2690904"/>
            <a:ext cx="432685" cy="455845"/>
          </a:xfrm>
          <a:prstGeom prst="downArrow">
            <a:avLst/>
          </a:prstGeom>
          <a:solidFill>
            <a:srgbClr val="FF0000"/>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a:solidFill>
                <a:srgbClr val="002D72"/>
              </a:solidFill>
              <a:latin typeface="Arial" pitchFamily="34" charset="0"/>
              <a:cs typeface="Arial" pitchFamily="34" charset="0"/>
            </a:endParaRPr>
          </a:p>
        </p:txBody>
      </p:sp>
      <p:sp>
        <p:nvSpPr>
          <p:cNvPr id="166" name="TextBox 165">
            <a:extLst>
              <a:ext uri="{FF2B5EF4-FFF2-40B4-BE49-F238E27FC236}">
                <a16:creationId xmlns:a16="http://schemas.microsoft.com/office/drawing/2014/main" id="{2CF4B5FE-D75C-534F-A4FF-4D206DE72FAE}"/>
              </a:ext>
            </a:extLst>
          </p:cNvPr>
          <p:cNvSpPr txBox="1"/>
          <p:nvPr/>
        </p:nvSpPr>
        <p:spPr>
          <a:xfrm>
            <a:off x="2532069" y="1162009"/>
            <a:ext cx="732893" cy="366424"/>
          </a:xfrm>
          <a:prstGeom prst="rect">
            <a:avLst/>
          </a:prstGeom>
          <a:noFill/>
        </p:spPr>
        <p:txBody>
          <a:bodyPr wrap="none" tIns="90000" bIns="90000" rtlCol="0" anchor="t">
            <a:spAutoFit/>
          </a:bodyPr>
          <a:lstStyle/>
          <a:p>
            <a:pPr algn="ctr"/>
            <a:r>
              <a:rPr lang="en-US" sz="1200" dirty="0">
                <a:solidFill>
                  <a:schemeClr val="tx1">
                    <a:lumMod val="50000"/>
                  </a:schemeClr>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Service</a:t>
            </a:r>
          </a:p>
        </p:txBody>
      </p:sp>
      <p:cxnSp>
        <p:nvCxnSpPr>
          <p:cNvPr id="170" name="Straight Connector 169">
            <a:extLst>
              <a:ext uri="{FF2B5EF4-FFF2-40B4-BE49-F238E27FC236}">
                <a16:creationId xmlns:a16="http://schemas.microsoft.com/office/drawing/2014/main" id="{269022B0-798F-8045-8690-2EB7FD1B33B1}"/>
              </a:ext>
            </a:extLst>
          </p:cNvPr>
          <p:cNvCxnSpPr>
            <a:cxnSpLocks/>
          </p:cNvCxnSpPr>
          <p:nvPr/>
        </p:nvCxnSpPr>
        <p:spPr>
          <a:xfrm flipV="1">
            <a:off x="369009" y="3247992"/>
            <a:ext cx="2457999" cy="1"/>
          </a:xfrm>
          <a:prstGeom prst="line">
            <a:avLst/>
          </a:prstGeom>
          <a:ln w="12700">
            <a:solidFill>
              <a:srgbClr val="92D050"/>
            </a:solidFill>
            <a:headEnd type="none"/>
          </a:ln>
        </p:spPr>
        <p:style>
          <a:lnRef idx="1">
            <a:schemeClr val="accent1"/>
          </a:lnRef>
          <a:fillRef idx="0">
            <a:schemeClr val="accent1"/>
          </a:fillRef>
          <a:effectRef idx="0">
            <a:schemeClr val="accent1"/>
          </a:effectRef>
          <a:fontRef idx="minor">
            <a:schemeClr val="tx1"/>
          </a:fontRef>
        </p:style>
      </p:cxnSp>
      <p:sp>
        <p:nvSpPr>
          <p:cNvPr id="188" name="TextBox 187">
            <a:extLst>
              <a:ext uri="{FF2B5EF4-FFF2-40B4-BE49-F238E27FC236}">
                <a16:creationId xmlns:a16="http://schemas.microsoft.com/office/drawing/2014/main" id="{8AF8086D-731B-6D45-9432-0BD48FA899AC}"/>
              </a:ext>
            </a:extLst>
          </p:cNvPr>
          <p:cNvSpPr txBox="1"/>
          <p:nvPr/>
        </p:nvSpPr>
        <p:spPr>
          <a:xfrm>
            <a:off x="682471" y="4905537"/>
            <a:ext cx="4367806" cy="335646"/>
          </a:xfrm>
          <a:prstGeom prst="rect">
            <a:avLst/>
          </a:prstGeom>
          <a:noFill/>
        </p:spPr>
        <p:txBody>
          <a:bodyPr wrap="square" tIns="90000" bIns="90000" rtlCol="0" anchor="t">
            <a:spAutoFit/>
          </a:bodyPr>
          <a:lstStyle/>
          <a:p>
            <a:pPr algn="ctr"/>
            <a:r>
              <a:rPr lang="en-US" sz="1000" dirty="0">
                <a:solidFill>
                  <a:schemeClr val="tx1">
                    <a:lumMod val="50000"/>
                  </a:schemeClr>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Commands, events, and queries</a:t>
            </a:r>
          </a:p>
        </p:txBody>
      </p:sp>
      <p:pic>
        <p:nvPicPr>
          <p:cNvPr id="57" name="Picture 56">
            <a:extLst>
              <a:ext uri="{FF2B5EF4-FFF2-40B4-BE49-F238E27FC236}">
                <a16:creationId xmlns:a16="http://schemas.microsoft.com/office/drawing/2014/main" id="{9B2CD5F7-F070-FC45-8EEA-066996F40EB1}"/>
              </a:ext>
            </a:extLst>
          </p:cNvPr>
          <p:cNvPicPr>
            <a:picLocks noChangeAspect="1"/>
          </p:cNvPicPr>
          <p:nvPr/>
        </p:nvPicPr>
        <p:blipFill>
          <a:blip r:embed="rId2">
            <a:alphaModFix amt="10000"/>
          </a:blip>
          <a:stretch>
            <a:fillRect/>
          </a:stretch>
        </p:blipFill>
        <p:spPr>
          <a:xfrm>
            <a:off x="2433001" y="2873267"/>
            <a:ext cx="882633" cy="847771"/>
          </a:xfrm>
          <a:prstGeom prst="rect">
            <a:avLst/>
          </a:prstGeom>
        </p:spPr>
      </p:pic>
      <p:cxnSp>
        <p:nvCxnSpPr>
          <p:cNvPr id="58" name="Straight Connector 57">
            <a:extLst>
              <a:ext uri="{FF2B5EF4-FFF2-40B4-BE49-F238E27FC236}">
                <a16:creationId xmlns:a16="http://schemas.microsoft.com/office/drawing/2014/main" id="{3B4A2210-0015-F547-B864-8966C2F9BE4A}"/>
              </a:ext>
            </a:extLst>
          </p:cNvPr>
          <p:cNvCxnSpPr>
            <a:cxnSpLocks/>
            <a:endCxn id="2" idx="0"/>
          </p:cNvCxnSpPr>
          <p:nvPr/>
        </p:nvCxnSpPr>
        <p:spPr>
          <a:xfrm flipH="1">
            <a:off x="2871108" y="1536998"/>
            <a:ext cx="3209" cy="561068"/>
          </a:xfrm>
          <a:prstGeom prst="line">
            <a:avLst/>
          </a:prstGeom>
          <a:ln w="12700">
            <a:solidFill>
              <a:srgbClr val="00B050"/>
            </a:solidFill>
            <a:headEnd type="none"/>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7F12F06F-9047-6848-AD4B-1A13BE3BC83C}"/>
              </a:ext>
            </a:extLst>
          </p:cNvPr>
          <p:cNvCxnSpPr>
            <a:cxnSpLocks/>
          </p:cNvCxnSpPr>
          <p:nvPr/>
        </p:nvCxnSpPr>
        <p:spPr>
          <a:xfrm flipV="1">
            <a:off x="3177986" y="3297152"/>
            <a:ext cx="1930180" cy="1"/>
          </a:xfrm>
          <a:prstGeom prst="line">
            <a:avLst/>
          </a:prstGeom>
          <a:ln w="12700">
            <a:solidFill>
              <a:srgbClr val="92D050"/>
            </a:solidFill>
            <a:headEnd type="none"/>
          </a:ln>
        </p:spPr>
        <p:style>
          <a:lnRef idx="1">
            <a:schemeClr val="accent1"/>
          </a:lnRef>
          <a:fillRef idx="0">
            <a:schemeClr val="accent1"/>
          </a:fillRef>
          <a:effectRef idx="0">
            <a:schemeClr val="accent1"/>
          </a:effectRef>
          <a:fontRef idx="minor">
            <a:schemeClr val="tx1"/>
          </a:fontRef>
        </p:style>
      </p:cxnSp>
      <p:sp>
        <p:nvSpPr>
          <p:cNvPr id="73" name="TextBox 72">
            <a:extLst>
              <a:ext uri="{FF2B5EF4-FFF2-40B4-BE49-F238E27FC236}">
                <a16:creationId xmlns:a16="http://schemas.microsoft.com/office/drawing/2014/main" id="{98C6F8C5-0795-F74B-A14C-D864C25E9F0D}"/>
              </a:ext>
            </a:extLst>
          </p:cNvPr>
          <p:cNvSpPr txBox="1"/>
          <p:nvPr/>
        </p:nvSpPr>
        <p:spPr>
          <a:xfrm>
            <a:off x="3363162" y="1587594"/>
            <a:ext cx="1670650" cy="427979"/>
          </a:xfrm>
          <a:prstGeom prst="rect">
            <a:avLst/>
          </a:prstGeom>
          <a:noFill/>
        </p:spPr>
        <p:txBody>
          <a:bodyPr wrap="none" tIns="90000" bIns="90000" rtlCol="0" anchor="t">
            <a:spAutoFit/>
          </a:bodyPr>
          <a:lstStyle/>
          <a:p>
            <a:pPr algn="ctr"/>
            <a:r>
              <a:rPr lang="en-US" sz="1600" dirty="0">
                <a:solidFill>
                  <a:schemeClr val="tx1">
                    <a:lumMod val="50000"/>
                  </a:schemeClr>
                </a:solidFill>
                <a:effectLst>
                  <a:outerShdw blurRad="50800" dist="50800" dir="5400000" algn="ctr" rotWithShape="0">
                    <a:srgbClr val="000000">
                      <a:alpha val="0"/>
                    </a:srgbClr>
                  </a:outerShdw>
                  <a:reflection endPos="0" dist="50800" dir="5400000" sy="-100000" algn="bl" rotWithShape="0"/>
                </a:effectLst>
                <a:latin typeface="Algerian" panose="020F0502020204030204" pitchFamily="34" charset="0"/>
                <a:ea typeface="Nanum Pen Script" panose="03040600000000000000" pitchFamily="66" charset="-127"/>
                <a:cs typeface="Algerian" panose="020F0502020204030204" pitchFamily="34" charset="0"/>
              </a:rPr>
              <a:t>EVENT - DRIVEN</a:t>
            </a:r>
          </a:p>
        </p:txBody>
      </p:sp>
      <p:sp>
        <p:nvSpPr>
          <p:cNvPr id="74" name="TextBox 73">
            <a:extLst>
              <a:ext uri="{FF2B5EF4-FFF2-40B4-BE49-F238E27FC236}">
                <a16:creationId xmlns:a16="http://schemas.microsoft.com/office/drawing/2014/main" id="{C2509228-FD45-0548-A01F-E93EE71C1E58}"/>
              </a:ext>
            </a:extLst>
          </p:cNvPr>
          <p:cNvSpPr txBox="1"/>
          <p:nvPr/>
        </p:nvSpPr>
        <p:spPr>
          <a:xfrm>
            <a:off x="653258" y="1565961"/>
            <a:ext cx="1920719" cy="427979"/>
          </a:xfrm>
          <a:prstGeom prst="rect">
            <a:avLst/>
          </a:prstGeom>
          <a:noFill/>
        </p:spPr>
        <p:txBody>
          <a:bodyPr wrap="none" tIns="90000" bIns="90000" rtlCol="0" anchor="t">
            <a:spAutoFit/>
          </a:bodyPr>
          <a:lstStyle/>
          <a:p>
            <a:pPr algn="ctr"/>
            <a:r>
              <a:rPr lang="en-US" sz="1600" dirty="0">
                <a:solidFill>
                  <a:schemeClr val="tx1">
                    <a:lumMod val="50000"/>
                  </a:schemeClr>
                </a:solidFill>
                <a:effectLst>
                  <a:outerShdw blurRad="50800" dist="50800" dir="5400000" algn="ctr" rotWithShape="0">
                    <a:srgbClr val="000000">
                      <a:alpha val="0"/>
                    </a:srgbClr>
                  </a:outerShdw>
                  <a:reflection endPos="0" dist="50800" dir="5400000" sy="-100000" algn="bl" rotWithShape="0"/>
                </a:effectLst>
                <a:latin typeface="Algerian" panose="020F0502020204030204" pitchFamily="34" charset="0"/>
                <a:ea typeface="Nanum Pen Script" panose="03040600000000000000" pitchFamily="66" charset="-127"/>
                <a:cs typeface="Algerian" panose="020F0502020204030204" pitchFamily="34" charset="0"/>
              </a:rPr>
              <a:t>REQUEST - DRIVEN</a:t>
            </a:r>
          </a:p>
        </p:txBody>
      </p:sp>
      <p:sp>
        <p:nvSpPr>
          <p:cNvPr id="75" name="TextBox 74">
            <a:extLst>
              <a:ext uri="{FF2B5EF4-FFF2-40B4-BE49-F238E27FC236}">
                <a16:creationId xmlns:a16="http://schemas.microsoft.com/office/drawing/2014/main" id="{6EBAE879-C9E2-3245-8456-1EA15EB955EE}"/>
              </a:ext>
            </a:extLst>
          </p:cNvPr>
          <p:cNvSpPr txBox="1"/>
          <p:nvPr/>
        </p:nvSpPr>
        <p:spPr>
          <a:xfrm>
            <a:off x="391236" y="2295111"/>
            <a:ext cx="1361612" cy="458757"/>
          </a:xfrm>
          <a:prstGeom prst="rect">
            <a:avLst/>
          </a:prstGeom>
          <a:noFill/>
        </p:spPr>
        <p:txBody>
          <a:bodyPr wrap="square" tIns="90000" bIns="90000" rtlCol="0" anchor="t">
            <a:spAutoFit/>
          </a:bodyPr>
          <a:lstStyle/>
          <a:p>
            <a:pPr algn="ctr"/>
            <a:r>
              <a:rPr lang="en-US" sz="800" dirty="0" err="1">
                <a:solidFill>
                  <a:srgbClr val="C5277F"/>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serviceName</a:t>
            </a:r>
            <a:r>
              <a:rPr lang="en-US" sz="900" dirty="0" err="1">
                <a:solidFill>
                  <a:schemeClr val="tx1">
                    <a:lumMod val="50000"/>
                  </a:schemeClr>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Widget</a:t>
            </a:r>
            <a:r>
              <a:rPr lang="en-US" sz="900" dirty="0">
                <a:solidFill>
                  <a:schemeClr val="tx1">
                    <a:lumMod val="50000"/>
                  </a:schemeClr>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a:t>
            </a:r>
          </a:p>
          <a:p>
            <a:pPr algn="ctr"/>
            <a:r>
              <a:rPr lang="en-US" sz="900" dirty="0">
                <a:solidFill>
                  <a:schemeClr val="tx1">
                    <a:lumMod val="50000"/>
                  </a:schemeClr>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Command</a:t>
            </a:r>
          </a:p>
        </p:txBody>
      </p:sp>
      <p:cxnSp>
        <p:nvCxnSpPr>
          <p:cNvPr id="76" name="Straight Arrow Connector 75">
            <a:extLst>
              <a:ext uri="{FF2B5EF4-FFF2-40B4-BE49-F238E27FC236}">
                <a16:creationId xmlns:a16="http://schemas.microsoft.com/office/drawing/2014/main" id="{7B6590D1-4588-E642-B298-3ABC41C570EF}"/>
              </a:ext>
            </a:extLst>
          </p:cNvPr>
          <p:cNvCxnSpPr>
            <a:cxnSpLocks/>
          </p:cNvCxnSpPr>
          <p:nvPr/>
        </p:nvCxnSpPr>
        <p:spPr>
          <a:xfrm flipH="1" flipV="1">
            <a:off x="1665888" y="2661325"/>
            <a:ext cx="769367" cy="1"/>
          </a:xfrm>
          <a:prstGeom prst="straightConnector1">
            <a:avLst/>
          </a:prstGeom>
          <a:ln w="22225">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80" name="Straight Arrow Connector 79">
            <a:extLst>
              <a:ext uri="{FF2B5EF4-FFF2-40B4-BE49-F238E27FC236}">
                <a16:creationId xmlns:a16="http://schemas.microsoft.com/office/drawing/2014/main" id="{9AF466C2-48E3-1A4A-92DA-2A8C7944AF5D}"/>
              </a:ext>
            </a:extLst>
          </p:cNvPr>
          <p:cNvCxnSpPr>
            <a:cxnSpLocks/>
          </p:cNvCxnSpPr>
          <p:nvPr/>
        </p:nvCxnSpPr>
        <p:spPr>
          <a:xfrm flipH="1" flipV="1">
            <a:off x="1683116" y="2449383"/>
            <a:ext cx="757734" cy="1"/>
          </a:xfrm>
          <a:prstGeom prst="straightConnector1">
            <a:avLst/>
          </a:prstGeom>
          <a:ln w="22225">
            <a:solidFill>
              <a:srgbClr val="FF0000"/>
            </a:solidFill>
            <a:headEnd type="triangle"/>
            <a:tailEnd type="none"/>
          </a:ln>
        </p:spPr>
        <p:style>
          <a:lnRef idx="1">
            <a:schemeClr val="accent1"/>
          </a:lnRef>
          <a:fillRef idx="0">
            <a:schemeClr val="accent1"/>
          </a:fillRef>
          <a:effectRef idx="0">
            <a:schemeClr val="accent1"/>
          </a:effectRef>
          <a:fontRef idx="minor">
            <a:schemeClr val="tx1"/>
          </a:fontRef>
        </p:style>
      </p:cxnSp>
      <p:cxnSp>
        <p:nvCxnSpPr>
          <p:cNvPr id="82" name="Straight Arrow Connector 81">
            <a:extLst>
              <a:ext uri="{FF2B5EF4-FFF2-40B4-BE49-F238E27FC236}">
                <a16:creationId xmlns:a16="http://schemas.microsoft.com/office/drawing/2014/main" id="{916B5839-14CD-C94B-936B-0C14E37F1427}"/>
              </a:ext>
            </a:extLst>
          </p:cNvPr>
          <p:cNvCxnSpPr>
            <a:cxnSpLocks/>
          </p:cNvCxnSpPr>
          <p:nvPr/>
        </p:nvCxnSpPr>
        <p:spPr>
          <a:xfrm flipH="1" flipV="1">
            <a:off x="3228387" y="2453082"/>
            <a:ext cx="907853" cy="1711"/>
          </a:xfrm>
          <a:prstGeom prst="straightConnector1">
            <a:avLst/>
          </a:prstGeom>
          <a:ln w="22225">
            <a:solidFill>
              <a:srgbClr val="FF0000"/>
            </a:solidFill>
            <a:headEnd type="triangle"/>
            <a:tailEnd type="none"/>
          </a:ln>
        </p:spPr>
        <p:style>
          <a:lnRef idx="1">
            <a:schemeClr val="accent1"/>
          </a:lnRef>
          <a:fillRef idx="0">
            <a:schemeClr val="accent1"/>
          </a:fillRef>
          <a:effectRef idx="0">
            <a:schemeClr val="accent1"/>
          </a:effectRef>
          <a:fontRef idx="minor">
            <a:schemeClr val="tx1"/>
          </a:fontRef>
        </p:style>
      </p:cxnSp>
      <p:cxnSp>
        <p:nvCxnSpPr>
          <p:cNvPr id="86" name="Straight Arrow Connector 85">
            <a:extLst>
              <a:ext uri="{FF2B5EF4-FFF2-40B4-BE49-F238E27FC236}">
                <a16:creationId xmlns:a16="http://schemas.microsoft.com/office/drawing/2014/main" id="{FA23160D-ADAA-0B43-A0E5-FC30BC04D4A5}"/>
              </a:ext>
            </a:extLst>
          </p:cNvPr>
          <p:cNvCxnSpPr>
            <a:cxnSpLocks/>
          </p:cNvCxnSpPr>
          <p:nvPr/>
        </p:nvCxnSpPr>
        <p:spPr>
          <a:xfrm flipH="1">
            <a:off x="3230886" y="2586645"/>
            <a:ext cx="912190" cy="2936"/>
          </a:xfrm>
          <a:prstGeom prst="straightConnector1">
            <a:avLst/>
          </a:prstGeom>
          <a:ln w="22225">
            <a:solidFill>
              <a:srgbClr val="FF0000"/>
            </a:solidFill>
            <a:headEnd type="triangle"/>
            <a:tailEnd type="none"/>
          </a:ln>
        </p:spPr>
        <p:style>
          <a:lnRef idx="1">
            <a:schemeClr val="accent1"/>
          </a:lnRef>
          <a:fillRef idx="0">
            <a:schemeClr val="accent1"/>
          </a:fillRef>
          <a:effectRef idx="0">
            <a:schemeClr val="accent1"/>
          </a:effectRef>
          <a:fontRef idx="minor">
            <a:schemeClr val="tx1"/>
          </a:fontRef>
        </p:style>
      </p:cxnSp>
      <p:cxnSp>
        <p:nvCxnSpPr>
          <p:cNvPr id="89" name="Straight Arrow Connector 88">
            <a:extLst>
              <a:ext uri="{FF2B5EF4-FFF2-40B4-BE49-F238E27FC236}">
                <a16:creationId xmlns:a16="http://schemas.microsoft.com/office/drawing/2014/main" id="{73BFDCB6-EC61-E344-A94C-41BA9D3A1F18}"/>
              </a:ext>
            </a:extLst>
          </p:cNvPr>
          <p:cNvCxnSpPr>
            <a:cxnSpLocks/>
          </p:cNvCxnSpPr>
          <p:nvPr/>
        </p:nvCxnSpPr>
        <p:spPr>
          <a:xfrm flipH="1">
            <a:off x="3228388" y="2721433"/>
            <a:ext cx="914688" cy="4647"/>
          </a:xfrm>
          <a:prstGeom prst="straightConnector1">
            <a:avLst/>
          </a:prstGeom>
          <a:ln w="22225">
            <a:solidFill>
              <a:srgbClr val="FF0000"/>
            </a:solidFill>
            <a:headEnd type="triangle"/>
            <a:tailEnd type="none"/>
          </a:ln>
        </p:spPr>
        <p:style>
          <a:lnRef idx="1">
            <a:schemeClr val="accent1"/>
          </a:lnRef>
          <a:fillRef idx="0">
            <a:schemeClr val="accent1"/>
          </a:fillRef>
          <a:effectRef idx="0">
            <a:schemeClr val="accent1"/>
          </a:effectRef>
          <a:fontRef idx="minor">
            <a:schemeClr val="tx1"/>
          </a:fontRef>
        </p:style>
      </p:cxnSp>
      <p:sp>
        <p:nvSpPr>
          <p:cNvPr id="91" name="TextBox 90">
            <a:extLst>
              <a:ext uri="{FF2B5EF4-FFF2-40B4-BE49-F238E27FC236}">
                <a16:creationId xmlns:a16="http://schemas.microsoft.com/office/drawing/2014/main" id="{20EC1E43-E0AA-A347-839F-CB3D4527F7B3}"/>
              </a:ext>
            </a:extLst>
          </p:cNvPr>
          <p:cNvSpPr txBox="1"/>
          <p:nvPr/>
        </p:nvSpPr>
        <p:spPr>
          <a:xfrm>
            <a:off x="4072799" y="2384581"/>
            <a:ext cx="1738261" cy="551090"/>
          </a:xfrm>
          <a:prstGeom prst="rect">
            <a:avLst/>
          </a:prstGeom>
          <a:noFill/>
        </p:spPr>
        <p:txBody>
          <a:bodyPr wrap="square" tIns="90000" bIns="90000" rtlCol="0" anchor="t">
            <a:spAutoFit/>
          </a:bodyPr>
          <a:lstStyle/>
          <a:p>
            <a:r>
              <a:rPr lang="en-US" sz="1400" dirty="0">
                <a:solidFill>
                  <a:schemeClr val="tx1">
                    <a:lumMod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a:t>
            </a:r>
            <a:r>
              <a:rPr lang="en-US" sz="1000" dirty="0">
                <a:solidFill>
                  <a:schemeClr val="tx1">
                    <a:lumMod val="50000"/>
                  </a:schemeClr>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Widget - Just happened”</a:t>
            </a:r>
          </a:p>
          <a:p>
            <a:pPr algn="ctr"/>
            <a:r>
              <a:rPr lang="en-US" sz="1000" dirty="0">
                <a:solidFill>
                  <a:schemeClr val="tx1">
                    <a:lumMod val="50000"/>
                  </a:schemeClr>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Event</a:t>
            </a:r>
          </a:p>
        </p:txBody>
      </p:sp>
      <p:sp>
        <p:nvSpPr>
          <p:cNvPr id="93" name="TextBox 92">
            <a:extLst>
              <a:ext uri="{FF2B5EF4-FFF2-40B4-BE49-F238E27FC236}">
                <a16:creationId xmlns:a16="http://schemas.microsoft.com/office/drawing/2014/main" id="{EBD50AEE-E6D4-B74B-8762-F5F86B3F4CF5}"/>
              </a:ext>
            </a:extLst>
          </p:cNvPr>
          <p:cNvSpPr txBox="1"/>
          <p:nvPr/>
        </p:nvSpPr>
        <p:spPr>
          <a:xfrm>
            <a:off x="3215321" y="2663384"/>
            <a:ext cx="641522" cy="674200"/>
          </a:xfrm>
          <a:prstGeom prst="rect">
            <a:avLst/>
          </a:prstGeom>
          <a:noFill/>
        </p:spPr>
        <p:txBody>
          <a:bodyPr wrap="none" tIns="90000" bIns="90000" rtlCol="0" anchor="t">
            <a:spAutoFit/>
          </a:bodyPr>
          <a:lstStyle/>
          <a:p>
            <a:pPr algn="ctr"/>
            <a:r>
              <a:rPr lang="en-US" sz="1600" dirty="0">
                <a:solidFill>
                  <a:schemeClr val="tx1">
                    <a:lumMod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State</a:t>
            </a:r>
          </a:p>
          <a:p>
            <a:pPr algn="ctr"/>
            <a:r>
              <a:rPr lang="en-US" sz="1600" dirty="0">
                <a:solidFill>
                  <a:schemeClr val="tx1">
                    <a:lumMod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Change</a:t>
            </a:r>
          </a:p>
        </p:txBody>
      </p:sp>
      <p:sp>
        <p:nvSpPr>
          <p:cNvPr id="94" name="TextBox 93">
            <a:extLst>
              <a:ext uri="{FF2B5EF4-FFF2-40B4-BE49-F238E27FC236}">
                <a16:creationId xmlns:a16="http://schemas.microsoft.com/office/drawing/2014/main" id="{1081AF98-F658-7D43-8CD8-275BF0A4AC5F}"/>
              </a:ext>
            </a:extLst>
          </p:cNvPr>
          <p:cNvSpPr txBox="1"/>
          <p:nvPr/>
        </p:nvSpPr>
        <p:spPr>
          <a:xfrm>
            <a:off x="2650032" y="3513036"/>
            <a:ext cx="801823" cy="674200"/>
          </a:xfrm>
          <a:prstGeom prst="rect">
            <a:avLst/>
          </a:prstGeom>
          <a:noFill/>
        </p:spPr>
        <p:txBody>
          <a:bodyPr wrap="none" tIns="90000" bIns="90000" rtlCol="0" anchor="t">
            <a:spAutoFit/>
          </a:bodyPr>
          <a:lstStyle/>
          <a:p>
            <a:pPr algn="ctr"/>
            <a:r>
              <a:rPr lang="en-US" sz="1600" dirty="0">
                <a:solidFill>
                  <a:schemeClr val="tx1">
                    <a:lumMod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No state</a:t>
            </a:r>
          </a:p>
          <a:p>
            <a:pPr algn="ctr"/>
            <a:r>
              <a:rPr lang="en-US" sz="1600" dirty="0">
                <a:solidFill>
                  <a:schemeClr val="tx1">
                    <a:lumMod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change</a:t>
            </a:r>
          </a:p>
        </p:txBody>
      </p:sp>
      <p:sp>
        <p:nvSpPr>
          <p:cNvPr id="45" name="Arc 44">
            <a:extLst>
              <a:ext uri="{FF2B5EF4-FFF2-40B4-BE49-F238E27FC236}">
                <a16:creationId xmlns:a16="http://schemas.microsoft.com/office/drawing/2014/main" id="{9519B9DE-7E10-6440-954C-0187F848A3E8}"/>
              </a:ext>
            </a:extLst>
          </p:cNvPr>
          <p:cNvSpPr/>
          <p:nvPr/>
        </p:nvSpPr>
        <p:spPr>
          <a:xfrm rot="20432885">
            <a:off x="1564279" y="3792881"/>
            <a:ext cx="842694" cy="468729"/>
          </a:xfrm>
          <a:prstGeom prst="arc">
            <a:avLst>
              <a:gd name="adj1" fmla="val 12252215"/>
              <a:gd name="adj2" fmla="val 10363096"/>
            </a:avLst>
          </a:prstGeom>
          <a:ln w="22225">
            <a:solidFill>
              <a:srgbClr val="0079D1"/>
            </a:solidFill>
            <a:headEnd type="stealth"/>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09" name="TextBox 108">
            <a:extLst>
              <a:ext uri="{FF2B5EF4-FFF2-40B4-BE49-F238E27FC236}">
                <a16:creationId xmlns:a16="http://schemas.microsoft.com/office/drawing/2014/main" id="{7FC4D8B0-9B42-7347-8E40-604958F3FE15}"/>
              </a:ext>
            </a:extLst>
          </p:cNvPr>
          <p:cNvSpPr txBox="1"/>
          <p:nvPr/>
        </p:nvSpPr>
        <p:spPr>
          <a:xfrm>
            <a:off x="377109" y="3875711"/>
            <a:ext cx="1622560" cy="458757"/>
          </a:xfrm>
          <a:prstGeom prst="rect">
            <a:avLst/>
          </a:prstGeom>
          <a:noFill/>
        </p:spPr>
        <p:txBody>
          <a:bodyPr wrap="none" tIns="90000" bIns="90000" rtlCol="0" anchor="t">
            <a:spAutoFit/>
          </a:bodyPr>
          <a:lstStyle/>
          <a:p>
            <a:r>
              <a:rPr lang="en-US" sz="900" dirty="0" err="1">
                <a:solidFill>
                  <a:schemeClr val="tx1">
                    <a:lumMod val="50000"/>
                  </a:schemeClr>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getListService</a:t>
            </a:r>
            <a:r>
              <a:rPr lang="en-US" sz="900" dirty="0">
                <a:solidFill>
                  <a:schemeClr val="tx1">
                    <a:lumMod val="50000"/>
                  </a:schemeClr>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parameter)</a:t>
            </a:r>
          </a:p>
          <a:p>
            <a:r>
              <a:rPr lang="en-US" sz="900" dirty="0">
                <a:solidFill>
                  <a:schemeClr val="tx1">
                    <a:lumMod val="50000"/>
                  </a:schemeClr>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Query</a:t>
            </a:r>
          </a:p>
        </p:txBody>
      </p:sp>
      <p:sp>
        <p:nvSpPr>
          <p:cNvPr id="110" name="Google Shape;61;p12">
            <a:extLst>
              <a:ext uri="{FF2B5EF4-FFF2-40B4-BE49-F238E27FC236}">
                <a16:creationId xmlns:a16="http://schemas.microsoft.com/office/drawing/2014/main" id="{8DA4B0B6-6239-C141-8BCC-21C8A89D4887}"/>
              </a:ext>
            </a:extLst>
          </p:cNvPr>
          <p:cNvSpPr txBox="1">
            <a:spLocks/>
          </p:cNvSpPr>
          <p:nvPr/>
        </p:nvSpPr>
        <p:spPr>
          <a:xfrm>
            <a:off x="5811060" y="909865"/>
            <a:ext cx="3792937" cy="261610"/>
          </a:xfrm>
          <a:prstGeom prst="rect">
            <a:avLst/>
          </a:prstGeom>
          <a:noFill/>
        </p:spPr>
        <p:txBody>
          <a:bodyPr wrap="square" rtlCol="0">
            <a:spAutoFit/>
          </a:bodyPr>
          <a:lstStyle>
            <a:defPPr>
              <a:defRPr lang="en-US"/>
            </a:defPPr>
            <a:lvl1pPr algn="ctr" defTabSz="457200">
              <a:defRPr sz="90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defRPr>
            </a:lvl1pPr>
          </a:lstStyle>
          <a:p>
            <a:pPr algn="l"/>
            <a:r>
              <a:rPr lang="en-US" sz="1100" dirty="0">
                <a:solidFill>
                  <a:srgbClr val="C5277F"/>
                </a:solidFill>
                <a:latin typeface="Comic Sans MS" panose="030F0902030302020204" pitchFamily="66" charset="0"/>
              </a:rPr>
              <a:t>The three mechanisms through which services interact</a:t>
            </a:r>
            <a:endParaRPr lang="es-ES_tradnl" sz="1100" dirty="0">
              <a:solidFill>
                <a:srgbClr val="C5277F"/>
              </a:solidFill>
              <a:latin typeface="Comic Sans MS" panose="030F0902030302020204" pitchFamily="66" charset="0"/>
            </a:endParaRPr>
          </a:p>
        </p:txBody>
      </p:sp>
      <p:sp>
        <p:nvSpPr>
          <p:cNvPr id="111" name="Google Shape;61;p12">
            <a:extLst>
              <a:ext uri="{FF2B5EF4-FFF2-40B4-BE49-F238E27FC236}">
                <a16:creationId xmlns:a16="http://schemas.microsoft.com/office/drawing/2014/main" id="{1805BB60-9445-CC47-910E-D47AD4A30F2D}"/>
              </a:ext>
            </a:extLst>
          </p:cNvPr>
          <p:cNvSpPr txBox="1">
            <a:spLocks/>
          </p:cNvSpPr>
          <p:nvPr/>
        </p:nvSpPr>
        <p:spPr>
          <a:xfrm>
            <a:off x="5812073" y="1096990"/>
            <a:ext cx="5988691" cy="3701013"/>
          </a:xfrm>
          <a:prstGeom prst="rect">
            <a:avLst/>
          </a:prstGeom>
          <a:noFill/>
        </p:spPr>
        <p:txBody>
          <a:bodyPr wrap="square" rtlCol="0">
            <a:spAutoFit/>
          </a:bodyPr>
          <a:lstStyle>
            <a:defPPr>
              <a:defRPr lang="en-US"/>
            </a:defPPr>
            <a:lvl1pPr algn="ctr" defTabSz="457200">
              <a:defRPr sz="90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defRPr>
            </a:lvl1pPr>
          </a:lstStyle>
          <a:p>
            <a:pPr marL="285750" indent="-285750" algn="l">
              <a:buFont typeface="Arial" panose="020B0604020202020204" pitchFamily="34" charset="0"/>
              <a:buChar char="•"/>
            </a:pPr>
            <a:endParaRPr lang="en-US" sz="1400" dirty="0"/>
          </a:p>
          <a:p>
            <a:pPr algn="l"/>
            <a:r>
              <a:rPr lang="en-US" sz="1050" dirty="0">
                <a:solidFill>
                  <a:srgbClr val="C5277F"/>
                </a:solidFill>
                <a:latin typeface="Comic Sans MS" panose="030F0902030302020204" pitchFamily="66" charset="0"/>
              </a:rPr>
              <a:t>Commands</a:t>
            </a:r>
            <a:r>
              <a:rPr lang="en-US" sz="1050" dirty="0">
                <a:latin typeface="Comic Sans MS" panose="030F0902030302020204" pitchFamily="66" charset="0"/>
              </a:rPr>
              <a:t> are actions—requests for some operation to be performed by another service, something that will change the state of the system. Commands execute synchronously and typically indicate completion, although they may also include a result.</a:t>
            </a:r>
          </a:p>
          <a:p>
            <a:pPr algn="l"/>
            <a:r>
              <a:rPr lang="en-US" sz="1050" b="1" dirty="0">
                <a:latin typeface="Comic Sans MS" panose="030F0902030302020204" pitchFamily="66" charset="0"/>
              </a:rPr>
              <a:t>Example</a:t>
            </a:r>
            <a:r>
              <a:rPr lang="en-US" sz="1050" dirty="0">
                <a:latin typeface="Comic Sans MS" panose="030F0902030302020204" pitchFamily="66" charset="0"/>
              </a:rPr>
              <a:t>: </a:t>
            </a:r>
            <a:r>
              <a:rPr lang="en-US" sz="1050" dirty="0" err="1">
                <a:solidFill>
                  <a:srgbClr val="C5277F"/>
                </a:solidFill>
                <a:latin typeface="Comic Sans MS" panose="030F0902030302020204" pitchFamily="66" charset="0"/>
              </a:rPr>
              <a:t>processPayment</a:t>
            </a:r>
            <a:r>
              <a:rPr lang="en-US" sz="1050" dirty="0">
                <a:solidFill>
                  <a:srgbClr val="C5277F"/>
                </a:solidFill>
                <a:latin typeface="Comic Sans MS" panose="030F0902030302020204" pitchFamily="66" charset="0"/>
              </a:rPr>
              <a:t>()</a:t>
            </a:r>
            <a:r>
              <a:rPr lang="en-US" sz="1050" dirty="0">
                <a:latin typeface="Comic Sans MS" panose="030F0902030302020204" pitchFamily="66" charset="0"/>
              </a:rPr>
              <a:t>, returning whether the payment succeeded.</a:t>
            </a:r>
          </a:p>
          <a:p>
            <a:pPr algn="l"/>
            <a:r>
              <a:rPr lang="en-US" sz="1050" b="1" dirty="0">
                <a:latin typeface="Comic Sans MS" panose="030F0902030302020204" pitchFamily="66" charset="0"/>
              </a:rPr>
              <a:t>When to use</a:t>
            </a:r>
            <a:r>
              <a:rPr lang="en-US" sz="1050" dirty="0">
                <a:latin typeface="Comic Sans MS" panose="030F0902030302020204" pitchFamily="66" charset="0"/>
              </a:rPr>
              <a:t>: </a:t>
            </a:r>
            <a:r>
              <a:rPr lang="en-US" sz="1050" dirty="0">
                <a:solidFill>
                  <a:srgbClr val="C5277F"/>
                </a:solidFill>
                <a:latin typeface="Comic Sans MS" panose="030F0902030302020204" pitchFamily="66" charset="0"/>
              </a:rPr>
              <a:t>On operations that must complete synchronously, or when using orchestration or a process manager. Consider restricting the use of commands to inside a bounded context.</a:t>
            </a:r>
          </a:p>
          <a:p>
            <a:pPr algn="l"/>
            <a:endParaRPr lang="en-US" sz="1050" dirty="0">
              <a:latin typeface="Comic Sans MS" panose="030F0902030302020204" pitchFamily="66" charset="0"/>
            </a:endParaRPr>
          </a:p>
          <a:p>
            <a:pPr algn="l"/>
            <a:r>
              <a:rPr lang="en-US" sz="1050" dirty="0">
                <a:solidFill>
                  <a:srgbClr val="C5277F"/>
                </a:solidFill>
                <a:latin typeface="Comic Sans MS" panose="030F0902030302020204" pitchFamily="66" charset="0"/>
              </a:rPr>
              <a:t>Events</a:t>
            </a:r>
            <a:r>
              <a:rPr lang="en-US" sz="1050" dirty="0">
                <a:latin typeface="Comic Sans MS" panose="030F0902030302020204" pitchFamily="66" charset="0"/>
              </a:rPr>
              <a:t> are both a fact and a notification. They represent something that happened in the real world but include no expectation of any future action. They travel in only one direction and expect no response (sometimes called “fire and forget”), but one may be “synthesized” from a subsequent event.</a:t>
            </a:r>
          </a:p>
          <a:p>
            <a:pPr algn="l"/>
            <a:r>
              <a:rPr lang="en-US" sz="1050" b="1" dirty="0">
                <a:latin typeface="Comic Sans MS" panose="030F0902030302020204" pitchFamily="66" charset="0"/>
              </a:rPr>
              <a:t>Example</a:t>
            </a:r>
            <a:r>
              <a:rPr lang="en-US" sz="1050" dirty="0">
                <a:latin typeface="Comic Sans MS" panose="030F0902030302020204" pitchFamily="66" charset="0"/>
              </a:rPr>
              <a:t>: </a:t>
            </a:r>
            <a:r>
              <a:rPr lang="en-US" sz="1050" dirty="0" err="1">
                <a:solidFill>
                  <a:srgbClr val="C5277F"/>
                </a:solidFill>
                <a:latin typeface="Comic Sans MS" panose="030F0902030302020204" pitchFamily="66" charset="0"/>
              </a:rPr>
              <a:t>OrderCreated</a:t>
            </a:r>
            <a:r>
              <a:rPr lang="en-US" sz="1050" dirty="0">
                <a:solidFill>
                  <a:srgbClr val="C5277F"/>
                </a:solidFill>
                <a:latin typeface="Comic Sans MS" panose="030F0902030302020204" pitchFamily="66" charset="0"/>
              </a:rPr>
              <a:t>{Widget}, </a:t>
            </a:r>
            <a:r>
              <a:rPr lang="en-US" sz="1050" dirty="0" err="1">
                <a:solidFill>
                  <a:srgbClr val="C5277F"/>
                </a:solidFill>
                <a:latin typeface="Comic Sans MS" panose="030F0902030302020204" pitchFamily="66" charset="0"/>
              </a:rPr>
              <a:t>CustomerDetailsUpdated</a:t>
            </a:r>
            <a:r>
              <a:rPr lang="en-US" sz="1050" dirty="0">
                <a:solidFill>
                  <a:srgbClr val="C5277F"/>
                </a:solidFill>
                <a:latin typeface="Comic Sans MS" panose="030F0902030302020204" pitchFamily="66" charset="0"/>
              </a:rPr>
              <a:t>{Customer}</a:t>
            </a:r>
          </a:p>
          <a:p>
            <a:pPr algn="l"/>
            <a:r>
              <a:rPr lang="en-US" sz="1050" b="1" dirty="0">
                <a:latin typeface="Comic Sans MS" panose="030F0902030302020204" pitchFamily="66" charset="0"/>
              </a:rPr>
              <a:t>When to use</a:t>
            </a:r>
            <a:r>
              <a:rPr lang="en-US" sz="1050" dirty="0">
                <a:latin typeface="Comic Sans MS" panose="030F0902030302020204" pitchFamily="66" charset="0"/>
              </a:rPr>
              <a:t>: </a:t>
            </a:r>
            <a:r>
              <a:rPr lang="en-US" sz="1050" dirty="0">
                <a:solidFill>
                  <a:srgbClr val="C5277F"/>
                </a:solidFill>
                <a:latin typeface="Comic Sans MS" panose="030F0902030302020204" pitchFamily="66" charset="0"/>
              </a:rPr>
              <a:t>When loose coupling is important (e.g., in multiteam systems), where the event stream is useful to more than one service, or where data must be replicated from one application to another. Events also lend themselves to concurrent execution.</a:t>
            </a:r>
          </a:p>
          <a:p>
            <a:pPr algn="l"/>
            <a:endParaRPr lang="en-US" sz="1050" dirty="0">
              <a:latin typeface="Comic Sans MS" panose="030F0902030302020204" pitchFamily="66" charset="0"/>
            </a:endParaRPr>
          </a:p>
          <a:p>
            <a:pPr algn="l"/>
            <a:r>
              <a:rPr lang="en-US" sz="1050" dirty="0">
                <a:solidFill>
                  <a:srgbClr val="C5277F"/>
                </a:solidFill>
                <a:latin typeface="Comic Sans MS" panose="030F0902030302020204" pitchFamily="66" charset="0"/>
              </a:rPr>
              <a:t>Queries</a:t>
            </a:r>
            <a:r>
              <a:rPr lang="en-US" sz="1050" dirty="0">
                <a:latin typeface="Comic Sans MS" panose="030F0902030302020204" pitchFamily="66" charset="0"/>
              </a:rPr>
              <a:t> are a request to look something up. Unlike events or commands, queries are free of side effects; they leave the state of the system unchanged.</a:t>
            </a:r>
          </a:p>
          <a:p>
            <a:pPr algn="l"/>
            <a:r>
              <a:rPr lang="en-US" sz="1050" b="1" dirty="0">
                <a:latin typeface="Comic Sans MS" panose="030F0902030302020204" pitchFamily="66" charset="0"/>
              </a:rPr>
              <a:t>Example</a:t>
            </a:r>
            <a:r>
              <a:rPr lang="en-US" sz="1050" dirty="0">
                <a:latin typeface="Comic Sans MS" panose="030F0902030302020204" pitchFamily="66" charset="0"/>
              </a:rPr>
              <a:t>: </a:t>
            </a:r>
            <a:r>
              <a:rPr lang="en-US" sz="1050" dirty="0" err="1">
                <a:solidFill>
                  <a:srgbClr val="C5277F"/>
                </a:solidFill>
                <a:latin typeface="Comic Sans MS" panose="030F0902030302020204" pitchFamily="66" charset="0"/>
              </a:rPr>
              <a:t>getOrder</a:t>
            </a:r>
            <a:r>
              <a:rPr lang="en-US" sz="1050" dirty="0">
                <a:solidFill>
                  <a:srgbClr val="C5277F"/>
                </a:solidFill>
                <a:latin typeface="Comic Sans MS" panose="030F0902030302020204" pitchFamily="66" charset="0"/>
              </a:rPr>
              <a:t>(ID=42) returns Order(42,…)</a:t>
            </a:r>
          </a:p>
          <a:p>
            <a:pPr algn="l"/>
            <a:r>
              <a:rPr lang="en-US" sz="1050" b="1" dirty="0">
                <a:latin typeface="Comic Sans MS" panose="030F0902030302020204" pitchFamily="66" charset="0"/>
              </a:rPr>
              <a:t>When to use</a:t>
            </a:r>
            <a:r>
              <a:rPr lang="en-US" sz="1050" dirty="0">
                <a:latin typeface="Comic Sans MS" panose="030F0902030302020204" pitchFamily="66" charset="0"/>
              </a:rPr>
              <a:t>: </a:t>
            </a:r>
            <a:r>
              <a:rPr lang="en-US" sz="1050" dirty="0">
                <a:solidFill>
                  <a:srgbClr val="C5277F"/>
                </a:solidFill>
                <a:latin typeface="Comic Sans MS" panose="030F0902030302020204" pitchFamily="66" charset="0"/>
              </a:rPr>
              <a:t>For lightweight data retrieval across service boundaries, or heavyweight data retrieval within service boundaries</a:t>
            </a:r>
            <a:r>
              <a:rPr lang="en-US" sz="1050" dirty="0">
                <a:latin typeface="Comic Sans MS" panose="030F0902030302020204" pitchFamily="66" charset="0"/>
              </a:rPr>
              <a:t>.</a:t>
            </a:r>
            <a:endParaRPr lang="en-US" sz="1200" dirty="0">
              <a:latin typeface="Comic Sans MS" panose="030F0902030302020204" pitchFamily="66" charset="0"/>
            </a:endParaRPr>
          </a:p>
        </p:txBody>
      </p:sp>
    </p:spTree>
    <p:extLst>
      <p:ext uri="{BB962C8B-B14F-4D97-AF65-F5344CB8AC3E}">
        <p14:creationId xmlns:p14="http://schemas.microsoft.com/office/powerpoint/2010/main" val="138267835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val 1">
            <a:extLst>
              <a:ext uri="{FF2B5EF4-FFF2-40B4-BE49-F238E27FC236}">
                <a16:creationId xmlns:a16="http://schemas.microsoft.com/office/drawing/2014/main" id="{9915EED1-CA04-C541-85A0-C2E7459AE521}"/>
              </a:ext>
            </a:extLst>
          </p:cNvPr>
          <p:cNvSpPr/>
          <p:nvPr/>
        </p:nvSpPr>
        <p:spPr>
          <a:xfrm>
            <a:off x="5406873" y="1475963"/>
            <a:ext cx="1094709" cy="1179334"/>
          </a:xfrm>
          <a:prstGeom prst="ellipse">
            <a:avLst/>
          </a:prstGeom>
          <a:solidFill>
            <a:srgbClr val="F26F27">
              <a:alpha val="32000"/>
            </a:srgb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000" dirty="0">
              <a:solidFill>
                <a:srgbClr val="002D72"/>
              </a:solidFill>
              <a:latin typeface="Comic Sans MS" panose="030F0902030302020204" pitchFamily="66" charset="0"/>
              <a:cs typeface="Arial" pitchFamily="34" charset="0"/>
            </a:endParaRPr>
          </a:p>
        </p:txBody>
      </p:sp>
      <p:sp>
        <p:nvSpPr>
          <p:cNvPr id="31" name="Rectangle 3">
            <a:extLst>
              <a:ext uri="{FF2B5EF4-FFF2-40B4-BE49-F238E27FC236}">
                <a16:creationId xmlns:a16="http://schemas.microsoft.com/office/drawing/2014/main" id="{A27FD23C-A522-0E4F-B70C-CC83BC4542BA}"/>
              </a:ext>
            </a:extLst>
          </p:cNvPr>
          <p:cNvSpPr txBox="1"/>
          <p:nvPr/>
        </p:nvSpPr>
        <p:spPr>
          <a:xfrm>
            <a:off x="404808" y="237462"/>
            <a:ext cx="7585857" cy="400105"/>
          </a:xfrm>
          <a:prstGeom prst="rect">
            <a:avLst/>
          </a:prstGeom>
          <a:ln w="12700">
            <a:miter lim="400000"/>
          </a:ln>
          <a:extLst>
            <a:ext uri="{C572A759-6A51-4108-AA02-DFA0A04FC94B}">
              <ma14:wrappingTextBoxFlag xmlns:ma14="http://schemas.microsoft.com/office/mac/drawingml/2011/main" xmlns="" val="1"/>
            </a:ext>
          </a:extLst>
        </p:spPr>
        <p:txBody>
          <a:bodyPr wrap="square" lIns="45718" tIns="45718" rIns="45718" bIns="45718">
            <a:spAutoFit/>
          </a:bodyPr>
          <a:lstStyle>
            <a:lvl1pPr algn="l" defTabSz="914400">
              <a:defRPr sz="2200" b="1">
                <a:solidFill>
                  <a:srgbClr val="FFFFFF"/>
                </a:solidFill>
                <a:latin typeface="Arial"/>
                <a:ea typeface="Arial"/>
                <a:cs typeface="Arial"/>
                <a:sym typeface="Arial"/>
              </a:defRPr>
            </a:lvl1pPr>
          </a:lstStyle>
          <a:p>
            <a:r>
              <a:rPr lang="en-US" sz="2000" dirty="0">
                <a:solidFill>
                  <a:srgbClr val="016AA2"/>
                </a:solidFill>
              </a:rPr>
              <a:t>Features and terminology (XVIII)</a:t>
            </a:r>
          </a:p>
        </p:txBody>
      </p:sp>
      <p:sp>
        <p:nvSpPr>
          <p:cNvPr id="65" name="Rectangle 3"/>
          <p:cNvSpPr txBox="1"/>
          <p:nvPr/>
        </p:nvSpPr>
        <p:spPr>
          <a:xfrm>
            <a:off x="404806" y="610135"/>
            <a:ext cx="8775769" cy="369328"/>
          </a:xfrm>
          <a:prstGeom prst="rect">
            <a:avLst/>
          </a:prstGeom>
          <a:ln w="12700">
            <a:miter lim="400000"/>
          </a:ln>
          <a:extLst>
            <a:ext uri="{C572A759-6A51-4108-AA02-DFA0A04FC94B}">
              <ma14:wrappingTextBoxFlag xmlns="" xmlns:ma14="http://schemas.microsoft.com/office/mac/drawingml/2011/main" val="1"/>
            </a:ext>
          </a:extLst>
        </p:spPr>
        <p:txBody>
          <a:bodyPr wrap="square" lIns="45718" tIns="45718" rIns="45718" bIns="45718">
            <a:spAutoFit/>
          </a:bodyPr>
          <a:lstStyle>
            <a:lvl1pPr algn="l" defTabSz="914400">
              <a:defRPr sz="2000">
                <a:solidFill>
                  <a:srgbClr val="104D6A"/>
                </a:solidFill>
                <a:latin typeface="Arial"/>
                <a:ea typeface="Arial"/>
                <a:cs typeface="Arial"/>
                <a:sym typeface="Arial"/>
              </a:defRPr>
            </a:lvl1pPr>
          </a:lstStyle>
          <a:p>
            <a:pPr>
              <a:defRPr/>
            </a:pPr>
            <a:r>
              <a:rPr lang="en-US" sz="1800" b="1" dirty="0">
                <a:solidFill>
                  <a:srgbClr val="73C4EF"/>
                </a:solidFill>
              </a:rPr>
              <a:t>Event Hub Architecture – Even Driver</a:t>
            </a:r>
          </a:p>
        </p:txBody>
      </p:sp>
      <p:sp>
        <p:nvSpPr>
          <p:cNvPr id="81" name="Rounded Rectangle 80">
            <a:extLst>
              <a:ext uri="{FF2B5EF4-FFF2-40B4-BE49-F238E27FC236}">
                <a16:creationId xmlns:a16="http://schemas.microsoft.com/office/drawing/2014/main" id="{3F043DAD-5EAA-7F4D-BCD3-E9BBD524D014}"/>
              </a:ext>
            </a:extLst>
          </p:cNvPr>
          <p:cNvSpPr/>
          <p:nvPr/>
        </p:nvSpPr>
        <p:spPr>
          <a:xfrm>
            <a:off x="5388586" y="2757716"/>
            <a:ext cx="1159194" cy="537107"/>
          </a:xfrm>
          <a:prstGeom prst="roundRect">
            <a:avLst/>
          </a:prstGeom>
          <a:solidFill>
            <a:schemeClr val="bg1">
              <a:lumMod val="85000"/>
            </a:schemeClr>
          </a:solidFill>
          <a:ln w="3175">
            <a:solidFill>
              <a:schemeClr val="bg1">
                <a:lumMod val="95000"/>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900" b="1" dirty="0">
              <a:solidFill>
                <a:schemeClr val="bg1">
                  <a:lumMod val="50000"/>
                </a:schemeClr>
              </a:solidFill>
              <a:latin typeface="Comic Sans MS" panose="030F0902030302020204" pitchFamily="66" charset="0"/>
              <a:ea typeface="Nanum Pen Script" panose="03040600000000000000" pitchFamily="66" charset="-127"/>
            </a:endParaRPr>
          </a:p>
          <a:p>
            <a:endParaRPr lang="en-US" sz="900" b="1" dirty="0">
              <a:solidFill>
                <a:schemeClr val="bg1">
                  <a:lumMod val="50000"/>
                </a:schemeClr>
              </a:solidFill>
              <a:latin typeface="Comic Sans MS" panose="030F0902030302020204" pitchFamily="66" charset="0"/>
              <a:ea typeface="Nanum Pen Script" panose="03040600000000000000" pitchFamily="66" charset="-127"/>
            </a:endParaRPr>
          </a:p>
          <a:p>
            <a:endParaRPr lang="en-US" sz="900" b="1" dirty="0">
              <a:solidFill>
                <a:schemeClr val="bg1">
                  <a:lumMod val="50000"/>
                </a:schemeClr>
              </a:solidFill>
              <a:latin typeface="Comic Sans MS" panose="030F0902030302020204" pitchFamily="66" charset="0"/>
              <a:ea typeface="Nanum Pen Script" panose="03040600000000000000" pitchFamily="66" charset="-127"/>
            </a:endParaRPr>
          </a:p>
          <a:p>
            <a:endParaRPr lang="en-US" sz="900" b="1" dirty="0">
              <a:solidFill>
                <a:schemeClr val="bg1">
                  <a:lumMod val="50000"/>
                </a:schemeClr>
              </a:solidFill>
              <a:latin typeface="Comic Sans MS" panose="030F0902030302020204" pitchFamily="66" charset="0"/>
              <a:ea typeface="Nanum Pen Script" panose="03040600000000000000" pitchFamily="66" charset="-127"/>
            </a:endParaRPr>
          </a:p>
          <a:p>
            <a:endParaRPr lang="en-US" sz="800" b="1" dirty="0">
              <a:solidFill>
                <a:schemeClr val="bg1">
                  <a:lumMod val="50000"/>
                </a:schemeClr>
              </a:solidFill>
              <a:latin typeface="Comic Sans MS" panose="030F0902030302020204" pitchFamily="66" charset="0"/>
              <a:ea typeface="Nanum Pen Script" panose="03040600000000000000" pitchFamily="66" charset="-127"/>
            </a:endParaRPr>
          </a:p>
          <a:p>
            <a:endParaRPr lang="en-US" sz="800" b="1" dirty="0">
              <a:solidFill>
                <a:schemeClr val="bg1">
                  <a:lumMod val="65000"/>
                </a:schemeClr>
              </a:solidFill>
              <a:latin typeface="Comic Sans MS" panose="030F0902030302020204" pitchFamily="66" charset="0"/>
              <a:ea typeface="Nanum Pen Script" panose="03040600000000000000" pitchFamily="66" charset="-127"/>
            </a:endParaRPr>
          </a:p>
          <a:p>
            <a:r>
              <a:rPr lang="en-US" sz="800" b="1" dirty="0">
                <a:solidFill>
                  <a:schemeClr val="bg1">
                    <a:lumMod val="65000"/>
                  </a:schemeClr>
                </a:solidFill>
                <a:latin typeface="Comic Sans MS" panose="030F0902030302020204" pitchFamily="66" charset="0"/>
                <a:ea typeface="Nanum Pen Script" panose="03040600000000000000" pitchFamily="66" charset="-127"/>
              </a:rPr>
              <a:t>		</a:t>
            </a:r>
            <a:r>
              <a:rPr lang="en-US" sz="700" b="1" dirty="0">
                <a:solidFill>
                  <a:schemeClr val="bg1">
                    <a:lumMod val="65000"/>
                  </a:schemeClr>
                </a:solidFill>
                <a:latin typeface="Comic Sans MS" panose="030F0902030302020204" pitchFamily="66" charset="0"/>
                <a:ea typeface="Nanum Pen Script" panose="03040600000000000000" pitchFamily="66" charset="-127"/>
              </a:rPr>
              <a:t>	                   </a:t>
            </a:r>
          </a:p>
          <a:p>
            <a:endParaRPr lang="en-US" sz="700" b="1" dirty="0">
              <a:solidFill>
                <a:schemeClr val="bg1">
                  <a:lumMod val="65000"/>
                </a:schemeClr>
              </a:solidFill>
              <a:latin typeface="Comic Sans MS" panose="030F0902030302020204" pitchFamily="66" charset="0"/>
              <a:ea typeface="Nanum Pen Script" panose="03040600000000000000" pitchFamily="66" charset="-127"/>
            </a:endParaRPr>
          </a:p>
          <a:p>
            <a:r>
              <a:rPr lang="en-US" sz="700" dirty="0">
                <a:solidFill>
                  <a:schemeClr val="bg2">
                    <a:lumMod val="75000"/>
                  </a:schemeClr>
                </a:solidFill>
                <a:latin typeface="Comic Sans MS" panose="030F0902030302020204" pitchFamily="66" charset="0"/>
                <a:ea typeface="Nanum Pen Script" panose="03040600000000000000" pitchFamily="66" charset="-127"/>
              </a:rPr>
              <a:t>Kafka</a:t>
            </a:r>
          </a:p>
          <a:p>
            <a:endParaRPr lang="en-US" sz="800" b="1" dirty="0">
              <a:solidFill>
                <a:schemeClr val="bg1">
                  <a:lumMod val="65000"/>
                </a:schemeClr>
              </a:solidFill>
              <a:latin typeface="Comic Sans MS" panose="030F0902030302020204" pitchFamily="66" charset="0"/>
              <a:ea typeface="Nanum Pen Script" panose="03040600000000000000" pitchFamily="66" charset="-127"/>
            </a:endParaRPr>
          </a:p>
          <a:p>
            <a:endParaRPr lang="en-US" sz="800" b="1" dirty="0">
              <a:solidFill>
                <a:schemeClr val="bg1">
                  <a:lumMod val="65000"/>
                </a:schemeClr>
              </a:solidFill>
              <a:latin typeface="Comic Sans MS" panose="030F0902030302020204" pitchFamily="66" charset="0"/>
              <a:ea typeface="Nanum Pen Script" panose="03040600000000000000" pitchFamily="66" charset="-127"/>
            </a:endParaRPr>
          </a:p>
          <a:p>
            <a:endParaRPr lang="en-US" dirty="0">
              <a:solidFill>
                <a:schemeClr val="tx1"/>
              </a:solidFill>
              <a:latin typeface="Comic Sans MS" panose="030F0902030302020204" pitchFamily="66" charset="0"/>
              <a:ea typeface="Nanum Pen Script" panose="03040600000000000000" pitchFamily="66" charset="-127"/>
            </a:endParaRPr>
          </a:p>
          <a:p>
            <a:endParaRPr lang="en-US" dirty="0">
              <a:solidFill>
                <a:schemeClr val="tx1"/>
              </a:solidFill>
              <a:latin typeface="Comic Sans MS" panose="030F0902030302020204" pitchFamily="66" charset="0"/>
              <a:ea typeface="Nanum Pen Script" panose="03040600000000000000" pitchFamily="66" charset="-127"/>
            </a:endParaRPr>
          </a:p>
        </p:txBody>
      </p:sp>
      <p:sp>
        <p:nvSpPr>
          <p:cNvPr id="83" name="Rounded Rectangle 82">
            <a:extLst>
              <a:ext uri="{FF2B5EF4-FFF2-40B4-BE49-F238E27FC236}">
                <a16:creationId xmlns:a16="http://schemas.microsoft.com/office/drawing/2014/main" id="{1B4BB58E-3AD2-634C-A4F7-CAAC4F5BFE8A}"/>
              </a:ext>
            </a:extLst>
          </p:cNvPr>
          <p:cNvSpPr/>
          <p:nvPr/>
        </p:nvSpPr>
        <p:spPr>
          <a:xfrm>
            <a:off x="5550251" y="2943365"/>
            <a:ext cx="186062" cy="167874"/>
          </a:xfrm>
          <a:prstGeom prst="roundRect">
            <a:avLst/>
          </a:prstGeom>
          <a:solidFill>
            <a:schemeClr val="bg1"/>
          </a:solidFill>
          <a:ln w="3175">
            <a:solidFill>
              <a:schemeClr val="bg1">
                <a:lumMod val="95000"/>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Comic Sans MS" panose="030F0902030302020204" pitchFamily="66" charset="0"/>
              <a:ea typeface="Nanum Pen Script" panose="03040600000000000000" pitchFamily="66" charset="-127"/>
            </a:endParaRPr>
          </a:p>
        </p:txBody>
      </p:sp>
      <p:sp>
        <p:nvSpPr>
          <p:cNvPr id="84" name="Rounded Rectangle 83">
            <a:extLst>
              <a:ext uri="{FF2B5EF4-FFF2-40B4-BE49-F238E27FC236}">
                <a16:creationId xmlns:a16="http://schemas.microsoft.com/office/drawing/2014/main" id="{3ADF69C9-3592-CE4B-8D77-98B3AF8374D2}"/>
              </a:ext>
            </a:extLst>
          </p:cNvPr>
          <p:cNvSpPr/>
          <p:nvPr/>
        </p:nvSpPr>
        <p:spPr>
          <a:xfrm>
            <a:off x="5768204" y="2943365"/>
            <a:ext cx="186062" cy="167874"/>
          </a:xfrm>
          <a:prstGeom prst="roundRect">
            <a:avLst/>
          </a:prstGeom>
          <a:solidFill>
            <a:schemeClr val="bg1"/>
          </a:solidFill>
          <a:ln w="3175">
            <a:solidFill>
              <a:schemeClr val="bg1">
                <a:lumMod val="95000"/>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Comic Sans MS" panose="030F0902030302020204" pitchFamily="66" charset="0"/>
              <a:ea typeface="Nanum Pen Script" panose="03040600000000000000" pitchFamily="66" charset="-127"/>
            </a:endParaRPr>
          </a:p>
        </p:txBody>
      </p:sp>
      <p:sp>
        <p:nvSpPr>
          <p:cNvPr id="85" name="Rounded Rectangle 84">
            <a:extLst>
              <a:ext uri="{FF2B5EF4-FFF2-40B4-BE49-F238E27FC236}">
                <a16:creationId xmlns:a16="http://schemas.microsoft.com/office/drawing/2014/main" id="{3E7B4DA8-F247-664C-8B3D-EE12CF7B54EB}"/>
              </a:ext>
            </a:extLst>
          </p:cNvPr>
          <p:cNvSpPr/>
          <p:nvPr/>
        </p:nvSpPr>
        <p:spPr>
          <a:xfrm>
            <a:off x="5986292" y="2943364"/>
            <a:ext cx="186062" cy="167874"/>
          </a:xfrm>
          <a:prstGeom prst="roundRect">
            <a:avLst/>
          </a:prstGeom>
          <a:solidFill>
            <a:schemeClr val="bg1"/>
          </a:solidFill>
          <a:ln w="3175">
            <a:solidFill>
              <a:schemeClr val="bg1">
                <a:lumMod val="95000"/>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Comic Sans MS" panose="030F0902030302020204" pitchFamily="66" charset="0"/>
              <a:ea typeface="Nanum Pen Script" panose="03040600000000000000" pitchFamily="66" charset="-127"/>
            </a:endParaRPr>
          </a:p>
        </p:txBody>
      </p:sp>
      <p:sp>
        <p:nvSpPr>
          <p:cNvPr id="87" name="Rounded Rectangle 86">
            <a:extLst>
              <a:ext uri="{FF2B5EF4-FFF2-40B4-BE49-F238E27FC236}">
                <a16:creationId xmlns:a16="http://schemas.microsoft.com/office/drawing/2014/main" id="{D59A5476-A965-9E41-821F-17896BA76081}"/>
              </a:ext>
            </a:extLst>
          </p:cNvPr>
          <p:cNvSpPr/>
          <p:nvPr/>
        </p:nvSpPr>
        <p:spPr>
          <a:xfrm>
            <a:off x="6203460" y="2943364"/>
            <a:ext cx="186062" cy="167874"/>
          </a:xfrm>
          <a:prstGeom prst="roundRect">
            <a:avLst/>
          </a:prstGeom>
          <a:solidFill>
            <a:schemeClr val="bg1"/>
          </a:solidFill>
          <a:ln w="3175">
            <a:solidFill>
              <a:schemeClr val="bg1">
                <a:lumMod val="85000"/>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Comic Sans MS" panose="030F0902030302020204" pitchFamily="66" charset="0"/>
              <a:ea typeface="Nanum Pen Script" panose="03040600000000000000" pitchFamily="66" charset="-127"/>
            </a:endParaRPr>
          </a:p>
        </p:txBody>
      </p:sp>
      <p:sp>
        <p:nvSpPr>
          <p:cNvPr id="88" name="Google Shape;431;p39">
            <a:extLst>
              <a:ext uri="{FF2B5EF4-FFF2-40B4-BE49-F238E27FC236}">
                <a16:creationId xmlns:a16="http://schemas.microsoft.com/office/drawing/2014/main" id="{3DAC1F9E-581B-054A-B11F-360B5046DC49}"/>
              </a:ext>
            </a:extLst>
          </p:cNvPr>
          <p:cNvSpPr/>
          <p:nvPr/>
        </p:nvSpPr>
        <p:spPr>
          <a:xfrm rot="21011211">
            <a:off x="5376840" y="1390525"/>
            <a:ext cx="1150543" cy="1298228"/>
          </a:xfrm>
          <a:custGeom>
            <a:avLst/>
            <a:gdLst/>
            <a:ahLst/>
            <a:cxnLst/>
            <a:rect l="0" t="0" r="0" b="0"/>
            <a:pathLst>
              <a:path w="67641" h="69056" extrusionOk="0">
                <a:moveTo>
                  <a:pt x="49622" y="2736"/>
                </a:moveTo>
                <a:lnTo>
                  <a:pt x="49622" y="2736"/>
                </a:lnTo>
                <a:lnTo>
                  <a:pt x="49622" y="2736"/>
                </a:lnTo>
                <a:close/>
                <a:moveTo>
                  <a:pt x="59622" y="55565"/>
                </a:moveTo>
                <a:lnTo>
                  <a:pt x="59622" y="55565"/>
                </a:lnTo>
                <a:lnTo>
                  <a:pt x="59622" y="55565"/>
                </a:lnTo>
                <a:close/>
                <a:moveTo>
                  <a:pt x="35471" y="0"/>
                </a:moveTo>
                <a:lnTo>
                  <a:pt x="34433" y="95"/>
                </a:lnTo>
                <a:lnTo>
                  <a:pt x="33584" y="189"/>
                </a:lnTo>
                <a:lnTo>
                  <a:pt x="32735" y="378"/>
                </a:lnTo>
                <a:lnTo>
                  <a:pt x="32169" y="566"/>
                </a:lnTo>
                <a:lnTo>
                  <a:pt x="31509" y="472"/>
                </a:lnTo>
                <a:lnTo>
                  <a:pt x="30754" y="472"/>
                </a:lnTo>
                <a:lnTo>
                  <a:pt x="29339" y="566"/>
                </a:lnTo>
                <a:lnTo>
                  <a:pt x="27830" y="849"/>
                </a:lnTo>
                <a:lnTo>
                  <a:pt x="26320" y="1321"/>
                </a:lnTo>
                <a:lnTo>
                  <a:pt x="24811" y="1981"/>
                </a:lnTo>
                <a:lnTo>
                  <a:pt x="23207" y="2736"/>
                </a:lnTo>
                <a:lnTo>
                  <a:pt x="21698" y="3585"/>
                </a:lnTo>
                <a:lnTo>
                  <a:pt x="20188" y="4623"/>
                </a:lnTo>
                <a:lnTo>
                  <a:pt x="18679" y="5661"/>
                </a:lnTo>
                <a:lnTo>
                  <a:pt x="17170" y="6793"/>
                </a:lnTo>
                <a:lnTo>
                  <a:pt x="15754" y="8019"/>
                </a:lnTo>
                <a:lnTo>
                  <a:pt x="14434" y="9151"/>
                </a:lnTo>
                <a:lnTo>
                  <a:pt x="11981" y="11510"/>
                </a:lnTo>
                <a:lnTo>
                  <a:pt x="10000" y="13774"/>
                </a:lnTo>
                <a:lnTo>
                  <a:pt x="7736" y="16981"/>
                </a:lnTo>
                <a:lnTo>
                  <a:pt x="8019" y="16321"/>
                </a:lnTo>
                <a:lnTo>
                  <a:pt x="8302" y="15660"/>
                </a:lnTo>
                <a:lnTo>
                  <a:pt x="7736" y="16604"/>
                </a:lnTo>
                <a:lnTo>
                  <a:pt x="7075" y="17642"/>
                </a:lnTo>
                <a:lnTo>
                  <a:pt x="7170" y="17830"/>
                </a:lnTo>
                <a:lnTo>
                  <a:pt x="6509" y="18868"/>
                </a:lnTo>
                <a:lnTo>
                  <a:pt x="7075" y="17359"/>
                </a:lnTo>
                <a:lnTo>
                  <a:pt x="6132" y="19057"/>
                </a:lnTo>
                <a:lnTo>
                  <a:pt x="5189" y="20849"/>
                </a:lnTo>
                <a:lnTo>
                  <a:pt x="4434" y="22736"/>
                </a:lnTo>
                <a:lnTo>
                  <a:pt x="3679" y="24622"/>
                </a:lnTo>
                <a:lnTo>
                  <a:pt x="2453" y="28490"/>
                </a:lnTo>
                <a:lnTo>
                  <a:pt x="1321" y="32169"/>
                </a:lnTo>
                <a:lnTo>
                  <a:pt x="1509" y="32264"/>
                </a:lnTo>
                <a:lnTo>
                  <a:pt x="1604" y="32453"/>
                </a:lnTo>
                <a:lnTo>
                  <a:pt x="1604" y="32641"/>
                </a:lnTo>
                <a:lnTo>
                  <a:pt x="1509" y="32924"/>
                </a:lnTo>
                <a:lnTo>
                  <a:pt x="1226" y="33396"/>
                </a:lnTo>
                <a:lnTo>
                  <a:pt x="1038" y="33585"/>
                </a:lnTo>
                <a:lnTo>
                  <a:pt x="1038" y="33773"/>
                </a:lnTo>
                <a:lnTo>
                  <a:pt x="1038" y="35000"/>
                </a:lnTo>
                <a:lnTo>
                  <a:pt x="849" y="36132"/>
                </a:lnTo>
                <a:lnTo>
                  <a:pt x="660" y="37358"/>
                </a:lnTo>
                <a:lnTo>
                  <a:pt x="472" y="38867"/>
                </a:lnTo>
                <a:lnTo>
                  <a:pt x="283" y="38301"/>
                </a:lnTo>
                <a:lnTo>
                  <a:pt x="94" y="39811"/>
                </a:lnTo>
                <a:lnTo>
                  <a:pt x="0" y="41509"/>
                </a:lnTo>
                <a:lnTo>
                  <a:pt x="94" y="43301"/>
                </a:lnTo>
                <a:lnTo>
                  <a:pt x="283" y="44056"/>
                </a:lnTo>
                <a:lnTo>
                  <a:pt x="472" y="44622"/>
                </a:lnTo>
                <a:lnTo>
                  <a:pt x="566" y="45660"/>
                </a:lnTo>
                <a:lnTo>
                  <a:pt x="755" y="46792"/>
                </a:lnTo>
                <a:lnTo>
                  <a:pt x="1226" y="48962"/>
                </a:lnTo>
                <a:lnTo>
                  <a:pt x="1981" y="51037"/>
                </a:lnTo>
                <a:lnTo>
                  <a:pt x="2924" y="53112"/>
                </a:lnTo>
                <a:lnTo>
                  <a:pt x="4057" y="55094"/>
                </a:lnTo>
                <a:lnTo>
                  <a:pt x="5283" y="56980"/>
                </a:lnTo>
                <a:lnTo>
                  <a:pt x="6698" y="58678"/>
                </a:lnTo>
                <a:lnTo>
                  <a:pt x="8113" y="60282"/>
                </a:lnTo>
                <a:lnTo>
                  <a:pt x="9056" y="61131"/>
                </a:lnTo>
                <a:lnTo>
                  <a:pt x="10000" y="61980"/>
                </a:lnTo>
                <a:lnTo>
                  <a:pt x="11038" y="62829"/>
                </a:lnTo>
                <a:lnTo>
                  <a:pt x="12075" y="63584"/>
                </a:lnTo>
                <a:lnTo>
                  <a:pt x="14339" y="64905"/>
                </a:lnTo>
                <a:lnTo>
                  <a:pt x="16604" y="66131"/>
                </a:lnTo>
                <a:lnTo>
                  <a:pt x="19056" y="67169"/>
                </a:lnTo>
                <a:lnTo>
                  <a:pt x="21509" y="67923"/>
                </a:lnTo>
                <a:lnTo>
                  <a:pt x="24056" y="68584"/>
                </a:lnTo>
                <a:lnTo>
                  <a:pt x="26603" y="69055"/>
                </a:lnTo>
                <a:lnTo>
                  <a:pt x="27830" y="69055"/>
                </a:lnTo>
                <a:lnTo>
                  <a:pt x="30188" y="68867"/>
                </a:lnTo>
                <a:lnTo>
                  <a:pt x="33113" y="68678"/>
                </a:lnTo>
                <a:lnTo>
                  <a:pt x="36509" y="68301"/>
                </a:lnTo>
                <a:lnTo>
                  <a:pt x="39811" y="67923"/>
                </a:lnTo>
                <a:lnTo>
                  <a:pt x="42735" y="67452"/>
                </a:lnTo>
                <a:lnTo>
                  <a:pt x="44905" y="66980"/>
                </a:lnTo>
                <a:lnTo>
                  <a:pt x="45565" y="66791"/>
                </a:lnTo>
                <a:lnTo>
                  <a:pt x="45943" y="66508"/>
                </a:lnTo>
                <a:lnTo>
                  <a:pt x="47358" y="65942"/>
                </a:lnTo>
                <a:lnTo>
                  <a:pt x="48018" y="65565"/>
                </a:lnTo>
                <a:lnTo>
                  <a:pt x="48678" y="65188"/>
                </a:lnTo>
                <a:lnTo>
                  <a:pt x="47924" y="65471"/>
                </a:lnTo>
                <a:lnTo>
                  <a:pt x="51509" y="62924"/>
                </a:lnTo>
                <a:lnTo>
                  <a:pt x="53301" y="61508"/>
                </a:lnTo>
                <a:lnTo>
                  <a:pt x="55093" y="59905"/>
                </a:lnTo>
                <a:lnTo>
                  <a:pt x="55093" y="59905"/>
                </a:lnTo>
                <a:lnTo>
                  <a:pt x="54810" y="60376"/>
                </a:lnTo>
                <a:lnTo>
                  <a:pt x="54339" y="60754"/>
                </a:lnTo>
                <a:lnTo>
                  <a:pt x="55376" y="59999"/>
                </a:lnTo>
                <a:lnTo>
                  <a:pt x="56320" y="59056"/>
                </a:lnTo>
                <a:lnTo>
                  <a:pt x="57075" y="58395"/>
                </a:lnTo>
                <a:lnTo>
                  <a:pt x="57169" y="58207"/>
                </a:lnTo>
                <a:lnTo>
                  <a:pt x="57075" y="58207"/>
                </a:lnTo>
                <a:lnTo>
                  <a:pt x="57924" y="57546"/>
                </a:lnTo>
                <a:lnTo>
                  <a:pt x="58678" y="56697"/>
                </a:lnTo>
                <a:lnTo>
                  <a:pt x="59339" y="55754"/>
                </a:lnTo>
                <a:lnTo>
                  <a:pt x="59905" y="54905"/>
                </a:lnTo>
                <a:lnTo>
                  <a:pt x="59716" y="54999"/>
                </a:lnTo>
                <a:lnTo>
                  <a:pt x="59622" y="54999"/>
                </a:lnTo>
                <a:lnTo>
                  <a:pt x="59810" y="54622"/>
                </a:lnTo>
                <a:lnTo>
                  <a:pt x="59150" y="55565"/>
                </a:lnTo>
                <a:lnTo>
                  <a:pt x="59527" y="55094"/>
                </a:lnTo>
                <a:lnTo>
                  <a:pt x="59433" y="55377"/>
                </a:lnTo>
                <a:lnTo>
                  <a:pt x="58867" y="56037"/>
                </a:lnTo>
                <a:lnTo>
                  <a:pt x="59056" y="55660"/>
                </a:lnTo>
                <a:lnTo>
                  <a:pt x="59056" y="55660"/>
                </a:lnTo>
                <a:lnTo>
                  <a:pt x="58678" y="56037"/>
                </a:lnTo>
                <a:lnTo>
                  <a:pt x="59810" y="54339"/>
                </a:lnTo>
                <a:lnTo>
                  <a:pt x="60282" y="53490"/>
                </a:lnTo>
                <a:lnTo>
                  <a:pt x="60282" y="53301"/>
                </a:lnTo>
                <a:lnTo>
                  <a:pt x="60188" y="53395"/>
                </a:lnTo>
                <a:lnTo>
                  <a:pt x="60188" y="53395"/>
                </a:lnTo>
                <a:lnTo>
                  <a:pt x="60565" y="52924"/>
                </a:lnTo>
                <a:lnTo>
                  <a:pt x="61037" y="52452"/>
                </a:lnTo>
                <a:lnTo>
                  <a:pt x="61886" y="51509"/>
                </a:lnTo>
                <a:lnTo>
                  <a:pt x="61508" y="52452"/>
                </a:lnTo>
                <a:lnTo>
                  <a:pt x="60848" y="53584"/>
                </a:lnTo>
                <a:lnTo>
                  <a:pt x="59622" y="55565"/>
                </a:lnTo>
                <a:lnTo>
                  <a:pt x="60376" y="54528"/>
                </a:lnTo>
                <a:lnTo>
                  <a:pt x="60942" y="53678"/>
                </a:lnTo>
                <a:lnTo>
                  <a:pt x="61980" y="51792"/>
                </a:lnTo>
                <a:lnTo>
                  <a:pt x="61886" y="51886"/>
                </a:lnTo>
                <a:lnTo>
                  <a:pt x="61886" y="51697"/>
                </a:lnTo>
                <a:lnTo>
                  <a:pt x="62169" y="51037"/>
                </a:lnTo>
                <a:lnTo>
                  <a:pt x="62735" y="49999"/>
                </a:lnTo>
                <a:lnTo>
                  <a:pt x="61508" y="51603"/>
                </a:lnTo>
                <a:lnTo>
                  <a:pt x="61603" y="51037"/>
                </a:lnTo>
                <a:lnTo>
                  <a:pt x="61697" y="50377"/>
                </a:lnTo>
                <a:lnTo>
                  <a:pt x="62169" y="48962"/>
                </a:lnTo>
                <a:lnTo>
                  <a:pt x="62829" y="47358"/>
                </a:lnTo>
                <a:lnTo>
                  <a:pt x="63678" y="45565"/>
                </a:lnTo>
                <a:lnTo>
                  <a:pt x="65376" y="42169"/>
                </a:lnTo>
                <a:lnTo>
                  <a:pt x="66131" y="40660"/>
                </a:lnTo>
                <a:lnTo>
                  <a:pt x="66697" y="39339"/>
                </a:lnTo>
                <a:lnTo>
                  <a:pt x="66603" y="39528"/>
                </a:lnTo>
                <a:lnTo>
                  <a:pt x="66697" y="39056"/>
                </a:lnTo>
                <a:lnTo>
                  <a:pt x="66791" y="38962"/>
                </a:lnTo>
                <a:lnTo>
                  <a:pt x="66791" y="39056"/>
                </a:lnTo>
                <a:lnTo>
                  <a:pt x="66886" y="38584"/>
                </a:lnTo>
                <a:lnTo>
                  <a:pt x="66791" y="38867"/>
                </a:lnTo>
                <a:lnTo>
                  <a:pt x="66980" y="38207"/>
                </a:lnTo>
                <a:lnTo>
                  <a:pt x="67169" y="37264"/>
                </a:lnTo>
                <a:lnTo>
                  <a:pt x="67263" y="36415"/>
                </a:lnTo>
                <a:lnTo>
                  <a:pt x="67357" y="36509"/>
                </a:lnTo>
                <a:lnTo>
                  <a:pt x="67452" y="36509"/>
                </a:lnTo>
                <a:lnTo>
                  <a:pt x="67546" y="35943"/>
                </a:lnTo>
                <a:lnTo>
                  <a:pt x="67546" y="34811"/>
                </a:lnTo>
                <a:lnTo>
                  <a:pt x="67640" y="31037"/>
                </a:lnTo>
                <a:lnTo>
                  <a:pt x="67640" y="28490"/>
                </a:lnTo>
                <a:lnTo>
                  <a:pt x="67546" y="27736"/>
                </a:lnTo>
                <a:lnTo>
                  <a:pt x="67546" y="27547"/>
                </a:lnTo>
                <a:lnTo>
                  <a:pt x="67452" y="27547"/>
                </a:lnTo>
                <a:lnTo>
                  <a:pt x="67074" y="26792"/>
                </a:lnTo>
                <a:lnTo>
                  <a:pt x="66791" y="25660"/>
                </a:lnTo>
                <a:lnTo>
                  <a:pt x="66508" y="24528"/>
                </a:lnTo>
                <a:lnTo>
                  <a:pt x="66414" y="23585"/>
                </a:lnTo>
                <a:lnTo>
                  <a:pt x="66320" y="23679"/>
                </a:lnTo>
                <a:lnTo>
                  <a:pt x="66320" y="23490"/>
                </a:lnTo>
                <a:lnTo>
                  <a:pt x="65942" y="22924"/>
                </a:lnTo>
                <a:lnTo>
                  <a:pt x="65565" y="22358"/>
                </a:lnTo>
                <a:lnTo>
                  <a:pt x="64527" y="21132"/>
                </a:lnTo>
                <a:lnTo>
                  <a:pt x="63584" y="19906"/>
                </a:lnTo>
                <a:lnTo>
                  <a:pt x="63207" y="19340"/>
                </a:lnTo>
                <a:lnTo>
                  <a:pt x="63018" y="18774"/>
                </a:lnTo>
                <a:lnTo>
                  <a:pt x="63112" y="18962"/>
                </a:lnTo>
                <a:lnTo>
                  <a:pt x="63301" y="19057"/>
                </a:lnTo>
                <a:lnTo>
                  <a:pt x="63301" y="19057"/>
                </a:lnTo>
                <a:lnTo>
                  <a:pt x="63207" y="18868"/>
                </a:lnTo>
                <a:lnTo>
                  <a:pt x="62923" y="18491"/>
                </a:lnTo>
                <a:lnTo>
                  <a:pt x="61980" y="17453"/>
                </a:lnTo>
                <a:lnTo>
                  <a:pt x="61037" y="16509"/>
                </a:lnTo>
                <a:lnTo>
                  <a:pt x="61037" y="16698"/>
                </a:lnTo>
                <a:lnTo>
                  <a:pt x="61037" y="16887"/>
                </a:lnTo>
                <a:lnTo>
                  <a:pt x="60093" y="15943"/>
                </a:lnTo>
                <a:lnTo>
                  <a:pt x="60376" y="16321"/>
                </a:lnTo>
                <a:lnTo>
                  <a:pt x="59527" y="15377"/>
                </a:lnTo>
                <a:lnTo>
                  <a:pt x="59056" y="14906"/>
                </a:lnTo>
                <a:lnTo>
                  <a:pt x="59244" y="14906"/>
                </a:lnTo>
                <a:lnTo>
                  <a:pt x="59905" y="15472"/>
                </a:lnTo>
                <a:lnTo>
                  <a:pt x="59905" y="15472"/>
                </a:lnTo>
                <a:lnTo>
                  <a:pt x="57641" y="13396"/>
                </a:lnTo>
                <a:lnTo>
                  <a:pt x="58112" y="13868"/>
                </a:lnTo>
                <a:lnTo>
                  <a:pt x="56886" y="13019"/>
                </a:lnTo>
                <a:lnTo>
                  <a:pt x="55754" y="12453"/>
                </a:lnTo>
                <a:lnTo>
                  <a:pt x="56603" y="13113"/>
                </a:lnTo>
                <a:lnTo>
                  <a:pt x="57452" y="13774"/>
                </a:lnTo>
                <a:lnTo>
                  <a:pt x="58961" y="15283"/>
                </a:lnTo>
                <a:lnTo>
                  <a:pt x="60376" y="16604"/>
                </a:lnTo>
                <a:lnTo>
                  <a:pt x="61225" y="17264"/>
                </a:lnTo>
                <a:lnTo>
                  <a:pt x="62074" y="17925"/>
                </a:lnTo>
                <a:lnTo>
                  <a:pt x="62074" y="17925"/>
                </a:lnTo>
                <a:lnTo>
                  <a:pt x="61414" y="17547"/>
                </a:lnTo>
                <a:lnTo>
                  <a:pt x="60659" y="16981"/>
                </a:lnTo>
                <a:lnTo>
                  <a:pt x="60754" y="17264"/>
                </a:lnTo>
                <a:lnTo>
                  <a:pt x="60942" y="17642"/>
                </a:lnTo>
                <a:lnTo>
                  <a:pt x="61980" y="19151"/>
                </a:lnTo>
                <a:lnTo>
                  <a:pt x="63301" y="20943"/>
                </a:lnTo>
                <a:lnTo>
                  <a:pt x="63207" y="20943"/>
                </a:lnTo>
                <a:lnTo>
                  <a:pt x="63395" y="21038"/>
                </a:lnTo>
                <a:lnTo>
                  <a:pt x="63490" y="21321"/>
                </a:lnTo>
                <a:lnTo>
                  <a:pt x="63678" y="21604"/>
                </a:lnTo>
                <a:lnTo>
                  <a:pt x="63773" y="21698"/>
                </a:lnTo>
                <a:lnTo>
                  <a:pt x="63584" y="21321"/>
                </a:lnTo>
                <a:lnTo>
                  <a:pt x="63584" y="21321"/>
                </a:lnTo>
                <a:lnTo>
                  <a:pt x="64244" y="22170"/>
                </a:lnTo>
                <a:lnTo>
                  <a:pt x="64716" y="22641"/>
                </a:lnTo>
                <a:lnTo>
                  <a:pt x="64905" y="22830"/>
                </a:lnTo>
                <a:lnTo>
                  <a:pt x="64999" y="22830"/>
                </a:lnTo>
                <a:lnTo>
                  <a:pt x="64999" y="22641"/>
                </a:lnTo>
                <a:lnTo>
                  <a:pt x="64905" y="22358"/>
                </a:lnTo>
                <a:lnTo>
                  <a:pt x="65282" y="23207"/>
                </a:lnTo>
                <a:lnTo>
                  <a:pt x="65565" y="24056"/>
                </a:lnTo>
                <a:lnTo>
                  <a:pt x="66225" y="25943"/>
                </a:lnTo>
                <a:lnTo>
                  <a:pt x="66697" y="27830"/>
                </a:lnTo>
                <a:lnTo>
                  <a:pt x="66886" y="28490"/>
                </a:lnTo>
                <a:lnTo>
                  <a:pt x="66980" y="28868"/>
                </a:lnTo>
                <a:lnTo>
                  <a:pt x="66886" y="28962"/>
                </a:lnTo>
                <a:lnTo>
                  <a:pt x="66697" y="28679"/>
                </a:lnTo>
                <a:lnTo>
                  <a:pt x="66697" y="29245"/>
                </a:lnTo>
                <a:lnTo>
                  <a:pt x="66791" y="29905"/>
                </a:lnTo>
                <a:lnTo>
                  <a:pt x="66886" y="29905"/>
                </a:lnTo>
                <a:lnTo>
                  <a:pt x="66886" y="30094"/>
                </a:lnTo>
                <a:lnTo>
                  <a:pt x="66886" y="30566"/>
                </a:lnTo>
                <a:lnTo>
                  <a:pt x="66697" y="30377"/>
                </a:lnTo>
                <a:lnTo>
                  <a:pt x="66603" y="30188"/>
                </a:lnTo>
                <a:lnTo>
                  <a:pt x="66603" y="30094"/>
                </a:lnTo>
                <a:lnTo>
                  <a:pt x="66697" y="29905"/>
                </a:lnTo>
                <a:lnTo>
                  <a:pt x="66508" y="28679"/>
                </a:lnTo>
                <a:lnTo>
                  <a:pt x="66225" y="27358"/>
                </a:lnTo>
                <a:lnTo>
                  <a:pt x="66603" y="30283"/>
                </a:lnTo>
                <a:lnTo>
                  <a:pt x="66697" y="31792"/>
                </a:lnTo>
                <a:lnTo>
                  <a:pt x="66697" y="33302"/>
                </a:lnTo>
                <a:lnTo>
                  <a:pt x="66603" y="34717"/>
                </a:lnTo>
                <a:lnTo>
                  <a:pt x="66414" y="36226"/>
                </a:lnTo>
                <a:lnTo>
                  <a:pt x="66131" y="37547"/>
                </a:lnTo>
                <a:lnTo>
                  <a:pt x="65659" y="38962"/>
                </a:lnTo>
                <a:lnTo>
                  <a:pt x="65848" y="38584"/>
                </a:lnTo>
                <a:lnTo>
                  <a:pt x="65942" y="38584"/>
                </a:lnTo>
                <a:lnTo>
                  <a:pt x="65848" y="39245"/>
                </a:lnTo>
                <a:lnTo>
                  <a:pt x="65565" y="40188"/>
                </a:lnTo>
                <a:lnTo>
                  <a:pt x="65471" y="40471"/>
                </a:lnTo>
                <a:lnTo>
                  <a:pt x="65282" y="40660"/>
                </a:lnTo>
                <a:lnTo>
                  <a:pt x="65282" y="40566"/>
                </a:lnTo>
                <a:lnTo>
                  <a:pt x="65093" y="41132"/>
                </a:lnTo>
                <a:lnTo>
                  <a:pt x="64433" y="43018"/>
                </a:lnTo>
                <a:lnTo>
                  <a:pt x="63678" y="45282"/>
                </a:lnTo>
                <a:lnTo>
                  <a:pt x="62735" y="47264"/>
                </a:lnTo>
                <a:lnTo>
                  <a:pt x="61697" y="49056"/>
                </a:lnTo>
                <a:lnTo>
                  <a:pt x="60659" y="50943"/>
                </a:lnTo>
                <a:lnTo>
                  <a:pt x="59433" y="52735"/>
                </a:lnTo>
                <a:lnTo>
                  <a:pt x="58207" y="54433"/>
                </a:lnTo>
                <a:lnTo>
                  <a:pt x="56886" y="56037"/>
                </a:lnTo>
                <a:lnTo>
                  <a:pt x="55376" y="57641"/>
                </a:lnTo>
                <a:lnTo>
                  <a:pt x="53867" y="59150"/>
                </a:lnTo>
                <a:lnTo>
                  <a:pt x="52169" y="60376"/>
                </a:lnTo>
                <a:lnTo>
                  <a:pt x="48961" y="62452"/>
                </a:lnTo>
                <a:lnTo>
                  <a:pt x="44528" y="65282"/>
                </a:lnTo>
                <a:lnTo>
                  <a:pt x="44622" y="65188"/>
                </a:lnTo>
                <a:lnTo>
                  <a:pt x="44716" y="65093"/>
                </a:lnTo>
                <a:lnTo>
                  <a:pt x="45094" y="64810"/>
                </a:lnTo>
                <a:lnTo>
                  <a:pt x="45660" y="64527"/>
                </a:lnTo>
                <a:lnTo>
                  <a:pt x="43867" y="65376"/>
                </a:lnTo>
                <a:lnTo>
                  <a:pt x="43113" y="65754"/>
                </a:lnTo>
                <a:lnTo>
                  <a:pt x="42924" y="65754"/>
                </a:lnTo>
                <a:lnTo>
                  <a:pt x="43113" y="65659"/>
                </a:lnTo>
                <a:lnTo>
                  <a:pt x="41603" y="66037"/>
                </a:lnTo>
                <a:lnTo>
                  <a:pt x="39999" y="66320"/>
                </a:lnTo>
                <a:lnTo>
                  <a:pt x="38396" y="66508"/>
                </a:lnTo>
                <a:lnTo>
                  <a:pt x="36792" y="66697"/>
                </a:lnTo>
                <a:lnTo>
                  <a:pt x="33584" y="66980"/>
                </a:lnTo>
                <a:lnTo>
                  <a:pt x="32169" y="67169"/>
                </a:lnTo>
                <a:lnTo>
                  <a:pt x="30754" y="67357"/>
                </a:lnTo>
                <a:lnTo>
                  <a:pt x="30094" y="67357"/>
                </a:lnTo>
                <a:lnTo>
                  <a:pt x="29339" y="67263"/>
                </a:lnTo>
                <a:lnTo>
                  <a:pt x="27830" y="66886"/>
                </a:lnTo>
                <a:lnTo>
                  <a:pt x="26415" y="66508"/>
                </a:lnTo>
                <a:lnTo>
                  <a:pt x="25754" y="66414"/>
                </a:lnTo>
                <a:lnTo>
                  <a:pt x="25094" y="66414"/>
                </a:lnTo>
                <a:lnTo>
                  <a:pt x="25566" y="66980"/>
                </a:lnTo>
                <a:lnTo>
                  <a:pt x="25471" y="67074"/>
                </a:lnTo>
                <a:lnTo>
                  <a:pt x="25188" y="66980"/>
                </a:lnTo>
                <a:lnTo>
                  <a:pt x="24339" y="66791"/>
                </a:lnTo>
                <a:lnTo>
                  <a:pt x="23773" y="66508"/>
                </a:lnTo>
                <a:lnTo>
                  <a:pt x="24245" y="66414"/>
                </a:lnTo>
                <a:lnTo>
                  <a:pt x="24717" y="66603"/>
                </a:lnTo>
                <a:lnTo>
                  <a:pt x="24811" y="66414"/>
                </a:lnTo>
                <a:lnTo>
                  <a:pt x="24811" y="66320"/>
                </a:lnTo>
                <a:lnTo>
                  <a:pt x="24717" y="66225"/>
                </a:lnTo>
                <a:lnTo>
                  <a:pt x="24528" y="66131"/>
                </a:lnTo>
                <a:lnTo>
                  <a:pt x="24151" y="66225"/>
                </a:lnTo>
                <a:lnTo>
                  <a:pt x="23679" y="66320"/>
                </a:lnTo>
                <a:lnTo>
                  <a:pt x="23018" y="66414"/>
                </a:lnTo>
                <a:lnTo>
                  <a:pt x="23490" y="66225"/>
                </a:lnTo>
                <a:lnTo>
                  <a:pt x="22075" y="65942"/>
                </a:lnTo>
                <a:lnTo>
                  <a:pt x="20943" y="65659"/>
                </a:lnTo>
                <a:lnTo>
                  <a:pt x="20000" y="65282"/>
                </a:lnTo>
                <a:lnTo>
                  <a:pt x="19056" y="64810"/>
                </a:lnTo>
                <a:lnTo>
                  <a:pt x="19056" y="64810"/>
                </a:lnTo>
                <a:lnTo>
                  <a:pt x="19717" y="64999"/>
                </a:lnTo>
                <a:lnTo>
                  <a:pt x="19151" y="64716"/>
                </a:lnTo>
                <a:lnTo>
                  <a:pt x="18962" y="64810"/>
                </a:lnTo>
                <a:lnTo>
                  <a:pt x="19151" y="64905"/>
                </a:lnTo>
                <a:lnTo>
                  <a:pt x="18490" y="64905"/>
                </a:lnTo>
                <a:lnTo>
                  <a:pt x="17830" y="64716"/>
                </a:lnTo>
                <a:lnTo>
                  <a:pt x="17264" y="64527"/>
                </a:lnTo>
                <a:lnTo>
                  <a:pt x="16698" y="64150"/>
                </a:lnTo>
                <a:lnTo>
                  <a:pt x="16981" y="64056"/>
                </a:lnTo>
                <a:lnTo>
                  <a:pt x="17264" y="64150"/>
                </a:lnTo>
                <a:lnTo>
                  <a:pt x="17264" y="64150"/>
                </a:lnTo>
                <a:lnTo>
                  <a:pt x="15188" y="63207"/>
                </a:lnTo>
                <a:lnTo>
                  <a:pt x="14622" y="62829"/>
                </a:lnTo>
                <a:lnTo>
                  <a:pt x="14717" y="62924"/>
                </a:lnTo>
                <a:lnTo>
                  <a:pt x="13773" y="62546"/>
                </a:lnTo>
                <a:lnTo>
                  <a:pt x="12924" y="62075"/>
                </a:lnTo>
                <a:lnTo>
                  <a:pt x="12358" y="61697"/>
                </a:lnTo>
                <a:lnTo>
                  <a:pt x="12264" y="61508"/>
                </a:lnTo>
                <a:lnTo>
                  <a:pt x="12170" y="61320"/>
                </a:lnTo>
                <a:lnTo>
                  <a:pt x="11698" y="60942"/>
                </a:lnTo>
                <a:lnTo>
                  <a:pt x="11132" y="60471"/>
                </a:lnTo>
                <a:lnTo>
                  <a:pt x="9906" y="59244"/>
                </a:lnTo>
                <a:lnTo>
                  <a:pt x="9906" y="59244"/>
                </a:lnTo>
                <a:lnTo>
                  <a:pt x="10566" y="59527"/>
                </a:lnTo>
                <a:lnTo>
                  <a:pt x="9434" y="58584"/>
                </a:lnTo>
                <a:lnTo>
                  <a:pt x="8207" y="57546"/>
                </a:lnTo>
                <a:lnTo>
                  <a:pt x="7547" y="56886"/>
                </a:lnTo>
                <a:lnTo>
                  <a:pt x="6981" y="56131"/>
                </a:lnTo>
                <a:lnTo>
                  <a:pt x="6226" y="55094"/>
                </a:lnTo>
                <a:lnTo>
                  <a:pt x="6415" y="55377"/>
                </a:lnTo>
                <a:lnTo>
                  <a:pt x="6038" y="54905"/>
                </a:lnTo>
                <a:lnTo>
                  <a:pt x="5472" y="54244"/>
                </a:lnTo>
                <a:lnTo>
                  <a:pt x="5283" y="53961"/>
                </a:lnTo>
                <a:lnTo>
                  <a:pt x="5094" y="53867"/>
                </a:lnTo>
                <a:lnTo>
                  <a:pt x="5377" y="54622"/>
                </a:lnTo>
                <a:lnTo>
                  <a:pt x="5849" y="55282"/>
                </a:lnTo>
                <a:lnTo>
                  <a:pt x="6321" y="55943"/>
                </a:lnTo>
                <a:lnTo>
                  <a:pt x="6698" y="56603"/>
                </a:lnTo>
                <a:lnTo>
                  <a:pt x="6226" y="56226"/>
                </a:lnTo>
                <a:lnTo>
                  <a:pt x="5943" y="55848"/>
                </a:lnTo>
                <a:lnTo>
                  <a:pt x="6038" y="56037"/>
                </a:lnTo>
                <a:lnTo>
                  <a:pt x="5943" y="55943"/>
                </a:lnTo>
                <a:lnTo>
                  <a:pt x="5377" y="55188"/>
                </a:lnTo>
                <a:lnTo>
                  <a:pt x="5000" y="54716"/>
                </a:lnTo>
                <a:lnTo>
                  <a:pt x="4717" y="54150"/>
                </a:lnTo>
                <a:lnTo>
                  <a:pt x="4528" y="53678"/>
                </a:lnTo>
                <a:lnTo>
                  <a:pt x="4528" y="53584"/>
                </a:lnTo>
                <a:lnTo>
                  <a:pt x="4623" y="53395"/>
                </a:lnTo>
                <a:lnTo>
                  <a:pt x="5094" y="54244"/>
                </a:lnTo>
                <a:lnTo>
                  <a:pt x="4717" y="53301"/>
                </a:lnTo>
                <a:lnTo>
                  <a:pt x="4528" y="53018"/>
                </a:lnTo>
                <a:lnTo>
                  <a:pt x="4151" y="52263"/>
                </a:lnTo>
                <a:lnTo>
                  <a:pt x="4151" y="52169"/>
                </a:lnTo>
                <a:lnTo>
                  <a:pt x="3774" y="51509"/>
                </a:lnTo>
                <a:lnTo>
                  <a:pt x="3396" y="50660"/>
                </a:lnTo>
                <a:lnTo>
                  <a:pt x="3585" y="51603"/>
                </a:lnTo>
                <a:lnTo>
                  <a:pt x="3396" y="51226"/>
                </a:lnTo>
                <a:lnTo>
                  <a:pt x="3208" y="50848"/>
                </a:lnTo>
                <a:lnTo>
                  <a:pt x="3208" y="50471"/>
                </a:lnTo>
                <a:lnTo>
                  <a:pt x="3208" y="50094"/>
                </a:lnTo>
                <a:lnTo>
                  <a:pt x="3585" y="50754"/>
                </a:lnTo>
                <a:lnTo>
                  <a:pt x="3868" y="51509"/>
                </a:lnTo>
                <a:lnTo>
                  <a:pt x="3868" y="51509"/>
                </a:lnTo>
                <a:lnTo>
                  <a:pt x="3208" y="49528"/>
                </a:lnTo>
                <a:lnTo>
                  <a:pt x="3208" y="49528"/>
                </a:lnTo>
                <a:lnTo>
                  <a:pt x="3868" y="50754"/>
                </a:lnTo>
                <a:lnTo>
                  <a:pt x="3208" y="48962"/>
                </a:lnTo>
                <a:lnTo>
                  <a:pt x="3585" y="49339"/>
                </a:lnTo>
                <a:lnTo>
                  <a:pt x="3774" y="49433"/>
                </a:lnTo>
                <a:lnTo>
                  <a:pt x="3962" y="49528"/>
                </a:lnTo>
                <a:lnTo>
                  <a:pt x="4057" y="49905"/>
                </a:lnTo>
                <a:lnTo>
                  <a:pt x="3868" y="48962"/>
                </a:lnTo>
                <a:lnTo>
                  <a:pt x="3491" y="47924"/>
                </a:lnTo>
                <a:lnTo>
                  <a:pt x="2641" y="45565"/>
                </a:lnTo>
                <a:lnTo>
                  <a:pt x="2170" y="43867"/>
                </a:lnTo>
                <a:lnTo>
                  <a:pt x="1698" y="41886"/>
                </a:lnTo>
                <a:lnTo>
                  <a:pt x="1698" y="41886"/>
                </a:lnTo>
                <a:lnTo>
                  <a:pt x="1887" y="42075"/>
                </a:lnTo>
                <a:lnTo>
                  <a:pt x="1981" y="41981"/>
                </a:lnTo>
                <a:lnTo>
                  <a:pt x="2075" y="42075"/>
                </a:lnTo>
                <a:lnTo>
                  <a:pt x="2264" y="42169"/>
                </a:lnTo>
                <a:lnTo>
                  <a:pt x="2170" y="40283"/>
                </a:lnTo>
                <a:lnTo>
                  <a:pt x="2075" y="38301"/>
                </a:lnTo>
                <a:lnTo>
                  <a:pt x="2170" y="36415"/>
                </a:lnTo>
                <a:lnTo>
                  <a:pt x="2358" y="35566"/>
                </a:lnTo>
                <a:lnTo>
                  <a:pt x="2453" y="34811"/>
                </a:lnTo>
                <a:lnTo>
                  <a:pt x="2830" y="32830"/>
                </a:lnTo>
                <a:lnTo>
                  <a:pt x="2830" y="33207"/>
                </a:lnTo>
                <a:lnTo>
                  <a:pt x="2924" y="33490"/>
                </a:lnTo>
                <a:lnTo>
                  <a:pt x="2924" y="32453"/>
                </a:lnTo>
                <a:lnTo>
                  <a:pt x="3019" y="31415"/>
                </a:lnTo>
                <a:lnTo>
                  <a:pt x="3396" y="29245"/>
                </a:lnTo>
                <a:lnTo>
                  <a:pt x="3868" y="27075"/>
                </a:lnTo>
                <a:lnTo>
                  <a:pt x="4623" y="25000"/>
                </a:lnTo>
                <a:lnTo>
                  <a:pt x="5566" y="22830"/>
                </a:lnTo>
                <a:lnTo>
                  <a:pt x="6604" y="20849"/>
                </a:lnTo>
                <a:lnTo>
                  <a:pt x="7830" y="18868"/>
                </a:lnTo>
                <a:lnTo>
                  <a:pt x="9151" y="16887"/>
                </a:lnTo>
                <a:lnTo>
                  <a:pt x="10566" y="15094"/>
                </a:lnTo>
                <a:lnTo>
                  <a:pt x="12075" y="13302"/>
                </a:lnTo>
                <a:lnTo>
                  <a:pt x="13773" y="11698"/>
                </a:lnTo>
                <a:lnTo>
                  <a:pt x="15377" y="10095"/>
                </a:lnTo>
                <a:lnTo>
                  <a:pt x="17170" y="8679"/>
                </a:lnTo>
                <a:lnTo>
                  <a:pt x="18962" y="7453"/>
                </a:lnTo>
                <a:lnTo>
                  <a:pt x="20754" y="6321"/>
                </a:lnTo>
                <a:lnTo>
                  <a:pt x="22547" y="5378"/>
                </a:lnTo>
                <a:lnTo>
                  <a:pt x="21603" y="6227"/>
                </a:lnTo>
                <a:lnTo>
                  <a:pt x="22641" y="5472"/>
                </a:lnTo>
                <a:lnTo>
                  <a:pt x="23302" y="5095"/>
                </a:lnTo>
                <a:lnTo>
                  <a:pt x="25377" y="4151"/>
                </a:lnTo>
                <a:lnTo>
                  <a:pt x="24811" y="4151"/>
                </a:lnTo>
                <a:lnTo>
                  <a:pt x="25660" y="3774"/>
                </a:lnTo>
                <a:lnTo>
                  <a:pt x="26886" y="3208"/>
                </a:lnTo>
                <a:lnTo>
                  <a:pt x="26603" y="3585"/>
                </a:lnTo>
                <a:lnTo>
                  <a:pt x="26886" y="3585"/>
                </a:lnTo>
                <a:lnTo>
                  <a:pt x="26886" y="3680"/>
                </a:lnTo>
                <a:lnTo>
                  <a:pt x="26792" y="3774"/>
                </a:lnTo>
                <a:lnTo>
                  <a:pt x="28301" y="3302"/>
                </a:lnTo>
                <a:lnTo>
                  <a:pt x="29622" y="2736"/>
                </a:lnTo>
                <a:lnTo>
                  <a:pt x="31037" y="2264"/>
                </a:lnTo>
                <a:lnTo>
                  <a:pt x="31792" y="2076"/>
                </a:lnTo>
                <a:lnTo>
                  <a:pt x="32641" y="1981"/>
                </a:lnTo>
                <a:lnTo>
                  <a:pt x="32547" y="2076"/>
                </a:lnTo>
                <a:lnTo>
                  <a:pt x="32924" y="1981"/>
                </a:lnTo>
                <a:lnTo>
                  <a:pt x="34245" y="1793"/>
                </a:lnTo>
                <a:lnTo>
                  <a:pt x="35848" y="1415"/>
                </a:lnTo>
                <a:lnTo>
                  <a:pt x="36981" y="1132"/>
                </a:lnTo>
                <a:lnTo>
                  <a:pt x="36981" y="1415"/>
                </a:lnTo>
                <a:lnTo>
                  <a:pt x="40943" y="1227"/>
                </a:lnTo>
                <a:lnTo>
                  <a:pt x="41509" y="1038"/>
                </a:lnTo>
                <a:lnTo>
                  <a:pt x="41697" y="1132"/>
                </a:lnTo>
                <a:lnTo>
                  <a:pt x="41509" y="1227"/>
                </a:lnTo>
                <a:lnTo>
                  <a:pt x="41320" y="1321"/>
                </a:lnTo>
                <a:lnTo>
                  <a:pt x="42263" y="1321"/>
                </a:lnTo>
                <a:lnTo>
                  <a:pt x="43113" y="1227"/>
                </a:lnTo>
                <a:lnTo>
                  <a:pt x="43396" y="1415"/>
                </a:lnTo>
                <a:lnTo>
                  <a:pt x="44056" y="1604"/>
                </a:lnTo>
                <a:lnTo>
                  <a:pt x="45943" y="2076"/>
                </a:lnTo>
                <a:lnTo>
                  <a:pt x="48018" y="2359"/>
                </a:lnTo>
                <a:lnTo>
                  <a:pt x="49622" y="2736"/>
                </a:lnTo>
                <a:lnTo>
                  <a:pt x="47641" y="1981"/>
                </a:lnTo>
                <a:lnTo>
                  <a:pt x="45282" y="1321"/>
                </a:lnTo>
                <a:lnTo>
                  <a:pt x="42735" y="755"/>
                </a:lnTo>
                <a:lnTo>
                  <a:pt x="40188" y="283"/>
                </a:lnTo>
                <a:lnTo>
                  <a:pt x="37735" y="95"/>
                </a:lnTo>
                <a:lnTo>
                  <a:pt x="35471" y="0"/>
                </a:lnTo>
                <a:close/>
              </a:path>
            </a:pathLst>
          </a:custGeom>
          <a:solidFill>
            <a:srgbClr val="F26F27">
              <a:alpha val="50000"/>
            </a:srgbClr>
          </a:solidFill>
          <a:ln w="0">
            <a:solidFill>
              <a:srgbClr val="F26F27">
                <a:alpha val="55000"/>
              </a:srgbClr>
            </a:solidFill>
          </a:ln>
        </p:spPr>
        <p:txBody>
          <a:bodyPr spcFirstLastPara="1" wrap="square" lIns="91425" tIns="91425" rIns="91425" bIns="91425" anchor="ctr" anchorCtr="0">
            <a:noAutofit/>
          </a:bodyPr>
          <a:lstStyle/>
          <a:p>
            <a:pPr marL="0" lvl="0" indent="0">
              <a:spcBef>
                <a:spcPts val="0"/>
              </a:spcBef>
              <a:spcAft>
                <a:spcPts val="0"/>
              </a:spcAft>
              <a:buNone/>
            </a:pPr>
            <a:endParaRPr sz="1100" dirty="0">
              <a:latin typeface="Comic Sans MS" panose="030F0902030302020204" pitchFamily="66" charset="0"/>
            </a:endParaRPr>
          </a:p>
        </p:txBody>
      </p:sp>
      <p:grpSp>
        <p:nvGrpSpPr>
          <p:cNvPr id="5" name="Group 4">
            <a:extLst>
              <a:ext uri="{FF2B5EF4-FFF2-40B4-BE49-F238E27FC236}">
                <a16:creationId xmlns:a16="http://schemas.microsoft.com/office/drawing/2014/main" id="{17549791-0840-8245-B5FD-2308778513F5}"/>
              </a:ext>
            </a:extLst>
          </p:cNvPr>
          <p:cNvGrpSpPr/>
          <p:nvPr/>
        </p:nvGrpSpPr>
        <p:grpSpPr>
          <a:xfrm rot="355199">
            <a:off x="5763230" y="1735841"/>
            <a:ext cx="367408" cy="288412"/>
            <a:chOff x="8085217" y="1534789"/>
            <a:chExt cx="488738" cy="454871"/>
          </a:xfrm>
        </p:grpSpPr>
        <p:sp>
          <p:nvSpPr>
            <p:cNvPr id="90" name="TextBox 89">
              <a:extLst>
                <a:ext uri="{FF2B5EF4-FFF2-40B4-BE49-F238E27FC236}">
                  <a16:creationId xmlns:a16="http://schemas.microsoft.com/office/drawing/2014/main" id="{A9A9EFD4-48A7-084F-8F70-821F3F353C58}"/>
                </a:ext>
              </a:extLst>
            </p:cNvPr>
            <p:cNvSpPr txBox="1"/>
            <p:nvPr/>
          </p:nvSpPr>
          <p:spPr>
            <a:xfrm>
              <a:off x="8085217" y="1557375"/>
              <a:ext cx="488738" cy="432285"/>
            </a:xfrm>
            <a:prstGeom prst="rect">
              <a:avLst/>
            </a:prstGeom>
            <a:noFill/>
          </p:spPr>
          <p:txBody>
            <a:bodyPr wrap="none" tIns="90000" bIns="90000" rtlCol="0" anchor="t">
              <a:spAutoFit/>
            </a:bodyPr>
            <a:lstStyle/>
            <a:p>
              <a:pPr algn="ctr"/>
              <a:r>
                <a:rPr lang="en-US" sz="600" dirty="0">
                  <a:solidFill>
                    <a:schemeClr val="tx1">
                      <a:lumMod val="50000"/>
                    </a:schemeClr>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Logic</a:t>
              </a:r>
            </a:p>
          </p:txBody>
        </p:sp>
        <p:sp>
          <p:nvSpPr>
            <p:cNvPr id="3" name="Arc 2">
              <a:extLst>
                <a:ext uri="{FF2B5EF4-FFF2-40B4-BE49-F238E27FC236}">
                  <a16:creationId xmlns:a16="http://schemas.microsoft.com/office/drawing/2014/main" id="{9F4468AD-7217-4C44-A3E4-653F7CBECB2D}"/>
                </a:ext>
              </a:extLst>
            </p:cNvPr>
            <p:cNvSpPr/>
            <p:nvPr/>
          </p:nvSpPr>
          <p:spPr>
            <a:xfrm>
              <a:off x="8110618" y="1534789"/>
              <a:ext cx="437940" cy="411480"/>
            </a:xfrm>
            <a:prstGeom prst="arc">
              <a:avLst>
                <a:gd name="adj1" fmla="val 10955217"/>
                <a:gd name="adj2" fmla="val 32241"/>
              </a:avLst>
            </a:prstGeom>
            <a:ln>
              <a:solidFill>
                <a:schemeClr val="tx1">
                  <a:lumMod val="50000"/>
                </a:schemeClr>
              </a:solidFill>
              <a:headEnd type="none"/>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100">
                <a:solidFill>
                  <a:schemeClr val="tx1">
                    <a:lumMod val="50000"/>
                  </a:schemeClr>
                </a:solidFill>
                <a:latin typeface="Comic Sans MS" panose="030F0902030302020204" pitchFamily="66" charset="0"/>
              </a:endParaRPr>
            </a:p>
          </p:txBody>
        </p:sp>
        <p:sp>
          <p:nvSpPr>
            <p:cNvPr id="92" name="Arc 91">
              <a:extLst>
                <a:ext uri="{FF2B5EF4-FFF2-40B4-BE49-F238E27FC236}">
                  <a16:creationId xmlns:a16="http://schemas.microsoft.com/office/drawing/2014/main" id="{B6EB20EC-7935-2D42-8954-0EE07A0303CF}"/>
                </a:ext>
              </a:extLst>
            </p:cNvPr>
            <p:cNvSpPr/>
            <p:nvPr/>
          </p:nvSpPr>
          <p:spPr>
            <a:xfrm rot="11182285">
              <a:off x="8112351" y="1618192"/>
              <a:ext cx="437940" cy="345194"/>
            </a:xfrm>
            <a:prstGeom prst="arc">
              <a:avLst>
                <a:gd name="adj1" fmla="val 10284682"/>
                <a:gd name="adj2" fmla="val 21540638"/>
              </a:avLst>
            </a:prstGeom>
            <a:ln>
              <a:solidFill>
                <a:schemeClr val="bg2">
                  <a:lumMod val="50000"/>
                </a:schemeClr>
              </a:solidFill>
              <a:headEnd type="none"/>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100">
                <a:solidFill>
                  <a:schemeClr val="tx1">
                    <a:lumMod val="50000"/>
                  </a:schemeClr>
                </a:solidFill>
                <a:latin typeface="Comic Sans MS" panose="030F0902030302020204" pitchFamily="66" charset="0"/>
              </a:endParaRPr>
            </a:p>
          </p:txBody>
        </p:sp>
      </p:grpSp>
      <p:sp>
        <p:nvSpPr>
          <p:cNvPr id="6" name="Down Arrow 5">
            <a:extLst>
              <a:ext uri="{FF2B5EF4-FFF2-40B4-BE49-F238E27FC236}">
                <a16:creationId xmlns:a16="http://schemas.microsoft.com/office/drawing/2014/main" id="{060BDC4C-E66D-074D-8AC0-BD0B08528BB5}"/>
              </a:ext>
            </a:extLst>
          </p:cNvPr>
          <p:cNvSpPr/>
          <p:nvPr/>
        </p:nvSpPr>
        <p:spPr>
          <a:xfrm>
            <a:off x="5841053" y="1961609"/>
            <a:ext cx="210266" cy="248803"/>
          </a:xfrm>
          <a:prstGeom prst="downArrow">
            <a:avLst/>
          </a:prstGeom>
          <a:solidFill>
            <a:srgbClr val="FF0000"/>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000" dirty="0">
              <a:solidFill>
                <a:srgbClr val="002D72"/>
              </a:solidFill>
              <a:latin typeface="Comic Sans MS" panose="030F0902030302020204" pitchFamily="66" charset="0"/>
              <a:cs typeface="Arial" pitchFamily="34" charset="0"/>
            </a:endParaRPr>
          </a:p>
        </p:txBody>
      </p:sp>
      <p:sp>
        <p:nvSpPr>
          <p:cNvPr id="95" name="Oval 94">
            <a:extLst>
              <a:ext uri="{FF2B5EF4-FFF2-40B4-BE49-F238E27FC236}">
                <a16:creationId xmlns:a16="http://schemas.microsoft.com/office/drawing/2014/main" id="{CB7D5838-5920-D845-A50A-AB77F93C7576}"/>
              </a:ext>
            </a:extLst>
          </p:cNvPr>
          <p:cNvSpPr/>
          <p:nvPr/>
        </p:nvSpPr>
        <p:spPr>
          <a:xfrm>
            <a:off x="8270668" y="2441369"/>
            <a:ext cx="1094709" cy="1179334"/>
          </a:xfrm>
          <a:prstGeom prst="ellipse">
            <a:avLst/>
          </a:prstGeom>
          <a:solidFill>
            <a:srgbClr val="F26F27">
              <a:alpha val="32000"/>
            </a:srgb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000" dirty="0">
              <a:solidFill>
                <a:srgbClr val="002D72"/>
              </a:solidFill>
              <a:latin typeface="Comic Sans MS" panose="030F0902030302020204" pitchFamily="66" charset="0"/>
              <a:cs typeface="Arial" pitchFamily="34" charset="0"/>
            </a:endParaRPr>
          </a:p>
        </p:txBody>
      </p:sp>
      <p:sp>
        <p:nvSpPr>
          <p:cNvPr id="101" name="Google Shape;431;p39">
            <a:extLst>
              <a:ext uri="{FF2B5EF4-FFF2-40B4-BE49-F238E27FC236}">
                <a16:creationId xmlns:a16="http://schemas.microsoft.com/office/drawing/2014/main" id="{3FE81D78-3BDB-6648-A593-AE4502B9F09E}"/>
              </a:ext>
            </a:extLst>
          </p:cNvPr>
          <p:cNvSpPr/>
          <p:nvPr/>
        </p:nvSpPr>
        <p:spPr>
          <a:xfrm rot="21011211">
            <a:off x="8240635" y="2355931"/>
            <a:ext cx="1150543" cy="1298228"/>
          </a:xfrm>
          <a:custGeom>
            <a:avLst/>
            <a:gdLst/>
            <a:ahLst/>
            <a:cxnLst/>
            <a:rect l="0" t="0" r="0" b="0"/>
            <a:pathLst>
              <a:path w="67641" h="69056" extrusionOk="0">
                <a:moveTo>
                  <a:pt x="49622" y="2736"/>
                </a:moveTo>
                <a:lnTo>
                  <a:pt x="49622" y="2736"/>
                </a:lnTo>
                <a:lnTo>
                  <a:pt x="49622" y="2736"/>
                </a:lnTo>
                <a:close/>
                <a:moveTo>
                  <a:pt x="59622" y="55565"/>
                </a:moveTo>
                <a:lnTo>
                  <a:pt x="59622" y="55565"/>
                </a:lnTo>
                <a:lnTo>
                  <a:pt x="59622" y="55565"/>
                </a:lnTo>
                <a:close/>
                <a:moveTo>
                  <a:pt x="35471" y="0"/>
                </a:moveTo>
                <a:lnTo>
                  <a:pt x="34433" y="95"/>
                </a:lnTo>
                <a:lnTo>
                  <a:pt x="33584" y="189"/>
                </a:lnTo>
                <a:lnTo>
                  <a:pt x="32735" y="378"/>
                </a:lnTo>
                <a:lnTo>
                  <a:pt x="32169" y="566"/>
                </a:lnTo>
                <a:lnTo>
                  <a:pt x="31509" y="472"/>
                </a:lnTo>
                <a:lnTo>
                  <a:pt x="30754" y="472"/>
                </a:lnTo>
                <a:lnTo>
                  <a:pt x="29339" y="566"/>
                </a:lnTo>
                <a:lnTo>
                  <a:pt x="27830" y="849"/>
                </a:lnTo>
                <a:lnTo>
                  <a:pt x="26320" y="1321"/>
                </a:lnTo>
                <a:lnTo>
                  <a:pt x="24811" y="1981"/>
                </a:lnTo>
                <a:lnTo>
                  <a:pt x="23207" y="2736"/>
                </a:lnTo>
                <a:lnTo>
                  <a:pt x="21698" y="3585"/>
                </a:lnTo>
                <a:lnTo>
                  <a:pt x="20188" y="4623"/>
                </a:lnTo>
                <a:lnTo>
                  <a:pt x="18679" y="5661"/>
                </a:lnTo>
                <a:lnTo>
                  <a:pt x="17170" y="6793"/>
                </a:lnTo>
                <a:lnTo>
                  <a:pt x="15754" y="8019"/>
                </a:lnTo>
                <a:lnTo>
                  <a:pt x="14434" y="9151"/>
                </a:lnTo>
                <a:lnTo>
                  <a:pt x="11981" y="11510"/>
                </a:lnTo>
                <a:lnTo>
                  <a:pt x="10000" y="13774"/>
                </a:lnTo>
                <a:lnTo>
                  <a:pt x="7736" y="16981"/>
                </a:lnTo>
                <a:lnTo>
                  <a:pt x="8019" y="16321"/>
                </a:lnTo>
                <a:lnTo>
                  <a:pt x="8302" y="15660"/>
                </a:lnTo>
                <a:lnTo>
                  <a:pt x="7736" y="16604"/>
                </a:lnTo>
                <a:lnTo>
                  <a:pt x="7075" y="17642"/>
                </a:lnTo>
                <a:lnTo>
                  <a:pt x="7170" y="17830"/>
                </a:lnTo>
                <a:lnTo>
                  <a:pt x="6509" y="18868"/>
                </a:lnTo>
                <a:lnTo>
                  <a:pt x="7075" y="17359"/>
                </a:lnTo>
                <a:lnTo>
                  <a:pt x="6132" y="19057"/>
                </a:lnTo>
                <a:lnTo>
                  <a:pt x="5189" y="20849"/>
                </a:lnTo>
                <a:lnTo>
                  <a:pt x="4434" y="22736"/>
                </a:lnTo>
                <a:lnTo>
                  <a:pt x="3679" y="24622"/>
                </a:lnTo>
                <a:lnTo>
                  <a:pt x="2453" y="28490"/>
                </a:lnTo>
                <a:lnTo>
                  <a:pt x="1321" y="32169"/>
                </a:lnTo>
                <a:lnTo>
                  <a:pt x="1509" y="32264"/>
                </a:lnTo>
                <a:lnTo>
                  <a:pt x="1604" y="32453"/>
                </a:lnTo>
                <a:lnTo>
                  <a:pt x="1604" y="32641"/>
                </a:lnTo>
                <a:lnTo>
                  <a:pt x="1509" y="32924"/>
                </a:lnTo>
                <a:lnTo>
                  <a:pt x="1226" y="33396"/>
                </a:lnTo>
                <a:lnTo>
                  <a:pt x="1038" y="33585"/>
                </a:lnTo>
                <a:lnTo>
                  <a:pt x="1038" y="33773"/>
                </a:lnTo>
                <a:lnTo>
                  <a:pt x="1038" y="35000"/>
                </a:lnTo>
                <a:lnTo>
                  <a:pt x="849" y="36132"/>
                </a:lnTo>
                <a:lnTo>
                  <a:pt x="660" y="37358"/>
                </a:lnTo>
                <a:lnTo>
                  <a:pt x="472" y="38867"/>
                </a:lnTo>
                <a:lnTo>
                  <a:pt x="283" y="38301"/>
                </a:lnTo>
                <a:lnTo>
                  <a:pt x="94" y="39811"/>
                </a:lnTo>
                <a:lnTo>
                  <a:pt x="0" y="41509"/>
                </a:lnTo>
                <a:lnTo>
                  <a:pt x="94" y="43301"/>
                </a:lnTo>
                <a:lnTo>
                  <a:pt x="283" y="44056"/>
                </a:lnTo>
                <a:lnTo>
                  <a:pt x="472" y="44622"/>
                </a:lnTo>
                <a:lnTo>
                  <a:pt x="566" y="45660"/>
                </a:lnTo>
                <a:lnTo>
                  <a:pt x="755" y="46792"/>
                </a:lnTo>
                <a:lnTo>
                  <a:pt x="1226" y="48962"/>
                </a:lnTo>
                <a:lnTo>
                  <a:pt x="1981" y="51037"/>
                </a:lnTo>
                <a:lnTo>
                  <a:pt x="2924" y="53112"/>
                </a:lnTo>
                <a:lnTo>
                  <a:pt x="4057" y="55094"/>
                </a:lnTo>
                <a:lnTo>
                  <a:pt x="5283" y="56980"/>
                </a:lnTo>
                <a:lnTo>
                  <a:pt x="6698" y="58678"/>
                </a:lnTo>
                <a:lnTo>
                  <a:pt x="8113" y="60282"/>
                </a:lnTo>
                <a:lnTo>
                  <a:pt x="9056" y="61131"/>
                </a:lnTo>
                <a:lnTo>
                  <a:pt x="10000" y="61980"/>
                </a:lnTo>
                <a:lnTo>
                  <a:pt x="11038" y="62829"/>
                </a:lnTo>
                <a:lnTo>
                  <a:pt x="12075" y="63584"/>
                </a:lnTo>
                <a:lnTo>
                  <a:pt x="14339" y="64905"/>
                </a:lnTo>
                <a:lnTo>
                  <a:pt x="16604" y="66131"/>
                </a:lnTo>
                <a:lnTo>
                  <a:pt x="19056" y="67169"/>
                </a:lnTo>
                <a:lnTo>
                  <a:pt x="21509" y="67923"/>
                </a:lnTo>
                <a:lnTo>
                  <a:pt x="24056" y="68584"/>
                </a:lnTo>
                <a:lnTo>
                  <a:pt x="26603" y="69055"/>
                </a:lnTo>
                <a:lnTo>
                  <a:pt x="27830" y="69055"/>
                </a:lnTo>
                <a:lnTo>
                  <a:pt x="30188" y="68867"/>
                </a:lnTo>
                <a:lnTo>
                  <a:pt x="33113" y="68678"/>
                </a:lnTo>
                <a:lnTo>
                  <a:pt x="36509" y="68301"/>
                </a:lnTo>
                <a:lnTo>
                  <a:pt x="39811" y="67923"/>
                </a:lnTo>
                <a:lnTo>
                  <a:pt x="42735" y="67452"/>
                </a:lnTo>
                <a:lnTo>
                  <a:pt x="44905" y="66980"/>
                </a:lnTo>
                <a:lnTo>
                  <a:pt x="45565" y="66791"/>
                </a:lnTo>
                <a:lnTo>
                  <a:pt x="45943" y="66508"/>
                </a:lnTo>
                <a:lnTo>
                  <a:pt x="47358" y="65942"/>
                </a:lnTo>
                <a:lnTo>
                  <a:pt x="48018" y="65565"/>
                </a:lnTo>
                <a:lnTo>
                  <a:pt x="48678" y="65188"/>
                </a:lnTo>
                <a:lnTo>
                  <a:pt x="47924" y="65471"/>
                </a:lnTo>
                <a:lnTo>
                  <a:pt x="51509" y="62924"/>
                </a:lnTo>
                <a:lnTo>
                  <a:pt x="53301" y="61508"/>
                </a:lnTo>
                <a:lnTo>
                  <a:pt x="55093" y="59905"/>
                </a:lnTo>
                <a:lnTo>
                  <a:pt x="55093" y="59905"/>
                </a:lnTo>
                <a:lnTo>
                  <a:pt x="54810" y="60376"/>
                </a:lnTo>
                <a:lnTo>
                  <a:pt x="54339" y="60754"/>
                </a:lnTo>
                <a:lnTo>
                  <a:pt x="55376" y="59999"/>
                </a:lnTo>
                <a:lnTo>
                  <a:pt x="56320" y="59056"/>
                </a:lnTo>
                <a:lnTo>
                  <a:pt x="57075" y="58395"/>
                </a:lnTo>
                <a:lnTo>
                  <a:pt x="57169" y="58207"/>
                </a:lnTo>
                <a:lnTo>
                  <a:pt x="57075" y="58207"/>
                </a:lnTo>
                <a:lnTo>
                  <a:pt x="57924" y="57546"/>
                </a:lnTo>
                <a:lnTo>
                  <a:pt x="58678" y="56697"/>
                </a:lnTo>
                <a:lnTo>
                  <a:pt x="59339" y="55754"/>
                </a:lnTo>
                <a:lnTo>
                  <a:pt x="59905" y="54905"/>
                </a:lnTo>
                <a:lnTo>
                  <a:pt x="59716" y="54999"/>
                </a:lnTo>
                <a:lnTo>
                  <a:pt x="59622" y="54999"/>
                </a:lnTo>
                <a:lnTo>
                  <a:pt x="59810" y="54622"/>
                </a:lnTo>
                <a:lnTo>
                  <a:pt x="59150" y="55565"/>
                </a:lnTo>
                <a:lnTo>
                  <a:pt x="59527" y="55094"/>
                </a:lnTo>
                <a:lnTo>
                  <a:pt x="59433" y="55377"/>
                </a:lnTo>
                <a:lnTo>
                  <a:pt x="58867" y="56037"/>
                </a:lnTo>
                <a:lnTo>
                  <a:pt x="59056" y="55660"/>
                </a:lnTo>
                <a:lnTo>
                  <a:pt x="59056" y="55660"/>
                </a:lnTo>
                <a:lnTo>
                  <a:pt x="58678" y="56037"/>
                </a:lnTo>
                <a:lnTo>
                  <a:pt x="59810" y="54339"/>
                </a:lnTo>
                <a:lnTo>
                  <a:pt x="60282" y="53490"/>
                </a:lnTo>
                <a:lnTo>
                  <a:pt x="60282" y="53301"/>
                </a:lnTo>
                <a:lnTo>
                  <a:pt x="60188" y="53395"/>
                </a:lnTo>
                <a:lnTo>
                  <a:pt x="60188" y="53395"/>
                </a:lnTo>
                <a:lnTo>
                  <a:pt x="60565" y="52924"/>
                </a:lnTo>
                <a:lnTo>
                  <a:pt x="61037" y="52452"/>
                </a:lnTo>
                <a:lnTo>
                  <a:pt x="61886" y="51509"/>
                </a:lnTo>
                <a:lnTo>
                  <a:pt x="61508" y="52452"/>
                </a:lnTo>
                <a:lnTo>
                  <a:pt x="60848" y="53584"/>
                </a:lnTo>
                <a:lnTo>
                  <a:pt x="59622" y="55565"/>
                </a:lnTo>
                <a:lnTo>
                  <a:pt x="60376" y="54528"/>
                </a:lnTo>
                <a:lnTo>
                  <a:pt x="60942" y="53678"/>
                </a:lnTo>
                <a:lnTo>
                  <a:pt x="61980" y="51792"/>
                </a:lnTo>
                <a:lnTo>
                  <a:pt x="61886" y="51886"/>
                </a:lnTo>
                <a:lnTo>
                  <a:pt x="61886" y="51697"/>
                </a:lnTo>
                <a:lnTo>
                  <a:pt x="62169" y="51037"/>
                </a:lnTo>
                <a:lnTo>
                  <a:pt x="62735" y="49999"/>
                </a:lnTo>
                <a:lnTo>
                  <a:pt x="61508" y="51603"/>
                </a:lnTo>
                <a:lnTo>
                  <a:pt x="61603" y="51037"/>
                </a:lnTo>
                <a:lnTo>
                  <a:pt x="61697" y="50377"/>
                </a:lnTo>
                <a:lnTo>
                  <a:pt x="62169" y="48962"/>
                </a:lnTo>
                <a:lnTo>
                  <a:pt x="62829" y="47358"/>
                </a:lnTo>
                <a:lnTo>
                  <a:pt x="63678" y="45565"/>
                </a:lnTo>
                <a:lnTo>
                  <a:pt x="65376" y="42169"/>
                </a:lnTo>
                <a:lnTo>
                  <a:pt x="66131" y="40660"/>
                </a:lnTo>
                <a:lnTo>
                  <a:pt x="66697" y="39339"/>
                </a:lnTo>
                <a:lnTo>
                  <a:pt x="66603" y="39528"/>
                </a:lnTo>
                <a:lnTo>
                  <a:pt x="66697" y="39056"/>
                </a:lnTo>
                <a:lnTo>
                  <a:pt x="66791" y="38962"/>
                </a:lnTo>
                <a:lnTo>
                  <a:pt x="66791" y="39056"/>
                </a:lnTo>
                <a:lnTo>
                  <a:pt x="66886" y="38584"/>
                </a:lnTo>
                <a:lnTo>
                  <a:pt x="66791" y="38867"/>
                </a:lnTo>
                <a:lnTo>
                  <a:pt x="66980" y="38207"/>
                </a:lnTo>
                <a:lnTo>
                  <a:pt x="67169" y="37264"/>
                </a:lnTo>
                <a:lnTo>
                  <a:pt x="67263" y="36415"/>
                </a:lnTo>
                <a:lnTo>
                  <a:pt x="67357" y="36509"/>
                </a:lnTo>
                <a:lnTo>
                  <a:pt x="67452" y="36509"/>
                </a:lnTo>
                <a:lnTo>
                  <a:pt x="67546" y="35943"/>
                </a:lnTo>
                <a:lnTo>
                  <a:pt x="67546" y="34811"/>
                </a:lnTo>
                <a:lnTo>
                  <a:pt x="67640" y="31037"/>
                </a:lnTo>
                <a:lnTo>
                  <a:pt x="67640" y="28490"/>
                </a:lnTo>
                <a:lnTo>
                  <a:pt x="67546" y="27736"/>
                </a:lnTo>
                <a:lnTo>
                  <a:pt x="67546" y="27547"/>
                </a:lnTo>
                <a:lnTo>
                  <a:pt x="67452" y="27547"/>
                </a:lnTo>
                <a:lnTo>
                  <a:pt x="67074" y="26792"/>
                </a:lnTo>
                <a:lnTo>
                  <a:pt x="66791" y="25660"/>
                </a:lnTo>
                <a:lnTo>
                  <a:pt x="66508" y="24528"/>
                </a:lnTo>
                <a:lnTo>
                  <a:pt x="66414" y="23585"/>
                </a:lnTo>
                <a:lnTo>
                  <a:pt x="66320" y="23679"/>
                </a:lnTo>
                <a:lnTo>
                  <a:pt x="66320" y="23490"/>
                </a:lnTo>
                <a:lnTo>
                  <a:pt x="65942" y="22924"/>
                </a:lnTo>
                <a:lnTo>
                  <a:pt x="65565" y="22358"/>
                </a:lnTo>
                <a:lnTo>
                  <a:pt x="64527" y="21132"/>
                </a:lnTo>
                <a:lnTo>
                  <a:pt x="63584" y="19906"/>
                </a:lnTo>
                <a:lnTo>
                  <a:pt x="63207" y="19340"/>
                </a:lnTo>
                <a:lnTo>
                  <a:pt x="63018" y="18774"/>
                </a:lnTo>
                <a:lnTo>
                  <a:pt x="63112" y="18962"/>
                </a:lnTo>
                <a:lnTo>
                  <a:pt x="63301" y="19057"/>
                </a:lnTo>
                <a:lnTo>
                  <a:pt x="63301" y="19057"/>
                </a:lnTo>
                <a:lnTo>
                  <a:pt x="63207" y="18868"/>
                </a:lnTo>
                <a:lnTo>
                  <a:pt x="62923" y="18491"/>
                </a:lnTo>
                <a:lnTo>
                  <a:pt x="61980" y="17453"/>
                </a:lnTo>
                <a:lnTo>
                  <a:pt x="61037" y="16509"/>
                </a:lnTo>
                <a:lnTo>
                  <a:pt x="61037" y="16698"/>
                </a:lnTo>
                <a:lnTo>
                  <a:pt x="61037" y="16887"/>
                </a:lnTo>
                <a:lnTo>
                  <a:pt x="60093" y="15943"/>
                </a:lnTo>
                <a:lnTo>
                  <a:pt x="60376" y="16321"/>
                </a:lnTo>
                <a:lnTo>
                  <a:pt x="59527" y="15377"/>
                </a:lnTo>
                <a:lnTo>
                  <a:pt x="59056" y="14906"/>
                </a:lnTo>
                <a:lnTo>
                  <a:pt x="59244" y="14906"/>
                </a:lnTo>
                <a:lnTo>
                  <a:pt x="59905" y="15472"/>
                </a:lnTo>
                <a:lnTo>
                  <a:pt x="59905" y="15472"/>
                </a:lnTo>
                <a:lnTo>
                  <a:pt x="57641" y="13396"/>
                </a:lnTo>
                <a:lnTo>
                  <a:pt x="58112" y="13868"/>
                </a:lnTo>
                <a:lnTo>
                  <a:pt x="56886" y="13019"/>
                </a:lnTo>
                <a:lnTo>
                  <a:pt x="55754" y="12453"/>
                </a:lnTo>
                <a:lnTo>
                  <a:pt x="56603" y="13113"/>
                </a:lnTo>
                <a:lnTo>
                  <a:pt x="57452" y="13774"/>
                </a:lnTo>
                <a:lnTo>
                  <a:pt x="58961" y="15283"/>
                </a:lnTo>
                <a:lnTo>
                  <a:pt x="60376" y="16604"/>
                </a:lnTo>
                <a:lnTo>
                  <a:pt x="61225" y="17264"/>
                </a:lnTo>
                <a:lnTo>
                  <a:pt x="62074" y="17925"/>
                </a:lnTo>
                <a:lnTo>
                  <a:pt x="62074" y="17925"/>
                </a:lnTo>
                <a:lnTo>
                  <a:pt x="61414" y="17547"/>
                </a:lnTo>
                <a:lnTo>
                  <a:pt x="60659" y="16981"/>
                </a:lnTo>
                <a:lnTo>
                  <a:pt x="60754" y="17264"/>
                </a:lnTo>
                <a:lnTo>
                  <a:pt x="60942" y="17642"/>
                </a:lnTo>
                <a:lnTo>
                  <a:pt x="61980" y="19151"/>
                </a:lnTo>
                <a:lnTo>
                  <a:pt x="63301" y="20943"/>
                </a:lnTo>
                <a:lnTo>
                  <a:pt x="63207" y="20943"/>
                </a:lnTo>
                <a:lnTo>
                  <a:pt x="63395" y="21038"/>
                </a:lnTo>
                <a:lnTo>
                  <a:pt x="63490" y="21321"/>
                </a:lnTo>
                <a:lnTo>
                  <a:pt x="63678" y="21604"/>
                </a:lnTo>
                <a:lnTo>
                  <a:pt x="63773" y="21698"/>
                </a:lnTo>
                <a:lnTo>
                  <a:pt x="63584" y="21321"/>
                </a:lnTo>
                <a:lnTo>
                  <a:pt x="63584" y="21321"/>
                </a:lnTo>
                <a:lnTo>
                  <a:pt x="64244" y="22170"/>
                </a:lnTo>
                <a:lnTo>
                  <a:pt x="64716" y="22641"/>
                </a:lnTo>
                <a:lnTo>
                  <a:pt x="64905" y="22830"/>
                </a:lnTo>
                <a:lnTo>
                  <a:pt x="64999" y="22830"/>
                </a:lnTo>
                <a:lnTo>
                  <a:pt x="64999" y="22641"/>
                </a:lnTo>
                <a:lnTo>
                  <a:pt x="64905" y="22358"/>
                </a:lnTo>
                <a:lnTo>
                  <a:pt x="65282" y="23207"/>
                </a:lnTo>
                <a:lnTo>
                  <a:pt x="65565" y="24056"/>
                </a:lnTo>
                <a:lnTo>
                  <a:pt x="66225" y="25943"/>
                </a:lnTo>
                <a:lnTo>
                  <a:pt x="66697" y="27830"/>
                </a:lnTo>
                <a:lnTo>
                  <a:pt x="66886" y="28490"/>
                </a:lnTo>
                <a:lnTo>
                  <a:pt x="66980" y="28868"/>
                </a:lnTo>
                <a:lnTo>
                  <a:pt x="66886" y="28962"/>
                </a:lnTo>
                <a:lnTo>
                  <a:pt x="66697" y="28679"/>
                </a:lnTo>
                <a:lnTo>
                  <a:pt x="66697" y="29245"/>
                </a:lnTo>
                <a:lnTo>
                  <a:pt x="66791" y="29905"/>
                </a:lnTo>
                <a:lnTo>
                  <a:pt x="66886" y="29905"/>
                </a:lnTo>
                <a:lnTo>
                  <a:pt x="66886" y="30094"/>
                </a:lnTo>
                <a:lnTo>
                  <a:pt x="66886" y="30566"/>
                </a:lnTo>
                <a:lnTo>
                  <a:pt x="66697" y="30377"/>
                </a:lnTo>
                <a:lnTo>
                  <a:pt x="66603" y="30188"/>
                </a:lnTo>
                <a:lnTo>
                  <a:pt x="66603" y="30094"/>
                </a:lnTo>
                <a:lnTo>
                  <a:pt x="66697" y="29905"/>
                </a:lnTo>
                <a:lnTo>
                  <a:pt x="66508" y="28679"/>
                </a:lnTo>
                <a:lnTo>
                  <a:pt x="66225" y="27358"/>
                </a:lnTo>
                <a:lnTo>
                  <a:pt x="66603" y="30283"/>
                </a:lnTo>
                <a:lnTo>
                  <a:pt x="66697" y="31792"/>
                </a:lnTo>
                <a:lnTo>
                  <a:pt x="66697" y="33302"/>
                </a:lnTo>
                <a:lnTo>
                  <a:pt x="66603" y="34717"/>
                </a:lnTo>
                <a:lnTo>
                  <a:pt x="66414" y="36226"/>
                </a:lnTo>
                <a:lnTo>
                  <a:pt x="66131" y="37547"/>
                </a:lnTo>
                <a:lnTo>
                  <a:pt x="65659" y="38962"/>
                </a:lnTo>
                <a:lnTo>
                  <a:pt x="65848" y="38584"/>
                </a:lnTo>
                <a:lnTo>
                  <a:pt x="65942" y="38584"/>
                </a:lnTo>
                <a:lnTo>
                  <a:pt x="65848" y="39245"/>
                </a:lnTo>
                <a:lnTo>
                  <a:pt x="65565" y="40188"/>
                </a:lnTo>
                <a:lnTo>
                  <a:pt x="65471" y="40471"/>
                </a:lnTo>
                <a:lnTo>
                  <a:pt x="65282" y="40660"/>
                </a:lnTo>
                <a:lnTo>
                  <a:pt x="65282" y="40566"/>
                </a:lnTo>
                <a:lnTo>
                  <a:pt x="65093" y="41132"/>
                </a:lnTo>
                <a:lnTo>
                  <a:pt x="64433" y="43018"/>
                </a:lnTo>
                <a:lnTo>
                  <a:pt x="63678" y="45282"/>
                </a:lnTo>
                <a:lnTo>
                  <a:pt x="62735" y="47264"/>
                </a:lnTo>
                <a:lnTo>
                  <a:pt x="61697" y="49056"/>
                </a:lnTo>
                <a:lnTo>
                  <a:pt x="60659" y="50943"/>
                </a:lnTo>
                <a:lnTo>
                  <a:pt x="59433" y="52735"/>
                </a:lnTo>
                <a:lnTo>
                  <a:pt x="58207" y="54433"/>
                </a:lnTo>
                <a:lnTo>
                  <a:pt x="56886" y="56037"/>
                </a:lnTo>
                <a:lnTo>
                  <a:pt x="55376" y="57641"/>
                </a:lnTo>
                <a:lnTo>
                  <a:pt x="53867" y="59150"/>
                </a:lnTo>
                <a:lnTo>
                  <a:pt x="52169" y="60376"/>
                </a:lnTo>
                <a:lnTo>
                  <a:pt x="48961" y="62452"/>
                </a:lnTo>
                <a:lnTo>
                  <a:pt x="44528" y="65282"/>
                </a:lnTo>
                <a:lnTo>
                  <a:pt x="44622" y="65188"/>
                </a:lnTo>
                <a:lnTo>
                  <a:pt x="44716" y="65093"/>
                </a:lnTo>
                <a:lnTo>
                  <a:pt x="45094" y="64810"/>
                </a:lnTo>
                <a:lnTo>
                  <a:pt x="45660" y="64527"/>
                </a:lnTo>
                <a:lnTo>
                  <a:pt x="43867" y="65376"/>
                </a:lnTo>
                <a:lnTo>
                  <a:pt x="43113" y="65754"/>
                </a:lnTo>
                <a:lnTo>
                  <a:pt x="42924" y="65754"/>
                </a:lnTo>
                <a:lnTo>
                  <a:pt x="43113" y="65659"/>
                </a:lnTo>
                <a:lnTo>
                  <a:pt x="41603" y="66037"/>
                </a:lnTo>
                <a:lnTo>
                  <a:pt x="39999" y="66320"/>
                </a:lnTo>
                <a:lnTo>
                  <a:pt x="38396" y="66508"/>
                </a:lnTo>
                <a:lnTo>
                  <a:pt x="36792" y="66697"/>
                </a:lnTo>
                <a:lnTo>
                  <a:pt x="33584" y="66980"/>
                </a:lnTo>
                <a:lnTo>
                  <a:pt x="32169" y="67169"/>
                </a:lnTo>
                <a:lnTo>
                  <a:pt x="30754" y="67357"/>
                </a:lnTo>
                <a:lnTo>
                  <a:pt x="30094" y="67357"/>
                </a:lnTo>
                <a:lnTo>
                  <a:pt x="29339" y="67263"/>
                </a:lnTo>
                <a:lnTo>
                  <a:pt x="27830" y="66886"/>
                </a:lnTo>
                <a:lnTo>
                  <a:pt x="26415" y="66508"/>
                </a:lnTo>
                <a:lnTo>
                  <a:pt x="25754" y="66414"/>
                </a:lnTo>
                <a:lnTo>
                  <a:pt x="25094" y="66414"/>
                </a:lnTo>
                <a:lnTo>
                  <a:pt x="25566" y="66980"/>
                </a:lnTo>
                <a:lnTo>
                  <a:pt x="25471" y="67074"/>
                </a:lnTo>
                <a:lnTo>
                  <a:pt x="25188" y="66980"/>
                </a:lnTo>
                <a:lnTo>
                  <a:pt x="24339" y="66791"/>
                </a:lnTo>
                <a:lnTo>
                  <a:pt x="23773" y="66508"/>
                </a:lnTo>
                <a:lnTo>
                  <a:pt x="24245" y="66414"/>
                </a:lnTo>
                <a:lnTo>
                  <a:pt x="24717" y="66603"/>
                </a:lnTo>
                <a:lnTo>
                  <a:pt x="24811" y="66414"/>
                </a:lnTo>
                <a:lnTo>
                  <a:pt x="24811" y="66320"/>
                </a:lnTo>
                <a:lnTo>
                  <a:pt x="24717" y="66225"/>
                </a:lnTo>
                <a:lnTo>
                  <a:pt x="24528" y="66131"/>
                </a:lnTo>
                <a:lnTo>
                  <a:pt x="24151" y="66225"/>
                </a:lnTo>
                <a:lnTo>
                  <a:pt x="23679" y="66320"/>
                </a:lnTo>
                <a:lnTo>
                  <a:pt x="23018" y="66414"/>
                </a:lnTo>
                <a:lnTo>
                  <a:pt x="23490" y="66225"/>
                </a:lnTo>
                <a:lnTo>
                  <a:pt x="22075" y="65942"/>
                </a:lnTo>
                <a:lnTo>
                  <a:pt x="20943" y="65659"/>
                </a:lnTo>
                <a:lnTo>
                  <a:pt x="20000" y="65282"/>
                </a:lnTo>
                <a:lnTo>
                  <a:pt x="19056" y="64810"/>
                </a:lnTo>
                <a:lnTo>
                  <a:pt x="19056" y="64810"/>
                </a:lnTo>
                <a:lnTo>
                  <a:pt x="19717" y="64999"/>
                </a:lnTo>
                <a:lnTo>
                  <a:pt x="19151" y="64716"/>
                </a:lnTo>
                <a:lnTo>
                  <a:pt x="18962" y="64810"/>
                </a:lnTo>
                <a:lnTo>
                  <a:pt x="19151" y="64905"/>
                </a:lnTo>
                <a:lnTo>
                  <a:pt x="18490" y="64905"/>
                </a:lnTo>
                <a:lnTo>
                  <a:pt x="17830" y="64716"/>
                </a:lnTo>
                <a:lnTo>
                  <a:pt x="17264" y="64527"/>
                </a:lnTo>
                <a:lnTo>
                  <a:pt x="16698" y="64150"/>
                </a:lnTo>
                <a:lnTo>
                  <a:pt x="16981" y="64056"/>
                </a:lnTo>
                <a:lnTo>
                  <a:pt x="17264" y="64150"/>
                </a:lnTo>
                <a:lnTo>
                  <a:pt x="17264" y="64150"/>
                </a:lnTo>
                <a:lnTo>
                  <a:pt x="15188" y="63207"/>
                </a:lnTo>
                <a:lnTo>
                  <a:pt x="14622" y="62829"/>
                </a:lnTo>
                <a:lnTo>
                  <a:pt x="14717" y="62924"/>
                </a:lnTo>
                <a:lnTo>
                  <a:pt x="13773" y="62546"/>
                </a:lnTo>
                <a:lnTo>
                  <a:pt x="12924" y="62075"/>
                </a:lnTo>
                <a:lnTo>
                  <a:pt x="12358" y="61697"/>
                </a:lnTo>
                <a:lnTo>
                  <a:pt x="12264" y="61508"/>
                </a:lnTo>
                <a:lnTo>
                  <a:pt x="12170" y="61320"/>
                </a:lnTo>
                <a:lnTo>
                  <a:pt x="11698" y="60942"/>
                </a:lnTo>
                <a:lnTo>
                  <a:pt x="11132" y="60471"/>
                </a:lnTo>
                <a:lnTo>
                  <a:pt x="9906" y="59244"/>
                </a:lnTo>
                <a:lnTo>
                  <a:pt x="9906" y="59244"/>
                </a:lnTo>
                <a:lnTo>
                  <a:pt x="10566" y="59527"/>
                </a:lnTo>
                <a:lnTo>
                  <a:pt x="9434" y="58584"/>
                </a:lnTo>
                <a:lnTo>
                  <a:pt x="8207" y="57546"/>
                </a:lnTo>
                <a:lnTo>
                  <a:pt x="7547" y="56886"/>
                </a:lnTo>
                <a:lnTo>
                  <a:pt x="6981" y="56131"/>
                </a:lnTo>
                <a:lnTo>
                  <a:pt x="6226" y="55094"/>
                </a:lnTo>
                <a:lnTo>
                  <a:pt x="6415" y="55377"/>
                </a:lnTo>
                <a:lnTo>
                  <a:pt x="6038" y="54905"/>
                </a:lnTo>
                <a:lnTo>
                  <a:pt x="5472" y="54244"/>
                </a:lnTo>
                <a:lnTo>
                  <a:pt x="5283" y="53961"/>
                </a:lnTo>
                <a:lnTo>
                  <a:pt x="5094" y="53867"/>
                </a:lnTo>
                <a:lnTo>
                  <a:pt x="5377" y="54622"/>
                </a:lnTo>
                <a:lnTo>
                  <a:pt x="5849" y="55282"/>
                </a:lnTo>
                <a:lnTo>
                  <a:pt x="6321" y="55943"/>
                </a:lnTo>
                <a:lnTo>
                  <a:pt x="6698" y="56603"/>
                </a:lnTo>
                <a:lnTo>
                  <a:pt x="6226" y="56226"/>
                </a:lnTo>
                <a:lnTo>
                  <a:pt x="5943" y="55848"/>
                </a:lnTo>
                <a:lnTo>
                  <a:pt x="6038" y="56037"/>
                </a:lnTo>
                <a:lnTo>
                  <a:pt x="5943" y="55943"/>
                </a:lnTo>
                <a:lnTo>
                  <a:pt x="5377" y="55188"/>
                </a:lnTo>
                <a:lnTo>
                  <a:pt x="5000" y="54716"/>
                </a:lnTo>
                <a:lnTo>
                  <a:pt x="4717" y="54150"/>
                </a:lnTo>
                <a:lnTo>
                  <a:pt x="4528" y="53678"/>
                </a:lnTo>
                <a:lnTo>
                  <a:pt x="4528" y="53584"/>
                </a:lnTo>
                <a:lnTo>
                  <a:pt x="4623" y="53395"/>
                </a:lnTo>
                <a:lnTo>
                  <a:pt x="5094" y="54244"/>
                </a:lnTo>
                <a:lnTo>
                  <a:pt x="4717" y="53301"/>
                </a:lnTo>
                <a:lnTo>
                  <a:pt x="4528" y="53018"/>
                </a:lnTo>
                <a:lnTo>
                  <a:pt x="4151" y="52263"/>
                </a:lnTo>
                <a:lnTo>
                  <a:pt x="4151" y="52169"/>
                </a:lnTo>
                <a:lnTo>
                  <a:pt x="3774" y="51509"/>
                </a:lnTo>
                <a:lnTo>
                  <a:pt x="3396" y="50660"/>
                </a:lnTo>
                <a:lnTo>
                  <a:pt x="3585" y="51603"/>
                </a:lnTo>
                <a:lnTo>
                  <a:pt x="3396" y="51226"/>
                </a:lnTo>
                <a:lnTo>
                  <a:pt x="3208" y="50848"/>
                </a:lnTo>
                <a:lnTo>
                  <a:pt x="3208" y="50471"/>
                </a:lnTo>
                <a:lnTo>
                  <a:pt x="3208" y="50094"/>
                </a:lnTo>
                <a:lnTo>
                  <a:pt x="3585" y="50754"/>
                </a:lnTo>
                <a:lnTo>
                  <a:pt x="3868" y="51509"/>
                </a:lnTo>
                <a:lnTo>
                  <a:pt x="3868" y="51509"/>
                </a:lnTo>
                <a:lnTo>
                  <a:pt x="3208" y="49528"/>
                </a:lnTo>
                <a:lnTo>
                  <a:pt x="3208" y="49528"/>
                </a:lnTo>
                <a:lnTo>
                  <a:pt x="3868" y="50754"/>
                </a:lnTo>
                <a:lnTo>
                  <a:pt x="3208" y="48962"/>
                </a:lnTo>
                <a:lnTo>
                  <a:pt x="3585" y="49339"/>
                </a:lnTo>
                <a:lnTo>
                  <a:pt x="3774" y="49433"/>
                </a:lnTo>
                <a:lnTo>
                  <a:pt x="3962" y="49528"/>
                </a:lnTo>
                <a:lnTo>
                  <a:pt x="4057" y="49905"/>
                </a:lnTo>
                <a:lnTo>
                  <a:pt x="3868" y="48962"/>
                </a:lnTo>
                <a:lnTo>
                  <a:pt x="3491" y="47924"/>
                </a:lnTo>
                <a:lnTo>
                  <a:pt x="2641" y="45565"/>
                </a:lnTo>
                <a:lnTo>
                  <a:pt x="2170" y="43867"/>
                </a:lnTo>
                <a:lnTo>
                  <a:pt x="1698" y="41886"/>
                </a:lnTo>
                <a:lnTo>
                  <a:pt x="1698" y="41886"/>
                </a:lnTo>
                <a:lnTo>
                  <a:pt x="1887" y="42075"/>
                </a:lnTo>
                <a:lnTo>
                  <a:pt x="1981" y="41981"/>
                </a:lnTo>
                <a:lnTo>
                  <a:pt x="2075" y="42075"/>
                </a:lnTo>
                <a:lnTo>
                  <a:pt x="2264" y="42169"/>
                </a:lnTo>
                <a:lnTo>
                  <a:pt x="2170" y="40283"/>
                </a:lnTo>
                <a:lnTo>
                  <a:pt x="2075" y="38301"/>
                </a:lnTo>
                <a:lnTo>
                  <a:pt x="2170" y="36415"/>
                </a:lnTo>
                <a:lnTo>
                  <a:pt x="2358" y="35566"/>
                </a:lnTo>
                <a:lnTo>
                  <a:pt x="2453" y="34811"/>
                </a:lnTo>
                <a:lnTo>
                  <a:pt x="2830" y="32830"/>
                </a:lnTo>
                <a:lnTo>
                  <a:pt x="2830" y="33207"/>
                </a:lnTo>
                <a:lnTo>
                  <a:pt x="2924" y="33490"/>
                </a:lnTo>
                <a:lnTo>
                  <a:pt x="2924" y="32453"/>
                </a:lnTo>
                <a:lnTo>
                  <a:pt x="3019" y="31415"/>
                </a:lnTo>
                <a:lnTo>
                  <a:pt x="3396" y="29245"/>
                </a:lnTo>
                <a:lnTo>
                  <a:pt x="3868" y="27075"/>
                </a:lnTo>
                <a:lnTo>
                  <a:pt x="4623" y="25000"/>
                </a:lnTo>
                <a:lnTo>
                  <a:pt x="5566" y="22830"/>
                </a:lnTo>
                <a:lnTo>
                  <a:pt x="6604" y="20849"/>
                </a:lnTo>
                <a:lnTo>
                  <a:pt x="7830" y="18868"/>
                </a:lnTo>
                <a:lnTo>
                  <a:pt x="9151" y="16887"/>
                </a:lnTo>
                <a:lnTo>
                  <a:pt x="10566" y="15094"/>
                </a:lnTo>
                <a:lnTo>
                  <a:pt x="12075" y="13302"/>
                </a:lnTo>
                <a:lnTo>
                  <a:pt x="13773" y="11698"/>
                </a:lnTo>
                <a:lnTo>
                  <a:pt x="15377" y="10095"/>
                </a:lnTo>
                <a:lnTo>
                  <a:pt x="17170" y="8679"/>
                </a:lnTo>
                <a:lnTo>
                  <a:pt x="18962" y="7453"/>
                </a:lnTo>
                <a:lnTo>
                  <a:pt x="20754" y="6321"/>
                </a:lnTo>
                <a:lnTo>
                  <a:pt x="22547" y="5378"/>
                </a:lnTo>
                <a:lnTo>
                  <a:pt x="21603" y="6227"/>
                </a:lnTo>
                <a:lnTo>
                  <a:pt x="22641" y="5472"/>
                </a:lnTo>
                <a:lnTo>
                  <a:pt x="23302" y="5095"/>
                </a:lnTo>
                <a:lnTo>
                  <a:pt x="25377" y="4151"/>
                </a:lnTo>
                <a:lnTo>
                  <a:pt x="24811" y="4151"/>
                </a:lnTo>
                <a:lnTo>
                  <a:pt x="25660" y="3774"/>
                </a:lnTo>
                <a:lnTo>
                  <a:pt x="26886" y="3208"/>
                </a:lnTo>
                <a:lnTo>
                  <a:pt x="26603" y="3585"/>
                </a:lnTo>
                <a:lnTo>
                  <a:pt x="26886" y="3585"/>
                </a:lnTo>
                <a:lnTo>
                  <a:pt x="26886" y="3680"/>
                </a:lnTo>
                <a:lnTo>
                  <a:pt x="26792" y="3774"/>
                </a:lnTo>
                <a:lnTo>
                  <a:pt x="28301" y="3302"/>
                </a:lnTo>
                <a:lnTo>
                  <a:pt x="29622" y="2736"/>
                </a:lnTo>
                <a:lnTo>
                  <a:pt x="31037" y="2264"/>
                </a:lnTo>
                <a:lnTo>
                  <a:pt x="31792" y="2076"/>
                </a:lnTo>
                <a:lnTo>
                  <a:pt x="32641" y="1981"/>
                </a:lnTo>
                <a:lnTo>
                  <a:pt x="32547" y="2076"/>
                </a:lnTo>
                <a:lnTo>
                  <a:pt x="32924" y="1981"/>
                </a:lnTo>
                <a:lnTo>
                  <a:pt x="34245" y="1793"/>
                </a:lnTo>
                <a:lnTo>
                  <a:pt x="35848" y="1415"/>
                </a:lnTo>
                <a:lnTo>
                  <a:pt x="36981" y="1132"/>
                </a:lnTo>
                <a:lnTo>
                  <a:pt x="36981" y="1415"/>
                </a:lnTo>
                <a:lnTo>
                  <a:pt x="40943" y="1227"/>
                </a:lnTo>
                <a:lnTo>
                  <a:pt x="41509" y="1038"/>
                </a:lnTo>
                <a:lnTo>
                  <a:pt x="41697" y="1132"/>
                </a:lnTo>
                <a:lnTo>
                  <a:pt x="41509" y="1227"/>
                </a:lnTo>
                <a:lnTo>
                  <a:pt x="41320" y="1321"/>
                </a:lnTo>
                <a:lnTo>
                  <a:pt x="42263" y="1321"/>
                </a:lnTo>
                <a:lnTo>
                  <a:pt x="43113" y="1227"/>
                </a:lnTo>
                <a:lnTo>
                  <a:pt x="43396" y="1415"/>
                </a:lnTo>
                <a:lnTo>
                  <a:pt x="44056" y="1604"/>
                </a:lnTo>
                <a:lnTo>
                  <a:pt x="45943" y="2076"/>
                </a:lnTo>
                <a:lnTo>
                  <a:pt x="48018" y="2359"/>
                </a:lnTo>
                <a:lnTo>
                  <a:pt x="49622" y="2736"/>
                </a:lnTo>
                <a:lnTo>
                  <a:pt x="47641" y="1981"/>
                </a:lnTo>
                <a:lnTo>
                  <a:pt x="45282" y="1321"/>
                </a:lnTo>
                <a:lnTo>
                  <a:pt x="42735" y="755"/>
                </a:lnTo>
                <a:lnTo>
                  <a:pt x="40188" y="283"/>
                </a:lnTo>
                <a:lnTo>
                  <a:pt x="37735" y="95"/>
                </a:lnTo>
                <a:lnTo>
                  <a:pt x="35471" y="0"/>
                </a:lnTo>
                <a:close/>
              </a:path>
            </a:pathLst>
          </a:custGeom>
          <a:solidFill>
            <a:srgbClr val="F26F27">
              <a:alpha val="50000"/>
            </a:srgbClr>
          </a:solidFill>
          <a:ln w="0">
            <a:solidFill>
              <a:srgbClr val="F26F27">
                <a:alpha val="55000"/>
              </a:srgbClr>
            </a:solidFill>
          </a:ln>
        </p:spPr>
        <p:txBody>
          <a:bodyPr spcFirstLastPara="1" wrap="square" lIns="91425" tIns="91425" rIns="91425" bIns="91425" anchor="ctr" anchorCtr="0">
            <a:noAutofit/>
          </a:bodyPr>
          <a:lstStyle/>
          <a:p>
            <a:pPr marL="0" lvl="0" indent="0">
              <a:spcBef>
                <a:spcPts val="0"/>
              </a:spcBef>
              <a:spcAft>
                <a:spcPts val="0"/>
              </a:spcAft>
              <a:buNone/>
            </a:pPr>
            <a:endParaRPr sz="1100" dirty="0">
              <a:latin typeface="Comic Sans MS" panose="030F0902030302020204" pitchFamily="66" charset="0"/>
            </a:endParaRPr>
          </a:p>
        </p:txBody>
      </p:sp>
      <p:pic>
        <p:nvPicPr>
          <p:cNvPr id="102" name="Picture 101">
            <a:extLst>
              <a:ext uri="{FF2B5EF4-FFF2-40B4-BE49-F238E27FC236}">
                <a16:creationId xmlns:a16="http://schemas.microsoft.com/office/drawing/2014/main" id="{D5C23004-07BA-234D-8E6B-30E3C4A565B7}"/>
              </a:ext>
            </a:extLst>
          </p:cNvPr>
          <p:cNvPicPr>
            <a:picLocks noChangeAspect="1"/>
          </p:cNvPicPr>
          <p:nvPr/>
        </p:nvPicPr>
        <p:blipFill>
          <a:blip r:embed="rId2">
            <a:alphaModFix amt="10000"/>
          </a:blip>
          <a:stretch>
            <a:fillRect/>
          </a:stretch>
        </p:blipFill>
        <p:spPr>
          <a:xfrm>
            <a:off x="8581689" y="3012320"/>
            <a:ext cx="473188" cy="553482"/>
          </a:xfrm>
          <a:prstGeom prst="rect">
            <a:avLst/>
          </a:prstGeom>
        </p:spPr>
      </p:pic>
      <p:grpSp>
        <p:nvGrpSpPr>
          <p:cNvPr id="103" name="Group 102">
            <a:extLst>
              <a:ext uri="{FF2B5EF4-FFF2-40B4-BE49-F238E27FC236}">
                <a16:creationId xmlns:a16="http://schemas.microsoft.com/office/drawing/2014/main" id="{22C15FF1-3A93-0040-ADA5-566BEF2E8937}"/>
              </a:ext>
            </a:extLst>
          </p:cNvPr>
          <p:cNvGrpSpPr/>
          <p:nvPr/>
        </p:nvGrpSpPr>
        <p:grpSpPr>
          <a:xfrm rot="355199">
            <a:off x="8627025" y="2701247"/>
            <a:ext cx="367408" cy="288412"/>
            <a:chOff x="8085217" y="1534789"/>
            <a:chExt cx="488738" cy="454871"/>
          </a:xfrm>
        </p:grpSpPr>
        <p:sp>
          <p:nvSpPr>
            <p:cNvPr id="120" name="TextBox 119">
              <a:extLst>
                <a:ext uri="{FF2B5EF4-FFF2-40B4-BE49-F238E27FC236}">
                  <a16:creationId xmlns:a16="http://schemas.microsoft.com/office/drawing/2014/main" id="{9C460FE2-2410-5C42-B591-F456A782DDDB}"/>
                </a:ext>
              </a:extLst>
            </p:cNvPr>
            <p:cNvSpPr txBox="1"/>
            <p:nvPr/>
          </p:nvSpPr>
          <p:spPr>
            <a:xfrm>
              <a:off x="8085217" y="1557375"/>
              <a:ext cx="488738" cy="432285"/>
            </a:xfrm>
            <a:prstGeom prst="rect">
              <a:avLst/>
            </a:prstGeom>
            <a:noFill/>
          </p:spPr>
          <p:txBody>
            <a:bodyPr wrap="none" tIns="90000" bIns="90000" rtlCol="0" anchor="t">
              <a:spAutoFit/>
            </a:bodyPr>
            <a:lstStyle/>
            <a:p>
              <a:pPr algn="ctr"/>
              <a:r>
                <a:rPr lang="en-US" sz="600" dirty="0">
                  <a:solidFill>
                    <a:schemeClr val="tx1">
                      <a:lumMod val="50000"/>
                    </a:schemeClr>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Logic</a:t>
              </a:r>
            </a:p>
          </p:txBody>
        </p:sp>
        <p:sp>
          <p:nvSpPr>
            <p:cNvPr id="121" name="Arc 120">
              <a:extLst>
                <a:ext uri="{FF2B5EF4-FFF2-40B4-BE49-F238E27FC236}">
                  <a16:creationId xmlns:a16="http://schemas.microsoft.com/office/drawing/2014/main" id="{7CD8D1D9-53A7-2342-A891-203ED2F0BD34}"/>
                </a:ext>
              </a:extLst>
            </p:cNvPr>
            <p:cNvSpPr/>
            <p:nvPr/>
          </p:nvSpPr>
          <p:spPr>
            <a:xfrm>
              <a:off x="8110618" y="1534789"/>
              <a:ext cx="437940" cy="411480"/>
            </a:xfrm>
            <a:prstGeom prst="arc">
              <a:avLst>
                <a:gd name="adj1" fmla="val 10955217"/>
                <a:gd name="adj2" fmla="val 32241"/>
              </a:avLst>
            </a:prstGeom>
            <a:ln>
              <a:solidFill>
                <a:srgbClr val="F26F27"/>
              </a:solidFill>
              <a:headEnd type="none"/>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100" dirty="0">
                <a:solidFill>
                  <a:schemeClr val="tx1">
                    <a:lumMod val="50000"/>
                  </a:schemeClr>
                </a:solidFill>
                <a:latin typeface="Comic Sans MS" panose="030F0902030302020204" pitchFamily="66" charset="0"/>
              </a:endParaRPr>
            </a:p>
          </p:txBody>
        </p:sp>
        <p:sp>
          <p:nvSpPr>
            <p:cNvPr id="122" name="Arc 121">
              <a:extLst>
                <a:ext uri="{FF2B5EF4-FFF2-40B4-BE49-F238E27FC236}">
                  <a16:creationId xmlns:a16="http://schemas.microsoft.com/office/drawing/2014/main" id="{F16C0B12-EB1A-4947-A0D0-F659E825AC22}"/>
                </a:ext>
              </a:extLst>
            </p:cNvPr>
            <p:cNvSpPr/>
            <p:nvPr/>
          </p:nvSpPr>
          <p:spPr>
            <a:xfrm rot="11182285">
              <a:off x="8112351" y="1618192"/>
              <a:ext cx="437940" cy="345194"/>
            </a:xfrm>
            <a:prstGeom prst="arc">
              <a:avLst>
                <a:gd name="adj1" fmla="val 10284682"/>
                <a:gd name="adj2" fmla="val 21540638"/>
              </a:avLst>
            </a:prstGeom>
            <a:ln>
              <a:solidFill>
                <a:srgbClr val="F26F27"/>
              </a:solidFill>
              <a:headEnd type="none"/>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100">
                <a:solidFill>
                  <a:schemeClr val="tx1">
                    <a:lumMod val="50000"/>
                  </a:schemeClr>
                </a:solidFill>
                <a:latin typeface="Comic Sans MS" panose="030F0902030302020204" pitchFamily="66" charset="0"/>
              </a:endParaRPr>
            </a:p>
          </p:txBody>
        </p:sp>
      </p:grpSp>
      <p:sp>
        <p:nvSpPr>
          <p:cNvPr id="123" name="Down Arrow 122">
            <a:extLst>
              <a:ext uri="{FF2B5EF4-FFF2-40B4-BE49-F238E27FC236}">
                <a16:creationId xmlns:a16="http://schemas.microsoft.com/office/drawing/2014/main" id="{04BED711-6E88-9643-82B9-5984D74101A5}"/>
              </a:ext>
            </a:extLst>
          </p:cNvPr>
          <p:cNvSpPr/>
          <p:nvPr/>
        </p:nvSpPr>
        <p:spPr>
          <a:xfrm>
            <a:off x="8704848" y="2927015"/>
            <a:ext cx="210266" cy="248803"/>
          </a:xfrm>
          <a:prstGeom prst="downArrow">
            <a:avLst/>
          </a:prstGeom>
          <a:solidFill>
            <a:srgbClr val="F26F27"/>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000" dirty="0">
              <a:solidFill>
                <a:srgbClr val="002D72"/>
              </a:solidFill>
              <a:latin typeface="Comic Sans MS" panose="030F0902030302020204" pitchFamily="66" charset="0"/>
              <a:cs typeface="Arial" pitchFamily="34" charset="0"/>
            </a:endParaRPr>
          </a:p>
        </p:txBody>
      </p:sp>
      <p:sp>
        <p:nvSpPr>
          <p:cNvPr id="124" name="Oval 123">
            <a:extLst>
              <a:ext uri="{FF2B5EF4-FFF2-40B4-BE49-F238E27FC236}">
                <a16:creationId xmlns:a16="http://schemas.microsoft.com/office/drawing/2014/main" id="{CF4A3625-A42D-8544-A46A-C36226AC74CF}"/>
              </a:ext>
            </a:extLst>
          </p:cNvPr>
          <p:cNvSpPr/>
          <p:nvPr/>
        </p:nvSpPr>
        <p:spPr>
          <a:xfrm>
            <a:off x="5500338" y="4256473"/>
            <a:ext cx="1094709" cy="1179334"/>
          </a:xfrm>
          <a:prstGeom prst="ellipse">
            <a:avLst/>
          </a:prstGeom>
          <a:solidFill>
            <a:srgbClr val="F26F27">
              <a:alpha val="32000"/>
            </a:srgb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000" dirty="0">
              <a:solidFill>
                <a:srgbClr val="002D72"/>
              </a:solidFill>
              <a:latin typeface="Comic Sans MS" panose="030F0902030302020204" pitchFamily="66" charset="0"/>
              <a:cs typeface="Arial" pitchFamily="34" charset="0"/>
            </a:endParaRPr>
          </a:p>
        </p:txBody>
      </p:sp>
      <p:sp>
        <p:nvSpPr>
          <p:cNvPr id="131" name="Google Shape;431;p39">
            <a:extLst>
              <a:ext uri="{FF2B5EF4-FFF2-40B4-BE49-F238E27FC236}">
                <a16:creationId xmlns:a16="http://schemas.microsoft.com/office/drawing/2014/main" id="{C3AF1EE4-711F-3744-A562-8288D0B3792E}"/>
              </a:ext>
            </a:extLst>
          </p:cNvPr>
          <p:cNvSpPr/>
          <p:nvPr/>
        </p:nvSpPr>
        <p:spPr>
          <a:xfrm rot="21011211">
            <a:off x="5470305" y="4171035"/>
            <a:ext cx="1150543" cy="1298228"/>
          </a:xfrm>
          <a:custGeom>
            <a:avLst/>
            <a:gdLst/>
            <a:ahLst/>
            <a:cxnLst/>
            <a:rect l="0" t="0" r="0" b="0"/>
            <a:pathLst>
              <a:path w="67641" h="69056" extrusionOk="0">
                <a:moveTo>
                  <a:pt x="49622" y="2736"/>
                </a:moveTo>
                <a:lnTo>
                  <a:pt x="49622" y="2736"/>
                </a:lnTo>
                <a:lnTo>
                  <a:pt x="49622" y="2736"/>
                </a:lnTo>
                <a:close/>
                <a:moveTo>
                  <a:pt x="59622" y="55565"/>
                </a:moveTo>
                <a:lnTo>
                  <a:pt x="59622" y="55565"/>
                </a:lnTo>
                <a:lnTo>
                  <a:pt x="59622" y="55565"/>
                </a:lnTo>
                <a:close/>
                <a:moveTo>
                  <a:pt x="35471" y="0"/>
                </a:moveTo>
                <a:lnTo>
                  <a:pt x="34433" y="95"/>
                </a:lnTo>
                <a:lnTo>
                  <a:pt x="33584" y="189"/>
                </a:lnTo>
                <a:lnTo>
                  <a:pt x="32735" y="378"/>
                </a:lnTo>
                <a:lnTo>
                  <a:pt x="32169" y="566"/>
                </a:lnTo>
                <a:lnTo>
                  <a:pt x="31509" y="472"/>
                </a:lnTo>
                <a:lnTo>
                  <a:pt x="30754" y="472"/>
                </a:lnTo>
                <a:lnTo>
                  <a:pt x="29339" y="566"/>
                </a:lnTo>
                <a:lnTo>
                  <a:pt x="27830" y="849"/>
                </a:lnTo>
                <a:lnTo>
                  <a:pt x="26320" y="1321"/>
                </a:lnTo>
                <a:lnTo>
                  <a:pt x="24811" y="1981"/>
                </a:lnTo>
                <a:lnTo>
                  <a:pt x="23207" y="2736"/>
                </a:lnTo>
                <a:lnTo>
                  <a:pt x="21698" y="3585"/>
                </a:lnTo>
                <a:lnTo>
                  <a:pt x="20188" y="4623"/>
                </a:lnTo>
                <a:lnTo>
                  <a:pt x="18679" y="5661"/>
                </a:lnTo>
                <a:lnTo>
                  <a:pt x="17170" y="6793"/>
                </a:lnTo>
                <a:lnTo>
                  <a:pt x="15754" y="8019"/>
                </a:lnTo>
                <a:lnTo>
                  <a:pt x="14434" y="9151"/>
                </a:lnTo>
                <a:lnTo>
                  <a:pt x="11981" y="11510"/>
                </a:lnTo>
                <a:lnTo>
                  <a:pt x="10000" y="13774"/>
                </a:lnTo>
                <a:lnTo>
                  <a:pt x="7736" y="16981"/>
                </a:lnTo>
                <a:lnTo>
                  <a:pt x="8019" y="16321"/>
                </a:lnTo>
                <a:lnTo>
                  <a:pt x="8302" y="15660"/>
                </a:lnTo>
                <a:lnTo>
                  <a:pt x="7736" y="16604"/>
                </a:lnTo>
                <a:lnTo>
                  <a:pt x="7075" y="17642"/>
                </a:lnTo>
                <a:lnTo>
                  <a:pt x="7170" y="17830"/>
                </a:lnTo>
                <a:lnTo>
                  <a:pt x="6509" y="18868"/>
                </a:lnTo>
                <a:lnTo>
                  <a:pt x="7075" y="17359"/>
                </a:lnTo>
                <a:lnTo>
                  <a:pt x="6132" y="19057"/>
                </a:lnTo>
                <a:lnTo>
                  <a:pt x="5189" y="20849"/>
                </a:lnTo>
                <a:lnTo>
                  <a:pt x="4434" y="22736"/>
                </a:lnTo>
                <a:lnTo>
                  <a:pt x="3679" y="24622"/>
                </a:lnTo>
                <a:lnTo>
                  <a:pt x="2453" y="28490"/>
                </a:lnTo>
                <a:lnTo>
                  <a:pt x="1321" y="32169"/>
                </a:lnTo>
                <a:lnTo>
                  <a:pt x="1509" y="32264"/>
                </a:lnTo>
                <a:lnTo>
                  <a:pt x="1604" y="32453"/>
                </a:lnTo>
                <a:lnTo>
                  <a:pt x="1604" y="32641"/>
                </a:lnTo>
                <a:lnTo>
                  <a:pt x="1509" y="32924"/>
                </a:lnTo>
                <a:lnTo>
                  <a:pt x="1226" y="33396"/>
                </a:lnTo>
                <a:lnTo>
                  <a:pt x="1038" y="33585"/>
                </a:lnTo>
                <a:lnTo>
                  <a:pt x="1038" y="33773"/>
                </a:lnTo>
                <a:lnTo>
                  <a:pt x="1038" y="35000"/>
                </a:lnTo>
                <a:lnTo>
                  <a:pt x="849" y="36132"/>
                </a:lnTo>
                <a:lnTo>
                  <a:pt x="660" y="37358"/>
                </a:lnTo>
                <a:lnTo>
                  <a:pt x="472" y="38867"/>
                </a:lnTo>
                <a:lnTo>
                  <a:pt x="283" y="38301"/>
                </a:lnTo>
                <a:lnTo>
                  <a:pt x="94" y="39811"/>
                </a:lnTo>
                <a:lnTo>
                  <a:pt x="0" y="41509"/>
                </a:lnTo>
                <a:lnTo>
                  <a:pt x="94" y="43301"/>
                </a:lnTo>
                <a:lnTo>
                  <a:pt x="283" y="44056"/>
                </a:lnTo>
                <a:lnTo>
                  <a:pt x="472" y="44622"/>
                </a:lnTo>
                <a:lnTo>
                  <a:pt x="566" y="45660"/>
                </a:lnTo>
                <a:lnTo>
                  <a:pt x="755" y="46792"/>
                </a:lnTo>
                <a:lnTo>
                  <a:pt x="1226" y="48962"/>
                </a:lnTo>
                <a:lnTo>
                  <a:pt x="1981" y="51037"/>
                </a:lnTo>
                <a:lnTo>
                  <a:pt x="2924" y="53112"/>
                </a:lnTo>
                <a:lnTo>
                  <a:pt x="4057" y="55094"/>
                </a:lnTo>
                <a:lnTo>
                  <a:pt x="5283" y="56980"/>
                </a:lnTo>
                <a:lnTo>
                  <a:pt x="6698" y="58678"/>
                </a:lnTo>
                <a:lnTo>
                  <a:pt x="8113" y="60282"/>
                </a:lnTo>
                <a:lnTo>
                  <a:pt x="9056" y="61131"/>
                </a:lnTo>
                <a:lnTo>
                  <a:pt x="10000" y="61980"/>
                </a:lnTo>
                <a:lnTo>
                  <a:pt x="11038" y="62829"/>
                </a:lnTo>
                <a:lnTo>
                  <a:pt x="12075" y="63584"/>
                </a:lnTo>
                <a:lnTo>
                  <a:pt x="14339" y="64905"/>
                </a:lnTo>
                <a:lnTo>
                  <a:pt x="16604" y="66131"/>
                </a:lnTo>
                <a:lnTo>
                  <a:pt x="19056" y="67169"/>
                </a:lnTo>
                <a:lnTo>
                  <a:pt x="21509" y="67923"/>
                </a:lnTo>
                <a:lnTo>
                  <a:pt x="24056" y="68584"/>
                </a:lnTo>
                <a:lnTo>
                  <a:pt x="26603" y="69055"/>
                </a:lnTo>
                <a:lnTo>
                  <a:pt x="27830" y="69055"/>
                </a:lnTo>
                <a:lnTo>
                  <a:pt x="30188" y="68867"/>
                </a:lnTo>
                <a:lnTo>
                  <a:pt x="33113" y="68678"/>
                </a:lnTo>
                <a:lnTo>
                  <a:pt x="36509" y="68301"/>
                </a:lnTo>
                <a:lnTo>
                  <a:pt x="39811" y="67923"/>
                </a:lnTo>
                <a:lnTo>
                  <a:pt x="42735" y="67452"/>
                </a:lnTo>
                <a:lnTo>
                  <a:pt x="44905" y="66980"/>
                </a:lnTo>
                <a:lnTo>
                  <a:pt x="45565" y="66791"/>
                </a:lnTo>
                <a:lnTo>
                  <a:pt x="45943" y="66508"/>
                </a:lnTo>
                <a:lnTo>
                  <a:pt x="47358" y="65942"/>
                </a:lnTo>
                <a:lnTo>
                  <a:pt x="48018" y="65565"/>
                </a:lnTo>
                <a:lnTo>
                  <a:pt x="48678" y="65188"/>
                </a:lnTo>
                <a:lnTo>
                  <a:pt x="47924" y="65471"/>
                </a:lnTo>
                <a:lnTo>
                  <a:pt x="51509" y="62924"/>
                </a:lnTo>
                <a:lnTo>
                  <a:pt x="53301" y="61508"/>
                </a:lnTo>
                <a:lnTo>
                  <a:pt x="55093" y="59905"/>
                </a:lnTo>
                <a:lnTo>
                  <a:pt x="55093" y="59905"/>
                </a:lnTo>
                <a:lnTo>
                  <a:pt x="54810" y="60376"/>
                </a:lnTo>
                <a:lnTo>
                  <a:pt x="54339" y="60754"/>
                </a:lnTo>
                <a:lnTo>
                  <a:pt x="55376" y="59999"/>
                </a:lnTo>
                <a:lnTo>
                  <a:pt x="56320" y="59056"/>
                </a:lnTo>
                <a:lnTo>
                  <a:pt x="57075" y="58395"/>
                </a:lnTo>
                <a:lnTo>
                  <a:pt x="57169" y="58207"/>
                </a:lnTo>
                <a:lnTo>
                  <a:pt x="57075" y="58207"/>
                </a:lnTo>
                <a:lnTo>
                  <a:pt x="57924" y="57546"/>
                </a:lnTo>
                <a:lnTo>
                  <a:pt x="58678" y="56697"/>
                </a:lnTo>
                <a:lnTo>
                  <a:pt x="59339" y="55754"/>
                </a:lnTo>
                <a:lnTo>
                  <a:pt x="59905" y="54905"/>
                </a:lnTo>
                <a:lnTo>
                  <a:pt x="59716" y="54999"/>
                </a:lnTo>
                <a:lnTo>
                  <a:pt x="59622" y="54999"/>
                </a:lnTo>
                <a:lnTo>
                  <a:pt x="59810" y="54622"/>
                </a:lnTo>
                <a:lnTo>
                  <a:pt x="59150" y="55565"/>
                </a:lnTo>
                <a:lnTo>
                  <a:pt x="59527" y="55094"/>
                </a:lnTo>
                <a:lnTo>
                  <a:pt x="59433" y="55377"/>
                </a:lnTo>
                <a:lnTo>
                  <a:pt x="58867" y="56037"/>
                </a:lnTo>
                <a:lnTo>
                  <a:pt x="59056" y="55660"/>
                </a:lnTo>
                <a:lnTo>
                  <a:pt x="59056" y="55660"/>
                </a:lnTo>
                <a:lnTo>
                  <a:pt x="58678" y="56037"/>
                </a:lnTo>
                <a:lnTo>
                  <a:pt x="59810" y="54339"/>
                </a:lnTo>
                <a:lnTo>
                  <a:pt x="60282" y="53490"/>
                </a:lnTo>
                <a:lnTo>
                  <a:pt x="60282" y="53301"/>
                </a:lnTo>
                <a:lnTo>
                  <a:pt x="60188" y="53395"/>
                </a:lnTo>
                <a:lnTo>
                  <a:pt x="60188" y="53395"/>
                </a:lnTo>
                <a:lnTo>
                  <a:pt x="60565" y="52924"/>
                </a:lnTo>
                <a:lnTo>
                  <a:pt x="61037" y="52452"/>
                </a:lnTo>
                <a:lnTo>
                  <a:pt x="61886" y="51509"/>
                </a:lnTo>
                <a:lnTo>
                  <a:pt x="61508" y="52452"/>
                </a:lnTo>
                <a:lnTo>
                  <a:pt x="60848" y="53584"/>
                </a:lnTo>
                <a:lnTo>
                  <a:pt x="59622" y="55565"/>
                </a:lnTo>
                <a:lnTo>
                  <a:pt x="60376" y="54528"/>
                </a:lnTo>
                <a:lnTo>
                  <a:pt x="60942" y="53678"/>
                </a:lnTo>
                <a:lnTo>
                  <a:pt x="61980" y="51792"/>
                </a:lnTo>
                <a:lnTo>
                  <a:pt x="61886" y="51886"/>
                </a:lnTo>
                <a:lnTo>
                  <a:pt x="61886" y="51697"/>
                </a:lnTo>
                <a:lnTo>
                  <a:pt x="62169" y="51037"/>
                </a:lnTo>
                <a:lnTo>
                  <a:pt x="62735" y="49999"/>
                </a:lnTo>
                <a:lnTo>
                  <a:pt x="61508" y="51603"/>
                </a:lnTo>
                <a:lnTo>
                  <a:pt x="61603" y="51037"/>
                </a:lnTo>
                <a:lnTo>
                  <a:pt x="61697" y="50377"/>
                </a:lnTo>
                <a:lnTo>
                  <a:pt x="62169" y="48962"/>
                </a:lnTo>
                <a:lnTo>
                  <a:pt x="62829" y="47358"/>
                </a:lnTo>
                <a:lnTo>
                  <a:pt x="63678" y="45565"/>
                </a:lnTo>
                <a:lnTo>
                  <a:pt x="65376" y="42169"/>
                </a:lnTo>
                <a:lnTo>
                  <a:pt x="66131" y="40660"/>
                </a:lnTo>
                <a:lnTo>
                  <a:pt x="66697" y="39339"/>
                </a:lnTo>
                <a:lnTo>
                  <a:pt x="66603" y="39528"/>
                </a:lnTo>
                <a:lnTo>
                  <a:pt x="66697" y="39056"/>
                </a:lnTo>
                <a:lnTo>
                  <a:pt x="66791" y="38962"/>
                </a:lnTo>
                <a:lnTo>
                  <a:pt x="66791" y="39056"/>
                </a:lnTo>
                <a:lnTo>
                  <a:pt x="66886" y="38584"/>
                </a:lnTo>
                <a:lnTo>
                  <a:pt x="66791" y="38867"/>
                </a:lnTo>
                <a:lnTo>
                  <a:pt x="66980" y="38207"/>
                </a:lnTo>
                <a:lnTo>
                  <a:pt x="67169" y="37264"/>
                </a:lnTo>
                <a:lnTo>
                  <a:pt x="67263" y="36415"/>
                </a:lnTo>
                <a:lnTo>
                  <a:pt x="67357" y="36509"/>
                </a:lnTo>
                <a:lnTo>
                  <a:pt x="67452" y="36509"/>
                </a:lnTo>
                <a:lnTo>
                  <a:pt x="67546" y="35943"/>
                </a:lnTo>
                <a:lnTo>
                  <a:pt x="67546" y="34811"/>
                </a:lnTo>
                <a:lnTo>
                  <a:pt x="67640" y="31037"/>
                </a:lnTo>
                <a:lnTo>
                  <a:pt x="67640" y="28490"/>
                </a:lnTo>
                <a:lnTo>
                  <a:pt x="67546" y="27736"/>
                </a:lnTo>
                <a:lnTo>
                  <a:pt x="67546" y="27547"/>
                </a:lnTo>
                <a:lnTo>
                  <a:pt x="67452" y="27547"/>
                </a:lnTo>
                <a:lnTo>
                  <a:pt x="67074" y="26792"/>
                </a:lnTo>
                <a:lnTo>
                  <a:pt x="66791" y="25660"/>
                </a:lnTo>
                <a:lnTo>
                  <a:pt x="66508" y="24528"/>
                </a:lnTo>
                <a:lnTo>
                  <a:pt x="66414" y="23585"/>
                </a:lnTo>
                <a:lnTo>
                  <a:pt x="66320" y="23679"/>
                </a:lnTo>
                <a:lnTo>
                  <a:pt x="66320" y="23490"/>
                </a:lnTo>
                <a:lnTo>
                  <a:pt x="65942" y="22924"/>
                </a:lnTo>
                <a:lnTo>
                  <a:pt x="65565" y="22358"/>
                </a:lnTo>
                <a:lnTo>
                  <a:pt x="64527" y="21132"/>
                </a:lnTo>
                <a:lnTo>
                  <a:pt x="63584" y="19906"/>
                </a:lnTo>
                <a:lnTo>
                  <a:pt x="63207" y="19340"/>
                </a:lnTo>
                <a:lnTo>
                  <a:pt x="63018" y="18774"/>
                </a:lnTo>
                <a:lnTo>
                  <a:pt x="63112" y="18962"/>
                </a:lnTo>
                <a:lnTo>
                  <a:pt x="63301" y="19057"/>
                </a:lnTo>
                <a:lnTo>
                  <a:pt x="63301" y="19057"/>
                </a:lnTo>
                <a:lnTo>
                  <a:pt x="63207" y="18868"/>
                </a:lnTo>
                <a:lnTo>
                  <a:pt x="62923" y="18491"/>
                </a:lnTo>
                <a:lnTo>
                  <a:pt x="61980" y="17453"/>
                </a:lnTo>
                <a:lnTo>
                  <a:pt x="61037" y="16509"/>
                </a:lnTo>
                <a:lnTo>
                  <a:pt x="61037" y="16698"/>
                </a:lnTo>
                <a:lnTo>
                  <a:pt x="61037" y="16887"/>
                </a:lnTo>
                <a:lnTo>
                  <a:pt x="60093" y="15943"/>
                </a:lnTo>
                <a:lnTo>
                  <a:pt x="60376" y="16321"/>
                </a:lnTo>
                <a:lnTo>
                  <a:pt x="59527" y="15377"/>
                </a:lnTo>
                <a:lnTo>
                  <a:pt x="59056" y="14906"/>
                </a:lnTo>
                <a:lnTo>
                  <a:pt x="59244" y="14906"/>
                </a:lnTo>
                <a:lnTo>
                  <a:pt x="59905" y="15472"/>
                </a:lnTo>
                <a:lnTo>
                  <a:pt x="59905" y="15472"/>
                </a:lnTo>
                <a:lnTo>
                  <a:pt x="57641" y="13396"/>
                </a:lnTo>
                <a:lnTo>
                  <a:pt x="58112" y="13868"/>
                </a:lnTo>
                <a:lnTo>
                  <a:pt x="56886" y="13019"/>
                </a:lnTo>
                <a:lnTo>
                  <a:pt x="55754" y="12453"/>
                </a:lnTo>
                <a:lnTo>
                  <a:pt x="56603" y="13113"/>
                </a:lnTo>
                <a:lnTo>
                  <a:pt x="57452" y="13774"/>
                </a:lnTo>
                <a:lnTo>
                  <a:pt x="58961" y="15283"/>
                </a:lnTo>
                <a:lnTo>
                  <a:pt x="60376" y="16604"/>
                </a:lnTo>
                <a:lnTo>
                  <a:pt x="61225" y="17264"/>
                </a:lnTo>
                <a:lnTo>
                  <a:pt x="62074" y="17925"/>
                </a:lnTo>
                <a:lnTo>
                  <a:pt x="62074" y="17925"/>
                </a:lnTo>
                <a:lnTo>
                  <a:pt x="61414" y="17547"/>
                </a:lnTo>
                <a:lnTo>
                  <a:pt x="60659" y="16981"/>
                </a:lnTo>
                <a:lnTo>
                  <a:pt x="60754" y="17264"/>
                </a:lnTo>
                <a:lnTo>
                  <a:pt x="60942" y="17642"/>
                </a:lnTo>
                <a:lnTo>
                  <a:pt x="61980" y="19151"/>
                </a:lnTo>
                <a:lnTo>
                  <a:pt x="63301" y="20943"/>
                </a:lnTo>
                <a:lnTo>
                  <a:pt x="63207" y="20943"/>
                </a:lnTo>
                <a:lnTo>
                  <a:pt x="63395" y="21038"/>
                </a:lnTo>
                <a:lnTo>
                  <a:pt x="63490" y="21321"/>
                </a:lnTo>
                <a:lnTo>
                  <a:pt x="63678" y="21604"/>
                </a:lnTo>
                <a:lnTo>
                  <a:pt x="63773" y="21698"/>
                </a:lnTo>
                <a:lnTo>
                  <a:pt x="63584" y="21321"/>
                </a:lnTo>
                <a:lnTo>
                  <a:pt x="63584" y="21321"/>
                </a:lnTo>
                <a:lnTo>
                  <a:pt x="64244" y="22170"/>
                </a:lnTo>
                <a:lnTo>
                  <a:pt x="64716" y="22641"/>
                </a:lnTo>
                <a:lnTo>
                  <a:pt x="64905" y="22830"/>
                </a:lnTo>
                <a:lnTo>
                  <a:pt x="64999" y="22830"/>
                </a:lnTo>
                <a:lnTo>
                  <a:pt x="64999" y="22641"/>
                </a:lnTo>
                <a:lnTo>
                  <a:pt x="64905" y="22358"/>
                </a:lnTo>
                <a:lnTo>
                  <a:pt x="65282" y="23207"/>
                </a:lnTo>
                <a:lnTo>
                  <a:pt x="65565" y="24056"/>
                </a:lnTo>
                <a:lnTo>
                  <a:pt x="66225" y="25943"/>
                </a:lnTo>
                <a:lnTo>
                  <a:pt x="66697" y="27830"/>
                </a:lnTo>
                <a:lnTo>
                  <a:pt x="66886" y="28490"/>
                </a:lnTo>
                <a:lnTo>
                  <a:pt x="66980" y="28868"/>
                </a:lnTo>
                <a:lnTo>
                  <a:pt x="66886" y="28962"/>
                </a:lnTo>
                <a:lnTo>
                  <a:pt x="66697" y="28679"/>
                </a:lnTo>
                <a:lnTo>
                  <a:pt x="66697" y="29245"/>
                </a:lnTo>
                <a:lnTo>
                  <a:pt x="66791" y="29905"/>
                </a:lnTo>
                <a:lnTo>
                  <a:pt x="66886" y="29905"/>
                </a:lnTo>
                <a:lnTo>
                  <a:pt x="66886" y="30094"/>
                </a:lnTo>
                <a:lnTo>
                  <a:pt x="66886" y="30566"/>
                </a:lnTo>
                <a:lnTo>
                  <a:pt x="66697" y="30377"/>
                </a:lnTo>
                <a:lnTo>
                  <a:pt x="66603" y="30188"/>
                </a:lnTo>
                <a:lnTo>
                  <a:pt x="66603" y="30094"/>
                </a:lnTo>
                <a:lnTo>
                  <a:pt x="66697" y="29905"/>
                </a:lnTo>
                <a:lnTo>
                  <a:pt x="66508" y="28679"/>
                </a:lnTo>
                <a:lnTo>
                  <a:pt x="66225" y="27358"/>
                </a:lnTo>
                <a:lnTo>
                  <a:pt x="66603" y="30283"/>
                </a:lnTo>
                <a:lnTo>
                  <a:pt x="66697" y="31792"/>
                </a:lnTo>
                <a:lnTo>
                  <a:pt x="66697" y="33302"/>
                </a:lnTo>
                <a:lnTo>
                  <a:pt x="66603" y="34717"/>
                </a:lnTo>
                <a:lnTo>
                  <a:pt x="66414" y="36226"/>
                </a:lnTo>
                <a:lnTo>
                  <a:pt x="66131" y="37547"/>
                </a:lnTo>
                <a:lnTo>
                  <a:pt x="65659" y="38962"/>
                </a:lnTo>
                <a:lnTo>
                  <a:pt x="65848" y="38584"/>
                </a:lnTo>
                <a:lnTo>
                  <a:pt x="65942" y="38584"/>
                </a:lnTo>
                <a:lnTo>
                  <a:pt x="65848" y="39245"/>
                </a:lnTo>
                <a:lnTo>
                  <a:pt x="65565" y="40188"/>
                </a:lnTo>
                <a:lnTo>
                  <a:pt x="65471" y="40471"/>
                </a:lnTo>
                <a:lnTo>
                  <a:pt x="65282" y="40660"/>
                </a:lnTo>
                <a:lnTo>
                  <a:pt x="65282" y="40566"/>
                </a:lnTo>
                <a:lnTo>
                  <a:pt x="65093" y="41132"/>
                </a:lnTo>
                <a:lnTo>
                  <a:pt x="64433" y="43018"/>
                </a:lnTo>
                <a:lnTo>
                  <a:pt x="63678" y="45282"/>
                </a:lnTo>
                <a:lnTo>
                  <a:pt x="62735" y="47264"/>
                </a:lnTo>
                <a:lnTo>
                  <a:pt x="61697" y="49056"/>
                </a:lnTo>
                <a:lnTo>
                  <a:pt x="60659" y="50943"/>
                </a:lnTo>
                <a:lnTo>
                  <a:pt x="59433" y="52735"/>
                </a:lnTo>
                <a:lnTo>
                  <a:pt x="58207" y="54433"/>
                </a:lnTo>
                <a:lnTo>
                  <a:pt x="56886" y="56037"/>
                </a:lnTo>
                <a:lnTo>
                  <a:pt x="55376" y="57641"/>
                </a:lnTo>
                <a:lnTo>
                  <a:pt x="53867" y="59150"/>
                </a:lnTo>
                <a:lnTo>
                  <a:pt x="52169" y="60376"/>
                </a:lnTo>
                <a:lnTo>
                  <a:pt x="48961" y="62452"/>
                </a:lnTo>
                <a:lnTo>
                  <a:pt x="44528" y="65282"/>
                </a:lnTo>
                <a:lnTo>
                  <a:pt x="44622" y="65188"/>
                </a:lnTo>
                <a:lnTo>
                  <a:pt x="44716" y="65093"/>
                </a:lnTo>
                <a:lnTo>
                  <a:pt x="45094" y="64810"/>
                </a:lnTo>
                <a:lnTo>
                  <a:pt x="45660" y="64527"/>
                </a:lnTo>
                <a:lnTo>
                  <a:pt x="43867" y="65376"/>
                </a:lnTo>
                <a:lnTo>
                  <a:pt x="43113" y="65754"/>
                </a:lnTo>
                <a:lnTo>
                  <a:pt x="42924" y="65754"/>
                </a:lnTo>
                <a:lnTo>
                  <a:pt x="43113" y="65659"/>
                </a:lnTo>
                <a:lnTo>
                  <a:pt x="41603" y="66037"/>
                </a:lnTo>
                <a:lnTo>
                  <a:pt x="39999" y="66320"/>
                </a:lnTo>
                <a:lnTo>
                  <a:pt x="38396" y="66508"/>
                </a:lnTo>
                <a:lnTo>
                  <a:pt x="36792" y="66697"/>
                </a:lnTo>
                <a:lnTo>
                  <a:pt x="33584" y="66980"/>
                </a:lnTo>
                <a:lnTo>
                  <a:pt x="32169" y="67169"/>
                </a:lnTo>
                <a:lnTo>
                  <a:pt x="30754" y="67357"/>
                </a:lnTo>
                <a:lnTo>
                  <a:pt x="30094" y="67357"/>
                </a:lnTo>
                <a:lnTo>
                  <a:pt x="29339" y="67263"/>
                </a:lnTo>
                <a:lnTo>
                  <a:pt x="27830" y="66886"/>
                </a:lnTo>
                <a:lnTo>
                  <a:pt x="26415" y="66508"/>
                </a:lnTo>
                <a:lnTo>
                  <a:pt x="25754" y="66414"/>
                </a:lnTo>
                <a:lnTo>
                  <a:pt x="25094" y="66414"/>
                </a:lnTo>
                <a:lnTo>
                  <a:pt x="25566" y="66980"/>
                </a:lnTo>
                <a:lnTo>
                  <a:pt x="25471" y="67074"/>
                </a:lnTo>
                <a:lnTo>
                  <a:pt x="25188" y="66980"/>
                </a:lnTo>
                <a:lnTo>
                  <a:pt x="24339" y="66791"/>
                </a:lnTo>
                <a:lnTo>
                  <a:pt x="23773" y="66508"/>
                </a:lnTo>
                <a:lnTo>
                  <a:pt x="24245" y="66414"/>
                </a:lnTo>
                <a:lnTo>
                  <a:pt x="24717" y="66603"/>
                </a:lnTo>
                <a:lnTo>
                  <a:pt x="24811" y="66414"/>
                </a:lnTo>
                <a:lnTo>
                  <a:pt x="24811" y="66320"/>
                </a:lnTo>
                <a:lnTo>
                  <a:pt x="24717" y="66225"/>
                </a:lnTo>
                <a:lnTo>
                  <a:pt x="24528" y="66131"/>
                </a:lnTo>
                <a:lnTo>
                  <a:pt x="24151" y="66225"/>
                </a:lnTo>
                <a:lnTo>
                  <a:pt x="23679" y="66320"/>
                </a:lnTo>
                <a:lnTo>
                  <a:pt x="23018" y="66414"/>
                </a:lnTo>
                <a:lnTo>
                  <a:pt x="23490" y="66225"/>
                </a:lnTo>
                <a:lnTo>
                  <a:pt x="22075" y="65942"/>
                </a:lnTo>
                <a:lnTo>
                  <a:pt x="20943" y="65659"/>
                </a:lnTo>
                <a:lnTo>
                  <a:pt x="20000" y="65282"/>
                </a:lnTo>
                <a:lnTo>
                  <a:pt x="19056" y="64810"/>
                </a:lnTo>
                <a:lnTo>
                  <a:pt x="19056" y="64810"/>
                </a:lnTo>
                <a:lnTo>
                  <a:pt x="19717" y="64999"/>
                </a:lnTo>
                <a:lnTo>
                  <a:pt x="19151" y="64716"/>
                </a:lnTo>
                <a:lnTo>
                  <a:pt x="18962" y="64810"/>
                </a:lnTo>
                <a:lnTo>
                  <a:pt x="19151" y="64905"/>
                </a:lnTo>
                <a:lnTo>
                  <a:pt x="18490" y="64905"/>
                </a:lnTo>
                <a:lnTo>
                  <a:pt x="17830" y="64716"/>
                </a:lnTo>
                <a:lnTo>
                  <a:pt x="17264" y="64527"/>
                </a:lnTo>
                <a:lnTo>
                  <a:pt x="16698" y="64150"/>
                </a:lnTo>
                <a:lnTo>
                  <a:pt x="16981" y="64056"/>
                </a:lnTo>
                <a:lnTo>
                  <a:pt x="17264" y="64150"/>
                </a:lnTo>
                <a:lnTo>
                  <a:pt x="17264" y="64150"/>
                </a:lnTo>
                <a:lnTo>
                  <a:pt x="15188" y="63207"/>
                </a:lnTo>
                <a:lnTo>
                  <a:pt x="14622" y="62829"/>
                </a:lnTo>
                <a:lnTo>
                  <a:pt x="14717" y="62924"/>
                </a:lnTo>
                <a:lnTo>
                  <a:pt x="13773" y="62546"/>
                </a:lnTo>
                <a:lnTo>
                  <a:pt x="12924" y="62075"/>
                </a:lnTo>
                <a:lnTo>
                  <a:pt x="12358" y="61697"/>
                </a:lnTo>
                <a:lnTo>
                  <a:pt x="12264" y="61508"/>
                </a:lnTo>
                <a:lnTo>
                  <a:pt x="12170" y="61320"/>
                </a:lnTo>
                <a:lnTo>
                  <a:pt x="11698" y="60942"/>
                </a:lnTo>
                <a:lnTo>
                  <a:pt x="11132" y="60471"/>
                </a:lnTo>
                <a:lnTo>
                  <a:pt x="9906" y="59244"/>
                </a:lnTo>
                <a:lnTo>
                  <a:pt x="9906" y="59244"/>
                </a:lnTo>
                <a:lnTo>
                  <a:pt x="10566" y="59527"/>
                </a:lnTo>
                <a:lnTo>
                  <a:pt x="9434" y="58584"/>
                </a:lnTo>
                <a:lnTo>
                  <a:pt x="8207" y="57546"/>
                </a:lnTo>
                <a:lnTo>
                  <a:pt x="7547" y="56886"/>
                </a:lnTo>
                <a:lnTo>
                  <a:pt x="6981" y="56131"/>
                </a:lnTo>
                <a:lnTo>
                  <a:pt x="6226" y="55094"/>
                </a:lnTo>
                <a:lnTo>
                  <a:pt x="6415" y="55377"/>
                </a:lnTo>
                <a:lnTo>
                  <a:pt x="6038" y="54905"/>
                </a:lnTo>
                <a:lnTo>
                  <a:pt x="5472" y="54244"/>
                </a:lnTo>
                <a:lnTo>
                  <a:pt x="5283" y="53961"/>
                </a:lnTo>
                <a:lnTo>
                  <a:pt x="5094" y="53867"/>
                </a:lnTo>
                <a:lnTo>
                  <a:pt x="5377" y="54622"/>
                </a:lnTo>
                <a:lnTo>
                  <a:pt x="5849" y="55282"/>
                </a:lnTo>
                <a:lnTo>
                  <a:pt x="6321" y="55943"/>
                </a:lnTo>
                <a:lnTo>
                  <a:pt x="6698" y="56603"/>
                </a:lnTo>
                <a:lnTo>
                  <a:pt x="6226" y="56226"/>
                </a:lnTo>
                <a:lnTo>
                  <a:pt x="5943" y="55848"/>
                </a:lnTo>
                <a:lnTo>
                  <a:pt x="6038" y="56037"/>
                </a:lnTo>
                <a:lnTo>
                  <a:pt x="5943" y="55943"/>
                </a:lnTo>
                <a:lnTo>
                  <a:pt x="5377" y="55188"/>
                </a:lnTo>
                <a:lnTo>
                  <a:pt x="5000" y="54716"/>
                </a:lnTo>
                <a:lnTo>
                  <a:pt x="4717" y="54150"/>
                </a:lnTo>
                <a:lnTo>
                  <a:pt x="4528" y="53678"/>
                </a:lnTo>
                <a:lnTo>
                  <a:pt x="4528" y="53584"/>
                </a:lnTo>
                <a:lnTo>
                  <a:pt x="4623" y="53395"/>
                </a:lnTo>
                <a:lnTo>
                  <a:pt x="5094" y="54244"/>
                </a:lnTo>
                <a:lnTo>
                  <a:pt x="4717" y="53301"/>
                </a:lnTo>
                <a:lnTo>
                  <a:pt x="4528" y="53018"/>
                </a:lnTo>
                <a:lnTo>
                  <a:pt x="4151" y="52263"/>
                </a:lnTo>
                <a:lnTo>
                  <a:pt x="4151" y="52169"/>
                </a:lnTo>
                <a:lnTo>
                  <a:pt x="3774" y="51509"/>
                </a:lnTo>
                <a:lnTo>
                  <a:pt x="3396" y="50660"/>
                </a:lnTo>
                <a:lnTo>
                  <a:pt x="3585" y="51603"/>
                </a:lnTo>
                <a:lnTo>
                  <a:pt x="3396" y="51226"/>
                </a:lnTo>
                <a:lnTo>
                  <a:pt x="3208" y="50848"/>
                </a:lnTo>
                <a:lnTo>
                  <a:pt x="3208" y="50471"/>
                </a:lnTo>
                <a:lnTo>
                  <a:pt x="3208" y="50094"/>
                </a:lnTo>
                <a:lnTo>
                  <a:pt x="3585" y="50754"/>
                </a:lnTo>
                <a:lnTo>
                  <a:pt x="3868" y="51509"/>
                </a:lnTo>
                <a:lnTo>
                  <a:pt x="3868" y="51509"/>
                </a:lnTo>
                <a:lnTo>
                  <a:pt x="3208" y="49528"/>
                </a:lnTo>
                <a:lnTo>
                  <a:pt x="3208" y="49528"/>
                </a:lnTo>
                <a:lnTo>
                  <a:pt x="3868" y="50754"/>
                </a:lnTo>
                <a:lnTo>
                  <a:pt x="3208" y="48962"/>
                </a:lnTo>
                <a:lnTo>
                  <a:pt x="3585" y="49339"/>
                </a:lnTo>
                <a:lnTo>
                  <a:pt x="3774" y="49433"/>
                </a:lnTo>
                <a:lnTo>
                  <a:pt x="3962" y="49528"/>
                </a:lnTo>
                <a:lnTo>
                  <a:pt x="4057" y="49905"/>
                </a:lnTo>
                <a:lnTo>
                  <a:pt x="3868" y="48962"/>
                </a:lnTo>
                <a:lnTo>
                  <a:pt x="3491" y="47924"/>
                </a:lnTo>
                <a:lnTo>
                  <a:pt x="2641" y="45565"/>
                </a:lnTo>
                <a:lnTo>
                  <a:pt x="2170" y="43867"/>
                </a:lnTo>
                <a:lnTo>
                  <a:pt x="1698" y="41886"/>
                </a:lnTo>
                <a:lnTo>
                  <a:pt x="1698" y="41886"/>
                </a:lnTo>
                <a:lnTo>
                  <a:pt x="1887" y="42075"/>
                </a:lnTo>
                <a:lnTo>
                  <a:pt x="1981" y="41981"/>
                </a:lnTo>
                <a:lnTo>
                  <a:pt x="2075" y="42075"/>
                </a:lnTo>
                <a:lnTo>
                  <a:pt x="2264" y="42169"/>
                </a:lnTo>
                <a:lnTo>
                  <a:pt x="2170" y="40283"/>
                </a:lnTo>
                <a:lnTo>
                  <a:pt x="2075" y="38301"/>
                </a:lnTo>
                <a:lnTo>
                  <a:pt x="2170" y="36415"/>
                </a:lnTo>
                <a:lnTo>
                  <a:pt x="2358" y="35566"/>
                </a:lnTo>
                <a:lnTo>
                  <a:pt x="2453" y="34811"/>
                </a:lnTo>
                <a:lnTo>
                  <a:pt x="2830" y="32830"/>
                </a:lnTo>
                <a:lnTo>
                  <a:pt x="2830" y="33207"/>
                </a:lnTo>
                <a:lnTo>
                  <a:pt x="2924" y="33490"/>
                </a:lnTo>
                <a:lnTo>
                  <a:pt x="2924" y="32453"/>
                </a:lnTo>
                <a:lnTo>
                  <a:pt x="3019" y="31415"/>
                </a:lnTo>
                <a:lnTo>
                  <a:pt x="3396" y="29245"/>
                </a:lnTo>
                <a:lnTo>
                  <a:pt x="3868" y="27075"/>
                </a:lnTo>
                <a:lnTo>
                  <a:pt x="4623" y="25000"/>
                </a:lnTo>
                <a:lnTo>
                  <a:pt x="5566" y="22830"/>
                </a:lnTo>
                <a:lnTo>
                  <a:pt x="6604" y="20849"/>
                </a:lnTo>
                <a:lnTo>
                  <a:pt x="7830" y="18868"/>
                </a:lnTo>
                <a:lnTo>
                  <a:pt x="9151" y="16887"/>
                </a:lnTo>
                <a:lnTo>
                  <a:pt x="10566" y="15094"/>
                </a:lnTo>
                <a:lnTo>
                  <a:pt x="12075" y="13302"/>
                </a:lnTo>
                <a:lnTo>
                  <a:pt x="13773" y="11698"/>
                </a:lnTo>
                <a:lnTo>
                  <a:pt x="15377" y="10095"/>
                </a:lnTo>
                <a:lnTo>
                  <a:pt x="17170" y="8679"/>
                </a:lnTo>
                <a:lnTo>
                  <a:pt x="18962" y="7453"/>
                </a:lnTo>
                <a:lnTo>
                  <a:pt x="20754" y="6321"/>
                </a:lnTo>
                <a:lnTo>
                  <a:pt x="22547" y="5378"/>
                </a:lnTo>
                <a:lnTo>
                  <a:pt x="21603" y="6227"/>
                </a:lnTo>
                <a:lnTo>
                  <a:pt x="22641" y="5472"/>
                </a:lnTo>
                <a:lnTo>
                  <a:pt x="23302" y="5095"/>
                </a:lnTo>
                <a:lnTo>
                  <a:pt x="25377" y="4151"/>
                </a:lnTo>
                <a:lnTo>
                  <a:pt x="24811" y="4151"/>
                </a:lnTo>
                <a:lnTo>
                  <a:pt x="25660" y="3774"/>
                </a:lnTo>
                <a:lnTo>
                  <a:pt x="26886" y="3208"/>
                </a:lnTo>
                <a:lnTo>
                  <a:pt x="26603" y="3585"/>
                </a:lnTo>
                <a:lnTo>
                  <a:pt x="26886" y="3585"/>
                </a:lnTo>
                <a:lnTo>
                  <a:pt x="26886" y="3680"/>
                </a:lnTo>
                <a:lnTo>
                  <a:pt x="26792" y="3774"/>
                </a:lnTo>
                <a:lnTo>
                  <a:pt x="28301" y="3302"/>
                </a:lnTo>
                <a:lnTo>
                  <a:pt x="29622" y="2736"/>
                </a:lnTo>
                <a:lnTo>
                  <a:pt x="31037" y="2264"/>
                </a:lnTo>
                <a:lnTo>
                  <a:pt x="31792" y="2076"/>
                </a:lnTo>
                <a:lnTo>
                  <a:pt x="32641" y="1981"/>
                </a:lnTo>
                <a:lnTo>
                  <a:pt x="32547" y="2076"/>
                </a:lnTo>
                <a:lnTo>
                  <a:pt x="32924" y="1981"/>
                </a:lnTo>
                <a:lnTo>
                  <a:pt x="34245" y="1793"/>
                </a:lnTo>
                <a:lnTo>
                  <a:pt x="35848" y="1415"/>
                </a:lnTo>
                <a:lnTo>
                  <a:pt x="36981" y="1132"/>
                </a:lnTo>
                <a:lnTo>
                  <a:pt x="36981" y="1415"/>
                </a:lnTo>
                <a:lnTo>
                  <a:pt x="40943" y="1227"/>
                </a:lnTo>
                <a:lnTo>
                  <a:pt x="41509" y="1038"/>
                </a:lnTo>
                <a:lnTo>
                  <a:pt x="41697" y="1132"/>
                </a:lnTo>
                <a:lnTo>
                  <a:pt x="41509" y="1227"/>
                </a:lnTo>
                <a:lnTo>
                  <a:pt x="41320" y="1321"/>
                </a:lnTo>
                <a:lnTo>
                  <a:pt x="42263" y="1321"/>
                </a:lnTo>
                <a:lnTo>
                  <a:pt x="43113" y="1227"/>
                </a:lnTo>
                <a:lnTo>
                  <a:pt x="43396" y="1415"/>
                </a:lnTo>
                <a:lnTo>
                  <a:pt x="44056" y="1604"/>
                </a:lnTo>
                <a:lnTo>
                  <a:pt x="45943" y="2076"/>
                </a:lnTo>
                <a:lnTo>
                  <a:pt x="48018" y="2359"/>
                </a:lnTo>
                <a:lnTo>
                  <a:pt x="49622" y="2736"/>
                </a:lnTo>
                <a:lnTo>
                  <a:pt x="47641" y="1981"/>
                </a:lnTo>
                <a:lnTo>
                  <a:pt x="45282" y="1321"/>
                </a:lnTo>
                <a:lnTo>
                  <a:pt x="42735" y="755"/>
                </a:lnTo>
                <a:lnTo>
                  <a:pt x="40188" y="283"/>
                </a:lnTo>
                <a:lnTo>
                  <a:pt x="37735" y="95"/>
                </a:lnTo>
                <a:lnTo>
                  <a:pt x="35471" y="0"/>
                </a:lnTo>
                <a:close/>
              </a:path>
            </a:pathLst>
          </a:custGeom>
          <a:solidFill>
            <a:srgbClr val="F26F27">
              <a:alpha val="50000"/>
            </a:srgbClr>
          </a:solidFill>
          <a:ln w="0">
            <a:solidFill>
              <a:srgbClr val="F26F27">
                <a:alpha val="55000"/>
              </a:srgbClr>
            </a:solidFill>
          </a:ln>
        </p:spPr>
        <p:txBody>
          <a:bodyPr spcFirstLastPara="1" wrap="square" lIns="91425" tIns="91425" rIns="91425" bIns="91425" anchor="ctr" anchorCtr="0">
            <a:noAutofit/>
          </a:bodyPr>
          <a:lstStyle/>
          <a:p>
            <a:pPr marL="0" lvl="0" indent="0">
              <a:spcBef>
                <a:spcPts val="0"/>
              </a:spcBef>
              <a:spcAft>
                <a:spcPts val="0"/>
              </a:spcAft>
              <a:buNone/>
            </a:pPr>
            <a:endParaRPr sz="1100" dirty="0">
              <a:latin typeface="Comic Sans MS" panose="030F0902030302020204" pitchFamily="66" charset="0"/>
            </a:endParaRPr>
          </a:p>
        </p:txBody>
      </p:sp>
      <p:pic>
        <p:nvPicPr>
          <p:cNvPr id="132" name="Picture 131">
            <a:extLst>
              <a:ext uri="{FF2B5EF4-FFF2-40B4-BE49-F238E27FC236}">
                <a16:creationId xmlns:a16="http://schemas.microsoft.com/office/drawing/2014/main" id="{86F94FBE-8735-8445-B84C-5722EE7F7A95}"/>
              </a:ext>
            </a:extLst>
          </p:cNvPr>
          <p:cNvPicPr>
            <a:picLocks noChangeAspect="1"/>
          </p:cNvPicPr>
          <p:nvPr/>
        </p:nvPicPr>
        <p:blipFill>
          <a:blip r:embed="rId2">
            <a:alphaModFix amt="10000"/>
          </a:blip>
          <a:stretch>
            <a:fillRect/>
          </a:stretch>
        </p:blipFill>
        <p:spPr>
          <a:xfrm>
            <a:off x="5811359" y="4827424"/>
            <a:ext cx="473188" cy="553482"/>
          </a:xfrm>
          <a:prstGeom prst="rect">
            <a:avLst/>
          </a:prstGeom>
        </p:spPr>
      </p:pic>
      <p:grpSp>
        <p:nvGrpSpPr>
          <p:cNvPr id="140" name="Group 139">
            <a:extLst>
              <a:ext uri="{FF2B5EF4-FFF2-40B4-BE49-F238E27FC236}">
                <a16:creationId xmlns:a16="http://schemas.microsoft.com/office/drawing/2014/main" id="{4D06CB12-5798-2C4F-B27A-6DA38275C850}"/>
              </a:ext>
            </a:extLst>
          </p:cNvPr>
          <p:cNvGrpSpPr/>
          <p:nvPr/>
        </p:nvGrpSpPr>
        <p:grpSpPr>
          <a:xfrm rot="355199">
            <a:off x="5856695" y="4516351"/>
            <a:ext cx="367408" cy="288412"/>
            <a:chOff x="8085217" y="1534789"/>
            <a:chExt cx="488738" cy="454871"/>
          </a:xfrm>
        </p:grpSpPr>
        <p:sp>
          <p:nvSpPr>
            <p:cNvPr id="146" name="TextBox 145">
              <a:extLst>
                <a:ext uri="{FF2B5EF4-FFF2-40B4-BE49-F238E27FC236}">
                  <a16:creationId xmlns:a16="http://schemas.microsoft.com/office/drawing/2014/main" id="{4CCE5CBE-07C3-4A46-B3EC-21E76930C6A1}"/>
                </a:ext>
              </a:extLst>
            </p:cNvPr>
            <p:cNvSpPr txBox="1"/>
            <p:nvPr/>
          </p:nvSpPr>
          <p:spPr>
            <a:xfrm>
              <a:off x="8085217" y="1557375"/>
              <a:ext cx="488738" cy="432285"/>
            </a:xfrm>
            <a:prstGeom prst="rect">
              <a:avLst/>
            </a:prstGeom>
            <a:noFill/>
          </p:spPr>
          <p:txBody>
            <a:bodyPr wrap="none" tIns="90000" bIns="90000" rtlCol="0" anchor="t">
              <a:spAutoFit/>
            </a:bodyPr>
            <a:lstStyle/>
            <a:p>
              <a:pPr algn="ctr"/>
              <a:r>
                <a:rPr lang="en-US" sz="600" dirty="0">
                  <a:solidFill>
                    <a:schemeClr val="tx1">
                      <a:lumMod val="50000"/>
                    </a:schemeClr>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Logic</a:t>
              </a:r>
            </a:p>
          </p:txBody>
        </p:sp>
        <p:sp>
          <p:nvSpPr>
            <p:cNvPr id="147" name="Arc 146">
              <a:extLst>
                <a:ext uri="{FF2B5EF4-FFF2-40B4-BE49-F238E27FC236}">
                  <a16:creationId xmlns:a16="http://schemas.microsoft.com/office/drawing/2014/main" id="{E4BBB613-CCC5-1D42-A9EA-83BDCAA68ADB}"/>
                </a:ext>
              </a:extLst>
            </p:cNvPr>
            <p:cNvSpPr/>
            <p:nvPr/>
          </p:nvSpPr>
          <p:spPr>
            <a:xfrm>
              <a:off x="8110618" y="1534789"/>
              <a:ext cx="437940" cy="411480"/>
            </a:xfrm>
            <a:prstGeom prst="arc">
              <a:avLst>
                <a:gd name="adj1" fmla="val 10955217"/>
                <a:gd name="adj2" fmla="val 32241"/>
              </a:avLst>
            </a:prstGeom>
            <a:ln>
              <a:solidFill>
                <a:srgbClr val="F26F27"/>
              </a:solidFill>
              <a:headEnd type="none"/>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100" dirty="0">
                <a:solidFill>
                  <a:schemeClr val="tx1">
                    <a:lumMod val="50000"/>
                  </a:schemeClr>
                </a:solidFill>
                <a:latin typeface="Comic Sans MS" panose="030F0902030302020204" pitchFamily="66" charset="0"/>
              </a:endParaRPr>
            </a:p>
          </p:txBody>
        </p:sp>
        <p:sp>
          <p:nvSpPr>
            <p:cNvPr id="148" name="Arc 147">
              <a:extLst>
                <a:ext uri="{FF2B5EF4-FFF2-40B4-BE49-F238E27FC236}">
                  <a16:creationId xmlns:a16="http://schemas.microsoft.com/office/drawing/2014/main" id="{3CD6FEB0-9F72-B946-A388-57318168C7A6}"/>
                </a:ext>
              </a:extLst>
            </p:cNvPr>
            <p:cNvSpPr/>
            <p:nvPr/>
          </p:nvSpPr>
          <p:spPr>
            <a:xfrm rot="11182285">
              <a:off x="8112351" y="1618192"/>
              <a:ext cx="437940" cy="345194"/>
            </a:xfrm>
            <a:prstGeom prst="arc">
              <a:avLst>
                <a:gd name="adj1" fmla="val 10284682"/>
                <a:gd name="adj2" fmla="val 21540638"/>
              </a:avLst>
            </a:prstGeom>
            <a:ln>
              <a:solidFill>
                <a:srgbClr val="F26F27"/>
              </a:solidFill>
              <a:headEnd type="none"/>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100">
                <a:solidFill>
                  <a:schemeClr val="tx1">
                    <a:lumMod val="50000"/>
                  </a:schemeClr>
                </a:solidFill>
                <a:latin typeface="Comic Sans MS" panose="030F0902030302020204" pitchFamily="66" charset="0"/>
              </a:endParaRPr>
            </a:p>
          </p:txBody>
        </p:sp>
      </p:grpSp>
      <p:sp>
        <p:nvSpPr>
          <p:cNvPr id="150" name="Down Arrow 149">
            <a:extLst>
              <a:ext uri="{FF2B5EF4-FFF2-40B4-BE49-F238E27FC236}">
                <a16:creationId xmlns:a16="http://schemas.microsoft.com/office/drawing/2014/main" id="{64EE3CBA-6F7C-6A45-9EA4-57ABE24DCED1}"/>
              </a:ext>
            </a:extLst>
          </p:cNvPr>
          <p:cNvSpPr/>
          <p:nvPr/>
        </p:nvSpPr>
        <p:spPr>
          <a:xfrm>
            <a:off x="5934518" y="4742119"/>
            <a:ext cx="210266" cy="248803"/>
          </a:xfrm>
          <a:prstGeom prst="downArrow">
            <a:avLst/>
          </a:prstGeom>
          <a:solidFill>
            <a:srgbClr val="F26F27"/>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000" dirty="0">
              <a:solidFill>
                <a:srgbClr val="002D72"/>
              </a:solidFill>
              <a:latin typeface="Comic Sans MS" panose="030F0902030302020204" pitchFamily="66" charset="0"/>
              <a:cs typeface="Arial" pitchFamily="34" charset="0"/>
            </a:endParaRPr>
          </a:p>
        </p:txBody>
      </p:sp>
      <p:sp>
        <p:nvSpPr>
          <p:cNvPr id="151" name="Oval 150">
            <a:extLst>
              <a:ext uri="{FF2B5EF4-FFF2-40B4-BE49-F238E27FC236}">
                <a16:creationId xmlns:a16="http://schemas.microsoft.com/office/drawing/2014/main" id="{7323FED4-2F0C-D24B-971A-93AB332BB532}"/>
              </a:ext>
            </a:extLst>
          </p:cNvPr>
          <p:cNvSpPr/>
          <p:nvPr/>
        </p:nvSpPr>
        <p:spPr>
          <a:xfrm>
            <a:off x="2717853" y="2421448"/>
            <a:ext cx="1094709" cy="1179334"/>
          </a:xfrm>
          <a:prstGeom prst="ellipse">
            <a:avLst/>
          </a:prstGeom>
          <a:solidFill>
            <a:srgbClr val="F26F27">
              <a:alpha val="32000"/>
            </a:srgb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000" dirty="0">
              <a:solidFill>
                <a:srgbClr val="002D72"/>
              </a:solidFill>
              <a:latin typeface="Comic Sans MS" panose="030F0902030302020204" pitchFamily="66" charset="0"/>
              <a:cs typeface="Arial" pitchFamily="34" charset="0"/>
            </a:endParaRPr>
          </a:p>
        </p:txBody>
      </p:sp>
      <p:pic>
        <p:nvPicPr>
          <p:cNvPr id="152" name="Picture 151">
            <a:extLst>
              <a:ext uri="{FF2B5EF4-FFF2-40B4-BE49-F238E27FC236}">
                <a16:creationId xmlns:a16="http://schemas.microsoft.com/office/drawing/2014/main" id="{98C06920-8A26-804F-B78D-308DD004DC06}"/>
              </a:ext>
            </a:extLst>
          </p:cNvPr>
          <p:cNvPicPr>
            <a:picLocks noChangeAspect="1"/>
          </p:cNvPicPr>
          <p:nvPr/>
        </p:nvPicPr>
        <p:blipFill>
          <a:blip r:embed="rId2">
            <a:alphaModFix amt="10000"/>
          </a:blip>
          <a:stretch>
            <a:fillRect/>
          </a:stretch>
        </p:blipFill>
        <p:spPr>
          <a:xfrm>
            <a:off x="3028874" y="2992399"/>
            <a:ext cx="473188" cy="553482"/>
          </a:xfrm>
          <a:prstGeom prst="rect">
            <a:avLst/>
          </a:prstGeom>
        </p:spPr>
      </p:pic>
      <p:grpSp>
        <p:nvGrpSpPr>
          <p:cNvPr id="153" name="Group 152">
            <a:extLst>
              <a:ext uri="{FF2B5EF4-FFF2-40B4-BE49-F238E27FC236}">
                <a16:creationId xmlns:a16="http://schemas.microsoft.com/office/drawing/2014/main" id="{3EBD428A-2E71-3F46-B1D5-3338F0DBC679}"/>
              </a:ext>
            </a:extLst>
          </p:cNvPr>
          <p:cNvGrpSpPr/>
          <p:nvPr/>
        </p:nvGrpSpPr>
        <p:grpSpPr>
          <a:xfrm rot="355199">
            <a:off x="3074210" y="2681326"/>
            <a:ext cx="367408" cy="288412"/>
            <a:chOff x="8085217" y="1534789"/>
            <a:chExt cx="488738" cy="454871"/>
          </a:xfrm>
        </p:grpSpPr>
        <p:sp>
          <p:nvSpPr>
            <p:cNvPr id="154" name="TextBox 153">
              <a:extLst>
                <a:ext uri="{FF2B5EF4-FFF2-40B4-BE49-F238E27FC236}">
                  <a16:creationId xmlns:a16="http://schemas.microsoft.com/office/drawing/2014/main" id="{B037C1DF-C5E2-EF42-A5AE-175127D9DCBB}"/>
                </a:ext>
              </a:extLst>
            </p:cNvPr>
            <p:cNvSpPr txBox="1"/>
            <p:nvPr/>
          </p:nvSpPr>
          <p:spPr>
            <a:xfrm>
              <a:off x="8085217" y="1557375"/>
              <a:ext cx="488738" cy="432285"/>
            </a:xfrm>
            <a:prstGeom prst="rect">
              <a:avLst/>
            </a:prstGeom>
            <a:noFill/>
          </p:spPr>
          <p:txBody>
            <a:bodyPr wrap="none" tIns="90000" bIns="90000" rtlCol="0" anchor="t">
              <a:spAutoFit/>
            </a:bodyPr>
            <a:lstStyle/>
            <a:p>
              <a:pPr algn="ctr"/>
              <a:r>
                <a:rPr lang="en-US" sz="600" dirty="0">
                  <a:solidFill>
                    <a:schemeClr val="tx1">
                      <a:lumMod val="50000"/>
                    </a:schemeClr>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Logic</a:t>
              </a:r>
            </a:p>
          </p:txBody>
        </p:sp>
        <p:sp>
          <p:nvSpPr>
            <p:cNvPr id="155" name="Arc 154">
              <a:extLst>
                <a:ext uri="{FF2B5EF4-FFF2-40B4-BE49-F238E27FC236}">
                  <a16:creationId xmlns:a16="http://schemas.microsoft.com/office/drawing/2014/main" id="{B60D393A-8C0F-8649-936E-7A37FC9CD81F}"/>
                </a:ext>
              </a:extLst>
            </p:cNvPr>
            <p:cNvSpPr/>
            <p:nvPr/>
          </p:nvSpPr>
          <p:spPr>
            <a:xfrm>
              <a:off x="8110618" y="1534789"/>
              <a:ext cx="437940" cy="411480"/>
            </a:xfrm>
            <a:prstGeom prst="arc">
              <a:avLst>
                <a:gd name="adj1" fmla="val 10955217"/>
                <a:gd name="adj2" fmla="val 32241"/>
              </a:avLst>
            </a:prstGeom>
            <a:ln>
              <a:solidFill>
                <a:srgbClr val="F26F27"/>
              </a:solidFill>
              <a:headEnd type="none"/>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100" dirty="0">
                <a:solidFill>
                  <a:schemeClr val="tx1">
                    <a:lumMod val="50000"/>
                  </a:schemeClr>
                </a:solidFill>
                <a:latin typeface="Comic Sans MS" panose="030F0902030302020204" pitchFamily="66" charset="0"/>
              </a:endParaRPr>
            </a:p>
          </p:txBody>
        </p:sp>
        <p:sp>
          <p:nvSpPr>
            <p:cNvPr id="157" name="Arc 156">
              <a:extLst>
                <a:ext uri="{FF2B5EF4-FFF2-40B4-BE49-F238E27FC236}">
                  <a16:creationId xmlns:a16="http://schemas.microsoft.com/office/drawing/2014/main" id="{CA1A1C8C-3D6D-7249-AA4B-281FE806F78D}"/>
                </a:ext>
              </a:extLst>
            </p:cNvPr>
            <p:cNvSpPr/>
            <p:nvPr/>
          </p:nvSpPr>
          <p:spPr>
            <a:xfrm rot="11182285">
              <a:off x="8112351" y="1618192"/>
              <a:ext cx="437940" cy="345194"/>
            </a:xfrm>
            <a:prstGeom prst="arc">
              <a:avLst>
                <a:gd name="adj1" fmla="val 10284682"/>
                <a:gd name="adj2" fmla="val 21540638"/>
              </a:avLst>
            </a:prstGeom>
            <a:ln>
              <a:solidFill>
                <a:srgbClr val="F26F27"/>
              </a:solidFill>
              <a:headEnd type="none"/>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100">
                <a:solidFill>
                  <a:schemeClr val="tx1">
                    <a:lumMod val="50000"/>
                  </a:schemeClr>
                </a:solidFill>
                <a:latin typeface="Comic Sans MS" panose="030F0902030302020204" pitchFamily="66" charset="0"/>
              </a:endParaRPr>
            </a:p>
          </p:txBody>
        </p:sp>
      </p:grpSp>
      <p:sp>
        <p:nvSpPr>
          <p:cNvPr id="158" name="Down Arrow 157">
            <a:extLst>
              <a:ext uri="{FF2B5EF4-FFF2-40B4-BE49-F238E27FC236}">
                <a16:creationId xmlns:a16="http://schemas.microsoft.com/office/drawing/2014/main" id="{EA4D65C6-387C-4D42-9973-7A95ACE70474}"/>
              </a:ext>
            </a:extLst>
          </p:cNvPr>
          <p:cNvSpPr/>
          <p:nvPr/>
        </p:nvSpPr>
        <p:spPr>
          <a:xfrm>
            <a:off x="3152033" y="2907094"/>
            <a:ext cx="210266" cy="248803"/>
          </a:xfrm>
          <a:prstGeom prst="downArrow">
            <a:avLst/>
          </a:prstGeom>
          <a:solidFill>
            <a:srgbClr val="F26F27"/>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000" dirty="0">
              <a:solidFill>
                <a:srgbClr val="002D72"/>
              </a:solidFill>
              <a:latin typeface="Comic Sans MS" panose="030F0902030302020204" pitchFamily="66" charset="0"/>
              <a:cs typeface="Arial" pitchFamily="34" charset="0"/>
            </a:endParaRPr>
          </a:p>
        </p:txBody>
      </p:sp>
      <p:cxnSp>
        <p:nvCxnSpPr>
          <p:cNvPr id="8" name="Straight Arrow Connector 7">
            <a:extLst>
              <a:ext uri="{FF2B5EF4-FFF2-40B4-BE49-F238E27FC236}">
                <a16:creationId xmlns:a16="http://schemas.microsoft.com/office/drawing/2014/main" id="{7FDB1D39-17E0-034B-8230-0F4D28AAB476}"/>
              </a:ext>
            </a:extLst>
          </p:cNvPr>
          <p:cNvCxnSpPr>
            <a:cxnSpLocks/>
            <a:stCxn id="81" idx="3"/>
            <a:endCxn id="95" idx="2"/>
          </p:cNvCxnSpPr>
          <p:nvPr/>
        </p:nvCxnSpPr>
        <p:spPr>
          <a:xfrm>
            <a:off x="6547780" y="3026270"/>
            <a:ext cx="1722888" cy="4766"/>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159" name="Straight Arrow Connector 158">
            <a:extLst>
              <a:ext uri="{FF2B5EF4-FFF2-40B4-BE49-F238E27FC236}">
                <a16:creationId xmlns:a16="http://schemas.microsoft.com/office/drawing/2014/main" id="{577644FE-4807-AD41-8753-45D55E340947}"/>
              </a:ext>
            </a:extLst>
          </p:cNvPr>
          <p:cNvCxnSpPr>
            <a:cxnSpLocks/>
          </p:cNvCxnSpPr>
          <p:nvPr/>
        </p:nvCxnSpPr>
        <p:spPr>
          <a:xfrm>
            <a:off x="6549280" y="3154606"/>
            <a:ext cx="1722888" cy="4766"/>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160" name="Straight Arrow Connector 159">
            <a:extLst>
              <a:ext uri="{FF2B5EF4-FFF2-40B4-BE49-F238E27FC236}">
                <a16:creationId xmlns:a16="http://schemas.microsoft.com/office/drawing/2014/main" id="{2F2FD7F0-6E7D-414C-8614-9DB9F86B44A6}"/>
              </a:ext>
            </a:extLst>
          </p:cNvPr>
          <p:cNvCxnSpPr>
            <a:cxnSpLocks/>
          </p:cNvCxnSpPr>
          <p:nvPr/>
        </p:nvCxnSpPr>
        <p:spPr>
          <a:xfrm>
            <a:off x="6547780" y="2900317"/>
            <a:ext cx="1722888" cy="4766"/>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161" name="Straight Arrow Connector 160">
            <a:extLst>
              <a:ext uri="{FF2B5EF4-FFF2-40B4-BE49-F238E27FC236}">
                <a16:creationId xmlns:a16="http://schemas.microsoft.com/office/drawing/2014/main" id="{2C80ACAE-FE89-544D-AC5E-247385E37E80}"/>
              </a:ext>
            </a:extLst>
          </p:cNvPr>
          <p:cNvCxnSpPr>
            <a:cxnSpLocks/>
            <a:stCxn id="81" idx="1"/>
            <a:endCxn id="151" idx="6"/>
          </p:cNvCxnSpPr>
          <p:nvPr/>
        </p:nvCxnSpPr>
        <p:spPr>
          <a:xfrm flipH="1" flipV="1">
            <a:off x="3812562" y="3011115"/>
            <a:ext cx="1576024" cy="15155"/>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164" name="Straight Arrow Connector 163">
            <a:extLst>
              <a:ext uri="{FF2B5EF4-FFF2-40B4-BE49-F238E27FC236}">
                <a16:creationId xmlns:a16="http://schemas.microsoft.com/office/drawing/2014/main" id="{B359CFBB-7393-BB4C-86FF-435202A40566}"/>
              </a:ext>
            </a:extLst>
          </p:cNvPr>
          <p:cNvCxnSpPr>
            <a:cxnSpLocks/>
          </p:cNvCxnSpPr>
          <p:nvPr/>
        </p:nvCxnSpPr>
        <p:spPr>
          <a:xfrm flipH="1" flipV="1">
            <a:off x="3796479" y="3146552"/>
            <a:ext cx="1591128" cy="8054"/>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165" name="Straight Arrow Connector 164">
            <a:extLst>
              <a:ext uri="{FF2B5EF4-FFF2-40B4-BE49-F238E27FC236}">
                <a16:creationId xmlns:a16="http://schemas.microsoft.com/office/drawing/2014/main" id="{287A056E-7FD2-3D4A-8DCE-D783B757B607}"/>
              </a:ext>
            </a:extLst>
          </p:cNvPr>
          <p:cNvCxnSpPr>
            <a:cxnSpLocks/>
          </p:cNvCxnSpPr>
          <p:nvPr/>
        </p:nvCxnSpPr>
        <p:spPr>
          <a:xfrm flipH="1" flipV="1">
            <a:off x="3796479" y="2889109"/>
            <a:ext cx="1593775" cy="1724"/>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pic>
        <p:nvPicPr>
          <p:cNvPr id="27" name="Picture 26">
            <a:extLst>
              <a:ext uri="{FF2B5EF4-FFF2-40B4-BE49-F238E27FC236}">
                <a16:creationId xmlns:a16="http://schemas.microsoft.com/office/drawing/2014/main" id="{64B92DD3-6F79-444E-9E5F-FC3088D100ED}"/>
              </a:ext>
            </a:extLst>
          </p:cNvPr>
          <p:cNvPicPr>
            <a:picLocks noChangeAspect="1"/>
          </p:cNvPicPr>
          <p:nvPr/>
        </p:nvPicPr>
        <p:blipFill>
          <a:blip r:embed="rId3">
            <a:alphaModFix amt="19000"/>
          </a:blip>
          <a:stretch>
            <a:fillRect/>
          </a:stretch>
        </p:blipFill>
        <p:spPr>
          <a:xfrm>
            <a:off x="5775522" y="2149942"/>
            <a:ext cx="357409" cy="392599"/>
          </a:xfrm>
          <a:prstGeom prst="rect">
            <a:avLst/>
          </a:prstGeom>
        </p:spPr>
      </p:pic>
      <p:sp>
        <p:nvSpPr>
          <p:cNvPr id="166" name="TextBox 165">
            <a:extLst>
              <a:ext uri="{FF2B5EF4-FFF2-40B4-BE49-F238E27FC236}">
                <a16:creationId xmlns:a16="http://schemas.microsoft.com/office/drawing/2014/main" id="{2CF4B5FE-D75C-534F-A4FF-4D206DE72FAE}"/>
              </a:ext>
            </a:extLst>
          </p:cNvPr>
          <p:cNvSpPr txBox="1"/>
          <p:nvPr/>
        </p:nvSpPr>
        <p:spPr>
          <a:xfrm>
            <a:off x="6901304" y="1407016"/>
            <a:ext cx="1418978" cy="320257"/>
          </a:xfrm>
          <a:prstGeom prst="rect">
            <a:avLst/>
          </a:prstGeom>
          <a:noFill/>
        </p:spPr>
        <p:txBody>
          <a:bodyPr wrap="none" tIns="90000" bIns="90000" rtlCol="0" anchor="t">
            <a:spAutoFit/>
          </a:bodyPr>
          <a:lstStyle/>
          <a:p>
            <a:pPr algn="ctr"/>
            <a:r>
              <a:rPr lang="en-US" sz="900" dirty="0">
                <a:solidFill>
                  <a:schemeClr val="tx1">
                    <a:lumMod val="50000"/>
                  </a:schemeClr>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I broadcast what I did</a:t>
            </a:r>
          </a:p>
        </p:txBody>
      </p:sp>
      <p:sp>
        <p:nvSpPr>
          <p:cNvPr id="167" name="TextBox 166">
            <a:extLst>
              <a:ext uri="{FF2B5EF4-FFF2-40B4-BE49-F238E27FC236}">
                <a16:creationId xmlns:a16="http://schemas.microsoft.com/office/drawing/2014/main" id="{C247A5ED-4382-3B4E-B969-A3E8D243784D}"/>
              </a:ext>
            </a:extLst>
          </p:cNvPr>
          <p:cNvSpPr txBox="1"/>
          <p:nvPr/>
        </p:nvSpPr>
        <p:spPr>
          <a:xfrm>
            <a:off x="7353614" y="4332501"/>
            <a:ext cx="1354020" cy="735756"/>
          </a:xfrm>
          <a:prstGeom prst="rect">
            <a:avLst/>
          </a:prstGeom>
          <a:noFill/>
        </p:spPr>
        <p:txBody>
          <a:bodyPr wrap="square" tIns="90000" bIns="90000" rtlCol="0" anchor="t">
            <a:spAutoFit/>
          </a:bodyPr>
          <a:lstStyle/>
          <a:p>
            <a:pPr algn="just"/>
            <a:r>
              <a:rPr lang="en-US" sz="900" dirty="0">
                <a:solidFill>
                  <a:schemeClr val="tx1">
                    <a:lumMod val="50000"/>
                  </a:schemeClr>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Queries don´t span context, they use a local copy of the replicated events</a:t>
            </a:r>
          </a:p>
        </p:txBody>
      </p:sp>
      <p:cxnSp>
        <p:nvCxnSpPr>
          <p:cNvPr id="168" name="Straight Connector 167">
            <a:extLst>
              <a:ext uri="{FF2B5EF4-FFF2-40B4-BE49-F238E27FC236}">
                <a16:creationId xmlns:a16="http://schemas.microsoft.com/office/drawing/2014/main" id="{D91954CF-1D45-4348-8A04-01885F9AC2E9}"/>
              </a:ext>
            </a:extLst>
          </p:cNvPr>
          <p:cNvCxnSpPr>
            <a:cxnSpLocks/>
          </p:cNvCxnSpPr>
          <p:nvPr/>
        </p:nvCxnSpPr>
        <p:spPr>
          <a:xfrm flipV="1">
            <a:off x="6411524" y="4421700"/>
            <a:ext cx="1131103" cy="225173"/>
          </a:xfrm>
          <a:prstGeom prst="line">
            <a:avLst/>
          </a:prstGeom>
          <a:ln w="12700">
            <a:solidFill>
              <a:srgbClr val="0079D1"/>
            </a:solidFill>
            <a:headEnd type="triangle"/>
          </a:ln>
        </p:spPr>
        <p:style>
          <a:lnRef idx="1">
            <a:schemeClr val="accent1"/>
          </a:lnRef>
          <a:fillRef idx="0">
            <a:schemeClr val="accent1"/>
          </a:fillRef>
          <a:effectRef idx="0">
            <a:schemeClr val="accent1"/>
          </a:effectRef>
          <a:fontRef idx="minor">
            <a:schemeClr val="tx1"/>
          </a:fontRef>
        </p:style>
      </p:cxnSp>
      <p:cxnSp>
        <p:nvCxnSpPr>
          <p:cNvPr id="169" name="Straight Connector 168">
            <a:extLst>
              <a:ext uri="{FF2B5EF4-FFF2-40B4-BE49-F238E27FC236}">
                <a16:creationId xmlns:a16="http://schemas.microsoft.com/office/drawing/2014/main" id="{F5AE6BD0-0094-9D43-ACDC-52E16D9014B1}"/>
              </a:ext>
            </a:extLst>
          </p:cNvPr>
          <p:cNvCxnSpPr>
            <a:cxnSpLocks/>
          </p:cNvCxnSpPr>
          <p:nvPr/>
        </p:nvCxnSpPr>
        <p:spPr>
          <a:xfrm flipH="1">
            <a:off x="7542627" y="3408895"/>
            <a:ext cx="769576" cy="1012805"/>
          </a:xfrm>
          <a:prstGeom prst="line">
            <a:avLst/>
          </a:prstGeom>
          <a:ln w="12700">
            <a:solidFill>
              <a:srgbClr val="0079D1"/>
            </a:solidFill>
            <a:headEnd type="triangle"/>
          </a:ln>
        </p:spPr>
        <p:style>
          <a:lnRef idx="1">
            <a:schemeClr val="accent1"/>
          </a:lnRef>
          <a:fillRef idx="0">
            <a:schemeClr val="accent1"/>
          </a:fillRef>
          <a:effectRef idx="0">
            <a:schemeClr val="accent1"/>
          </a:effectRef>
          <a:fontRef idx="minor">
            <a:schemeClr val="tx1"/>
          </a:fontRef>
        </p:style>
      </p:cxnSp>
      <p:cxnSp>
        <p:nvCxnSpPr>
          <p:cNvPr id="170" name="Straight Connector 169">
            <a:extLst>
              <a:ext uri="{FF2B5EF4-FFF2-40B4-BE49-F238E27FC236}">
                <a16:creationId xmlns:a16="http://schemas.microsoft.com/office/drawing/2014/main" id="{269022B0-798F-8045-8690-2EB7FD1B33B1}"/>
              </a:ext>
            </a:extLst>
          </p:cNvPr>
          <p:cNvCxnSpPr>
            <a:cxnSpLocks/>
            <a:endCxn id="166" idx="1"/>
          </p:cNvCxnSpPr>
          <p:nvPr/>
        </p:nvCxnSpPr>
        <p:spPr>
          <a:xfrm flipV="1">
            <a:off x="6227041" y="1567145"/>
            <a:ext cx="674263" cy="230286"/>
          </a:xfrm>
          <a:prstGeom prst="line">
            <a:avLst/>
          </a:prstGeom>
          <a:ln w="12700">
            <a:solidFill>
              <a:srgbClr val="0079D1"/>
            </a:solidFill>
            <a:headEnd type="triangle"/>
          </a:ln>
        </p:spPr>
        <p:style>
          <a:lnRef idx="1">
            <a:schemeClr val="accent1"/>
          </a:lnRef>
          <a:fillRef idx="0">
            <a:schemeClr val="accent1"/>
          </a:fillRef>
          <a:effectRef idx="0">
            <a:schemeClr val="accent1"/>
          </a:effectRef>
          <a:fontRef idx="minor">
            <a:schemeClr val="tx1"/>
          </a:fontRef>
        </p:style>
      </p:cxnSp>
      <p:sp>
        <p:nvSpPr>
          <p:cNvPr id="171" name="TextBox 170">
            <a:extLst>
              <a:ext uri="{FF2B5EF4-FFF2-40B4-BE49-F238E27FC236}">
                <a16:creationId xmlns:a16="http://schemas.microsoft.com/office/drawing/2014/main" id="{364CB4D5-DD2D-D041-AF2D-C4CCFF2FA31C}"/>
              </a:ext>
            </a:extLst>
          </p:cNvPr>
          <p:cNvSpPr txBox="1"/>
          <p:nvPr/>
        </p:nvSpPr>
        <p:spPr>
          <a:xfrm>
            <a:off x="2648996" y="1401423"/>
            <a:ext cx="1216339" cy="597256"/>
          </a:xfrm>
          <a:prstGeom prst="rect">
            <a:avLst/>
          </a:prstGeom>
          <a:noFill/>
        </p:spPr>
        <p:txBody>
          <a:bodyPr wrap="square" tIns="90000" bIns="90000" rtlCol="0" anchor="t">
            <a:spAutoFit/>
          </a:bodyPr>
          <a:lstStyle/>
          <a:p>
            <a:pPr algn="just"/>
            <a:r>
              <a:rPr lang="en-US" sz="900" dirty="0">
                <a:solidFill>
                  <a:schemeClr val="tx1">
                    <a:lumMod val="50000"/>
                  </a:schemeClr>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Others work out what they should do next</a:t>
            </a:r>
          </a:p>
        </p:txBody>
      </p:sp>
      <p:cxnSp>
        <p:nvCxnSpPr>
          <p:cNvPr id="172" name="Straight Connector 171">
            <a:extLst>
              <a:ext uri="{FF2B5EF4-FFF2-40B4-BE49-F238E27FC236}">
                <a16:creationId xmlns:a16="http://schemas.microsoft.com/office/drawing/2014/main" id="{CD9B3F91-1C48-6D46-B032-5A41C2C09422}"/>
              </a:ext>
            </a:extLst>
          </p:cNvPr>
          <p:cNvCxnSpPr>
            <a:cxnSpLocks/>
            <a:stCxn id="151" idx="0"/>
            <a:endCxn id="171" idx="2"/>
          </p:cNvCxnSpPr>
          <p:nvPr/>
        </p:nvCxnSpPr>
        <p:spPr>
          <a:xfrm flipH="1" flipV="1">
            <a:off x="3257166" y="1998679"/>
            <a:ext cx="8042" cy="422769"/>
          </a:xfrm>
          <a:prstGeom prst="line">
            <a:avLst/>
          </a:prstGeom>
          <a:ln w="12700">
            <a:solidFill>
              <a:srgbClr val="0079D1"/>
            </a:solidFill>
            <a:headEnd type="triangle"/>
          </a:ln>
        </p:spPr>
        <p:style>
          <a:lnRef idx="1">
            <a:schemeClr val="accent1"/>
          </a:lnRef>
          <a:fillRef idx="0">
            <a:schemeClr val="accent1"/>
          </a:fillRef>
          <a:effectRef idx="0">
            <a:schemeClr val="accent1"/>
          </a:effectRef>
          <a:fontRef idx="minor">
            <a:schemeClr val="tx1"/>
          </a:fontRef>
        </p:style>
      </p:cxnSp>
      <p:cxnSp>
        <p:nvCxnSpPr>
          <p:cNvPr id="178" name="Straight Arrow Connector 177">
            <a:extLst>
              <a:ext uri="{FF2B5EF4-FFF2-40B4-BE49-F238E27FC236}">
                <a16:creationId xmlns:a16="http://schemas.microsoft.com/office/drawing/2014/main" id="{9A15F4B4-9423-2F46-AD89-E83AB29B2439}"/>
              </a:ext>
            </a:extLst>
          </p:cNvPr>
          <p:cNvCxnSpPr>
            <a:cxnSpLocks/>
            <a:stCxn id="81" idx="2"/>
          </p:cNvCxnSpPr>
          <p:nvPr/>
        </p:nvCxnSpPr>
        <p:spPr>
          <a:xfrm>
            <a:off x="5968183" y="3294823"/>
            <a:ext cx="18109" cy="885774"/>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182" name="Straight Arrow Connector 181">
            <a:extLst>
              <a:ext uri="{FF2B5EF4-FFF2-40B4-BE49-F238E27FC236}">
                <a16:creationId xmlns:a16="http://schemas.microsoft.com/office/drawing/2014/main" id="{B6CA2DD5-40D7-1B4E-9510-77297A878DA4}"/>
              </a:ext>
            </a:extLst>
          </p:cNvPr>
          <p:cNvCxnSpPr>
            <a:cxnSpLocks/>
          </p:cNvCxnSpPr>
          <p:nvPr/>
        </p:nvCxnSpPr>
        <p:spPr>
          <a:xfrm>
            <a:off x="6095219" y="3301572"/>
            <a:ext cx="18109" cy="885774"/>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183" name="Straight Arrow Connector 182">
            <a:extLst>
              <a:ext uri="{FF2B5EF4-FFF2-40B4-BE49-F238E27FC236}">
                <a16:creationId xmlns:a16="http://schemas.microsoft.com/office/drawing/2014/main" id="{4765D860-7479-224B-860E-1A1CDEEF1664}"/>
              </a:ext>
            </a:extLst>
          </p:cNvPr>
          <p:cNvCxnSpPr>
            <a:cxnSpLocks/>
          </p:cNvCxnSpPr>
          <p:nvPr/>
        </p:nvCxnSpPr>
        <p:spPr>
          <a:xfrm>
            <a:off x="5850136" y="3294823"/>
            <a:ext cx="18109" cy="885774"/>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188" name="TextBox 187">
            <a:extLst>
              <a:ext uri="{FF2B5EF4-FFF2-40B4-BE49-F238E27FC236}">
                <a16:creationId xmlns:a16="http://schemas.microsoft.com/office/drawing/2014/main" id="{8AF8086D-731B-6D45-9432-0BD48FA899AC}"/>
              </a:ext>
            </a:extLst>
          </p:cNvPr>
          <p:cNvSpPr txBox="1"/>
          <p:nvPr/>
        </p:nvSpPr>
        <p:spPr>
          <a:xfrm>
            <a:off x="3453249" y="5662367"/>
            <a:ext cx="5092829" cy="320257"/>
          </a:xfrm>
          <a:prstGeom prst="rect">
            <a:avLst/>
          </a:prstGeom>
          <a:noFill/>
        </p:spPr>
        <p:txBody>
          <a:bodyPr wrap="square" tIns="90000" bIns="90000" rtlCol="0" anchor="t">
            <a:spAutoFit/>
          </a:bodyPr>
          <a:lstStyle/>
          <a:p>
            <a:pPr algn="ctr"/>
            <a:r>
              <a:rPr lang="en-US" sz="900" dirty="0">
                <a:solidFill>
                  <a:schemeClr val="tx1">
                    <a:lumMod val="50000"/>
                  </a:schemeClr>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Event-driven approaches demonstrating how event-driven approaches provide less coupling</a:t>
            </a:r>
          </a:p>
        </p:txBody>
      </p:sp>
    </p:spTree>
    <p:extLst>
      <p:ext uri="{BB962C8B-B14F-4D97-AF65-F5344CB8AC3E}">
        <p14:creationId xmlns:p14="http://schemas.microsoft.com/office/powerpoint/2010/main" val="120080176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tangle 3">
            <a:extLst>
              <a:ext uri="{FF2B5EF4-FFF2-40B4-BE49-F238E27FC236}">
                <a16:creationId xmlns:a16="http://schemas.microsoft.com/office/drawing/2014/main" id="{A27FD23C-A522-0E4F-B70C-CC83BC4542BA}"/>
              </a:ext>
            </a:extLst>
          </p:cNvPr>
          <p:cNvSpPr txBox="1"/>
          <p:nvPr/>
        </p:nvSpPr>
        <p:spPr>
          <a:xfrm>
            <a:off x="404808" y="237462"/>
            <a:ext cx="7585857" cy="400105"/>
          </a:xfrm>
          <a:prstGeom prst="rect">
            <a:avLst/>
          </a:prstGeom>
          <a:ln w="12700">
            <a:miter lim="400000"/>
          </a:ln>
          <a:extLst>
            <a:ext uri="{C572A759-6A51-4108-AA02-DFA0A04FC94B}">
              <ma14:wrappingTextBoxFlag xmlns:ma14="http://schemas.microsoft.com/office/mac/drawingml/2011/main" xmlns="" val="1"/>
            </a:ext>
          </a:extLst>
        </p:spPr>
        <p:txBody>
          <a:bodyPr wrap="square" lIns="45718" tIns="45718" rIns="45718" bIns="45718">
            <a:spAutoFit/>
          </a:bodyPr>
          <a:lstStyle>
            <a:lvl1pPr algn="l" defTabSz="914400">
              <a:defRPr sz="2200" b="1">
                <a:solidFill>
                  <a:srgbClr val="FFFFFF"/>
                </a:solidFill>
                <a:latin typeface="Arial"/>
                <a:ea typeface="Arial"/>
                <a:cs typeface="Arial"/>
                <a:sym typeface="Arial"/>
              </a:defRPr>
            </a:lvl1pPr>
          </a:lstStyle>
          <a:p>
            <a:r>
              <a:rPr lang="en-US" sz="2000" dirty="0">
                <a:solidFill>
                  <a:srgbClr val="016AA2"/>
                </a:solidFill>
              </a:rPr>
              <a:t>Features and terminology (XIX)</a:t>
            </a:r>
          </a:p>
        </p:txBody>
      </p:sp>
      <p:sp>
        <p:nvSpPr>
          <p:cNvPr id="65" name="Rectangle 3"/>
          <p:cNvSpPr txBox="1"/>
          <p:nvPr/>
        </p:nvSpPr>
        <p:spPr>
          <a:xfrm>
            <a:off x="404806" y="610135"/>
            <a:ext cx="8775769" cy="369328"/>
          </a:xfrm>
          <a:prstGeom prst="rect">
            <a:avLst/>
          </a:prstGeom>
          <a:ln w="12700">
            <a:miter lim="400000"/>
          </a:ln>
          <a:extLst>
            <a:ext uri="{C572A759-6A51-4108-AA02-DFA0A04FC94B}">
              <ma14:wrappingTextBoxFlag xmlns="" xmlns:ma14="http://schemas.microsoft.com/office/mac/drawingml/2011/main" val="1"/>
            </a:ext>
          </a:extLst>
        </p:spPr>
        <p:txBody>
          <a:bodyPr wrap="square" lIns="45718" tIns="45718" rIns="45718" bIns="45718">
            <a:spAutoFit/>
          </a:bodyPr>
          <a:lstStyle>
            <a:lvl1pPr algn="l" defTabSz="914400">
              <a:defRPr sz="2000">
                <a:solidFill>
                  <a:srgbClr val="104D6A"/>
                </a:solidFill>
                <a:latin typeface="Arial"/>
                <a:ea typeface="Arial"/>
                <a:cs typeface="Arial"/>
                <a:sym typeface="Arial"/>
              </a:defRPr>
            </a:lvl1pPr>
          </a:lstStyle>
          <a:p>
            <a:pPr>
              <a:defRPr/>
            </a:pPr>
            <a:r>
              <a:rPr lang="en-US" sz="1800" b="1" dirty="0">
                <a:solidFill>
                  <a:srgbClr val="73C4EF"/>
                </a:solidFill>
              </a:rPr>
              <a:t>Event Hub Architecture – Even Driver Core</a:t>
            </a:r>
          </a:p>
        </p:txBody>
      </p:sp>
      <p:sp>
        <p:nvSpPr>
          <p:cNvPr id="29" name="Google Shape;431;p39">
            <a:extLst>
              <a:ext uri="{FF2B5EF4-FFF2-40B4-BE49-F238E27FC236}">
                <a16:creationId xmlns:a16="http://schemas.microsoft.com/office/drawing/2014/main" id="{B769B70E-2001-114D-91F1-B7EF66388B4F}"/>
              </a:ext>
            </a:extLst>
          </p:cNvPr>
          <p:cNvSpPr/>
          <p:nvPr/>
        </p:nvSpPr>
        <p:spPr>
          <a:xfrm rot="21011211">
            <a:off x="3796459" y="2477940"/>
            <a:ext cx="1378397" cy="1417952"/>
          </a:xfrm>
          <a:custGeom>
            <a:avLst/>
            <a:gdLst/>
            <a:ahLst/>
            <a:cxnLst/>
            <a:rect l="0" t="0" r="0" b="0"/>
            <a:pathLst>
              <a:path w="67641" h="69056" extrusionOk="0">
                <a:moveTo>
                  <a:pt x="49622" y="2736"/>
                </a:moveTo>
                <a:lnTo>
                  <a:pt x="49622" y="2736"/>
                </a:lnTo>
                <a:lnTo>
                  <a:pt x="49622" y="2736"/>
                </a:lnTo>
                <a:close/>
                <a:moveTo>
                  <a:pt x="59622" y="55565"/>
                </a:moveTo>
                <a:lnTo>
                  <a:pt x="59622" y="55565"/>
                </a:lnTo>
                <a:lnTo>
                  <a:pt x="59622" y="55565"/>
                </a:lnTo>
                <a:close/>
                <a:moveTo>
                  <a:pt x="35471" y="0"/>
                </a:moveTo>
                <a:lnTo>
                  <a:pt x="34433" y="95"/>
                </a:lnTo>
                <a:lnTo>
                  <a:pt x="33584" y="189"/>
                </a:lnTo>
                <a:lnTo>
                  <a:pt x="32735" y="378"/>
                </a:lnTo>
                <a:lnTo>
                  <a:pt x="32169" y="566"/>
                </a:lnTo>
                <a:lnTo>
                  <a:pt x="31509" y="472"/>
                </a:lnTo>
                <a:lnTo>
                  <a:pt x="30754" y="472"/>
                </a:lnTo>
                <a:lnTo>
                  <a:pt x="29339" y="566"/>
                </a:lnTo>
                <a:lnTo>
                  <a:pt x="27830" y="849"/>
                </a:lnTo>
                <a:lnTo>
                  <a:pt x="26320" y="1321"/>
                </a:lnTo>
                <a:lnTo>
                  <a:pt x="24811" y="1981"/>
                </a:lnTo>
                <a:lnTo>
                  <a:pt x="23207" y="2736"/>
                </a:lnTo>
                <a:lnTo>
                  <a:pt x="21698" y="3585"/>
                </a:lnTo>
                <a:lnTo>
                  <a:pt x="20188" y="4623"/>
                </a:lnTo>
                <a:lnTo>
                  <a:pt x="18679" y="5661"/>
                </a:lnTo>
                <a:lnTo>
                  <a:pt x="17170" y="6793"/>
                </a:lnTo>
                <a:lnTo>
                  <a:pt x="15754" y="8019"/>
                </a:lnTo>
                <a:lnTo>
                  <a:pt x="14434" y="9151"/>
                </a:lnTo>
                <a:lnTo>
                  <a:pt x="11981" y="11510"/>
                </a:lnTo>
                <a:lnTo>
                  <a:pt x="10000" y="13774"/>
                </a:lnTo>
                <a:lnTo>
                  <a:pt x="7736" y="16981"/>
                </a:lnTo>
                <a:lnTo>
                  <a:pt x="8019" y="16321"/>
                </a:lnTo>
                <a:lnTo>
                  <a:pt x="8302" y="15660"/>
                </a:lnTo>
                <a:lnTo>
                  <a:pt x="7736" y="16604"/>
                </a:lnTo>
                <a:lnTo>
                  <a:pt x="7075" y="17642"/>
                </a:lnTo>
                <a:lnTo>
                  <a:pt x="7170" y="17830"/>
                </a:lnTo>
                <a:lnTo>
                  <a:pt x="6509" y="18868"/>
                </a:lnTo>
                <a:lnTo>
                  <a:pt x="7075" y="17359"/>
                </a:lnTo>
                <a:lnTo>
                  <a:pt x="6132" y="19057"/>
                </a:lnTo>
                <a:lnTo>
                  <a:pt x="5189" y="20849"/>
                </a:lnTo>
                <a:lnTo>
                  <a:pt x="4434" y="22736"/>
                </a:lnTo>
                <a:lnTo>
                  <a:pt x="3679" y="24622"/>
                </a:lnTo>
                <a:lnTo>
                  <a:pt x="2453" y="28490"/>
                </a:lnTo>
                <a:lnTo>
                  <a:pt x="1321" y="32169"/>
                </a:lnTo>
                <a:lnTo>
                  <a:pt x="1509" y="32264"/>
                </a:lnTo>
                <a:lnTo>
                  <a:pt x="1604" y="32453"/>
                </a:lnTo>
                <a:lnTo>
                  <a:pt x="1604" y="32641"/>
                </a:lnTo>
                <a:lnTo>
                  <a:pt x="1509" y="32924"/>
                </a:lnTo>
                <a:lnTo>
                  <a:pt x="1226" y="33396"/>
                </a:lnTo>
                <a:lnTo>
                  <a:pt x="1038" y="33585"/>
                </a:lnTo>
                <a:lnTo>
                  <a:pt x="1038" y="33773"/>
                </a:lnTo>
                <a:lnTo>
                  <a:pt x="1038" y="35000"/>
                </a:lnTo>
                <a:lnTo>
                  <a:pt x="849" y="36132"/>
                </a:lnTo>
                <a:lnTo>
                  <a:pt x="660" y="37358"/>
                </a:lnTo>
                <a:lnTo>
                  <a:pt x="472" y="38867"/>
                </a:lnTo>
                <a:lnTo>
                  <a:pt x="283" y="38301"/>
                </a:lnTo>
                <a:lnTo>
                  <a:pt x="94" y="39811"/>
                </a:lnTo>
                <a:lnTo>
                  <a:pt x="0" y="41509"/>
                </a:lnTo>
                <a:lnTo>
                  <a:pt x="94" y="43301"/>
                </a:lnTo>
                <a:lnTo>
                  <a:pt x="283" y="44056"/>
                </a:lnTo>
                <a:lnTo>
                  <a:pt x="472" y="44622"/>
                </a:lnTo>
                <a:lnTo>
                  <a:pt x="566" y="45660"/>
                </a:lnTo>
                <a:lnTo>
                  <a:pt x="755" y="46792"/>
                </a:lnTo>
                <a:lnTo>
                  <a:pt x="1226" y="48962"/>
                </a:lnTo>
                <a:lnTo>
                  <a:pt x="1981" y="51037"/>
                </a:lnTo>
                <a:lnTo>
                  <a:pt x="2924" y="53112"/>
                </a:lnTo>
                <a:lnTo>
                  <a:pt x="4057" y="55094"/>
                </a:lnTo>
                <a:lnTo>
                  <a:pt x="5283" y="56980"/>
                </a:lnTo>
                <a:lnTo>
                  <a:pt x="6698" y="58678"/>
                </a:lnTo>
                <a:lnTo>
                  <a:pt x="8113" y="60282"/>
                </a:lnTo>
                <a:lnTo>
                  <a:pt x="9056" y="61131"/>
                </a:lnTo>
                <a:lnTo>
                  <a:pt x="10000" y="61980"/>
                </a:lnTo>
                <a:lnTo>
                  <a:pt x="11038" y="62829"/>
                </a:lnTo>
                <a:lnTo>
                  <a:pt x="12075" y="63584"/>
                </a:lnTo>
                <a:lnTo>
                  <a:pt x="14339" y="64905"/>
                </a:lnTo>
                <a:lnTo>
                  <a:pt x="16604" y="66131"/>
                </a:lnTo>
                <a:lnTo>
                  <a:pt x="19056" y="67169"/>
                </a:lnTo>
                <a:lnTo>
                  <a:pt x="21509" y="67923"/>
                </a:lnTo>
                <a:lnTo>
                  <a:pt x="24056" y="68584"/>
                </a:lnTo>
                <a:lnTo>
                  <a:pt x="26603" y="69055"/>
                </a:lnTo>
                <a:lnTo>
                  <a:pt x="27830" y="69055"/>
                </a:lnTo>
                <a:lnTo>
                  <a:pt x="30188" y="68867"/>
                </a:lnTo>
                <a:lnTo>
                  <a:pt x="33113" y="68678"/>
                </a:lnTo>
                <a:lnTo>
                  <a:pt x="36509" y="68301"/>
                </a:lnTo>
                <a:lnTo>
                  <a:pt x="39811" y="67923"/>
                </a:lnTo>
                <a:lnTo>
                  <a:pt x="42735" y="67452"/>
                </a:lnTo>
                <a:lnTo>
                  <a:pt x="44905" y="66980"/>
                </a:lnTo>
                <a:lnTo>
                  <a:pt x="45565" y="66791"/>
                </a:lnTo>
                <a:lnTo>
                  <a:pt x="45943" y="66508"/>
                </a:lnTo>
                <a:lnTo>
                  <a:pt x="47358" y="65942"/>
                </a:lnTo>
                <a:lnTo>
                  <a:pt x="48018" y="65565"/>
                </a:lnTo>
                <a:lnTo>
                  <a:pt x="48678" y="65188"/>
                </a:lnTo>
                <a:lnTo>
                  <a:pt x="47924" y="65471"/>
                </a:lnTo>
                <a:lnTo>
                  <a:pt x="51509" y="62924"/>
                </a:lnTo>
                <a:lnTo>
                  <a:pt x="53301" y="61508"/>
                </a:lnTo>
                <a:lnTo>
                  <a:pt x="55093" y="59905"/>
                </a:lnTo>
                <a:lnTo>
                  <a:pt x="55093" y="59905"/>
                </a:lnTo>
                <a:lnTo>
                  <a:pt x="54810" y="60376"/>
                </a:lnTo>
                <a:lnTo>
                  <a:pt x="54339" y="60754"/>
                </a:lnTo>
                <a:lnTo>
                  <a:pt x="55376" y="59999"/>
                </a:lnTo>
                <a:lnTo>
                  <a:pt x="56320" y="59056"/>
                </a:lnTo>
                <a:lnTo>
                  <a:pt x="57075" y="58395"/>
                </a:lnTo>
                <a:lnTo>
                  <a:pt x="57169" y="58207"/>
                </a:lnTo>
                <a:lnTo>
                  <a:pt x="57075" y="58207"/>
                </a:lnTo>
                <a:lnTo>
                  <a:pt x="57924" y="57546"/>
                </a:lnTo>
                <a:lnTo>
                  <a:pt x="58678" y="56697"/>
                </a:lnTo>
                <a:lnTo>
                  <a:pt x="59339" y="55754"/>
                </a:lnTo>
                <a:lnTo>
                  <a:pt x="59905" y="54905"/>
                </a:lnTo>
                <a:lnTo>
                  <a:pt x="59716" y="54999"/>
                </a:lnTo>
                <a:lnTo>
                  <a:pt x="59622" y="54999"/>
                </a:lnTo>
                <a:lnTo>
                  <a:pt x="59810" y="54622"/>
                </a:lnTo>
                <a:lnTo>
                  <a:pt x="59150" y="55565"/>
                </a:lnTo>
                <a:lnTo>
                  <a:pt x="59527" y="55094"/>
                </a:lnTo>
                <a:lnTo>
                  <a:pt x="59433" y="55377"/>
                </a:lnTo>
                <a:lnTo>
                  <a:pt x="58867" y="56037"/>
                </a:lnTo>
                <a:lnTo>
                  <a:pt x="59056" y="55660"/>
                </a:lnTo>
                <a:lnTo>
                  <a:pt x="59056" y="55660"/>
                </a:lnTo>
                <a:lnTo>
                  <a:pt x="58678" y="56037"/>
                </a:lnTo>
                <a:lnTo>
                  <a:pt x="59810" y="54339"/>
                </a:lnTo>
                <a:lnTo>
                  <a:pt x="60282" y="53490"/>
                </a:lnTo>
                <a:lnTo>
                  <a:pt x="60282" y="53301"/>
                </a:lnTo>
                <a:lnTo>
                  <a:pt x="60188" y="53395"/>
                </a:lnTo>
                <a:lnTo>
                  <a:pt x="60188" y="53395"/>
                </a:lnTo>
                <a:lnTo>
                  <a:pt x="60565" y="52924"/>
                </a:lnTo>
                <a:lnTo>
                  <a:pt x="61037" y="52452"/>
                </a:lnTo>
                <a:lnTo>
                  <a:pt x="61886" y="51509"/>
                </a:lnTo>
                <a:lnTo>
                  <a:pt x="61508" y="52452"/>
                </a:lnTo>
                <a:lnTo>
                  <a:pt x="60848" y="53584"/>
                </a:lnTo>
                <a:lnTo>
                  <a:pt x="59622" y="55565"/>
                </a:lnTo>
                <a:lnTo>
                  <a:pt x="60376" y="54528"/>
                </a:lnTo>
                <a:lnTo>
                  <a:pt x="60942" y="53678"/>
                </a:lnTo>
                <a:lnTo>
                  <a:pt x="61980" y="51792"/>
                </a:lnTo>
                <a:lnTo>
                  <a:pt x="61886" y="51886"/>
                </a:lnTo>
                <a:lnTo>
                  <a:pt x="61886" y="51697"/>
                </a:lnTo>
                <a:lnTo>
                  <a:pt x="62169" y="51037"/>
                </a:lnTo>
                <a:lnTo>
                  <a:pt x="62735" y="49999"/>
                </a:lnTo>
                <a:lnTo>
                  <a:pt x="61508" y="51603"/>
                </a:lnTo>
                <a:lnTo>
                  <a:pt x="61603" y="51037"/>
                </a:lnTo>
                <a:lnTo>
                  <a:pt x="61697" y="50377"/>
                </a:lnTo>
                <a:lnTo>
                  <a:pt x="62169" y="48962"/>
                </a:lnTo>
                <a:lnTo>
                  <a:pt x="62829" y="47358"/>
                </a:lnTo>
                <a:lnTo>
                  <a:pt x="63678" y="45565"/>
                </a:lnTo>
                <a:lnTo>
                  <a:pt x="65376" y="42169"/>
                </a:lnTo>
                <a:lnTo>
                  <a:pt x="66131" y="40660"/>
                </a:lnTo>
                <a:lnTo>
                  <a:pt x="66697" y="39339"/>
                </a:lnTo>
                <a:lnTo>
                  <a:pt x="66603" y="39528"/>
                </a:lnTo>
                <a:lnTo>
                  <a:pt x="66697" y="39056"/>
                </a:lnTo>
                <a:lnTo>
                  <a:pt x="66791" y="38962"/>
                </a:lnTo>
                <a:lnTo>
                  <a:pt x="66791" y="39056"/>
                </a:lnTo>
                <a:lnTo>
                  <a:pt x="66886" y="38584"/>
                </a:lnTo>
                <a:lnTo>
                  <a:pt x="66791" y="38867"/>
                </a:lnTo>
                <a:lnTo>
                  <a:pt x="66980" y="38207"/>
                </a:lnTo>
                <a:lnTo>
                  <a:pt x="67169" y="37264"/>
                </a:lnTo>
                <a:lnTo>
                  <a:pt x="67263" y="36415"/>
                </a:lnTo>
                <a:lnTo>
                  <a:pt x="67357" y="36509"/>
                </a:lnTo>
                <a:lnTo>
                  <a:pt x="67452" y="36509"/>
                </a:lnTo>
                <a:lnTo>
                  <a:pt x="67546" y="35943"/>
                </a:lnTo>
                <a:lnTo>
                  <a:pt x="67546" y="34811"/>
                </a:lnTo>
                <a:lnTo>
                  <a:pt x="67640" y="31037"/>
                </a:lnTo>
                <a:lnTo>
                  <a:pt x="67640" y="28490"/>
                </a:lnTo>
                <a:lnTo>
                  <a:pt x="67546" y="27736"/>
                </a:lnTo>
                <a:lnTo>
                  <a:pt x="67546" y="27547"/>
                </a:lnTo>
                <a:lnTo>
                  <a:pt x="67452" y="27547"/>
                </a:lnTo>
                <a:lnTo>
                  <a:pt x="67074" y="26792"/>
                </a:lnTo>
                <a:lnTo>
                  <a:pt x="66791" y="25660"/>
                </a:lnTo>
                <a:lnTo>
                  <a:pt x="66508" y="24528"/>
                </a:lnTo>
                <a:lnTo>
                  <a:pt x="66414" y="23585"/>
                </a:lnTo>
                <a:lnTo>
                  <a:pt x="66320" y="23679"/>
                </a:lnTo>
                <a:lnTo>
                  <a:pt x="66320" y="23490"/>
                </a:lnTo>
                <a:lnTo>
                  <a:pt x="65942" y="22924"/>
                </a:lnTo>
                <a:lnTo>
                  <a:pt x="65565" y="22358"/>
                </a:lnTo>
                <a:lnTo>
                  <a:pt x="64527" y="21132"/>
                </a:lnTo>
                <a:lnTo>
                  <a:pt x="63584" y="19906"/>
                </a:lnTo>
                <a:lnTo>
                  <a:pt x="63207" y="19340"/>
                </a:lnTo>
                <a:lnTo>
                  <a:pt x="63018" y="18774"/>
                </a:lnTo>
                <a:lnTo>
                  <a:pt x="63112" y="18962"/>
                </a:lnTo>
                <a:lnTo>
                  <a:pt x="63301" y="19057"/>
                </a:lnTo>
                <a:lnTo>
                  <a:pt x="63301" y="19057"/>
                </a:lnTo>
                <a:lnTo>
                  <a:pt x="63207" y="18868"/>
                </a:lnTo>
                <a:lnTo>
                  <a:pt x="62923" y="18491"/>
                </a:lnTo>
                <a:lnTo>
                  <a:pt x="61980" y="17453"/>
                </a:lnTo>
                <a:lnTo>
                  <a:pt x="61037" y="16509"/>
                </a:lnTo>
                <a:lnTo>
                  <a:pt x="61037" y="16698"/>
                </a:lnTo>
                <a:lnTo>
                  <a:pt x="61037" y="16887"/>
                </a:lnTo>
                <a:lnTo>
                  <a:pt x="60093" y="15943"/>
                </a:lnTo>
                <a:lnTo>
                  <a:pt x="60376" y="16321"/>
                </a:lnTo>
                <a:lnTo>
                  <a:pt x="59527" y="15377"/>
                </a:lnTo>
                <a:lnTo>
                  <a:pt x="59056" y="14906"/>
                </a:lnTo>
                <a:lnTo>
                  <a:pt x="59244" y="14906"/>
                </a:lnTo>
                <a:lnTo>
                  <a:pt x="59905" y="15472"/>
                </a:lnTo>
                <a:lnTo>
                  <a:pt x="59905" y="15472"/>
                </a:lnTo>
                <a:lnTo>
                  <a:pt x="57641" y="13396"/>
                </a:lnTo>
                <a:lnTo>
                  <a:pt x="58112" y="13868"/>
                </a:lnTo>
                <a:lnTo>
                  <a:pt x="56886" y="13019"/>
                </a:lnTo>
                <a:lnTo>
                  <a:pt x="55754" y="12453"/>
                </a:lnTo>
                <a:lnTo>
                  <a:pt x="56603" y="13113"/>
                </a:lnTo>
                <a:lnTo>
                  <a:pt x="57452" y="13774"/>
                </a:lnTo>
                <a:lnTo>
                  <a:pt x="58961" y="15283"/>
                </a:lnTo>
                <a:lnTo>
                  <a:pt x="60376" y="16604"/>
                </a:lnTo>
                <a:lnTo>
                  <a:pt x="61225" y="17264"/>
                </a:lnTo>
                <a:lnTo>
                  <a:pt x="62074" y="17925"/>
                </a:lnTo>
                <a:lnTo>
                  <a:pt x="62074" y="17925"/>
                </a:lnTo>
                <a:lnTo>
                  <a:pt x="61414" y="17547"/>
                </a:lnTo>
                <a:lnTo>
                  <a:pt x="60659" y="16981"/>
                </a:lnTo>
                <a:lnTo>
                  <a:pt x="60754" y="17264"/>
                </a:lnTo>
                <a:lnTo>
                  <a:pt x="60942" y="17642"/>
                </a:lnTo>
                <a:lnTo>
                  <a:pt x="61980" y="19151"/>
                </a:lnTo>
                <a:lnTo>
                  <a:pt x="63301" y="20943"/>
                </a:lnTo>
                <a:lnTo>
                  <a:pt x="63207" y="20943"/>
                </a:lnTo>
                <a:lnTo>
                  <a:pt x="63395" y="21038"/>
                </a:lnTo>
                <a:lnTo>
                  <a:pt x="63490" y="21321"/>
                </a:lnTo>
                <a:lnTo>
                  <a:pt x="63678" y="21604"/>
                </a:lnTo>
                <a:lnTo>
                  <a:pt x="63773" y="21698"/>
                </a:lnTo>
                <a:lnTo>
                  <a:pt x="63584" y="21321"/>
                </a:lnTo>
                <a:lnTo>
                  <a:pt x="63584" y="21321"/>
                </a:lnTo>
                <a:lnTo>
                  <a:pt x="64244" y="22170"/>
                </a:lnTo>
                <a:lnTo>
                  <a:pt x="64716" y="22641"/>
                </a:lnTo>
                <a:lnTo>
                  <a:pt x="64905" y="22830"/>
                </a:lnTo>
                <a:lnTo>
                  <a:pt x="64999" y="22830"/>
                </a:lnTo>
                <a:lnTo>
                  <a:pt x="64999" y="22641"/>
                </a:lnTo>
                <a:lnTo>
                  <a:pt x="64905" y="22358"/>
                </a:lnTo>
                <a:lnTo>
                  <a:pt x="65282" y="23207"/>
                </a:lnTo>
                <a:lnTo>
                  <a:pt x="65565" y="24056"/>
                </a:lnTo>
                <a:lnTo>
                  <a:pt x="66225" y="25943"/>
                </a:lnTo>
                <a:lnTo>
                  <a:pt x="66697" y="27830"/>
                </a:lnTo>
                <a:lnTo>
                  <a:pt x="66886" y="28490"/>
                </a:lnTo>
                <a:lnTo>
                  <a:pt x="66980" y="28868"/>
                </a:lnTo>
                <a:lnTo>
                  <a:pt x="66886" y="28962"/>
                </a:lnTo>
                <a:lnTo>
                  <a:pt x="66697" y="28679"/>
                </a:lnTo>
                <a:lnTo>
                  <a:pt x="66697" y="29245"/>
                </a:lnTo>
                <a:lnTo>
                  <a:pt x="66791" y="29905"/>
                </a:lnTo>
                <a:lnTo>
                  <a:pt x="66886" y="29905"/>
                </a:lnTo>
                <a:lnTo>
                  <a:pt x="66886" y="30094"/>
                </a:lnTo>
                <a:lnTo>
                  <a:pt x="66886" y="30566"/>
                </a:lnTo>
                <a:lnTo>
                  <a:pt x="66697" y="30377"/>
                </a:lnTo>
                <a:lnTo>
                  <a:pt x="66603" y="30188"/>
                </a:lnTo>
                <a:lnTo>
                  <a:pt x="66603" y="30094"/>
                </a:lnTo>
                <a:lnTo>
                  <a:pt x="66697" y="29905"/>
                </a:lnTo>
                <a:lnTo>
                  <a:pt x="66508" y="28679"/>
                </a:lnTo>
                <a:lnTo>
                  <a:pt x="66225" y="27358"/>
                </a:lnTo>
                <a:lnTo>
                  <a:pt x="66603" y="30283"/>
                </a:lnTo>
                <a:lnTo>
                  <a:pt x="66697" y="31792"/>
                </a:lnTo>
                <a:lnTo>
                  <a:pt x="66697" y="33302"/>
                </a:lnTo>
                <a:lnTo>
                  <a:pt x="66603" y="34717"/>
                </a:lnTo>
                <a:lnTo>
                  <a:pt x="66414" y="36226"/>
                </a:lnTo>
                <a:lnTo>
                  <a:pt x="66131" y="37547"/>
                </a:lnTo>
                <a:lnTo>
                  <a:pt x="65659" y="38962"/>
                </a:lnTo>
                <a:lnTo>
                  <a:pt x="65848" y="38584"/>
                </a:lnTo>
                <a:lnTo>
                  <a:pt x="65942" y="38584"/>
                </a:lnTo>
                <a:lnTo>
                  <a:pt x="65848" y="39245"/>
                </a:lnTo>
                <a:lnTo>
                  <a:pt x="65565" y="40188"/>
                </a:lnTo>
                <a:lnTo>
                  <a:pt x="65471" y="40471"/>
                </a:lnTo>
                <a:lnTo>
                  <a:pt x="65282" y="40660"/>
                </a:lnTo>
                <a:lnTo>
                  <a:pt x="65282" y="40566"/>
                </a:lnTo>
                <a:lnTo>
                  <a:pt x="65093" y="41132"/>
                </a:lnTo>
                <a:lnTo>
                  <a:pt x="64433" y="43018"/>
                </a:lnTo>
                <a:lnTo>
                  <a:pt x="63678" y="45282"/>
                </a:lnTo>
                <a:lnTo>
                  <a:pt x="62735" y="47264"/>
                </a:lnTo>
                <a:lnTo>
                  <a:pt x="61697" y="49056"/>
                </a:lnTo>
                <a:lnTo>
                  <a:pt x="60659" y="50943"/>
                </a:lnTo>
                <a:lnTo>
                  <a:pt x="59433" y="52735"/>
                </a:lnTo>
                <a:lnTo>
                  <a:pt x="58207" y="54433"/>
                </a:lnTo>
                <a:lnTo>
                  <a:pt x="56886" y="56037"/>
                </a:lnTo>
                <a:lnTo>
                  <a:pt x="55376" y="57641"/>
                </a:lnTo>
                <a:lnTo>
                  <a:pt x="53867" y="59150"/>
                </a:lnTo>
                <a:lnTo>
                  <a:pt x="52169" y="60376"/>
                </a:lnTo>
                <a:lnTo>
                  <a:pt x="48961" y="62452"/>
                </a:lnTo>
                <a:lnTo>
                  <a:pt x="44528" y="65282"/>
                </a:lnTo>
                <a:lnTo>
                  <a:pt x="44622" y="65188"/>
                </a:lnTo>
                <a:lnTo>
                  <a:pt x="44716" y="65093"/>
                </a:lnTo>
                <a:lnTo>
                  <a:pt x="45094" y="64810"/>
                </a:lnTo>
                <a:lnTo>
                  <a:pt x="45660" y="64527"/>
                </a:lnTo>
                <a:lnTo>
                  <a:pt x="43867" y="65376"/>
                </a:lnTo>
                <a:lnTo>
                  <a:pt x="43113" y="65754"/>
                </a:lnTo>
                <a:lnTo>
                  <a:pt x="42924" y="65754"/>
                </a:lnTo>
                <a:lnTo>
                  <a:pt x="43113" y="65659"/>
                </a:lnTo>
                <a:lnTo>
                  <a:pt x="41603" y="66037"/>
                </a:lnTo>
                <a:lnTo>
                  <a:pt x="39999" y="66320"/>
                </a:lnTo>
                <a:lnTo>
                  <a:pt x="38396" y="66508"/>
                </a:lnTo>
                <a:lnTo>
                  <a:pt x="36792" y="66697"/>
                </a:lnTo>
                <a:lnTo>
                  <a:pt x="33584" y="66980"/>
                </a:lnTo>
                <a:lnTo>
                  <a:pt x="32169" y="67169"/>
                </a:lnTo>
                <a:lnTo>
                  <a:pt x="30754" y="67357"/>
                </a:lnTo>
                <a:lnTo>
                  <a:pt x="30094" y="67357"/>
                </a:lnTo>
                <a:lnTo>
                  <a:pt x="29339" y="67263"/>
                </a:lnTo>
                <a:lnTo>
                  <a:pt x="27830" y="66886"/>
                </a:lnTo>
                <a:lnTo>
                  <a:pt x="26415" y="66508"/>
                </a:lnTo>
                <a:lnTo>
                  <a:pt x="25754" y="66414"/>
                </a:lnTo>
                <a:lnTo>
                  <a:pt x="25094" y="66414"/>
                </a:lnTo>
                <a:lnTo>
                  <a:pt x="25566" y="66980"/>
                </a:lnTo>
                <a:lnTo>
                  <a:pt x="25471" y="67074"/>
                </a:lnTo>
                <a:lnTo>
                  <a:pt x="25188" y="66980"/>
                </a:lnTo>
                <a:lnTo>
                  <a:pt x="24339" y="66791"/>
                </a:lnTo>
                <a:lnTo>
                  <a:pt x="23773" y="66508"/>
                </a:lnTo>
                <a:lnTo>
                  <a:pt x="24245" y="66414"/>
                </a:lnTo>
                <a:lnTo>
                  <a:pt x="24717" y="66603"/>
                </a:lnTo>
                <a:lnTo>
                  <a:pt x="24811" y="66414"/>
                </a:lnTo>
                <a:lnTo>
                  <a:pt x="24811" y="66320"/>
                </a:lnTo>
                <a:lnTo>
                  <a:pt x="24717" y="66225"/>
                </a:lnTo>
                <a:lnTo>
                  <a:pt x="24528" y="66131"/>
                </a:lnTo>
                <a:lnTo>
                  <a:pt x="24151" y="66225"/>
                </a:lnTo>
                <a:lnTo>
                  <a:pt x="23679" y="66320"/>
                </a:lnTo>
                <a:lnTo>
                  <a:pt x="23018" y="66414"/>
                </a:lnTo>
                <a:lnTo>
                  <a:pt x="23490" y="66225"/>
                </a:lnTo>
                <a:lnTo>
                  <a:pt x="22075" y="65942"/>
                </a:lnTo>
                <a:lnTo>
                  <a:pt x="20943" y="65659"/>
                </a:lnTo>
                <a:lnTo>
                  <a:pt x="20000" y="65282"/>
                </a:lnTo>
                <a:lnTo>
                  <a:pt x="19056" y="64810"/>
                </a:lnTo>
                <a:lnTo>
                  <a:pt x="19056" y="64810"/>
                </a:lnTo>
                <a:lnTo>
                  <a:pt x="19717" y="64999"/>
                </a:lnTo>
                <a:lnTo>
                  <a:pt x="19151" y="64716"/>
                </a:lnTo>
                <a:lnTo>
                  <a:pt x="18962" y="64810"/>
                </a:lnTo>
                <a:lnTo>
                  <a:pt x="19151" y="64905"/>
                </a:lnTo>
                <a:lnTo>
                  <a:pt x="18490" y="64905"/>
                </a:lnTo>
                <a:lnTo>
                  <a:pt x="17830" y="64716"/>
                </a:lnTo>
                <a:lnTo>
                  <a:pt x="17264" y="64527"/>
                </a:lnTo>
                <a:lnTo>
                  <a:pt x="16698" y="64150"/>
                </a:lnTo>
                <a:lnTo>
                  <a:pt x="16981" y="64056"/>
                </a:lnTo>
                <a:lnTo>
                  <a:pt x="17264" y="64150"/>
                </a:lnTo>
                <a:lnTo>
                  <a:pt x="17264" y="64150"/>
                </a:lnTo>
                <a:lnTo>
                  <a:pt x="15188" y="63207"/>
                </a:lnTo>
                <a:lnTo>
                  <a:pt x="14622" y="62829"/>
                </a:lnTo>
                <a:lnTo>
                  <a:pt x="14717" y="62924"/>
                </a:lnTo>
                <a:lnTo>
                  <a:pt x="13773" y="62546"/>
                </a:lnTo>
                <a:lnTo>
                  <a:pt x="12924" y="62075"/>
                </a:lnTo>
                <a:lnTo>
                  <a:pt x="12358" y="61697"/>
                </a:lnTo>
                <a:lnTo>
                  <a:pt x="12264" y="61508"/>
                </a:lnTo>
                <a:lnTo>
                  <a:pt x="12170" y="61320"/>
                </a:lnTo>
                <a:lnTo>
                  <a:pt x="11698" y="60942"/>
                </a:lnTo>
                <a:lnTo>
                  <a:pt x="11132" y="60471"/>
                </a:lnTo>
                <a:lnTo>
                  <a:pt x="9906" y="59244"/>
                </a:lnTo>
                <a:lnTo>
                  <a:pt x="9906" y="59244"/>
                </a:lnTo>
                <a:lnTo>
                  <a:pt x="10566" y="59527"/>
                </a:lnTo>
                <a:lnTo>
                  <a:pt x="9434" y="58584"/>
                </a:lnTo>
                <a:lnTo>
                  <a:pt x="8207" y="57546"/>
                </a:lnTo>
                <a:lnTo>
                  <a:pt x="7547" y="56886"/>
                </a:lnTo>
                <a:lnTo>
                  <a:pt x="6981" y="56131"/>
                </a:lnTo>
                <a:lnTo>
                  <a:pt x="6226" y="55094"/>
                </a:lnTo>
                <a:lnTo>
                  <a:pt x="6415" y="55377"/>
                </a:lnTo>
                <a:lnTo>
                  <a:pt x="6038" y="54905"/>
                </a:lnTo>
                <a:lnTo>
                  <a:pt x="5472" y="54244"/>
                </a:lnTo>
                <a:lnTo>
                  <a:pt x="5283" y="53961"/>
                </a:lnTo>
                <a:lnTo>
                  <a:pt x="5094" y="53867"/>
                </a:lnTo>
                <a:lnTo>
                  <a:pt x="5377" y="54622"/>
                </a:lnTo>
                <a:lnTo>
                  <a:pt x="5849" y="55282"/>
                </a:lnTo>
                <a:lnTo>
                  <a:pt x="6321" y="55943"/>
                </a:lnTo>
                <a:lnTo>
                  <a:pt x="6698" y="56603"/>
                </a:lnTo>
                <a:lnTo>
                  <a:pt x="6226" y="56226"/>
                </a:lnTo>
                <a:lnTo>
                  <a:pt x="5943" y="55848"/>
                </a:lnTo>
                <a:lnTo>
                  <a:pt x="6038" y="56037"/>
                </a:lnTo>
                <a:lnTo>
                  <a:pt x="5943" y="55943"/>
                </a:lnTo>
                <a:lnTo>
                  <a:pt x="5377" y="55188"/>
                </a:lnTo>
                <a:lnTo>
                  <a:pt x="5000" y="54716"/>
                </a:lnTo>
                <a:lnTo>
                  <a:pt x="4717" y="54150"/>
                </a:lnTo>
                <a:lnTo>
                  <a:pt x="4528" y="53678"/>
                </a:lnTo>
                <a:lnTo>
                  <a:pt x="4528" y="53584"/>
                </a:lnTo>
                <a:lnTo>
                  <a:pt x="4623" y="53395"/>
                </a:lnTo>
                <a:lnTo>
                  <a:pt x="5094" y="54244"/>
                </a:lnTo>
                <a:lnTo>
                  <a:pt x="4717" y="53301"/>
                </a:lnTo>
                <a:lnTo>
                  <a:pt x="4528" y="53018"/>
                </a:lnTo>
                <a:lnTo>
                  <a:pt x="4151" y="52263"/>
                </a:lnTo>
                <a:lnTo>
                  <a:pt x="4151" y="52169"/>
                </a:lnTo>
                <a:lnTo>
                  <a:pt x="3774" y="51509"/>
                </a:lnTo>
                <a:lnTo>
                  <a:pt x="3396" y="50660"/>
                </a:lnTo>
                <a:lnTo>
                  <a:pt x="3585" y="51603"/>
                </a:lnTo>
                <a:lnTo>
                  <a:pt x="3396" y="51226"/>
                </a:lnTo>
                <a:lnTo>
                  <a:pt x="3208" y="50848"/>
                </a:lnTo>
                <a:lnTo>
                  <a:pt x="3208" y="50471"/>
                </a:lnTo>
                <a:lnTo>
                  <a:pt x="3208" y="50094"/>
                </a:lnTo>
                <a:lnTo>
                  <a:pt x="3585" y="50754"/>
                </a:lnTo>
                <a:lnTo>
                  <a:pt x="3868" y="51509"/>
                </a:lnTo>
                <a:lnTo>
                  <a:pt x="3868" y="51509"/>
                </a:lnTo>
                <a:lnTo>
                  <a:pt x="3208" y="49528"/>
                </a:lnTo>
                <a:lnTo>
                  <a:pt x="3208" y="49528"/>
                </a:lnTo>
                <a:lnTo>
                  <a:pt x="3868" y="50754"/>
                </a:lnTo>
                <a:lnTo>
                  <a:pt x="3208" y="48962"/>
                </a:lnTo>
                <a:lnTo>
                  <a:pt x="3585" y="49339"/>
                </a:lnTo>
                <a:lnTo>
                  <a:pt x="3774" y="49433"/>
                </a:lnTo>
                <a:lnTo>
                  <a:pt x="3962" y="49528"/>
                </a:lnTo>
                <a:lnTo>
                  <a:pt x="4057" y="49905"/>
                </a:lnTo>
                <a:lnTo>
                  <a:pt x="3868" y="48962"/>
                </a:lnTo>
                <a:lnTo>
                  <a:pt x="3491" y="47924"/>
                </a:lnTo>
                <a:lnTo>
                  <a:pt x="2641" y="45565"/>
                </a:lnTo>
                <a:lnTo>
                  <a:pt x="2170" y="43867"/>
                </a:lnTo>
                <a:lnTo>
                  <a:pt x="1698" y="41886"/>
                </a:lnTo>
                <a:lnTo>
                  <a:pt x="1698" y="41886"/>
                </a:lnTo>
                <a:lnTo>
                  <a:pt x="1887" y="42075"/>
                </a:lnTo>
                <a:lnTo>
                  <a:pt x="1981" y="41981"/>
                </a:lnTo>
                <a:lnTo>
                  <a:pt x="2075" y="42075"/>
                </a:lnTo>
                <a:lnTo>
                  <a:pt x="2264" y="42169"/>
                </a:lnTo>
                <a:lnTo>
                  <a:pt x="2170" y="40283"/>
                </a:lnTo>
                <a:lnTo>
                  <a:pt x="2075" y="38301"/>
                </a:lnTo>
                <a:lnTo>
                  <a:pt x="2170" y="36415"/>
                </a:lnTo>
                <a:lnTo>
                  <a:pt x="2358" y="35566"/>
                </a:lnTo>
                <a:lnTo>
                  <a:pt x="2453" y="34811"/>
                </a:lnTo>
                <a:lnTo>
                  <a:pt x="2830" y="32830"/>
                </a:lnTo>
                <a:lnTo>
                  <a:pt x="2830" y="33207"/>
                </a:lnTo>
                <a:lnTo>
                  <a:pt x="2924" y="33490"/>
                </a:lnTo>
                <a:lnTo>
                  <a:pt x="2924" y="32453"/>
                </a:lnTo>
                <a:lnTo>
                  <a:pt x="3019" y="31415"/>
                </a:lnTo>
                <a:lnTo>
                  <a:pt x="3396" y="29245"/>
                </a:lnTo>
                <a:lnTo>
                  <a:pt x="3868" y="27075"/>
                </a:lnTo>
                <a:lnTo>
                  <a:pt x="4623" y="25000"/>
                </a:lnTo>
                <a:lnTo>
                  <a:pt x="5566" y="22830"/>
                </a:lnTo>
                <a:lnTo>
                  <a:pt x="6604" y="20849"/>
                </a:lnTo>
                <a:lnTo>
                  <a:pt x="7830" y="18868"/>
                </a:lnTo>
                <a:lnTo>
                  <a:pt x="9151" y="16887"/>
                </a:lnTo>
                <a:lnTo>
                  <a:pt x="10566" y="15094"/>
                </a:lnTo>
                <a:lnTo>
                  <a:pt x="12075" y="13302"/>
                </a:lnTo>
                <a:lnTo>
                  <a:pt x="13773" y="11698"/>
                </a:lnTo>
                <a:lnTo>
                  <a:pt x="15377" y="10095"/>
                </a:lnTo>
                <a:lnTo>
                  <a:pt x="17170" y="8679"/>
                </a:lnTo>
                <a:lnTo>
                  <a:pt x="18962" y="7453"/>
                </a:lnTo>
                <a:lnTo>
                  <a:pt x="20754" y="6321"/>
                </a:lnTo>
                <a:lnTo>
                  <a:pt x="22547" y="5378"/>
                </a:lnTo>
                <a:lnTo>
                  <a:pt x="21603" y="6227"/>
                </a:lnTo>
                <a:lnTo>
                  <a:pt x="22641" y="5472"/>
                </a:lnTo>
                <a:lnTo>
                  <a:pt x="23302" y="5095"/>
                </a:lnTo>
                <a:lnTo>
                  <a:pt x="25377" y="4151"/>
                </a:lnTo>
                <a:lnTo>
                  <a:pt x="24811" y="4151"/>
                </a:lnTo>
                <a:lnTo>
                  <a:pt x="25660" y="3774"/>
                </a:lnTo>
                <a:lnTo>
                  <a:pt x="26886" y="3208"/>
                </a:lnTo>
                <a:lnTo>
                  <a:pt x="26603" y="3585"/>
                </a:lnTo>
                <a:lnTo>
                  <a:pt x="26886" y="3585"/>
                </a:lnTo>
                <a:lnTo>
                  <a:pt x="26886" y="3680"/>
                </a:lnTo>
                <a:lnTo>
                  <a:pt x="26792" y="3774"/>
                </a:lnTo>
                <a:lnTo>
                  <a:pt x="28301" y="3302"/>
                </a:lnTo>
                <a:lnTo>
                  <a:pt x="29622" y="2736"/>
                </a:lnTo>
                <a:lnTo>
                  <a:pt x="31037" y="2264"/>
                </a:lnTo>
                <a:lnTo>
                  <a:pt x="31792" y="2076"/>
                </a:lnTo>
                <a:lnTo>
                  <a:pt x="32641" y="1981"/>
                </a:lnTo>
                <a:lnTo>
                  <a:pt x="32547" y="2076"/>
                </a:lnTo>
                <a:lnTo>
                  <a:pt x="32924" y="1981"/>
                </a:lnTo>
                <a:lnTo>
                  <a:pt x="34245" y="1793"/>
                </a:lnTo>
                <a:lnTo>
                  <a:pt x="35848" y="1415"/>
                </a:lnTo>
                <a:lnTo>
                  <a:pt x="36981" y="1132"/>
                </a:lnTo>
                <a:lnTo>
                  <a:pt x="36981" y="1415"/>
                </a:lnTo>
                <a:lnTo>
                  <a:pt x="40943" y="1227"/>
                </a:lnTo>
                <a:lnTo>
                  <a:pt x="41509" y="1038"/>
                </a:lnTo>
                <a:lnTo>
                  <a:pt x="41697" y="1132"/>
                </a:lnTo>
                <a:lnTo>
                  <a:pt x="41509" y="1227"/>
                </a:lnTo>
                <a:lnTo>
                  <a:pt x="41320" y="1321"/>
                </a:lnTo>
                <a:lnTo>
                  <a:pt x="42263" y="1321"/>
                </a:lnTo>
                <a:lnTo>
                  <a:pt x="43113" y="1227"/>
                </a:lnTo>
                <a:lnTo>
                  <a:pt x="43396" y="1415"/>
                </a:lnTo>
                <a:lnTo>
                  <a:pt x="44056" y="1604"/>
                </a:lnTo>
                <a:lnTo>
                  <a:pt x="45943" y="2076"/>
                </a:lnTo>
                <a:lnTo>
                  <a:pt x="48018" y="2359"/>
                </a:lnTo>
                <a:lnTo>
                  <a:pt x="49622" y="2736"/>
                </a:lnTo>
                <a:lnTo>
                  <a:pt x="47641" y="1981"/>
                </a:lnTo>
                <a:lnTo>
                  <a:pt x="45282" y="1321"/>
                </a:lnTo>
                <a:lnTo>
                  <a:pt x="42735" y="755"/>
                </a:lnTo>
                <a:lnTo>
                  <a:pt x="40188" y="283"/>
                </a:lnTo>
                <a:lnTo>
                  <a:pt x="37735" y="95"/>
                </a:lnTo>
                <a:lnTo>
                  <a:pt x="35471" y="0"/>
                </a:lnTo>
                <a:close/>
              </a:path>
            </a:pathLst>
          </a:custGeom>
          <a:solidFill>
            <a:srgbClr val="F26F27">
              <a:alpha val="61000"/>
            </a:srgbClr>
          </a:solidFill>
          <a:ln>
            <a:solidFill>
              <a:srgbClr val="EE4328">
                <a:alpha val="60000"/>
              </a:srgbClr>
            </a:solidFill>
          </a:ln>
        </p:spPr>
        <p:txBody>
          <a:bodyPr spcFirstLastPara="1" wrap="square" lIns="91425" tIns="91425" rIns="91425" bIns="91425" anchor="ctr" anchorCtr="0">
            <a:noAutofit/>
          </a:bodyPr>
          <a:lstStyle/>
          <a:p>
            <a:pPr marL="0" lvl="0" indent="0">
              <a:spcBef>
                <a:spcPts val="0"/>
              </a:spcBef>
              <a:spcAft>
                <a:spcPts val="0"/>
              </a:spcAft>
              <a:buNone/>
            </a:pPr>
            <a:endParaRPr sz="1200">
              <a:latin typeface="Comic Sans MS" panose="030F0902030302020204" pitchFamily="66" charset="0"/>
            </a:endParaRPr>
          </a:p>
        </p:txBody>
      </p:sp>
      <p:sp>
        <p:nvSpPr>
          <p:cNvPr id="30" name="TextBox 29">
            <a:extLst>
              <a:ext uri="{FF2B5EF4-FFF2-40B4-BE49-F238E27FC236}">
                <a16:creationId xmlns:a16="http://schemas.microsoft.com/office/drawing/2014/main" id="{1930B89C-1513-974E-A0BB-7E30DE449CA1}"/>
              </a:ext>
            </a:extLst>
          </p:cNvPr>
          <p:cNvSpPr txBox="1"/>
          <p:nvPr/>
        </p:nvSpPr>
        <p:spPr>
          <a:xfrm>
            <a:off x="4263767" y="3018388"/>
            <a:ext cx="472467" cy="215444"/>
          </a:xfrm>
          <a:prstGeom prst="rect">
            <a:avLst/>
          </a:prstGeom>
          <a:noFill/>
          <a:ln>
            <a:solidFill>
              <a:srgbClr val="87CBD8"/>
            </a:solidFill>
          </a:ln>
        </p:spPr>
        <p:txBody>
          <a:bodyPr wrap="square" rtlCol="0">
            <a:spAutoFit/>
          </a:bodyPr>
          <a:lstStyle/>
          <a:p>
            <a:pPr algn="ctr" defTabSz="457200"/>
            <a:r>
              <a:rPr lang="en-US" sz="800" dirty="0">
                <a:solidFill>
                  <a:schemeClr val="tx1">
                    <a:lumMod val="50000"/>
                  </a:schemeClr>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Kafka</a:t>
            </a:r>
          </a:p>
        </p:txBody>
      </p:sp>
      <p:sp>
        <p:nvSpPr>
          <p:cNvPr id="34" name="Google Shape;431;p39">
            <a:extLst>
              <a:ext uri="{FF2B5EF4-FFF2-40B4-BE49-F238E27FC236}">
                <a16:creationId xmlns:a16="http://schemas.microsoft.com/office/drawing/2014/main" id="{4589250E-416A-CF4A-96FA-A7F8708E2334}"/>
              </a:ext>
            </a:extLst>
          </p:cNvPr>
          <p:cNvSpPr/>
          <p:nvPr/>
        </p:nvSpPr>
        <p:spPr>
          <a:xfrm rot="21011211">
            <a:off x="4502987" y="2786087"/>
            <a:ext cx="118019" cy="139785"/>
          </a:xfrm>
          <a:custGeom>
            <a:avLst/>
            <a:gdLst/>
            <a:ahLst/>
            <a:cxnLst/>
            <a:rect l="0" t="0" r="0" b="0"/>
            <a:pathLst>
              <a:path w="67641" h="69056" extrusionOk="0">
                <a:moveTo>
                  <a:pt x="49622" y="2736"/>
                </a:moveTo>
                <a:lnTo>
                  <a:pt x="49622" y="2736"/>
                </a:lnTo>
                <a:lnTo>
                  <a:pt x="49622" y="2736"/>
                </a:lnTo>
                <a:close/>
                <a:moveTo>
                  <a:pt x="59622" y="55565"/>
                </a:moveTo>
                <a:lnTo>
                  <a:pt x="59622" y="55565"/>
                </a:lnTo>
                <a:lnTo>
                  <a:pt x="59622" y="55565"/>
                </a:lnTo>
                <a:close/>
                <a:moveTo>
                  <a:pt x="35471" y="0"/>
                </a:moveTo>
                <a:lnTo>
                  <a:pt x="34433" y="95"/>
                </a:lnTo>
                <a:lnTo>
                  <a:pt x="33584" y="189"/>
                </a:lnTo>
                <a:lnTo>
                  <a:pt x="32735" y="378"/>
                </a:lnTo>
                <a:lnTo>
                  <a:pt x="32169" y="566"/>
                </a:lnTo>
                <a:lnTo>
                  <a:pt x="31509" y="472"/>
                </a:lnTo>
                <a:lnTo>
                  <a:pt x="30754" y="472"/>
                </a:lnTo>
                <a:lnTo>
                  <a:pt x="29339" y="566"/>
                </a:lnTo>
                <a:lnTo>
                  <a:pt x="27830" y="849"/>
                </a:lnTo>
                <a:lnTo>
                  <a:pt x="26320" y="1321"/>
                </a:lnTo>
                <a:lnTo>
                  <a:pt x="24811" y="1981"/>
                </a:lnTo>
                <a:lnTo>
                  <a:pt x="23207" y="2736"/>
                </a:lnTo>
                <a:lnTo>
                  <a:pt x="21698" y="3585"/>
                </a:lnTo>
                <a:lnTo>
                  <a:pt x="20188" y="4623"/>
                </a:lnTo>
                <a:lnTo>
                  <a:pt x="18679" y="5661"/>
                </a:lnTo>
                <a:lnTo>
                  <a:pt x="17170" y="6793"/>
                </a:lnTo>
                <a:lnTo>
                  <a:pt x="15754" y="8019"/>
                </a:lnTo>
                <a:lnTo>
                  <a:pt x="14434" y="9151"/>
                </a:lnTo>
                <a:lnTo>
                  <a:pt x="11981" y="11510"/>
                </a:lnTo>
                <a:lnTo>
                  <a:pt x="10000" y="13774"/>
                </a:lnTo>
                <a:lnTo>
                  <a:pt x="7736" y="16981"/>
                </a:lnTo>
                <a:lnTo>
                  <a:pt x="8019" y="16321"/>
                </a:lnTo>
                <a:lnTo>
                  <a:pt x="8302" y="15660"/>
                </a:lnTo>
                <a:lnTo>
                  <a:pt x="7736" y="16604"/>
                </a:lnTo>
                <a:lnTo>
                  <a:pt x="7075" y="17642"/>
                </a:lnTo>
                <a:lnTo>
                  <a:pt x="7170" y="17830"/>
                </a:lnTo>
                <a:lnTo>
                  <a:pt x="6509" y="18868"/>
                </a:lnTo>
                <a:lnTo>
                  <a:pt x="7075" y="17359"/>
                </a:lnTo>
                <a:lnTo>
                  <a:pt x="6132" y="19057"/>
                </a:lnTo>
                <a:lnTo>
                  <a:pt x="5189" y="20849"/>
                </a:lnTo>
                <a:lnTo>
                  <a:pt x="4434" y="22736"/>
                </a:lnTo>
                <a:lnTo>
                  <a:pt x="3679" y="24622"/>
                </a:lnTo>
                <a:lnTo>
                  <a:pt x="2453" y="28490"/>
                </a:lnTo>
                <a:lnTo>
                  <a:pt x="1321" y="32169"/>
                </a:lnTo>
                <a:lnTo>
                  <a:pt x="1509" y="32264"/>
                </a:lnTo>
                <a:lnTo>
                  <a:pt x="1604" y="32453"/>
                </a:lnTo>
                <a:lnTo>
                  <a:pt x="1604" y="32641"/>
                </a:lnTo>
                <a:lnTo>
                  <a:pt x="1509" y="32924"/>
                </a:lnTo>
                <a:lnTo>
                  <a:pt x="1226" y="33396"/>
                </a:lnTo>
                <a:lnTo>
                  <a:pt x="1038" y="33585"/>
                </a:lnTo>
                <a:lnTo>
                  <a:pt x="1038" y="33773"/>
                </a:lnTo>
                <a:lnTo>
                  <a:pt x="1038" y="35000"/>
                </a:lnTo>
                <a:lnTo>
                  <a:pt x="849" y="36132"/>
                </a:lnTo>
                <a:lnTo>
                  <a:pt x="660" y="37358"/>
                </a:lnTo>
                <a:lnTo>
                  <a:pt x="472" y="38867"/>
                </a:lnTo>
                <a:lnTo>
                  <a:pt x="283" y="38301"/>
                </a:lnTo>
                <a:lnTo>
                  <a:pt x="94" y="39811"/>
                </a:lnTo>
                <a:lnTo>
                  <a:pt x="0" y="41509"/>
                </a:lnTo>
                <a:lnTo>
                  <a:pt x="94" y="43301"/>
                </a:lnTo>
                <a:lnTo>
                  <a:pt x="283" y="44056"/>
                </a:lnTo>
                <a:lnTo>
                  <a:pt x="472" y="44622"/>
                </a:lnTo>
                <a:lnTo>
                  <a:pt x="566" y="45660"/>
                </a:lnTo>
                <a:lnTo>
                  <a:pt x="755" y="46792"/>
                </a:lnTo>
                <a:lnTo>
                  <a:pt x="1226" y="48962"/>
                </a:lnTo>
                <a:lnTo>
                  <a:pt x="1981" y="51037"/>
                </a:lnTo>
                <a:lnTo>
                  <a:pt x="2924" y="53112"/>
                </a:lnTo>
                <a:lnTo>
                  <a:pt x="4057" y="55094"/>
                </a:lnTo>
                <a:lnTo>
                  <a:pt x="5283" y="56980"/>
                </a:lnTo>
                <a:lnTo>
                  <a:pt x="6698" y="58678"/>
                </a:lnTo>
                <a:lnTo>
                  <a:pt x="8113" y="60282"/>
                </a:lnTo>
                <a:lnTo>
                  <a:pt x="9056" y="61131"/>
                </a:lnTo>
                <a:lnTo>
                  <a:pt x="10000" y="61980"/>
                </a:lnTo>
                <a:lnTo>
                  <a:pt x="11038" y="62829"/>
                </a:lnTo>
                <a:lnTo>
                  <a:pt x="12075" y="63584"/>
                </a:lnTo>
                <a:lnTo>
                  <a:pt x="14339" y="64905"/>
                </a:lnTo>
                <a:lnTo>
                  <a:pt x="16604" y="66131"/>
                </a:lnTo>
                <a:lnTo>
                  <a:pt x="19056" y="67169"/>
                </a:lnTo>
                <a:lnTo>
                  <a:pt x="21509" y="67923"/>
                </a:lnTo>
                <a:lnTo>
                  <a:pt x="24056" y="68584"/>
                </a:lnTo>
                <a:lnTo>
                  <a:pt x="26603" y="69055"/>
                </a:lnTo>
                <a:lnTo>
                  <a:pt x="27830" y="69055"/>
                </a:lnTo>
                <a:lnTo>
                  <a:pt x="30188" y="68867"/>
                </a:lnTo>
                <a:lnTo>
                  <a:pt x="33113" y="68678"/>
                </a:lnTo>
                <a:lnTo>
                  <a:pt x="36509" y="68301"/>
                </a:lnTo>
                <a:lnTo>
                  <a:pt x="39811" y="67923"/>
                </a:lnTo>
                <a:lnTo>
                  <a:pt x="42735" y="67452"/>
                </a:lnTo>
                <a:lnTo>
                  <a:pt x="44905" y="66980"/>
                </a:lnTo>
                <a:lnTo>
                  <a:pt x="45565" y="66791"/>
                </a:lnTo>
                <a:lnTo>
                  <a:pt x="45943" y="66508"/>
                </a:lnTo>
                <a:lnTo>
                  <a:pt x="47358" y="65942"/>
                </a:lnTo>
                <a:lnTo>
                  <a:pt x="48018" y="65565"/>
                </a:lnTo>
                <a:lnTo>
                  <a:pt x="48678" y="65188"/>
                </a:lnTo>
                <a:lnTo>
                  <a:pt x="47924" y="65471"/>
                </a:lnTo>
                <a:lnTo>
                  <a:pt x="51509" y="62924"/>
                </a:lnTo>
                <a:lnTo>
                  <a:pt x="53301" y="61508"/>
                </a:lnTo>
                <a:lnTo>
                  <a:pt x="55093" y="59905"/>
                </a:lnTo>
                <a:lnTo>
                  <a:pt x="55093" y="59905"/>
                </a:lnTo>
                <a:lnTo>
                  <a:pt x="54810" y="60376"/>
                </a:lnTo>
                <a:lnTo>
                  <a:pt x="54339" y="60754"/>
                </a:lnTo>
                <a:lnTo>
                  <a:pt x="55376" y="59999"/>
                </a:lnTo>
                <a:lnTo>
                  <a:pt x="56320" y="59056"/>
                </a:lnTo>
                <a:lnTo>
                  <a:pt x="57075" y="58395"/>
                </a:lnTo>
                <a:lnTo>
                  <a:pt x="57169" y="58207"/>
                </a:lnTo>
                <a:lnTo>
                  <a:pt x="57075" y="58207"/>
                </a:lnTo>
                <a:lnTo>
                  <a:pt x="57924" y="57546"/>
                </a:lnTo>
                <a:lnTo>
                  <a:pt x="58678" y="56697"/>
                </a:lnTo>
                <a:lnTo>
                  <a:pt x="59339" y="55754"/>
                </a:lnTo>
                <a:lnTo>
                  <a:pt x="59905" y="54905"/>
                </a:lnTo>
                <a:lnTo>
                  <a:pt x="59716" y="54999"/>
                </a:lnTo>
                <a:lnTo>
                  <a:pt x="59622" y="54999"/>
                </a:lnTo>
                <a:lnTo>
                  <a:pt x="59810" y="54622"/>
                </a:lnTo>
                <a:lnTo>
                  <a:pt x="59150" y="55565"/>
                </a:lnTo>
                <a:lnTo>
                  <a:pt x="59527" y="55094"/>
                </a:lnTo>
                <a:lnTo>
                  <a:pt x="59433" y="55377"/>
                </a:lnTo>
                <a:lnTo>
                  <a:pt x="58867" y="56037"/>
                </a:lnTo>
                <a:lnTo>
                  <a:pt x="59056" y="55660"/>
                </a:lnTo>
                <a:lnTo>
                  <a:pt x="59056" y="55660"/>
                </a:lnTo>
                <a:lnTo>
                  <a:pt x="58678" y="56037"/>
                </a:lnTo>
                <a:lnTo>
                  <a:pt x="59810" y="54339"/>
                </a:lnTo>
                <a:lnTo>
                  <a:pt x="60282" y="53490"/>
                </a:lnTo>
                <a:lnTo>
                  <a:pt x="60282" y="53301"/>
                </a:lnTo>
                <a:lnTo>
                  <a:pt x="60188" y="53395"/>
                </a:lnTo>
                <a:lnTo>
                  <a:pt x="60188" y="53395"/>
                </a:lnTo>
                <a:lnTo>
                  <a:pt x="60565" y="52924"/>
                </a:lnTo>
                <a:lnTo>
                  <a:pt x="61037" y="52452"/>
                </a:lnTo>
                <a:lnTo>
                  <a:pt x="61886" y="51509"/>
                </a:lnTo>
                <a:lnTo>
                  <a:pt x="61508" y="52452"/>
                </a:lnTo>
                <a:lnTo>
                  <a:pt x="60848" y="53584"/>
                </a:lnTo>
                <a:lnTo>
                  <a:pt x="59622" y="55565"/>
                </a:lnTo>
                <a:lnTo>
                  <a:pt x="60376" y="54528"/>
                </a:lnTo>
                <a:lnTo>
                  <a:pt x="60942" y="53678"/>
                </a:lnTo>
                <a:lnTo>
                  <a:pt x="61980" y="51792"/>
                </a:lnTo>
                <a:lnTo>
                  <a:pt x="61886" y="51886"/>
                </a:lnTo>
                <a:lnTo>
                  <a:pt x="61886" y="51697"/>
                </a:lnTo>
                <a:lnTo>
                  <a:pt x="62169" y="51037"/>
                </a:lnTo>
                <a:lnTo>
                  <a:pt x="62735" y="49999"/>
                </a:lnTo>
                <a:lnTo>
                  <a:pt x="61508" y="51603"/>
                </a:lnTo>
                <a:lnTo>
                  <a:pt x="61603" y="51037"/>
                </a:lnTo>
                <a:lnTo>
                  <a:pt x="61697" y="50377"/>
                </a:lnTo>
                <a:lnTo>
                  <a:pt x="62169" y="48962"/>
                </a:lnTo>
                <a:lnTo>
                  <a:pt x="62829" y="47358"/>
                </a:lnTo>
                <a:lnTo>
                  <a:pt x="63678" y="45565"/>
                </a:lnTo>
                <a:lnTo>
                  <a:pt x="65376" y="42169"/>
                </a:lnTo>
                <a:lnTo>
                  <a:pt x="66131" y="40660"/>
                </a:lnTo>
                <a:lnTo>
                  <a:pt x="66697" y="39339"/>
                </a:lnTo>
                <a:lnTo>
                  <a:pt x="66603" y="39528"/>
                </a:lnTo>
                <a:lnTo>
                  <a:pt x="66697" y="39056"/>
                </a:lnTo>
                <a:lnTo>
                  <a:pt x="66791" y="38962"/>
                </a:lnTo>
                <a:lnTo>
                  <a:pt x="66791" y="39056"/>
                </a:lnTo>
                <a:lnTo>
                  <a:pt x="66886" y="38584"/>
                </a:lnTo>
                <a:lnTo>
                  <a:pt x="66791" y="38867"/>
                </a:lnTo>
                <a:lnTo>
                  <a:pt x="66980" y="38207"/>
                </a:lnTo>
                <a:lnTo>
                  <a:pt x="67169" y="37264"/>
                </a:lnTo>
                <a:lnTo>
                  <a:pt x="67263" y="36415"/>
                </a:lnTo>
                <a:lnTo>
                  <a:pt x="67357" y="36509"/>
                </a:lnTo>
                <a:lnTo>
                  <a:pt x="67452" y="36509"/>
                </a:lnTo>
                <a:lnTo>
                  <a:pt x="67546" y="35943"/>
                </a:lnTo>
                <a:lnTo>
                  <a:pt x="67546" y="34811"/>
                </a:lnTo>
                <a:lnTo>
                  <a:pt x="67640" y="31037"/>
                </a:lnTo>
                <a:lnTo>
                  <a:pt x="67640" y="28490"/>
                </a:lnTo>
                <a:lnTo>
                  <a:pt x="67546" y="27736"/>
                </a:lnTo>
                <a:lnTo>
                  <a:pt x="67546" y="27547"/>
                </a:lnTo>
                <a:lnTo>
                  <a:pt x="67452" y="27547"/>
                </a:lnTo>
                <a:lnTo>
                  <a:pt x="67074" y="26792"/>
                </a:lnTo>
                <a:lnTo>
                  <a:pt x="66791" y="25660"/>
                </a:lnTo>
                <a:lnTo>
                  <a:pt x="66508" y="24528"/>
                </a:lnTo>
                <a:lnTo>
                  <a:pt x="66414" y="23585"/>
                </a:lnTo>
                <a:lnTo>
                  <a:pt x="66320" y="23679"/>
                </a:lnTo>
                <a:lnTo>
                  <a:pt x="66320" y="23490"/>
                </a:lnTo>
                <a:lnTo>
                  <a:pt x="65942" y="22924"/>
                </a:lnTo>
                <a:lnTo>
                  <a:pt x="65565" y="22358"/>
                </a:lnTo>
                <a:lnTo>
                  <a:pt x="64527" y="21132"/>
                </a:lnTo>
                <a:lnTo>
                  <a:pt x="63584" y="19906"/>
                </a:lnTo>
                <a:lnTo>
                  <a:pt x="63207" y="19340"/>
                </a:lnTo>
                <a:lnTo>
                  <a:pt x="63018" y="18774"/>
                </a:lnTo>
                <a:lnTo>
                  <a:pt x="63112" y="18962"/>
                </a:lnTo>
                <a:lnTo>
                  <a:pt x="63301" y="19057"/>
                </a:lnTo>
                <a:lnTo>
                  <a:pt x="63301" y="19057"/>
                </a:lnTo>
                <a:lnTo>
                  <a:pt x="63207" y="18868"/>
                </a:lnTo>
                <a:lnTo>
                  <a:pt x="62923" y="18491"/>
                </a:lnTo>
                <a:lnTo>
                  <a:pt x="61980" y="17453"/>
                </a:lnTo>
                <a:lnTo>
                  <a:pt x="61037" y="16509"/>
                </a:lnTo>
                <a:lnTo>
                  <a:pt x="61037" y="16698"/>
                </a:lnTo>
                <a:lnTo>
                  <a:pt x="61037" y="16887"/>
                </a:lnTo>
                <a:lnTo>
                  <a:pt x="60093" y="15943"/>
                </a:lnTo>
                <a:lnTo>
                  <a:pt x="60376" y="16321"/>
                </a:lnTo>
                <a:lnTo>
                  <a:pt x="59527" y="15377"/>
                </a:lnTo>
                <a:lnTo>
                  <a:pt x="59056" y="14906"/>
                </a:lnTo>
                <a:lnTo>
                  <a:pt x="59244" y="14906"/>
                </a:lnTo>
                <a:lnTo>
                  <a:pt x="59905" y="15472"/>
                </a:lnTo>
                <a:lnTo>
                  <a:pt x="59905" y="15472"/>
                </a:lnTo>
                <a:lnTo>
                  <a:pt x="57641" y="13396"/>
                </a:lnTo>
                <a:lnTo>
                  <a:pt x="58112" y="13868"/>
                </a:lnTo>
                <a:lnTo>
                  <a:pt x="56886" y="13019"/>
                </a:lnTo>
                <a:lnTo>
                  <a:pt x="55754" y="12453"/>
                </a:lnTo>
                <a:lnTo>
                  <a:pt x="56603" y="13113"/>
                </a:lnTo>
                <a:lnTo>
                  <a:pt x="57452" y="13774"/>
                </a:lnTo>
                <a:lnTo>
                  <a:pt x="58961" y="15283"/>
                </a:lnTo>
                <a:lnTo>
                  <a:pt x="60376" y="16604"/>
                </a:lnTo>
                <a:lnTo>
                  <a:pt x="61225" y="17264"/>
                </a:lnTo>
                <a:lnTo>
                  <a:pt x="62074" y="17925"/>
                </a:lnTo>
                <a:lnTo>
                  <a:pt x="62074" y="17925"/>
                </a:lnTo>
                <a:lnTo>
                  <a:pt x="61414" y="17547"/>
                </a:lnTo>
                <a:lnTo>
                  <a:pt x="60659" y="16981"/>
                </a:lnTo>
                <a:lnTo>
                  <a:pt x="60754" y="17264"/>
                </a:lnTo>
                <a:lnTo>
                  <a:pt x="60942" y="17642"/>
                </a:lnTo>
                <a:lnTo>
                  <a:pt x="61980" y="19151"/>
                </a:lnTo>
                <a:lnTo>
                  <a:pt x="63301" y="20943"/>
                </a:lnTo>
                <a:lnTo>
                  <a:pt x="63207" y="20943"/>
                </a:lnTo>
                <a:lnTo>
                  <a:pt x="63395" y="21038"/>
                </a:lnTo>
                <a:lnTo>
                  <a:pt x="63490" y="21321"/>
                </a:lnTo>
                <a:lnTo>
                  <a:pt x="63678" y="21604"/>
                </a:lnTo>
                <a:lnTo>
                  <a:pt x="63773" y="21698"/>
                </a:lnTo>
                <a:lnTo>
                  <a:pt x="63584" y="21321"/>
                </a:lnTo>
                <a:lnTo>
                  <a:pt x="63584" y="21321"/>
                </a:lnTo>
                <a:lnTo>
                  <a:pt x="64244" y="22170"/>
                </a:lnTo>
                <a:lnTo>
                  <a:pt x="64716" y="22641"/>
                </a:lnTo>
                <a:lnTo>
                  <a:pt x="64905" y="22830"/>
                </a:lnTo>
                <a:lnTo>
                  <a:pt x="64999" y="22830"/>
                </a:lnTo>
                <a:lnTo>
                  <a:pt x="64999" y="22641"/>
                </a:lnTo>
                <a:lnTo>
                  <a:pt x="64905" y="22358"/>
                </a:lnTo>
                <a:lnTo>
                  <a:pt x="65282" y="23207"/>
                </a:lnTo>
                <a:lnTo>
                  <a:pt x="65565" y="24056"/>
                </a:lnTo>
                <a:lnTo>
                  <a:pt x="66225" y="25943"/>
                </a:lnTo>
                <a:lnTo>
                  <a:pt x="66697" y="27830"/>
                </a:lnTo>
                <a:lnTo>
                  <a:pt x="66886" y="28490"/>
                </a:lnTo>
                <a:lnTo>
                  <a:pt x="66980" y="28868"/>
                </a:lnTo>
                <a:lnTo>
                  <a:pt x="66886" y="28962"/>
                </a:lnTo>
                <a:lnTo>
                  <a:pt x="66697" y="28679"/>
                </a:lnTo>
                <a:lnTo>
                  <a:pt x="66697" y="29245"/>
                </a:lnTo>
                <a:lnTo>
                  <a:pt x="66791" y="29905"/>
                </a:lnTo>
                <a:lnTo>
                  <a:pt x="66886" y="29905"/>
                </a:lnTo>
                <a:lnTo>
                  <a:pt x="66886" y="30094"/>
                </a:lnTo>
                <a:lnTo>
                  <a:pt x="66886" y="30566"/>
                </a:lnTo>
                <a:lnTo>
                  <a:pt x="66697" y="30377"/>
                </a:lnTo>
                <a:lnTo>
                  <a:pt x="66603" y="30188"/>
                </a:lnTo>
                <a:lnTo>
                  <a:pt x="66603" y="30094"/>
                </a:lnTo>
                <a:lnTo>
                  <a:pt x="66697" y="29905"/>
                </a:lnTo>
                <a:lnTo>
                  <a:pt x="66508" y="28679"/>
                </a:lnTo>
                <a:lnTo>
                  <a:pt x="66225" y="27358"/>
                </a:lnTo>
                <a:lnTo>
                  <a:pt x="66603" y="30283"/>
                </a:lnTo>
                <a:lnTo>
                  <a:pt x="66697" y="31792"/>
                </a:lnTo>
                <a:lnTo>
                  <a:pt x="66697" y="33302"/>
                </a:lnTo>
                <a:lnTo>
                  <a:pt x="66603" y="34717"/>
                </a:lnTo>
                <a:lnTo>
                  <a:pt x="66414" y="36226"/>
                </a:lnTo>
                <a:lnTo>
                  <a:pt x="66131" y="37547"/>
                </a:lnTo>
                <a:lnTo>
                  <a:pt x="65659" y="38962"/>
                </a:lnTo>
                <a:lnTo>
                  <a:pt x="65848" y="38584"/>
                </a:lnTo>
                <a:lnTo>
                  <a:pt x="65942" y="38584"/>
                </a:lnTo>
                <a:lnTo>
                  <a:pt x="65848" y="39245"/>
                </a:lnTo>
                <a:lnTo>
                  <a:pt x="65565" y="40188"/>
                </a:lnTo>
                <a:lnTo>
                  <a:pt x="65471" y="40471"/>
                </a:lnTo>
                <a:lnTo>
                  <a:pt x="65282" y="40660"/>
                </a:lnTo>
                <a:lnTo>
                  <a:pt x="65282" y="40566"/>
                </a:lnTo>
                <a:lnTo>
                  <a:pt x="65093" y="41132"/>
                </a:lnTo>
                <a:lnTo>
                  <a:pt x="64433" y="43018"/>
                </a:lnTo>
                <a:lnTo>
                  <a:pt x="63678" y="45282"/>
                </a:lnTo>
                <a:lnTo>
                  <a:pt x="62735" y="47264"/>
                </a:lnTo>
                <a:lnTo>
                  <a:pt x="61697" y="49056"/>
                </a:lnTo>
                <a:lnTo>
                  <a:pt x="60659" y="50943"/>
                </a:lnTo>
                <a:lnTo>
                  <a:pt x="59433" y="52735"/>
                </a:lnTo>
                <a:lnTo>
                  <a:pt x="58207" y="54433"/>
                </a:lnTo>
                <a:lnTo>
                  <a:pt x="56886" y="56037"/>
                </a:lnTo>
                <a:lnTo>
                  <a:pt x="55376" y="57641"/>
                </a:lnTo>
                <a:lnTo>
                  <a:pt x="53867" y="59150"/>
                </a:lnTo>
                <a:lnTo>
                  <a:pt x="52169" y="60376"/>
                </a:lnTo>
                <a:lnTo>
                  <a:pt x="48961" y="62452"/>
                </a:lnTo>
                <a:lnTo>
                  <a:pt x="44528" y="65282"/>
                </a:lnTo>
                <a:lnTo>
                  <a:pt x="44622" y="65188"/>
                </a:lnTo>
                <a:lnTo>
                  <a:pt x="44716" y="65093"/>
                </a:lnTo>
                <a:lnTo>
                  <a:pt x="45094" y="64810"/>
                </a:lnTo>
                <a:lnTo>
                  <a:pt x="45660" y="64527"/>
                </a:lnTo>
                <a:lnTo>
                  <a:pt x="43867" y="65376"/>
                </a:lnTo>
                <a:lnTo>
                  <a:pt x="43113" y="65754"/>
                </a:lnTo>
                <a:lnTo>
                  <a:pt x="42924" y="65754"/>
                </a:lnTo>
                <a:lnTo>
                  <a:pt x="43113" y="65659"/>
                </a:lnTo>
                <a:lnTo>
                  <a:pt x="41603" y="66037"/>
                </a:lnTo>
                <a:lnTo>
                  <a:pt x="39999" y="66320"/>
                </a:lnTo>
                <a:lnTo>
                  <a:pt x="38396" y="66508"/>
                </a:lnTo>
                <a:lnTo>
                  <a:pt x="36792" y="66697"/>
                </a:lnTo>
                <a:lnTo>
                  <a:pt x="33584" y="66980"/>
                </a:lnTo>
                <a:lnTo>
                  <a:pt x="32169" y="67169"/>
                </a:lnTo>
                <a:lnTo>
                  <a:pt x="30754" y="67357"/>
                </a:lnTo>
                <a:lnTo>
                  <a:pt x="30094" y="67357"/>
                </a:lnTo>
                <a:lnTo>
                  <a:pt x="29339" y="67263"/>
                </a:lnTo>
                <a:lnTo>
                  <a:pt x="27830" y="66886"/>
                </a:lnTo>
                <a:lnTo>
                  <a:pt x="26415" y="66508"/>
                </a:lnTo>
                <a:lnTo>
                  <a:pt x="25754" y="66414"/>
                </a:lnTo>
                <a:lnTo>
                  <a:pt x="25094" y="66414"/>
                </a:lnTo>
                <a:lnTo>
                  <a:pt x="25566" y="66980"/>
                </a:lnTo>
                <a:lnTo>
                  <a:pt x="25471" y="67074"/>
                </a:lnTo>
                <a:lnTo>
                  <a:pt x="25188" y="66980"/>
                </a:lnTo>
                <a:lnTo>
                  <a:pt x="24339" y="66791"/>
                </a:lnTo>
                <a:lnTo>
                  <a:pt x="23773" y="66508"/>
                </a:lnTo>
                <a:lnTo>
                  <a:pt x="24245" y="66414"/>
                </a:lnTo>
                <a:lnTo>
                  <a:pt x="24717" y="66603"/>
                </a:lnTo>
                <a:lnTo>
                  <a:pt x="24811" y="66414"/>
                </a:lnTo>
                <a:lnTo>
                  <a:pt x="24811" y="66320"/>
                </a:lnTo>
                <a:lnTo>
                  <a:pt x="24717" y="66225"/>
                </a:lnTo>
                <a:lnTo>
                  <a:pt x="24528" y="66131"/>
                </a:lnTo>
                <a:lnTo>
                  <a:pt x="24151" y="66225"/>
                </a:lnTo>
                <a:lnTo>
                  <a:pt x="23679" y="66320"/>
                </a:lnTo>
                <a:lnTo>
                  <a:pt x="23018" y="66414"/>
                </a:lnTo>
                <a:lnTo>
                  <a:pt x="23490" y="66225"/>
                </a:lnTo>
                <a:lnTo>
                  <a:pt x="22075" y="65942"/>
                </a:lnTo>
                <a:lnTo>
                  <a:pt x="20943" y="65659"/>
                </a:lnTo>
                <a:lnTo>
                  <a:pt x="20000" y="65282"/>
                </a:lnTo>
                <a:lnTo>
                  <a:pt x="19056" y="64810"/>
                </a:lnTo>
                <a:lnTo>
                  <a:pt x="19056" y="64810"/>
                </a:lnTo>
                <a:lnTo>
                  <a:pt x="19717" y="64999"/>
                </a:lnTo>
                <a:lnTo>
                  <a:pt x="19151" y="64716"/>
                </a:lnTo>
                <a:lnTo>
                  <a:pt x="18962" y="64810"/>
                </a:lnTo>
                <a:lnTo>
                  <a:pt x="19151" y="64905"/>
                </a:lnTo>
                <a:lnTo>
                  <a:pt x="18490" y="64905"/>
                </a:lnTo>
                <a:lnTo>
                  <a:pt x="17830" y="64716"/>
                </a:lnTo>
                <a:lnTo>
                  <a:pt x="17264" y="64527"/>
                </a:lnTo>
                <a:lnTo>
                  <a:pt x="16698" y="64150"/>
                </a:lnTo>
                <a:lnTo>
                  <a:pt x="16981" y="64056"/>
                </a:lnTo>
                <a:lnTo>
                  <a:pt x="17264" y="64150"/>
                </a:lnTo>
                <a:lnTo>
                  <a:pt x="17264" y="64150"/>
                </a:lnTo>
                <a:lnTo>
                  <a:pt x="15188" y="63207"/>
                </a:lnTo>
                <a:lnTo>
                  <a:pt x="14622" y="62829"/>
                </a:lnTo>
                <a:lnTo>
                  <a:pt x="14717" y="62924"/>
                </a:lnTo>
                <a:lnTo>
                  <a:pt x="13773" y="62546"/>
                </a:lnTo>
                <a:lnTo>
                  <a:pt x="12924" y="62075"/>
                </a:lnTo>
                <a:lnTo>
                  <a:pt x="12358" y="61697"/>
                </a:lnTo>
                <a:lnTo>
                  <a:pt x="12264" y="61508"/>
                </a:lnTo>
                <a:lnTo>
                  <a:pt x="12170" y="61320"/>
                </a:lnTo>
                <a:lnTo>
                  <a:pt x="11698" y="60942"/>
                </a:lnTo>
                <a:lnTo>
                  <a:pt x="11132" y="60471"/>
                </a:lnTo>
                <a:lnTo>
                  <a:pt x="9906" y="59244"/>
                </a:lnTo>
                <a:lnTo>
                  <a:pt x="9906" y="59244"/>
                </a:lnTo>
                <a:lnTo>
                  <a:pt x="10566" y="59527"/>
                </a:lnTo>
                <a:lnTo>
                  <a:pt x="9434" y="58584"/>
                </a:lnTo>
                <a:lnTo>
                  <a:pt x="8207" y="57546"/>
                </a:lnTo>
                <a:lnTo>
                  <a:pt x="7547" y="56886"/>
                </a:lnTo>
                <a:lnTo>
                  <a:pt x="6981" y="56131"/>
                </a:lnTo>
                <a:lnTo>
                  <a:pt x="6226" y="55094"/>
                </a:lnTo>
                <a:lnTo>
                  <a:pt x="6415" y="55377"/>
                </a:lnTo>
                <a:lnTo>
                  <a:pt x="6038" y="54905"/>
                </a:lnTo>
                <a:lnTo>
                  <a:pt x="5472" y="54244"/>
                </a:lnTo>
                <a:lnTo>
                  <a:pt x="5283" y="53961"/>
                </a:lnTo>
                <a:lnTo>
                  <a:pt x="5094" y="53867"/>
                </a:lnTo>
                <a:lnTo>
                  <a:pt x="5377" y="54622"/>
                </a:lnTo>
                <a:lnTo>
                  <a:pt x="5849" y="55282"/>
                </a:lnTo>
                <a:lnTo>
                  <a:pt x="6321" y="55943"/>
                </a:lnTo>
                <a:lnTo>
                  <a:pt x="6698" y="56603"/>
                </a:lnTo>
                <a:lnTo>
                  <a:pt x="6226" y="56226"/>
                </a:lnTo>
                <a:lnTo>
                  <a:pt x="5943" y="55848"/>
                </a:lnTo>
                <a:lnTo>
                  <a:pt x="6038" y="56037"/>
                </a:lnTo>
                <a:lnTo>
                  <a:pt x="5943" y="55943"/>
                </a:lnTo>
                <a:lnTo>
                  <a:pt x="5377" y="55188"/>
                </a:lnTo>
                <a:lnTo>
                  <a:pt x="5000" y="54716"/>
                </a:lnTo>
                <a:lnTo>
                  <a:pt x="4717" y="54150"/>
                </a:lnTo>
                <a:lnTo>
                  <a:pt x="4528" y="53678"/>
                </a:lnTo>
                <a:lnTo>
                  <a:pt x="4528" y="53584"/>
                </a:lnTo>
                <a:lnTo>
                  <a:pt x="4623" y="53395"/>
                </a:lnTo>
                <a:lnTo>
                  <a:pt x="5094" y="54244"/>
                </a:lnTo>
                <a:lnTo>
                  <a:pt x="4717" y="53301"/>
                </a:lnTo>
                <a:lnTo>
                  <a:pt x="4528" y="53018"/>
                </a:lnTo>
                <a:lnTo>
                  <a:pt x="4151" y="52263"/>
                </a:lnTo>
                <a:lnTo>
                  <a:pt x="4151" y="52169"/>
                </a:lnTo>
                <a:lnTo>
                  <a:pt x="3774" y="51509"/>
                </a:lnTo>
                <a:lnTo>
                  <a:pt x="3396" y="50660"/>
                </a:lnTo>
                <a:lnTo>
                  <a:pt x="3585" y="51603"/>
                </a:lnTo>
                <a:lnTo>
                  <a:pt x="3396" y="51226"/>
                </a:lnTo>
                <a:lnTo>
                  <a:pt x="3208" y="50848"/>
                </a:lnTo>
                <a:lnTo>
                  <a:pt x="3208" y="50471"/>
                </a:lnTo>
                <a:lnTo>
                  <a:pt x="3208" y="50094"/>
                </a:lnTo>
                <a:lnTo>
                  <a:pt x="3585" y="50754"/>
                </a:lnTo>
                <a:lnTo>
                  <a:pt x="3868" y="51509"/>
                </a:lnTo>
                <a:lnTo>
                  <a:pt x="3868" y="51509"/>
                </a:lnTo>
                <a:lnTo>
                  <a:pt x="3208" y="49528"/>
                </a:lnTo>
                <a:lnTo>
                  <a:pt x="3208" y="49528"/>
                </a:lnTo>
                <a:lnTo>
                  <a:pt x="3868" y="50754"/>
                </a:lnTo>
                <a:lnTo>
                  <a:pt x="3208" y="48962"/>
                </a:lnTo>
                <a:lnTo>
                  <a:pt x="3585" y="49339"/>
                </a:lnTo>
                <a:lnTo>
                  <a:pt x="3774" y="49433"/>
                </a:lnTo>
                <a:lnTo>
                  <a:pt x="3962" y="49528"/>
                </a:lnTo>
                <a:lnTo>
                  <a:pt x="4057" y="49905"/>
                </a:lnTo>
                <a:lnTo>
                  <a:pt x="3868" y="48962"/>
                </a:lnTo>
                <a:lnTo>
                  <a:pt x="3491" y="47924"/>
                </a:lnTo>
                <a:lnTo>
                  <a:pt x="2641" y="45565"/>
                </a:lnTo>
                <a:lnTo>
                  <a:pt x="2170" y="43867"/>
                </a:lnTo>
                <a:lnTo>
                  <a:pt x="1698" y="41886"/>
                </a:lnTo>
                <a:lnTo>
                  <a:pt x="1698" y="41886"/>
                </a:lnTo>
                <a:lnTo>
                  <a:pt x="1887" y="42075"/>
                </a:lnTo>
                <a:lnTo>
                  <a:pt x="1981" y="41981"/>
                </a:lnTo>
                <a:lnTo>
                  <a:pt x="2075" y="42075"/>
                </a:lnTo>
                <a:lnTo>
                  <a:pt x="2264" y="42169"/>
                </a:lnTo>
                <a:lnTo>
                  <a:pt x="2170" y="40283"/>
                </a:lnTo>
                <a:lnTo>
                  <a:pt x="2075" y="38301"/>
                </a:lnTo>
                <a:lnTo>
                  <a:pt x="2170" y="36415"/>
                </a:lnTo>
                <a:lnTo>
                  <a:pt x="2358" y="35566"/>
                </a:lnTo>
                <a:lnTo>
                  <a:pt x="2453" y="34811"/>
                </a:lnTo>
                <a:lnTo>
                  <a:pt x="2830" y="32830"/>
                </a:lnTo>
                <a:lnTo>
                  <a:pt x="2830" y="33207"/>
                </a:lnTo>
                <a:lnTo>
                  <a:pt x="2924" y="33490"/>
                </a:lnTo>
                <a:lnTo>
                  <a:pt x="2924" y="32453"/>
                </a:lnTo>
                <a:lnTo>
                  <a:pt x="3019" y="31415"/>
                </a:lnTo>
                <a:lnTo>
                  <a:pt x="3396" y="29245"/>
                </a:lnTo>
                <a:lnTo>
                  <a:pt x="3868" y="27075"/>
                </a:lnTo>
                <a:lnTo>
                  <a:pt x="4623" y="25000"/>
                </a:lnTo>
                <a:lnTo>
                  <a:pt x="5566" y="22830"/>
                </a:lnTo>
                <a:lnTo>
                  <a:pt x="6604" y="20849"/>
                </a:lnTo>
                <a:lnTo>
                  <a:pt x="7830" y="18868"/>
                </a:lnTo>
                <a:lnTo>
                  <a:pt x="9151" y="16887"/>
                </a:lnTo>
                <a:lnTo>
                  <a:pt x="10566" y="15094"/>
                </a:lnTo>
                <a:lnTo>
                  <a:pt x="12075" y="13302"/>
                </a:lnTo>
                <a:lnTo>
                  <a:pt x="13773" y="11698"/>
                </a:lnTo>
                <a:lnTo>
                  <a:pt x="15377" y="10095"/>
                </a:lnTo>
                <a:lnTo>
                  <a:pt x="17170" y="8679"/>
                </a:lnTo>
                <a:lnTo>
                  <a:pt x="18962" y="7453"/>
                </a:lnTo>
                <a:lnTo>
                  <a:pt x="20754" y="6321"/>
                </a:lnTo>
                <a:lnTo>
                  <a:pt x="22547" y="5378"/>
                </a:lnTo>
                <a:lnTo>
                  <a:pt x="21603" y="6227"/>
                </a:lnTo>
                <a:lnTo>
                  <a:pt x="22641" y="5472"/>
                </a:lnTo>
                <a:lnTo>
                  <a:pt x="23302" y="5095"/>
                </a:lnTo>
                <a:lnTo>
                  <a:pt x="25377" y="4151"/>
                </a:lnTo>
                <a:lnTo>
                  <a:pt x="24811" y="4151"/>
                </a:lnTo>
                <a:lnTo>
                  <a:pt x="25660" y="3774"/>
                </a:lnTo>
                <a:lnTo>
                  <a:pt x="26886" y="3208"/>
                </a:lnTo>
                <a:lnTo>
                  <a:pt x="26603" y="3585"/>
                </a:lnTo>
                <a:lnTo>
                  <a:pt x="26886" y="3585"/>
                </a:lnTo>
                <a:lnTo>
                  <a:pt x="26886" y="3680"/>
                </a:lnTo>
                <a:lnTo>
                  <a:pt x="26792" y="3774"/>
                </a:lnTo>
                <a:lnTo>
                  <a:pt x="28301" y="3302"/>
                </a:lnTo>
                <a:lnTo>
                  <a:pt x="29622" y="2736"/>
                </a:lnTo>
                <a:lnTo>
                  <a:pt x="31037" y="2264"/>
                </a:lnTo>
                <a:lnTo>
                  <a:pt x="31792" y="2076"/>
                </a:lnTo>
                <a:lnTo>
                  <a:pt x="32641" y="1981"/>
                </a:lnTo>
                <a:lnTo>
                  <a:pt x="32547" y="2076"/>
                </a:lnTo>
                <a:lnTo>
                  <a:pt x="32924" y="1981"/>
                </a:lnTo>
                <a:lnTo>
                  <a:pt x="34245" y="1793"/>
                </a:lnTo>
                <a:lnTo>
                  <a:pt x="35848" y="1415"/>
                </a:lnTo>
                <a:lnTo>
                  <a:pt x="36981" y="1132"/>
                </a:lnTo>
                <a:lnTo>
                  <a:pt x="36981" y="1415"/>
                </a:lnTo>
                <a:lnTo>
                  <a:pt x="40943" y="1227"/>
                </a:lnTo>
                <a:lnTo>
                  <a:pt x="41509" y="1038"/>
                </a:lnTo>
                <a:lnTo>
                  <a:pt x="41697" y="1132"/>
                </a:lnTo>
                <a:lnTo>
                  <a:pt x="41509" y="1227"/>
                </a:lnTo>
                <a:lnTo>
                  <a:pt x="41320" y="1321"/>
                </a:lnTo>
                <a:lnTo>
                  <a:pt x="42263" y="1321"/>
                </a:lnTo>
                <a:lnTo>
                  <a:pt x="43113" y="1227"/>
                </a:lnTo>
                <a:lnTo>
                  <a:pt x="43396" y="1415"/>
                </a:lnTo>
                <a:lnTo>
                  <a:pt x="44056" y="1604"/>
                </a:lnTo>
                <a:lnTo>
                  <a:pt x="45943" y="2076"/>
                </a:lnTo>
                <a:lnTo>
                  <a:pt x="48018" y="2359"/>
                </a:lnTo>
                <a:lnTo>
                  <a:pt x="49622" y="2736"/>
                </a:lnTo>
                <a:lnTo>
                  <a:pt x="47641" y="1981"/>
                </a:lnTo>
                <a:lnTo>
                  <a:pt x="45282" y="1321"/>
                </a:lnTo>
                <a:lnTo>
                  <a:pt x="42735" y="755"/>
                </a:lnTo>
                <a:lnTo>
                  <a:pt x="40188" y="283"/>
                </a:lnTo>
                <a:lnTo>
                  <a:pt x="37735" y="95"/>
                </a:lnTo>
                <a:lnTo>
                  <a:pt x="35471" y="0"/>
                </a:lnTo>
                <a:close/>
              </a:path>
            </a:pathLst>
          </a:custGeom>
          <a:solidFill>
            <a:schemeClr val="bg2">
              <a:lumMod val="75000"/>
            </a:schemeClr>
          </a:solidFill>
          <a:ln>
            <a:noFill/>
          </a:ln>
        </p:spPr>
        <p:txBody>
          <a:bodyPr spcFirstLastPara="1" wrap="square" lIns="91425" tIns="91425" rIns="91425" bIns="91425" anchor="ctr" anchorCtr="0">
            <a:noAutofit/>
          </a:bodyPr>
          <a:lstStyle/>
          <a:p>
            <a:pPr marL="0" lvl="0" indent="0">
              <a:spcBef>
                <a:spcPts val="0"/>
              </a:spcBef>
              <a:spcAft>
                <a:spcPts val="0"/>
              </a:spcAft>
              <a:buNone/>
            </a:pPr>
            <a:endParaRPr sz="1200" dirty="0">
              <a:latin typeface="Comic Sans MS" panose="030F0902030302020204" pitchFamily="66" charset="0"/>
            </a:endParaRPr>
          </a:p>
        </p:txBody>
      </p:sp>
      <p:sp>
        <p:nvSpPr>
          <p:cNvPr id="36" name="Google Shape;431;p39">
            <a:extLst>
              <a:ext uri="{FF2B5EF4-FFF2-40B4-BE49-F238E27FC236}">
                <a16:creationId xmlns:a16="http://schemas.microsoft.com/office/drawing/2014/main" id="{CD911DE1-956A-E94E-B18F-4698C761254A}"/>
              </a:ext>
            </a:extLst>
          </p:cNvPr>
          <p:cNvSpPr/>
          <p:nvPr/>
        </p:nvSpPr>
        <p:spPr>
          <a:xfrm rot="21011211">
            <a:off x="4297671" y="3344928"/>
            <a:ext cx="118019" cy="139785"/>
          </a:xfrm>
          <a:custGeom>
            <a:avLst/>
            <a:gdLst/>
            <a:ahLst/>
            <a:cxnLst/>
            <a:rect l="0" t="0" r="0" b="0"/>
            <a:pathLst>
              <a:path w="67641" h="69056" extrusionOk="0">
                <a:moveTo>
                  <a:pt x="49622" y="2736"/>
                </a:moveTo>
                <a:lnTo>
                  <a:pt x="49622" y="2736"/>
                </a:lnTo>
                <a:lnTo>
                  <a:pt x="49622" y="2736"/>
                </a:lnTo>
                <a:close/>
                <a:moveTo>
                  <a:pt x="59622" y="55565"/>
                </a:moveTo>
                <a:lnTo>
                  <a:pt x="59622" y="55565"/>
                </a:lnTo>
                <a:lnTo>
                  <a:pt x="59622" y="55565"/>
                </a:lnTo>
                <a:close/>
                <a:moveTo>
                  <a:pt x="35471" y="0"/>
                </a:moveTo>
                <a:lnTo>
                  <a:pt x="34433" y="95"/>
                </a:lnTo>
                <a:lnTo>
                  <a:pt x="33584" y="189"/>
                </a:lnTo>
                <a:lnTo>
                  <a:pt x="32735" y="378"/>
                </a:lnTo>
                <a:lnTo>
                  <a:pt x="32169" y="566"/>
                </a:lnTo>
                <a:lnTo>
                  <a:pt x="31509" y="472"/>
                </a:lnTo>
                <a:lnTo>
                  <a:pt x="30754" y="472"/>
                </a:lnTo>
                <a:lnTo>
                  <a:pt x="29339" y="566"/>
                </a:lnTo>
                <a:lnTo>
                  <a:pt x="27830" y="849"/>
                </a:lnTo>
                <a:lnTo>
                  <a:pt x="26320" y="1321"/>
                </a:lnTo>
                <a:lnTo>
                  <a:pt x="24811" y="1981"/>
                </a:lnTo>
                <a:lnTo>
                  <a:pt x="23207" y="2736"/>
                </a:lnTo>
                <a:lnTo>
                  <a:pt x="21698" y="3585"/>
                </a:lnTo>
                <a:lnTo>
                  <a:pt x="20188" y="4623"/>
                </a:lnTo>
                <a:lnTo>
                  <a:pt x="18679" y="5661"/>
                </a:lnTo>
                <a:lnTo>
                  <a:pt x="17170" y="6793"/>
                </a:lnTo>
                <a:lnTo>
                  <a:pt x="15754" y="8019"/>
                </a:lnTo>
                <a:lnTo>
                  <a:pt x="14434" y="9151"/>
                </a:lnTo>
                <a:lnTo>
                  <a:pt x="11981" y="11510"/>
                </a:lnTo>
                <a:lnTo>
                  <a:pt x="10000" y="13774"/>
                </a:lnTo>
                <a:lnTo>
                  <a:pt x="7736" y="16981"/>
                </a:lnTo>
                <a:lnTo>
                  <a:pt x="8019" y="16321"/>
                </a:lnTo>
                <a:lnTo>
                  <a:pt x="8302" y="15660"/>
                </a:lnTo>
                <a:lnTo>
                  <a:pt x="7736" y="16604"/>
                </a:lnTo>
                <a:lnTo>
                  <a:pt x="7075" y="17642"/>
                </a:lnTo>
                <a:lnTo>
                  <a:pt x="7170" y="17830"/>
                </a:lnTo>
                <a:lnTo>
                  <a:pt x="6509" y="18868"/>
                </a:lnTo>
                <a:lnTo>
                  <a:pt x="7075" y="17359"/>
                </a:lnTo>
                <a:lnTo>
                  <a:pt x="6132" y="19057"/>
                </a:lnTo>
                <a:lnTo>
                  <a:pt x="5189" y="20849"/>
                </a:lnTo>
                <a:lnTo>
                  <a:pt x="4434" y="22736"/>
                </a:lnTo>
                <a:lnTo>
                  <a:pt x="3679" y="24622"/>
                </a:lnTo>
                <a:lnTo>
                  <a:pt x="2453" y="28490"/>
                </a:lnTo>
                <a:lnTo>
                  <a:pt x="1321" y="32169"/>
                </a:lnTo>
                <a:lnTo>
                  <a:pt x="1509" y="32264"/>
                </a:lnTo>
                <a:lnTo>
                  <a:pt x="1604" y="32453"/>
                </a:lnTo>
                <a:lnTo>
                  <a:pt x="1604" y="32641"/>
                </a:lnTo>
                <a:lnTo>
                  <a:pt x="1509" y="32924"/>
                </a:lnTo>
                <a:lnTo>
                  <a:pt x="1226" y="33396"/>
                </a:lnTo>
                <a:lnTo>
                  <a:pt x="1038" y="33585"/>
                </a:lnTo>
                <a:lnTo>
                  <a:pt x="1038" y="33773"/>
                </a:lnTo>
                <a:lnTo>
                  <a:pt x="1038" y="35000"/>
                </a:lnTo>
                <a:lnTo>
                  <a:pt x="849" y="36132"/>
                </a:lnTo>
                <a:lnTo>
                  <a:pt x="660" y="37358"/>
                </a:lnTo>
                <a:lnTo>
                  <a:pt x="472" y="38867"/>
                </a:lnTo>
                <a:lnTo>
                  <a:pt x="283" y="38301"/>
                </a:lnTo>
                <a:lnTo>
                  <a:pt x="94" y="39811"/>
                </a:lnTo>
                <a:lnTo>
                  <a:pt x="0" y="41509"/>
                </a:lnTo>
                <a:lnTo>
                  <a:pt x="94" y="43301"/>
                </a:lnTo>
                <a:lnTo>
                  <a:pt x="283" y="44056"/>
                </a:lnTo>
                <a:lnTo>
                  <a:pt x="472" y="44622"/>
                </a:lnTo>
                <a:lnTo>
                  <a:pt x="566" y="45660"/>
                </a:lnTo>
                <a:lnTo>
                  <a:pt x="755" y="46792"/>
                </a:lnTo>
                <a:lnTo>
                  <a:pt x="1226" y="48962"/>
                </a:lnTo>
                <a:lnTo>
                  <a:pt x="1981" y="51037"/>
                </a:lnTo>
                <a:lnTo>
                  <a:pt x="2924" y="53112"/>
                </a:lnTo>
                <a:lnTo>
                  <a:pt x="4057" y="55094"/>
                </a:lnTo>
                <a:lnTo>
                  <a:pt x="5283" y="56980"/>
                </a:lnTo>
                <a:lnTo>
                  <a:pt x="6698" y="58678"/>
                </a:lnTo>
                <a:lnTo>
                  <a:pt x="8113" y="60282"/>
                </a:lnTo>
                <a:lnTo>
                  <a:pt x="9056" y="61131"/>
                </a:lnTo>
                <a:lnTo>
                  <a:pt x="10000" y="61980"/>
                </a:lnTo>
                <a:lnTo>
                  <a:pt x="11038" y="62829"/>
                </a:lnTo>
                <a:lnTo>
                  <a:pt x="12075" y="63584"/>
                </a:lnTo>
                <a:lnTo>
                  <a:pt x="14339" y="64905"/>
                </a:lnTo>
                <a:lnTo>
                  <a:pt x="16604" y="66131"/>
                </a:lnTo>
                <a:lnTo>
                  <a:pt x="19056" y="67169"/>
                </a:lnTo>
                <a:lnTo>
                  <a:pt x="21509" y="67923"/>
                </a:lnTo>
                <a:lnTo>
                  <a:pt x="24056" y="68584"/>
                </a:lnTo>
                <a:lnTo>
                  <a:pt x="26603" y="69055"/>
                </a:lnTo>
                <a:lnTo>
                  <a:pt x="27830" y="69055"/>
                </a:lnTo>
                <a:lnTo>
                  <a:pt x="30188" y="68867"/>
                </a:lnTo>
                <a:lnTo>
                  <a:pt x="33113" y="68678"/>
                </a:lnTo>
                <a:lnTo>
                  <a:pt x="36509" y="68301"/>
                </a:lnTo>
                <a:lnTo>
                  <a:pt x="39811" y="67923"/>
                </a:lnTo>
                <a:lnTo>
                  <a:pt x="42735" y="67452"/>
                </a:lnTo>
                <a:lnTo>
                  <a:pt x="44905" y="66980"/>
                </a:lnTo>
                <a:lnTo>
                  <a:pt x="45565" y="66791"/>
                </a:lnTo>
                <a:lnTo>
                  <a:pt x="45943" y="66508"/>
                </a:lnTo>
                <a:lnTo>
                  <a:pt x="47358" y="65942"/>
                </a:lnTo>
                <a:lnTo>
                  <a:pt x="48018" y="65565"/>
                </a:lnTo>
                <a:lnTo>
                  <a:pt x="48678" y="65188"/>
                </a:lnTo>
                <a:lnTo>
                  <a:pt x="47924" y="65471"/>
                </a:lnTo>
                <a:lnTo>
                  <a:pt x="51509" y="62924"/>
                </a:lnTo>
                <a:lnTo>
                  <a:pt x="53301" y="61508"/>
                </a:lnTo>
                <a:lnTo>
                  <a:pt x="55093" y="59905"/>
                </a:lnTo>
                <a:lnTo>
                  <a:pt x="55093" y="59905"/>
                </a:lnTo>
                <a:lnTo>
                  <a:pt x="54810" y="60376"/>
                </a:lnTo>
                <a:lnTo>
                  <a:pt x="54339" y="60754"/>
                </a:lnTo>
                <a:lnTo>
                  <a:pt x="55376" y="59999"/>
                </a:lnTo>
                <a:lnTo>
                  <a:pt x="56320" y="59056"/>
                </a:lnTo>
                <a:lnTo>
                  <a:pt x="57075" y="58395"/>
                </a:lnTo>
                <a:lnTo>
                  <a:pt x="57169" y="58207"/>
                </a:lnTo>
                <a:lnTo>
                  <a:pt x="57075" y="58207"/>
                </a:lnTo>
                <a:lnTo>
                  <a:pt x="57924" y="57546"/>
                </a:lnTo>
                <a:lnTo>
                  <a:pt x="58678" y="56697"/>
                </a:lnTo>
                <a:lnTo>
                  <a:pt x="59339" y="55754"/>
                </a:lnTo>
                <a:lnTo>
                  <a:pt x="59905" y="54905"/>
                </a:lnTo>
                <a:lnTo>
                  <a:pt x="59716" y="54999"/>
                </a:lnTo>
                <a:lnTo>
                  <a:pt x="59622" y="54999"/>
                </a:lnTo>
                <a:lnTo>
                  <a:pt x="59810" y="54622"/>
                </a:lnTo>
                <a:lnTo>
                  <a:pt x="59150" y="55565"/>
                </a:lnTo>
                <a:lnTo>
                  <a:pt x="59527" y="55094"/>
                </a:lnTo>
                <a:lnTo>
                  <a:pt x="59433" y="55377"/>
                </a:lnTo>
                <a:lnTo>
                  <a:pt x="58867" y="56037"/>
                </a:lnTo>
                <a:lnTo>
                  <a:pt x="59056" y="55660"/>
                </a:lnTo>
                <a:lnTo>
                  <a:pt x="59056" y="55660"/>
                </a:lnTo>
                <a:lnTo>
                  <a:pt x="58678" y="56037"/>
                </a:lnTo>
                <a:lnTo>
                  <a:pt x="59810" y="54339"/>
                </a:lnTo>
                <a:lnTo>
                  <a:pt x="60282" y="53490"/>
                </a:lnTo>
                <a:lnTo>
                  <a:pt x="60282" y="53301"/>
                </a:lnTo>
                <a:lnTo>
                  <a:pt x="60188" y="53395"/>
                </a:lnTo>
                <a:lnTo>
                  <a:pt x="60188" y="53395"/>
                </a:lnTo>
                <a:lnTo>
                  <a:pt x="60565" y="52924"/>
                </a:lnTo>
                <a:lnTo>
                  <a:pt x="61037" y="52452"/>
                </a:lnTo>
                <a:lnTo>
                  <a:pt x="61886" y="51509"/>
                </a:lnTo>
                <a:lnTo>
                  <a:pt x="61508" y="52452"/>
                </a:lnTo>
                <a:lnTo>
                  <a:pt x="60848" y="53584"/>
                </a:lnTo>
                <a:lnTo>
                  <a:pt x="59622" y="55565"/>
                </a:lnTo>
                <a:lnTo>
                  <a:pt x="60376" y="54528"/>
                </a:lnTo>
                <a:lnTo>
                  <a:pt x="60942" y="53678"/>
                </a:lnTo>
                <a:lnTo>
                  <a:pt x="61980" y="51792"/>
                </a:lnTo>
                <a:lnTo>
                  <a:pt x="61886" y="51886"/>
                </a:lnTo>
                <a:lnTo>
                  <a:pt x="61886" y="51697"/>
                </a:lnTo>
                <a:lnTo>
                  <a:pt x="62169" y="51037"/>
                </a:lnTo>
                <a:lnTo>
                  <a:pt x="62735" y="49999"/>
                </a:lnTo>
                <a:lnTo>
                  <a:pt x="61508" y="51603"/>
                </a:lnTo>
                <a:lnTo>
                  <a:pt x="61603" y="51037"/>
                </a:lnTo>
                <a:lnTo>
                  <a:pt x="61697" y="50377"/>
                </a:lnTo>
                <a:lnTo>
                  <a:pt x="62169" y="48962"/>
                </a:lnTo>
                <a:lnTo>
                  <a:pt x="62829" y="47358"/>
                </a:lnTo>
                <a:lnTo>
                  <a:pt x="63678" y="45565"/>
                </a:lnTo>
                <a:lnTo>
                  <a:pt x="65376" y="42169"/>
                </a:lnTo>
                <a:lnTo>
                  <a:pt x="66131" y="40660"/>
                </a:lnTo>
                <a:lnTo>
                  <a:pt x="66697" y="39339"/>
                </a:lnTo>
                <a:lnTo>
                  <a:pt x="66603" y="39528"/>
                </a:lnTo>
                <a:lnTo>
                  <a:pt x="66697" y="39056"/>
                </a:lnTo>
                <a:lnTo>
                  <a:pt x="66791" y="38962"/>
                </a:lnTo>
                <a:lnTo>
                  <a:pt x="66791" y="39056"/>
                </a:lnTo>
                <a:lnTo>
                  <a:pt x="66886" y="38584"/>
                </a:lnTo>
                <a:lnTo>
                  <a:pt x="66791" y="38867"/>
                </a:lnTo>
                <a:lnTo>
                  <a:pt x="66980" y="38207"/>
                </a:lnTo>
                <a:lnTo>
                  <a:pt x="67169" y="37264"/>
                </a:lnTo>
                <a:lnTo>
                  <a:pt x="67263" y="36415"/>
                </a:lnTo>
                <a:lnTo>
                  <a:pt x="67357" y="36509"/>
                </a:lnTo>
                <a:lnTo>
                  <a:pt x="67452" y="36509"/>
                </a:lnTo>
                <a:lnTo>
                  <a:pt x="67546" y="35943"/>
                </a:lnTo>
                <a:lnTo>
                  <a:pt x="67546" y="34811"/>
                </a:lnTo>
                <a:lnTo>
                  <a:pt x="67640" y="31037"/>
                </a:lnTo>
                <a:lnTo>
                  <a:pt x="67640" y="28490"/>
                </a:lnTo>
                <a:lnTo>
                  <a:pt x="67546" y="27736"/>
                </a:lnTo>
                <a:lnTo>
                  <a:pt x="67546" y="27547"/>
                </a:lnTo>
                <a:lnTo>
                  <a:pt x="67452" y="27547"/>
                </a:lnTo>
                <a:lnTo>
                  <a:pt x="67074" y="26792"/>
                </a:lnTo>
                <a:lnTo>
                  <a:pt x="66791" y="25660"/>
                </a:lnTo>
                <a:lnTo>
                  <a:pt x="66508" y="24528"/>
                </a:lnTo>
                <a:lnTo>
                  <a:pt x="66414" y="23585"/>
                </a:lnTo>
                <a:lnTo>
                  <a:pt x="66320" y="23679"/>
                </a:lnTo>
                <a:lnTo>
                  <a:pt x="66320" y="23490"/>
                </a:lnTo>
                <a:lnTo>
                  <a:pt x="65942" y="22924"/>
                </a:lnTo>
                <a:lnTo>
                  <a:pt x="65565" y="22358"/>
                </a:lnTo>
                <a:lnTo>
                  <a:pt x="64527" y="21132"/>
                </a:lnTo>
                <a:lnTo>
                  <a:pt x="63584" y="19906"/>
                </a:lnTo>
                <a:lnTo>
                  <a:pt x="63207" y="19340"/>
                </a:lnTo>
                <a:lnTo>
                  <a:pt x="63018" y="18774"/>
                </a:lnTo>
                <a:lnTo>
                  <a:pt x="63112" y="18962"/>
                </a:lnTo>
                <a:lnTo>
                  <a:pt x="63301" y="19057"/>
                </a:lnTo>
                <a:lnTo>
                  <a:pt x="63301" y="19057"/>
                </a:lnTo>
                <a:lnTo>
                  <a:pt x="63207" y="18868"/>
                </a:lnTo>
                <a:lnTo>
                  <a:pt x="62923" y="18491"/>
                </a:lnTo>
                <a:lnTo>
                  <a:pt x="61980" y="17453"/>
                </a:lnTo>
                <a:lnTo>
                  <a:pt x="61037" y="16509"/>
                </a:lnTo>
                <a:lnTo>
                  <a:pt x="61037" y="16698"/>
                </a:lnTo>
                <a:lnTo>
                  <a:pt x="61037" y="16887"/>
                </a:lnTo>
                <a:lnTo>
                  <a:pt x="60093" y="15943"/>
                </a:lnTo>
                <a:lnTo>
                  <a:pt x="60376" y="16321"/>
                </a:lnTo>
                <a:lnTo>
                  <a:pt x="59527" y="15377"/>
                </a:lnTo>
                <a:lnTo>
                  <a:pt x="59056" y="14906"/>
                </a:lnTo>
                <a:lnTo>
                  <a:pt x="59244" y="14906"/>
                </a:lnTo>
                <a:lnTo>
                  <a:pt x="59905" y="15472"/>
                </a:lnTo>
                <a:lnTo>
                  <a:pt x="59905" y="15472"/>
                </a:lnTo>
                <a:lnTo>
                  <a:pt x="57641" y="13396"/>
                </a:lnTo>
                <a:lnTo>
                  <a:pt x="58112" y="13868"/>
                </a:lnTo>
                <a:lnTo>
                  <a:pt x="56886" y="13019"/>
                </a:lnTo>
                <a:lnTo>
                  <a:pt x="55754" y="12453"/>
                </a:lnTo>
                <a:lnTo>
                  <a:pt x="56603" y="13113"/>
                </a:lnTo>
                <a:lnTo>
                  <a:pt x="57452" y="13774"/>
                </a:lnTo>
                <a:lnTo>
                  <a:pt x="58961" y="15283"/>
                </a:lnTo>
                <a:lnTo>
                  <a:pt x="60376" y="16604"/>
                </a:lnTo>
                <a:lnTo>
                  <a:pt x="61225" y="17264"/>
                </a:lnTo>
                <a:lnTo>
                  <a:pt x="62074" y="17925"/>
                </a:lnTo>
                <a:lnTo>
                  <a:pt x="62074" y="17925"/>
                </a:lnTo>
                <a:lnTo>
                  <a:pt x="61414" y="17547"/>
                </a:lnTo>
                <a:lnTo>
                  <a:pt x="60659" y="16981"/>
                </a:lnTo>
                <a:lnTo>
                  <a:pt x="60754" y="17264"/>
                </a:lnTo>
                <a:lnTo>
                  <a:pt x="60942" y="17642"/>
                </a:lnTo>
                <a:lnTo>
                  <a:pt x="61980" y="19151"/>
                </a:lnTo>
                <a:lnTo>
                  <a:pt x="63301" y="20943"/>
                </a:lnTo>
                <a:lnTo>
                  <a:pt x="63207" y="20943"/>
                </a:lnTo>
                <a:lnTo>
                  <a:pt x="63395" y="21038"/>
                </a:lnTo>
                <a:lnTo>
                  <a:pt x="63490" y="21321"/>
                </a:lnTo>
                <a:lnTo>
                  <a:pt x="63678" y="21604"/>
                </a:lnTo>
                <a:lnTo>
                  <a:pt x="63773" y="21698"/>
                </a:lnTo>
                <a:lnTo>
                  <a:pt x="63584" y="21321"/>
                </a:lnTo>
                <a:lnTo>
                  <a:pt x="63584" y="21321"/>
                </a:lnTo>
                <a:lnTo>
                  <a:pt x="64244" y="22170"/>
                </a:lnTo>
                <a:lnTo>
                  <a:pt x="64716" y="22641"/>
                </a:lnTo>
                <a:lnTo>
                  <a:pt x="64905" y="22830"/>
                </a:lnTo>
                <a:lnTo>
                  <a:pt x="64999" y="22830"/>
                </a:lnTo>
                <a:lnTo>
                  <a:pt x="64999" y="22641"/>
                </a:lnTo>
                <a:lnTo>
                  <a:pt x="64905" y="22358"/>
                </a:lnTo>
                <a:lnTo>
                  <a:pt x="65282" y="23207"/>
                </a:lnTo>
                <a:lnTo>
                  <a:pt x="65565" y="24056"/>
                </a:lnTo>
                <a:lnTo>
                  <a:pt x="66225" y="25943"/>
                </a:lnTo>
                <a:lnTo>
                  <a:pt x="66697" y="27830"/>
                </a:lnTo>
                <a:lnTo>
                  <a:pt x="66886" y="28490"/>
                </a:lnTo>
                <a:lnTo>
                  <a:pt x="66980" y="28868"/>
                </a:lnTo>
                <a:lnTo>
                  <a:pt x="66886" y="28962"/>
                </a:lnTo>
                <a:lnTo>
                  <a:pt x="66697" y="28679"/>
                </a:lnTo>
                <a:lnTo>
                  <a:pt x="66697" y="29245"/>
                </a:lnTo>
                <a:lnTo>
                  <a:pt x="66791" y="29905"/>
                </a:lnTo>
                <a:lnTo>
                  <a:pt x="66886" y="29905"/>
                </a:lnTo>
                <a:lnTo>
                  <a:pt x="66886" y="30094"/>
                </a:lnTo>
                <a:lnTo>
                  <a:pt x="66886" y="30566"/>
                </a:lnTo>
                <a:lnTo>
                  <a:pt x="66697" y="30377"/>
                </a:lnTo>
                <a:lnTo>
                  <a:pt x="66603" y="30188"/>
                </a:lnTo>
                <a:lnTo>
                  <a:pt x="66603" y="30094"/>
                </a:lnTo>
                <a:lnTo>
                  <a:pt x="66697" y="29905"/>
                </a:lnTo>
                <a:lnTo>
                  <a:pt x="66508" y="28679"/>
                </a:lnTo>
                <a:lnTo>
                  <a:pt x="66225" y="27358"/>
                </a:lnTo>
                <a:lnTo>
                  <a:pt x="66603" y="30283"/>
                </a:lnTo>
                <a:lnTo>
                  <a:pt x="66697" y="31792"/>
                </a:lnTo>
                <a:lnTo>
                  <a:pt x="66697" y="33302"/>
                </a:lnTo>
                <a:lnTo>
                  <a:pt x="66603" y="34717"/>
                </a:lnTo>
                <a:lnTo>
                  <a:pt x="66414" y="36226"/>
                </a:lnTo>
                <a:lnTo>
                  <a:pt x="66131" y="37547"/>
                </a:lnTo>
                <a:lnTo>
                  <a:pt x="65659" y="38962"/>
                </a:lnTo>
                <a:lnTo>
                  <a:pt x="65848" y="38584"/>
                </a:lnTo>
                <a:lnTo>
                  <a:pt x="65942" y="38584"/>
                </a:lnTo>
                <a:lnTo>
                  <a:pt x="65848" y="39245"/>
                </a:lnTo>
                <a:lnTo>
                  <a:pt x="65565" y="40188"/>
                </a:lnTo>
                <a:lnTo>
                  <a:pt x="65471" y="40471"/>
                </a:lnTo>
                <a:lnTo>
                  <a:pt x="65282" y="40660"/>
                </a:lnTo>
                <a:lnTo>
                  <a:pt x="65282" y="40566"/>
                </a:lnTo>
                <a:lnTo>
                  <a:pt x="65093" y="41132"/>
                </a:lnTo>
                <a:lnTo>
                  <a:pt x="64433" y="43018"/>
                </a:lnTo>
                <a:lnTo>
                  <a:pt x="63678" y="45282"/>
                </a:lnTo>
                <a:lnTo>
                  <a:pt x="62735" y="47264"/>
                </a:lnTo>
                <a:lnTo>
                  <a:pt x="61697" y="49056"/>
                </a:lnTo>
                <a:lnTo>
                  <a:pt x="60659" y="50943"/>
                </a:lnTo>
                <a:lnTo>
                  <a:pt x="59433" y="52735"/>
                </a:lnTo>
                <a:lnTo>
                  <a:pt x="58207" y="54433"/>
                </a:lnTo>
                <a:lnTo>
                  <a:pt x="56886" y="56037"/>
                </a:lnTo>
                <a:lnTo>
                  <a:pt x="55376" y="57641"/>
                </a:lnTo>
                <a:lnTo>
                  <a:pt x="53867" y="59150"/>
                </a:lnTo>
                <a:lnTo>
                  <a:pt x="52169" y="60376"/>
                </a:lnTo>
                <a:lnTo>
                  <a:pt x="48961" y="62452"/>
                </a:lnTo>
                <a:lnTo>
                  <a:pt x="44528" y="65282"/>
                </a:lnTo>
                <a:lnTo>
                  <a:pt x="44622" y="65188"/>
                </a:lnTo>
                <a:lnTo>
                  <a:pt x="44716" y="65093"/>
                </a:lnTo>
                <a:lnTo>
                  <a:pt x="45094" y="64810"/>
                </a:lnTo>
                <a:lnTo>
                  <a:pt x="45660" y="64527"/>
                </a:lnTo>
                <a:lnTo>
                  <a:pt x="43867" y="65376"/>
                </a:lnTo>
                <a:lnTo>
                  <a:pt x="43113" y="65754"/>
                </a:lnTo>
                <a:lnTo>
                  <a:pt x="42924" y="65754"/>
                </a:lnTo>
                <a:lnTo>
                  <a:pt x="43113" y="65659"/>
                </a:lnTo>
                <a:lnTo>
                  <a:pt x="41603" y="66037"/>
                </a:lnTo>
                <a:lnTo>
                  <a:pt x="39999" y="66320"/>
                </a:lnTo>
                <a:lnTo>
                  <a:pt x="38396" y="66508"/>
                </a:lnTo>
                <a:lnTo>
                  <a:pt x="36792" y="66697"/>
                </a:lnTo>
                <a:lnTo>
                  <a:pt x="33584" y="66980"/>
                </a:lnTo>
                <a:lnTo>
                  <a:pt x="32169" y="67169"/>
                </a:lnTo>
                <a:lnTo>
                  <a:pt x="30754" y="67357"/>
                </a:lnTo>
                <a:lnTo>
                  <a:pt x="30094" y="67357"/>
                </a:lnTo>
                <a:lnTo>
                  <a:pt x="29339" y="67263"/>
                </a:lnTo>
                <a:lnTo>
                  <a:pt x="27830" y="66886"/>
                </a:lnTo>
                <a:lnTo>
                  <a:pt x="26415" y="66508"/>
                </a:lnTo>
                <a:lnTo>
                  <a:pt x="25754" y="66414"/>
                </a:lnTo>
                <a:lnTo>
                  <a:pt x="25094" y="66414"/>
                </a:lnTo>
                <a:lnTo>
                  <a:pt x="25566" y="66980"/>
                </a:lnTo>
                <a:lnTo>
                  <a:pt x="25471" y="67074"/>
                </a:lnTo>
                <a:lnTo>
                  <a:pt x="25188" y="66980"/>
                </a:lnTo>
                <a:lnTo>
                  <a:pt x="24339" y="66791"/>
                </a:lnTo>
                <a:lnTo>
                  <a:pt x="23773" y="66508"/>
                </a:lnTo>
                <a:lnTo>
                  <a:pt x="24245" y="66414"/>
                </a:lnTo>
                <a:lnTo>
                  <a:pt x="24717" y="66603"/>
                </a:lnTo>
                <a:lnTo>
                  <a:pt x="24811" y="66414"/>
                </a:lnTo>
                <a:lnTo>
                  <a:pt x="24811" y="66320"/>
                </a:lnTo>
                <a:lnTo>
                  <a:pt x="24717" y="66225"/>
                </a:lnTo>
                <a:lnTo>
                  <a:pt x="24528" y="66131"/>
                </a:lnTo>
                <a:lnTo>
                  <a:pt x="24151" y="66225"/>
                </a:lnTo>
                <a:lnTo>
                  <a:pt x="23679" y="66320"/>
                </a:lnTo>
                <a:lnTo>
                  <a:pt x="23018" y="66414"/>
                </a:lnTo>
                <a:lnTo>
                  <a:pt x="23490" y="66225"/>
                </a:lnTo>
                <a:lnTo>
                  <a:pt x="22075" y="65942"/>
                </a:lnTo>
                <a:lnTo>
                  <a:pt x="20943" y="65659"/>
                </a:lnTo>
                <a:lnTo>
                  <a:pt x="20000" y="65282"/>
                </a:lnTo>
                <a:lnTo>
                  <a:pt x="19056" y="64810"/>
                </a:lnTo>
                <a:lnTo>
                  <a:pt x="19056" y="64810"/>
                </a:lnTo>
                <a:lnTo>
                  <a:pt x="19717" y="64999"/>
                </a:lnTo>
                <a:lnTo>
                  <a:pt x="19151" y="64716"/>
                </a:lnTo>
                <a:lnTo>
                  <a:pt x="18962" y="64810"/>
                </a:lnTo>
                <a:lnTo>
                  <a:pt x="19151" y="64905"/>
                </a:lnTo>
                <a:lnTo>
                  <a:pt x="18490" y="64905"/>
                </a:lnTo>
                <a:lnTo>
                  <a:pt x="17830" y="64716"/>
                </a:lnTo>
                <a:lnTo>
                  <a:pt x="17264" y="64527"/>
                </a:lnTo>
                <a:lnTo>
                  <a:pt x="16698" y="64150"/>
                </a:lnTo>
                <a:lnTo>
                  <a:pt x="16981" y="64056"/>
                </a:lnTo>
                <a:lnTo>
                  <a:pt x="17264" y="64150"/>
                </a:lnTo>
                <a:lnTo>
                  <a:pt x="17264" y="64150"/>
                </a:lnTo>
                <a:lnTo>
                  <a:pt x="15188" y="63207"/>
                </a:lnTo>
                <a:lnTo>
                  <a:pt x="14622" y="62829"/>
                </a:lnTo>
                <a:lnTo>
                  <a:pt x="14717" y="62924"/>
                </a:lnTo>
                <a:lnTo>
                  <a:pt x="13773" y="62546"/>
                </a:lnTo>
                <a:lnTo>
                  <a:pt x="12924" y="62075"/>
                </a:lnTo>
                <a:lnTo>
                  <a:pt x="12358" y="61697"/>
                </a:lnTo>
                <a:lnTo>
                  <a:pt x="12264" y="61508"/>
                </a:lnTo>
                <a:lnTo>
                  <a:pt x="12170" y="61320"/>
                </a:lnTo>
                <a:lnTo>
                  <a:pt x="11698" y="60942"/>
                </a:lnTo>
                <a:lnTo>
                  <a:pt x="11132" y="60471"/>
                </a:lnTo>
                <a:lnTo>
                  <a:pt x="9906" y="59244"/>
                </a:lnTo>
                <a:lnTo>
                  <a:pt x="9906" y="59244"/>
                </a:lnTo>
                <a:lnTo>
                  <a:pt x="10566" y="59527"/>
                </a:lnTo>
                <a:lnTo>
                  <a:pt x="9434" y="58584"/>
                </a:lnTo>
                <a:lnTo>
                  <a:pt x="8207" y="57546"/>
                </a:lnTo>
                <a:lnTo>
                  <a:pt x="7547" y="56886"/>
                </a:lnTo>
                <a:lnTo>
                  <a:pt x="6981" y="56131"/>
                </a:lnTo>
                <a:lnTo>
                  <a:pt x="6226" y="55094"/>
                </a:lnTo>
                <a:lnTo>
                  <a:pt x="6415" y="55377"/>
                </a:lnTo>
                <a:lnTo>
                  <a:pt x="6038" y="54905"/>
                </a:lnTo>
                <a:lnTo>
                  <a:pt x="5472" y="54244"/>
                </a:lnTo>
                <a:lnTo>
                  <a:pt x="5283" y="53961"/>
                </a:lnTo>
                <a:lnTo>
                  <a:pt x="5094" y="53867"/>
                </a:lnTo>
                <a:lnTo>
                  <a:pt x="5377" y="54622"/>
                </a:lnTo>
                <a:lnTo>
                  <a:pt x="5849" y="55282"/>
                </a:lnTo>
                <a:lnTo>
                  <a:pt x="6321" y="55943"/>
                </a:lnTo>
                <a:lnTo>
                  <a:pt x="6698" y="56603"/>
                </a:lnTo>
                <a:lnTo>
                  <a:pt x="6226" y="56226"/>
                </a:lnTo>
                <a:lnTo>
                  <a:pt x="5943" y="55848"/>
                </a:lnTo>
                <a:lnTo>
                  <a:pt x="6038" y="56037"/>
                </a:lnTo>
                <a:lnTo>
                  <a:pt x="5943" y="55943"/>
                </a:lnTo>
                <a:lnTo>
                  <a:pt x="5377" y="55188"/>
                </a:lnTo>
                <a:lnTo>
                  <a:pt x="5000" y="54716"/>
                </a:lnTo>
                <a:lnTo>
                  <a:pt x="4717" y="54150"/>
                </a:lnTo>
                <a:lnTo>
                  <a:pt x="4528" y="53678"/>
                </a:lnTo>
                <a:lnTo>
                  <a:pt x="4528" y="53584"/>
                </a:lnTo>
                <a:lnTo>
                  <a:pt x="4623" y="53395"/>
                </a:lnTo>
                <a:lnTo>
                  <a:pt x="5094" y="54244"/>
                </a:lnTo>
                <a:lnTo>
                  <a:pt x="4717" y="53301"/>
                </a:lnTo>
                <a:lnTo>
                  <a:pt x="4528" y="53018"/>
                </a:lnTo>
                <a:lnTo>
                  <a:pt x="4151" y="52263"/>
                </a:lnTo>
                <a:lnTo>
                  <a:pt x="4151" y="52169"/>
                </a:lnTo>
                <a:lnTo>
                  <a:pt x="3774" y="51509"/>
                </a:lnTo>
                <a:lnTo>
                  <a:pt x="3396" y="50660"/>
                </a:lnTo>
                <a:lnTo>
                  <a:pt x="3585" y="51603"/>
                </a:lnTo>
                <a:lnTo>
                  <a:pt x="3396" y="51226"/>
                </a:lnTo>
                <a:lnTo>
                  <a:pt x="3208" y="50848"/>
                </a:lnTo>
                <a:lnTo>
                  <a:pt x="3208" y="50471"/>
                </a:lnTo>
                <a:lnTo>
                  <a:pt x="3208" y="50094"/>
                </a:lnTo>
                <a:lnTo>
                  <a:pt x="3585" y="50754"/>
                </a:lnTo>
                <a:lnTo>
                  <a:pt x="3868" y="51509"/>
                </a:lnTo>
                <a:lnTo>
                  <a:pt x="3868" y="51509"/>
                </a:lnTo>
                <a:lnTo>
                  <a:pt x="3208" y="49528"/>
                </a:lnTo>
                <a:lnTo>
                  <a:pt x="3208" y="49528"/>
                </a:lnTo>
                <a:lnTo>
                  <a:pt x="3868" y="50754"/>
                </a:lnTo>
                <a:lnTo>
                  <a:pt x="3208" y="48962"/>
                </a:lnTo>
                <a:lnTo>
                  <a:pt x="3585" y="49339"/>
                </a:lnTo>
                <a:lnTo>
                  <a:pt x="3774" y="49433"/>
                </a:lnTo>
                <a:lnTo>
                  <a:pt x="3962" y="49528"/>
                </a:lnTo>
                <a:lnTo>
                  <a:pt x="4057" y="49905"/>
                </a:lnTo>
                <a:lnTo>
                  <a:pt x="3868" y="48962"/>
                </a:lnTo>
                <a:lnTo>
                  <a:pt x="3491" y="47924"/>
                </a:lnTo>
                <a:lnTo>
                  <a:pt x="2641" y="45565"/>
                </a:lnTo>
                <a:lnTo>
                  <a:pt x="2170" y="43867"/>
                </a:lnTo>
                <a:lnTo>
                  <a:pt x="1698" y="41886"/>
                </a:lnTo>
                <a:lnTo>
                  <a:pt x="1698" y="41886"/>
                </a:lnTo>
                <a:lnTo>
                  <a:pt x="1887" y="42075"/>
                </a:lnTo>
                <a:lnTo>
                  <a:pt x="1981" y="41981"/>
                </a:lnTo>
                <a:lnTo>
                  <a:pt x="2075" y="42075"/>
                </a:lnTo>
                <a:lnTo>
                  <a:pt x="2264" y="42169"/>
                </a:lnTo>
                <a:lnTo>
                  <a:pt x="2170" y="40283"/>
                </a:lnTo>
                <a:lnTo>
                  <a:pt x="2075" y="38301"/>
                </a:lnTo>
                <a:lnTo>
                  <a:pt x="2170" y="36415"/>
                </a:lnTo>
                <a:lnTo>
                  <a:pt x="2358" y="35566"/>
                </a:lnTo>
                <a:lnTo>
                  <a:pt x="2453" y="34811"/>
                </a:lnTo>
                <a:lnTo>
                  <a:pt x="2830" y="32830"/>
                </a:lnTo>
                <a:lnTo>
                  <a:pt x="2830" y="33207"/>
                </a:lnTo>
                <a:lnTo>
                  <a:pt x="2924" y="33490"/>
                </a:lnTo>
                <a:lnTo>
                  <a:pt x="2924" y="32453"/>
                </a:lnTo>
                <a:lnTo>
                  <a:pt x="3019" y="31415"/>
                </a:lnTo>
                <a:lnTo>
                  <a:pt x="3396" y="29245"/>
                </a:lnTo>
                <a:lnTo>
                  <a:pt x="3868" y="27075"/>
                </a:lnTo>
                <a:lnTo>
                  <a:pt x="4623" y="25000"/>
                </a:lnTo>
                <a:lnTo>
                  <a:pt x="5566" y="22830"/>
                </a:lnTo>
                <a:lnTo>
                  <a:pt x="6604" y="20849"/>
                </a:lnTo>
                <a:lnTo>
                  <a:pt x="7830" y="18868"/>
                </a:lnTo>
                <a:lnTo>
                  <a:pt x="9151" y="16887"/>
                </a:lnTo>
                <a:lnTo>
                  <a:pt x="10566" y="15094"/>
                </a:lnTo>
                <a:lnTo>
                  <a:pt x="12075" y="13302"/>
                </a:lnTo>
                <a:lnTo>
                  <a:pt x="13773" y="11698"/>
                </a:lnTo>
                <a:lnTo>
                  <a:pt x="15377" y="10095"/>
                </a:lnTo>
                <a:lnTo>
                  <a:pt x="17170" y="8679"/>
                </a:lnTo>
                <a:lnTo>
                  <a:pt x="18962" y="7453"/>
                </a:lnTo>
                <a:lnTo>
                  <a:pt x="20754" y="6321"/>
                </a:lnTo>
                <a:lnTo>
                  <a:pt x="22547" y="5378"/>
                </a:lnTo>
                <a:lnTo>
                  <a:pt x="21603" y="6227"/>
                </a:lnTo>
                <a:lnTo>
                  <a:pt x="22641" y="5472"/>
                </a:lnTo>
                <a:lnTo>
                  <a:pt x="23302" y="5095"/>
                </a:lnTo>
                <a:lnTo>
                  <a:pt x="25377" y="4151"/>
                </a:lnTo>
                <a:lnTo>
                  <a:pt x="24811" y="4151"/>
                </a:lnTo>
                <a:lnTo>
                  <a:pt x="25660" y="3774"/>
                </a:lnTo>
                <a:lnTo>
                  <a:pt x="26886" y="3208"/>
                </a:lnTo>
                <a:lnTo>
                  <a:pt x="26603" y="3585"/>
                </a:lnTo>
                <a:lnTo>
                  <a:pt x="26886" y="3585"/>
                </a:lnTo>
                <a:lnTo>
                  <a:pt x="26886" y="3680"/>
                </a:lnTo>
                <a:lnTo>
                  <a:pt x="26792" y="3774"/>
                </a:lnTo>
                <a:lnTo>
                  <a:pt x="28301" y="3302"/>
                </a:lnTo>
                <a:lnTo>
                  <a:pt x="29622" y="2736"/>
                </a:lnTo>
                <a:lnTo>
                  <a:pt x="31037" y="2264"/>
                </a:lnTo>
                <a:lnTo>
                  <a:pt x="31792" y="2076"/>
                </a:lnTo>
                <a:lnTo>
                  <a:pt x="32641" y="1981"/>
                </a:lnTo>
                <a:lnTo>
                  <a:pt x="32547" y="2076"/>
                </a:lnTo>
                <a:lnTo>
                  <a:pt x="32924" y="1981"/>
                </a:lnTo>
                <a:lnTo>
                  <a:pt x="34245" y="1793"/>
                </a:lnTo>
                <a:lnTo>
                  <a:pt x="35848" y="1415"/>
                </a:lnTo>
                <a:lnTo>
                  <a:pt x="36981" y="1132"/>
                </a:lnTo>
                <a:lnTo>
                  <a:pt x="36981" y="1415"/>
                </a:lnTo>
                <a:lnTo>
                  <a:pt x="40943" y="1227"/>
                </a:lnTo>
                <a:lnTo>
                  <a:pt x="41509" y="1038"/>
                </a:lnTo>
                <a:lnTo>
                  <a:pt x="41697" y="1132"/>
                </a:lnTo>
                <a:lnTo>
                  <a:pt x="41509" y="1227"/>
                </a:lnTo>
                <a:lnTo>
                  <a:pt x="41320" y="1321"/>
                </a:lnTo>
                <a:lnTo>
                  <a:pt x="42263" y="1321"/>
                </a:lnTo>
                <a:lnTo>
                  <a:pt x="43113" y="1227"/>
                </a:lnTo>
                <a:lnTo>
                  <a:pt x="43396" y="1415"/>
                </a:lnTo>
                <a:lnTo>
                  <a:pt x="44056" y="1604"/>
                </a:lnTo>
                <a:lnTo>
                  <a:pt x="45943" y="2076"/>
                </a:lnTo>
                <a:lnTo>
                  <a:pt x="48018" y="2359"/>
                </a:lnTo>
                <a:lnTo>
                  <a:pt x="49622" y="2736"/>
                </a:lnTo>
                <a:lnTo>
                  <a:pt x="47641" y="1981"/>
                </a:lnTo>
                <a:lnTo>
                  <a:pt x="45282" y="1321"/>
                </a:lnTo>
                <a:lnTo>
                  <a:pt x="42735" y="755"/>
                </a:lnTo>
                <a:lnTo>
                  <a:pt x="40188" y="283"/>
                </a:lnTo>
                <a:lnTo>
                  <a:pt x="37735" y="95"/>
                </a:lnTo>
                <a:lnTo>
                  <a:pt x="35471" y="0"/>
                </a:lnTo>
                <a:close/>
              </a:path>
            </a:pathLst>
          </a:custGeom>
          <a:solidFill>
            <a:srgbClr val="C5277F"/>
          </a:solidFill>
          <a:ln>
            <a:noFill/>
          </a:ln>
        </p:spPr>
        <p:txBody>
          <a:bodyPr spcFirstLastPara="1" wrap="square" lIns="91425" tIns="91425" rIns="91425" bIns="91425" anchor="ctr" anchorCtr="0">
            <a:noAutofit/>
          </a:bodyPr>
          <a:lstStyle/>
          <a:p>
            <a:pPr marL="0" lvl="0" indent="0">
              <a:spcBef>
                <a:spcPts val="0"/>
              </a:spcBef>
              <a:spcAft>
                <a:spcPts val="0"/>
              </a:spcAft>
              <a:buNone/>
            </a:pPr>
            <a:endParaRPr sz="1200" dirty="0">
              <a:latin typeface="Comic Sans MS" panose="030F0902030302020204" pitchFamily="66" charset="0"/>
            </a:endParaRPr>
          </a:p>
        </p:txBody>
      </p:sp>
      <p:sp>
        <p:nvSpPr>
          <p:cNvPr id="37" name="Google Shape;431;p39">
            <a:extLst>
              <a:ext uri="{FF2B5EF4-FFF2-40B4-BE49-F238E27FC236}">
                <a16:creationId xmlns:a16="http://schemas.microsoft.com/office/drawing/2014/main" id="{4B6BCB23-6CE7-D04A-91F3-208AA3BFEB18}"/>
              </a:ext>
            </a:extLst>
          </p:cNvPr>
          <p:cNvSpPr/>
          <p:nvPr/>
        </p:nvSpPr>
        <p:spPr>
          <a:xfrm rot="21011211">
            <a:off x="4573046" y="3655590"/>
            <a:ext cx="118019" cy="139785"/>
          </a:xfrm>
          <a:custGeom>
            <a:avLst/>
            <a:gdLst/>
            <a:ahLst/>
            <a:cxnLst/>
            <a:rect l="0" t="0" r="0" b="0"/>
            <a:pathLst>
              <a:path w="67641" h="69056" extrusionOk="0">
                <a:moveTo>
                  <a:pt x="49622" y="2736"/>
                </a:moveTo>
                <a:lnTo>
                  <a:pt x="49622" y="2736"/>
                </a:lnTo>
                <a:lnTo>
                  <a:pt x="49622" y="2736"/>
                </a:lnTo>
                <a:close/>
                <a:moveTo>
                  <a:pt x="59622" y="55565"/>
                </a:moveTo>
                <a:lnTo>
                  <a:pt x="59622" y="55565"/>
                </a:lnTo>
                <a:lnTo>
                  <a:pt x="59622" y="55565"/>
                </a:lnTo>
                <a:close/>
                <a:moveTo>
                  <a:pt x="35471" y="0"/>
                </a:moveTo>
                <a:lnTo>
                  <a:pt x="34433" y="95"/>
                </a:lnTo>
                <a:lnTo>
                  <a:pt x="33584" y="189"/>
                </a:lnTo>
                <a:lnTo>
                  <a:pt x="32735" y="378"/>
                </a:lnTo>
                <a:lnTo>
                  <a:pt x="32169" y="566"/>
                </a:lnTo>
                <a:lnTo>
                  <a:pt x="31509" y="472"/>
                </a:lnTo>
                <a:lnTo>
                  <a:pt x="30754" y="472"/>
                </a:lnTo>
                <a:lnTo>
                  <a:pt x="29339" y="566"/>
                </a:lnTo>
                <a:lnTo>
                  <a:pt x="27830" y="849"/>
                </a:lnTo>
                <a:lnTo>
                  <a:pt x="26320" y="1321"/>
                </a:lnTo>
                <a:lnTo>
                  <a:pt x="24811" y="1981"/>
                </a:lnTo>
                <a:lnTo>
                  <a:pt x="23207" y="2736"/>
                </a:lnTo>
                <a:lnTo>
                  <a:pt x="21698" y="3585"/>
                </a:lnTo>
                <a:lnTo>
                  <a:pt x="20188" y="4623"/>
                </a:lnTo>
                <a:lnTo>
                  <a:pt x="18679" y="5661"/>
                </a:lnTo>
                <a:lnTo>
                  <a:pt x="17170" y="6793"/>
                </a:lnTo>
                <a:lnTo>
                  <a:pt x="15754" y="8019"/>
                </a:lnTo>
                <a:lnTo>
                  <a:pt x="14434" y="9151"/>
                </a:lnTo>
                <a:lnTo>
                  <a:pt x="11981" y="11510"/>
                </a:lnTo>
                <a:lnTo>
                  <a:pt x="10000" y="13774"/>
                </a:lnTo>
                <a:lnTo>
                  <a:pt x="7736" y="16981"/>
                </a:lnTo>
                <a:lnTo>
                  <a:pt x="8019" y="16321"/>
                </a:lnTo>
                <a:lnTo>
                  <a:pt x="8302" y="15660"/>
                </a:lnTo>
                <a:lnTo>
                  <a:pt x="7736" y="16604"/>
                </a:lnTo>
                <a:lnTo>
                  <a:pt x="7075" y="17642"/>
                </a:lnTo>
                <a:lnTo>
                  <a:pt x="7170" y="17830"/>
                </a:lnTo>
                <a:lnTo>
                  <a:pt x="6509" y="18868"/>
                </a:lnTo>
                <a:lnTo>
                  <a:pt x="7075" y="17359"/>
                </a:lnTo>
                <a:lnTo>
                  <a:pt x="6132" y="19057"/>
                </a:lnTo>
                <a:lnTo>
                  <a:pt x="5189" y="20849"/>
                </a:lnTo>
                <a:lnTo>
                  <a:pt x="4434" y="22736"/>
                </a:lnTo>
                <a:lnTo>
                  <a:pt x="3679" y="24622"/>
                </a:lnTo>
                <a:lnTo>
                  <a:pt x="2453" y="28490"/>
                </a:lnTo>
                <a:lnTo>
                  <a:pt x="1321" y="32169"/>
                </a:lnTo>
                <a:lnTo>
                  <a:pt x="1509" y="32264"/>
                </a:lnTo>
                <a:lnTo>
                  <a:pt x="1604" y="32453"/>
                </a:lnTo>
                <a:lnTo>
                  <a:pt x="1604" y="32641"/>
                </a:lnTo>
                <a:lnTo>
                  <a:pt x="1509" y="32924"/>
                </a:lnTo>
                <a:lnTo>
                  <a:pt x="1226" y="33396"/>
                </a:lnTo>
                <a:lnTo>
                  <a:pt x="1038" y="33585"/>
                </a:lnTo>
                <a:lnTo>
                  <a:pt x="1038" y="33773"/>
                </a:lnTo>
                <a:lnTo>
                  <a:pt x="1038" y="35000"/>
                </a:lnTo>
                <a:lnTo>
                  <a:pt x="849" y="36132"/>
                </a:lnTo>
                <a:lnTo>
                  <a:pt x="660" y="37358"/>
                </a:lnTo>
                <a:lnTo>
                  <a:pt x="472" y="38867"/>
                </a:lnTo>
                <a:lnTo>
                  <a:pt x="283" y="38301"/>
                </a:lnTo>
                <a:lnTo>
                  <a:pt x="94" y="39811"/>
                </a:lnTo>
                <a:lnTo>
                  <a:pt x="0" y="41509"/>
                </a:lnTo>
                <a:lnTo>
                  <a:pt x="94" y="43301"/>
                </a:lnTo>
                <a:lnTo>
                  <a:pt x="283" y="44056"/>
                </a:lnTo>
                <a:lnTo>
                  <a:pt x="472" y="44622"/>
                </a:lnTo>
                <a:lnTo>
                  <a:pt x="566" y="45660"/>
                </a:lnTo>
                <a:lnTo>
                  <a:pt x="755" y="46792"/>
                </a:lnTo>
                <a:lnTo>
                  <a:pt x="1226" y="48962"/>
                </a:lnTo>
                <a:lnTo>
                  <a:pt x="1981" y="51037"/>
                </a:lnTo>
                <a:lnTo>
                  <a:pt x="2924" y="53112"/>
                </a:lnTo>
                <a:lnTo>
                  <a:pt x="4057" y="55094"/>
                </a:lnTo>
                <a:lnTo>
                  <a:pt x="5283" y="56980"/>
                </a:lnTo>
                <a:lnTo>
                  <a:pt x="6698" y="58678"/>
                </a:lnTo>
                <a:lnTo>
                  <a:pt x="8113" y="60282"/>
                </a:lnTo>
                <a:lnTo>
                  <a:pt x="9056" y="61131"/>
                </a:lnTo>
                <a:lnTo>
                  <a:pt x="10000" y="61980"/>
                </a:lnTo>
                <a:lnTo>
                  <a:pt x="11038" y="62829"/>
                </a:lnTo>
                <a:lnTo>
                  <a:pt x="12075" y="63584"/>
                </a:lnTo>
                <a:lnTo>
                  <a:pt x="14339" y="64905"/>
                </a:lnTo>
                <a:lnTo>
                  <a:pt x="16604" y="66131"/>
                </a:lnTo>
                <a:lnTo>
                  <a:pt x="19056" y="67169"/>
                </a:lnTo>
                <a:lnTo>
                  <a:pt x="21509" y="67923"/>
                </a:lnTo>
                <a:lnTo>
                  <a:pt x="24056" y="68584"/>
                </a:lnTo>
                <a:lnTo>
                  <a:pt x="26603" y="69055"/>
                </a:lnTo>
                <a:lnTo>
                  <a:pt x="27830" y="69055"/>
                </a:lnTo>
                <a:lnTo>
                  <a:pt x="30188" y="68867"/>
                </a:lnTo>
                <a:lnTo>
                  <a:pt x="33113" y="68678"/>
                </a:lnTo>
                <a:lnTo>
                  <a:pt x="36509" y="68301"/>
                </a:lnTo>
                <a:lnTo>
                  <a:pt x="39811" y="67923"/>
                </a:lnTo>
                <a:lnTo>
                  <a:pt x="42735" y="67452"/>
                </a:lnTo>
                <a:lnTo>
                  <a:pt x="44905" y="66980"/>
                </a:lnTo>
                <a:lnTo>
                  <a:pt x="45565" y="66791"/>
                </a:lnTo>
                <a:lnTo>
                  <a:pt x="45943" y="66508"/>
                </a:lnTo>
                <a:lnTo>
                  <a:pt x="47358" y="65942"/>
                </a:lnTo>
                <a:lnTo>
                  <a:pt x="48018" y="65565"/>
                </a:lnTo>
                <a:lnTo>
                  <a:pt x="48678" y="65188"/>
                </a:lnTo>
                <a:lnTo>
                  <a:pt x="47924" y="65471"/>
                </a:lnTo>
                <a:lnTo>
                  <a:pt x="51509" y="62924"/>
                </a:lnTo>
                <a:lnTo>
                  <a:pt x="53301" y="61508"/>
                </a:lnTo>
                <a:lnTo>
                  <a:pt x="55093" y="59905"/>
                </a:lnTo>
                <a:lnTo>
                  <a:pt x="55093" y="59905"/>
                </a:lnTo>
                <a:lnTo>
                  <a:pt x="54810" y="60376"/>
                </a:lnTo>
                <a:lnTo>
                  <a:pt x="54339" y="60754"/>
                </a:lnTo>
                <a:lnTo>
                  <a:pt x="55376" y="59999"/>
                </a:lnTo>
                <a:lnTo>
                  <a:pt x="56320" y="59056"/>
                </a:lnTo>
                <a:lnTo>
                  <a:pt x="57075" y="58395"/>
                </a:lnTo>
                <a:lnTo>
                  <a:pt x="57169" y="58207"/>
                </a:lnTo>
                <a:lnTo>
                  <a:pt x="57075" y="58207"/>
                </a:lnTo>
                <a:lnTo>
                  <a:pt x="57924" y="57546"/>
                </a:lnTo>
                <a:lnTo>
                  <a:pt x="58678" y="56697"/>
                </a:lnTo>
                <a:lnTo>
                  <a:pt x="59339" y="55754"/>
                </a:lnTo>
                <a:lnTo>
                  <a:pt x="59905" y="54905"/>
                </a:lnTo>
                <a:lnTo>
                  <a:pt x="59716" y="54999"/>
                </a:lnTo>
                <a:lnTo>
                  <a:pt x="59622" y="54999"/>
                </a:lnTo>
                <a:lnTo>
                  <a:pt x="59810" y="54622"/>
                </a:lnTo>
                <a:lnTo>
                  <a:pt x="59150" y="55565"/>
                </a:lnTo>
                <a:lnTo>
                  <a:pt x="59527" y="55094"/>
                </a:lnTo>
                <a:lnTo>
                  <a:pt x="59433" y="55377"/>
                </a:lnTo>
                <a:lnTo>
                  <a:pt x="58867" y="56037"/>
                </a:lnTo>
                <a:lnTo>
                  <a:pt x="59056" y="55660"/>
                </a:lnTo>
                <a:lnTo>
                  <a:pt x="59056" y="55660"/>
                </a:lnTo>
                <a:lnTo>
                  <a:pt x="58678" y="56037"/>
                </a:lnTo>
                <a:lnTo>
                  <a:pt x="59810" y="54339"/>
                </a:lnTo>
                <a:lnTo>
                  <a:pt x="60282" y="53490"/>
                </a:lnTo>
                <a:lnTo>
                  <a:pt x="60282" y="53301"/>
                </a:lnTo>
                <a:lnTo>
                  <a:pt x="60188" y="53395"/>
                </a:lnTo>
                <a:lnTo>
                  <a:pt x="60188" y="53395"/>
                </a:lnTo>
                <a:lnTo>
                  <a:pt x="60565" y="52924"/>
                </a:lnTo>
                <a:lnTo>
                  <a:pt x="61037" y="52452"/>
                </a:lnTo>
                <a:lnTo>
                  <a:pt x="61886" y="51509"/>
                </a:lnTo>
                <a:lnTo>
                  <a:pt x="61508" y="52452"/>
                </a:lnTo>
                <a:lnTo>
                  <a:pt x="60848" y="53584"/>
                </a:lnTo>
                <a:lnTo>
                  <a:pt x="59622" y="55565"/>
                </a:lnTo>
                <a:lnTo>
                  <a:pt x="60376" y="54528"/>
                </a:lnTo>
                <a:lnTo>
                  <a:pt x="60942" y="53678"/>
                </a:lnTo>
                <a:lnTo>
                  <a:pt x="61980" y="51792"/>
                </a:lnTo>
                <a:lnTo>
                  <a:pt x="61886" y="51886"/>
                </a:lnTo>
                <a:lnTo>
                  <a:pt x="61886" y="51697"/>
                </a:lnTo>
                <a:lnTo>
                  <a:pt x="62169" y="51037"/>
                </a:lnTo>
                <a:lnTo>
                  <a:pt x="62735" y="49999"/>
                </a:lnTo>
                <a:lnTo>
                  <a:pt x="61508" y="51603"/>
                </a:lnTo>
                <a:lnTo>
                  <a:pt x="61603" y="51037"/>
                </a:lnTo>
                <a:lnTo>
                  <a:pt x="61697" y="50377"/>
                </a:lnTo>
                <a:lnTo>
                  <a:pt x="62169" y="48962"/>
                </a:lnTo>
                <a:lnTo>
                  <a:pt x="62829" y="47358"/>
                </a:lnTo>
                <a:lnTo>
                  <a:pt x="63678" y="45565"/>
                </a:lnTo>
                <a:lnTo>
                  <a:pt x="65376" y="42169"/>
                </a:lnTo>
                <a:lnTo>
                  <a:pt x="66131" y="40660"/>
                </a:lnTo>
                <a:lnTo>
                  <a:pt x="66697" y="39339"/>
                </a:lnTo>
                <a:lnTo>
                  <a:pt x="66603" y="39528"/>
                </a:lnTo>
                <a:lnTo>
                  <a:pt x="66697" y="39056"/>
                </a:lnTo>
                <a:lnTo>
                  <a:pt x="66791" y="38962"/>
                </a:lnTo>
                <a:lnTo>
                  <a:pt x="66791" y="39056"/>
                </a:lnTo>
                <a:lnTo>
                  <a:pt x="66886" y="38584"/>
                </a:lnTo>
                <a:lnTo>
                  <a:pt x="66791" y="38867"/>
                </a:lnTo>
                <a:lnTo>
                  <a:pt x="66980" y="38207"/>
                </a:lnTo>
                <a:lnTo>
                  <a:pt x="67169" y="37264"/>
                </a:lnTo>
                <a:lnTo>
                  <a:pt x="67263" y="36415"/>
                </a:lnTo>
                <a:lnTo>
                  <a:pt x="67357" y="36509"/>
                </a:lnTo>
                <a:lnTo>
                  <a:pt x="67452" y="36509"/>
                </a:lnTo>
                <a:lnTo>
                  <a:pt x="67546" y="35943"/>
                </a:lnTo>
                <a:lnTo>
                  <a:pt x="67546" y="34811"/>
                </a:lnTo>
                <a:lnTo>
                  <a:pt x="67640" y="31037"/>
                </a:lnTo>
                <a:lnTo>
                  <a:pt x="67640" y="28490"/>
                </a:lnTo>
                <a:lnTo>
                  <a:pt x="67546" y="27736"/>
                </a:lnTo>
                <a:lnTo>
                  <a:pt x="67546" y="27547"/>
                </a:lnTo>
                <a:lnTo>
                  <a:pt x="67452" y="27547"/>
                </a:lnTo>
                <a:lnTo>
                  <a:pt x="67074" y="26792"/>
                </a:lnTo>
                <a:lnTo>
                  <a:pt x="66791" y="25660"/>
                </a:lnTo>
                <a:lnTo>
                  <a:pt x="66508" y="24528"/>
                </a:lnTo>
                <a:lnTo>
                  <a:pt x="66414" y="23585"/>
                </a:lnTo>
                <a:lnTo>
                  <a:pt x="66320" y="23679"/>
                </a:lnTo>
                <a:lnTo>
                  <a:pt x="66320" y="23490"/>
                </a:lnTo>
                <a:lnTo>
                  <a:pt x="65942" y="22924"/>
                </a:lnTo>
                <a:lnTo>
                  <a:pt x="65565" y="22358"/>
                </a:lnTo>
                <a:lnTo>
                  <a:pt x="64527" y="21132"/>
                </a:lnTo>
                <a:lnTo>
                  <a:pt x="63584" y="19906"/>
                </a:lnTo>
                <a:lnTo>
                  <a:pt x="63207" y="19340"/>
                </a:lnTo>
                <a:lnTo>
                  <a:pt x="63018" y="18774"/>
                </a:lnTo>
                <a:lnTo>
                  <a:pt x="63112" y="18962"/>
                </a:lnTo>
                <a:lnTo>
                  <a:pt x="63301" y="19057"/>
                </a:lnTo>
                <a:lnTo>
                  <a:pt x="63301" y="19057"/>
                </a:lnTo>
                <a:lnTo>
                  <a:pt x="63207" y="18868"/>
                </a:lnTo>
                <a:lnTo>
                  <a:pt x="62923" y="18491"/>
                </a:lnTo>
                <a:lnTo>
                  <a:pt x="61980" y="17453"/>
                </a:lnTo>
                <a:lnTo>
                  <a:pt x="61037" y="16509"/>
                </a:lnTo>
                <a:lnTo>
                  <a:pt x="61037" y="16698"/>
                </a:lnTo>
                <a:lnTo>
                  <a:pt x="61037" y="16887"/>
                </a:lnTo>
                <a:lnTo>
                  <a:pt x="60093" y="15943"/>
                </a:lnTo>
                <a:lnTo>
                  <a:pt x="60376" y="16321"/>
                </a:lnTo>
                <a:lnTo>
                  <a:pt x="59527" y="15377"/>
                </a:lnTo>
                <a:lnTo>
                  <a:pt x="59056" y="14906"/>
                </a:lnTo>
                <a:lnTo>
                  <a:pt x="59244" y="14906"/>
                </a:lnTo>
                <a:lnTo>
                  <a:pt x="59905" y="15472"/>
                </a:lnTo>
                <a:lnTo>
                  <a:pt x="59905" y="15472"/>
                </a:lnTo>
                <a:lnTo>
                  <a:pt x="57641" y="13396"/>
                </a:lnTo>
                <a:lnTo>
                  <a:pt x="58112" y="13868"/>
                </a:lnTo>
                <a:lnTo>
                  <a:pt x="56886" y="13019"/>
                </a:lnTo>
                <a:lnTo>
                  <a:pt x="55754" y="12453"/>
                </a:lnTo>
                <a:lnTo>
                  <a:pt x="56603" y="13113"/>
                </a:lnTo>
                <a:lnTo>
                  <a:pt x="57452" y="13774"/>
                </a:lnTo>
                <a:lnTo>
                  <a:pt x="58961" y="15283"/>
                </a:lnTo>
                <a:lnTo>
                  <a:pt x="60376" y="16604"/>
                </a:lnTo>
                <a:lnTo>
                  <a:pt x="61225" y="17264"/>
                </a:lnTo>
                <a:lnTo>
                  <a:pt x="62074" y="17925"/>
                </a:lnTo>
                <a:lnTo>
                  <a:pt x="62074" y="17925"/>
                </a:lnTo>
                <a:lnTo>
                  <a:pt x="61414" y="17547"/>
                </a:lnTo>
                <a:lnTo>
                  <a:pt x="60659" y="16981"/>
                </a:lnTo>
                <a:lnTo>
                  <a:pt x="60754" y="17264"/>
                </a:lnTo>
                <a:lnTo>
                  <a:pt x="60942" y="17642"/>
                </a:lnTo>
                <a:lnTo>
                  <a:pt x="61980" y="19151"/>
                </a:lnTo>
                <a:lnTo>
                  <a:pt x="63301" y="20943"/>
                </a:lnTo>
                <a:lnTo>
                  <a:pt x="63207" y="20943"/>
                </a:lnTo>
                <a:lnTo>
                  <a:pt x="63395" y="21038"/>
                </a:lnTo>
                <a:lnTo>
                  <a:pt x="63490" y="21321"/>
                </a:lnTo>
                <a:lnTo>
                  <a:pt x="63678" y="21604"/>
                </a:lnTo>
                <a:lnTo>
                  <a:pt x="63773" y="21698"/>
                </a:lnTo>
                <a:lnTo>
                  <a:pt x="63584" y="21321"/>
                </a:lnTo>
                <a:lnTo>
                  <a:pt x="63584" y="21321"/>
                </a:lnTo>
                <a:lnTo>
                  <a:pt x="64244" y="22170"/>
                </a:lnTo>
                <a:lnTo>
                  <a:pt x="64716" y="22641"/>
                </a:lnTo>
                <a:lnTo>
                  <a:pt x="64905" y="22830"/>
                </a:lnTo>
                <a:lnTo>
                  <a:pt x="64999" y="22830"/>
                </a:lnTo>
                <a:lnTo>
                  <a:pt x="64999" y="22641"/>
                </a:lnTo>
                <a:lnTo>
                  <a:pt x="64905" y="22358"/>
                </a:lnTo>
                <a:lnTo>
                  <a:pt x="65282" y="23207"/>
                </a:lnTo>
                <a:lnTo>
                  <a:pt x="65565" y="24056"/>
                </a:lnTo>
                <a:lnTo>
                  <a:pt x="66225" y="25943"/>
                </a:lnTo>
                <a:lnTo>
                  <a:pt x="66697" y="27830"/>
                </a:lnTo>
                <a:lnTo>
                  <a:pt x="66886" y="28490"/>
                </a:lnTo>
                <a:lnTo>
                  <a:pt x="66980" y="28868"/>
                </a:lnTo>
                <a:lnTo>
                  <a:pt x="66886" y="28962"/>
                </a:lnTo>
                <a:lnTo>
                  <a:pt x="66697" y="28679"/>
                </a:lnTo>
                <a:lnTo>
                  <a:pt x="66697" y="29245"/>
                </a:lnTo>
                <a:lnTo>
                  <a:pt x="66791" y="29905"/>
                </a:lnTo>
                <a:lnTo>
                  <a:pt x="66886" y="29905"/>
                </a:lnTo>
                <a:lnTo>
                  <a:pt x="66886" y="30094"/>
                </a:lnTo>
                <a:lnTo>
                  <a:pt x="66886" y="30566"/>
                </a:lnTo>
                <a:lnTo>
                  <a:pt x="66697" y="30377"/>
                </a:lnTo>
                <a:lnTo>
                  <a:pt x="66603" y="30188"/>
                </a:lnTo>
                <a:lnTo>
                  <a:pt x="66603" y="30094"/>
                </a:lnTo>
                <a:lnTo>
                  <a:pt x="66697" y="29905"/>
                </a:lnTo>
                <a:lnTo>
                  <a:pt x="66508" y="28679"/>
                </a:lnTo>
                <a:lnTo>
                  <a:pt x="66225" y="27358"/>
                </a:lnTo>
                <a:lnTo>
                  <a:pt x="66603" y="30283"/>
                </a:lnTo>
                <a:lnTo>
                  <a:pt x="66697" y="31792"/>
                </a:lnTo>
                <a:lnTo>
                  <a:pt x="66697" y="33302"/>
                </a:lnTo>
                <a:lnTo>
                  <a:pt x="66603" y="34717"/>
                </a:lnTo>
                <a:lnTo>
                  <a:pt x="66414" y="36226"/>
                </a:lnTo>
                <a:lnTo>
                  <a:pt x="66131" y="37547"/>
                </a:lnTo>
                <a:lnTo>
                  <a:pt x="65659" y="38962"/>
                </a:lnTo>
                <a:lnTo>
                  <a:pt x="65848" y="38584"/>
                </a:lnTo>
                <a:lnTo>
                  <a:pt x="65942" y="38584"/>
                </a:lnTo>
                <a:lnTo>
                  <a:pt x="65848" y="39245"/>
                </a:lnTo>
                <a:lnTo>
                  <a:pt x="65565" y="40188"/>
                </a:lnTo>
                <a:lnTo>
                  <a:pt x="65471" y="40471"/>
                </a:lnTo>
                <a:lnTo>
                  <a:pt x="65282" y="40660"/>
                </a:lnTo>
                <a:lnTo>
                  <a:pt x="65282" y="40566"/>
                </a:lnTo>
                <a:lnTo>
                  <a:pt x="65093" y="41132"/>
                </a:lnTo>
                <a:lnTo>
                  <a:pt x="64433" y="43018"/>
                </a:lnTo>
                <a:lnTo>
                  <a:pt x="63678" y="45282"/>
                </a:lnTo>
                <a:lnTo>
                  <a:pt x="62735" y="47264"/>
                </a:lnTo>
                <a:lnTo>
                  <a:pt x="61697" y="49056"/>
                </a:lnTo>
                <a:lnTo>
                  <a:pt x="60659" y="50943"/>
                </a:lnTo>
                <a:lnTo>
                  <a:pt x="59433" y="52735"/>
                </a:lnTo>
                <a:lnTo>
                  <a:pt x="58207" y="54433"/>
                </a:lnTo>
                <a:lnTo>
                  <a:pt x="56886" y="56037"/>
                </a:lnTo>
                <a:lnTo>
                  <a:pt x="55376" y="57641"/>
                </a:lnTo>
                <a:lnTo>
                  <a:pt x="53867" y="59150"/>
                </a:lnTo>
                <a:lnTo>
                  <a:pt x="52169" y="60376"/>
                </a:lnTo>
                <a:lnTo>
                  <a:pt x="48961" y="62452"/>
                </a:lnTo>
                <a:lnTo>
                  <a:pt x="44528" y="65282"/>
                </a:lnTo>
                <a:lnTo>
                  <a:pt x="44622" y="65188"/>
                </a:lnTo>
                <a:lnTo>
                  <a:pt x="44716" y="65093"/>
                </a:lnTo>
                <a:lnTo>
                  <a:pt x="45094" y="64810"/>
                </a:lnTo>
                <a:lnTo>
                  <a:pt x="45660" y="64527"/>
                </a:lnTo>
                <a:lnTo>
                  <a:pt x="43867" y="65376"/>
                </a:lnTo>
                <a:lnTo>
                  <a:pt x="43113" y="65754"/>
                </a:lnTo>
                <a:lnTo>
                  <a:pt x="42924" y="65754"/>
                </a:lnTo>
                <a:lnTo>
                  <a:pt x="43113" y="65659"/>
                </a:lnTo>
                <a:lnTo>
                  <a:pt x="41603" y="66037"/>
                </a:lnTo>
                <a:lnTo>
                  <a:pt x="39999" y="66320"/>
                </a:lnTo>
                <a:lnTo>
                  <a:pt x="38396" y="66508"/>
                </a:lnTo>
                <a:lnTo>
                  <a:pt x="36792" y="66697"/>
                </a:lnTo>
                <a:lnTo>
                  <a:pt x="33584" y="66980"/>
                </a:lnTo>
                <a:lnTo>
                  <a:pt x="32169" y="67169"/>
                </a:lnTo>
                <a:lnTo>
                  <a:pt x="30754" y="67357"/>
                </a:lnTo>
                <a:lnTo>
                  <a:pt x="30094" y="67357"/>
                </a:lnTo>
                <a:lnTo>
                  <a:pt x="29339" y="67263"/>
                </a:lnTo>
                <a:lnTo>
                  <a:pt x="27830" y="66886"/>
                </a:lnTo>
                <a:lnTo>
                  <a:pt x="26415" y="66508"/>
                </a:lnTo>
                <a:lnTo>
                  <a:pt x="25754" y="66414"/>
                </a:lnTo>
                <a:lnTo>
                  <a:pt x="25094" y="66414"/>
                </a:lnTo>
                <a:lnTo>
                  <a:pt x="25566" y="66980"/>
                </a:lnTo>
                <a:lnTo>
                  <a:pt x="25471" y="67074"/>
                </a:lnTo>
                <a:lnTo>
                  <a:pt x="25188" y="66980"/>
                </a:lnTo>
                <a:lnTo>
                  <a:pt x="24339" y="66791"/>
                </a:lnTo>
                <a:lnTo>
                  <a:pt x="23773" y="66508"/>
                </a:lnTo>
                <a:lnTo>
                  <a:pt x="24245" y="66414"/>
                </a:lnTo>
                <a:lnTo>
                  <a:pt x="24717" y="66603"/>
                </a:lnTo>
                <a:lnTo>
                  <a:pt x="24811" y="66414"/>
                </a:lnTo>
                <a:lnTo>
                  <a:pt x="24811" y="66320"/>
                </a:lnTo>
                <a:lnTo>
                  <a:pt x="24717" y="66225"/>
                </a:lnTo>
                <a:lnTo>
                  <a:pt x="24528" y="66131"/>
                </a:lnTo>
                <a:lnTo>
                  <a:pt x="24151" y="66225"/>
                </a:lnTo>
                <a:lnTo>
                  <a:pt x="23679" y="66320"/>
                </a:lnTo>
                <a:lnTo>
                  <a:pt x="23018" y="66414"/>
                </a:lnTo>
                <a:lnTo>
                  <a:pt x="23490" y="66225"/>
                </a:lnTo>
                <a:lnTo>
                  <a:pt x="22075" y="65942"/>
                </a:lnTo>
                <a:lnTo>
                  <a:pt x="20943" y="65659"/>
                </a:lnTo>
                <a:lnTo>
                  <a:pt x="20000" y="65282"/>
                </a:lnTo>
                <a:lnTo>
                  <a:pt x="19056" y="64810"/>
                </a:lnTo>
                <a:lnTo>
                  <a:pt x="19056" y="64810"/>
                </a:lnTo>
                <a:lnTo>
                  <a:pt x="19717" y="64999"/>
                </a:lnTo>
                <a:lnTo>
                  <a:pt x="19151" y="64716"/>
                </a:lnTo>
                <a:lnTo>
                  <a:pt x="18962" y="64810"/>
                </a:lnTo>
                <a:lnTo>
                  <a:pt x="19151" y="64905"/>
                </a:lnTo>
                <a:lnTo>
                  <a:pt x="18490" y="64905"/>
                </a:lnTo>
                <a:lnTo>
                  <a:pt x="17830" y="64716"/>
                </a:lnTo>
                <a:lnTo>
                  <a:pt x="17264" y="64527"/>
                </a:lnTo>
                <a:lnTo>
                  <a:pt x="16698" y="64150"/>
                </a:lnTo>
                <a:lnTo>
                  <a:pt x="16981" y="64056"/>
                </a:lnTo>
                <a:lnTo>
                  <a:pt x="17264" y="64150"/>
                </a:lnTo>
                <a:lnTo>
                  <a:pt x="17264" y="64150"/>
                </a:lnTo>
                <a:lnTo>
                  <a:pt x="15188" y="63207"/>
                </a:lnTo>
                <a:lnTo>
                  <a:pt x="14622" y="62829"/>
                </a:lnTo>
                <a:lnTo>
                  <a:pt x="14717" y="62924"/>
                </a:lnTo>
                <a:lnTo>
                  <a:pt x="13773" y="62546"/>
                </a:lnTo>
                <a:lnTo>
                  <a:pt x="12924" y="62075"/>
                </a:lnTo>
                <a:lnTo>
                  <a:pt x="12358" y="61697"/>
                </a:lnTo>
                <a:lnTo>
                  <a:pt x="12264" y="61508"/>
                </a:lnTo>
                <a:lnTo>
                  <a:pt x="12170" y="61320"/>
                </a:lnTo>
                <a:lnTo>
                  <a:pt x="11698" y="60942"/>
                </a:lnTo>
                <a:lnTo>
                  <a:pt x="11132" y="60471"/>
                </a:lnTo>
                <a:lnTo>
                  <a:pt x="9906" y="59244"/>
                </a:lnTo>
                <a:lnTo>
                  <a:pt x="9906" y="59244"/>
                </a:lnTo>
                <a:lnTo>
                  <a:pt x="10566" y="59527"/>
                </a:lnTo>
                <a:lnTo>
                  <a:pt x="9434" y="58584"/>
                </a:lnTo>
                <a:lnTo>
                  <a:pt x="8207" y="57546"/>
                </a:lnTo>
                <a:lnTo>
                  <a:pt x="7547" y="56886"/>
                </a:lnTo>
                <a:lnTo>
                  <a:pt x="6981" y="56131"/>
                </a:lnTo>
                <a:lnTo>
                  <a:pt x="6226" y="55094"/>
                </a:lnTo>
                <a:lnTo>
                  <a:pt x="6415" y="55377"/>
                </a:lnTo>
                <a:lnTo>
                  <a:pt x="6038" y="54905"/>
                </a:lnTo>
                <a:lnTo>
                  <a:pt x="5472" y="54244"/>
                </a:lnTo>
                <a:lnTo>
                  <a:pt x="5283" y="53961"/>
                </a:lnTo>
                <a:lnTo>
                  <a:pt x="5094" y="53867"/>
                </a:lnTo>
                <a:lnTo>
                  <a:pt x="5377" y="54622"/>
                </a:lnTo>
                <a:lnTo>
                  <a:pt x="5849" y="55282"/>
                </a:lnTo>
                <a:lnTo>
                  <a:pt x="6321" y="55943"/>
                </a:lnTo>
                <a:lnTo>
                  <a:pt x="6698" y="56603"/>
                </a:lnTo>
                <a:lnTo>
                  <a:pt x="6226" y="56226"/>
                </a:lnTo>
                <a:lnTo>
                  <a:pt x="5943" y="55848"/>
                </a:lnTo>
                <a:lnTo>
                  <a:pt x="6038" y="56037"/>
                </a:lnTo>
                <a:lnTo>
                  <a:pt x="5943" y="55943"/>
                </a:lnTo>
                <a:lnTo>
                  <a:pt x="5377" y="55188"/>
                </a:lnTo>
                <a:lnTo>
                  <a:pt x="5000" y="54716"/>
                </a:lnTo>
                <a:lnTo>
                  <a:pt x="4717" y="54150"/>
                </a:lnTo>
                <a:lnTo>
                  <a:pt x="4528" y="53678"/>
                </a:lnTo>
                <a:lnTo>
                  <a:pt x="4528" y="53584"/>
                </a:lnTo>
                <a:lnTo>
                  <a:pt x="4623" y="53395"/>
                </a:lnTo>
                <a:lnTo>
                  <a:pt x="5094" y="54244"/>
                </a:lnTo>
                <a:lnTo>
                  <a:pt x="4717" y="53301"/>
                </a:lnTo>
                <a:lnTo>
                  <a:pt x="4528" y="53018"/>
                </a:lnTo>
                <a:lnTo>
                  <a:pt x="4151" y="52263"/>
                </a:lnTo>
                <a:lnTo>
                  <a:pt x="4151" y="52169"/>
                </a:lnTo>
                <a:lnTo>
                  <a:pt x="3774" y="51509"/>
                </a:lnTo>
                <a:lnTo>
                  <a:pt x="3396" y="50660"/>
                </a:lnTo>
                <a:lnTo>
                  <a:pt x="3585" y="51603"/>
                </a:lnTo>
                <a:lnTo>
                  <a:pt x="3396" y="51226"/>
                </a:lnTo>
                <a:lnTo>
                  <a:pt x="3208" y="50848"/>
                </a:lnTo>
                <a:lnTo>
                  <a:pt x="3208" y="50471"/>
                </a:lnTo>
                <a:lnTo>
                  <a:pt x="3208" y="50094"/>
                </a:lnTo>
                <a:lnTo>
                  <a:pt x="3585" y="50754"/>
                </a:lnTo>
                <a:lnTo>
                  <a:pt x="3868" y="51509"/>
                </a:lnTo>
                <a:lnTo>
                  <a:pt x="3868" y="51509"/>
                </a:lnTo>
                <a:lnTo>
                  <a:pt x="3208" y="49528"/>
                </a:lnTo>
                <a:lnTo>
                  <a:pt x="3208" y="49528"/>
                </a:lnTo>
                <a:lnTo>
                  <a:pt x="3868" y="50754"/>
                </a:lnTo>
                <a:lnTo>
                  <a:pt x="3208" y="48962"/>
                </a:lnTo>
                <a:lnTo>
                  <a:pt x="3585" y="49339"/>
                </a:lnTo>
                <a:lnTo>
                  <a:pt x="3774" y="49433"/>
                </a:lnTo>
                <a:lnTo>
                  <a:pt x="3962" y="49528"/>
                </a:lnTo>
                <a:lnTo>
                  <a:pt x="4057" y="49905"/>
                </a:lnTo>
                <a:lnTo>
                  <a:pt x="3868" y="48962"/>
                </a:lnTo>
                <a:lnTo>
                  <a:pt x="3491" y="47924"/>
                </a:lnTo>
                <a:lnTo>
                  <a:pt x="2641" y="45565"/>
                </a:lnTo>
                <a:lnTo>
                  <a:pt x="2170" y="43867"/>
                </a:lnTo>
                <a:lnTo>
                  <a:pt x="1698" y="41886"/>
                </a:lnTo>
                <a:lnTo>
                  <a:pt x="1698" y="41886"/>
                </a:lnTo>
                <a:lnTo>
                  <a:pt x="1887" y="42075"/>
                </a:lnTo>
                <a:lnTo>
                  <a:pt x="1981" y="41981"/>
                </a:lnTo>
                <a:lnTo>
                  <a:pt x="2075" y="42075"/>
                </a:lnTo>
                <a:lnTo>
                  <a:pt x="2264" y="42169"/>
                </a:lnTo>
                <a:lnTo>
                  <a:pt x="2170" y="40283"/>
                </a:lnTo>
                <a:lnTo>
                  <a:pt x="2075" y="38301"/>
                </a:lnTo>
                <a:lnTo>
                  <a:pt x="2170" y="36415"/>
                </a:lnTo>
                <a:lnTo>
                  <a:pt x="2358" y="35566"/>
                </a:lnTo>
                <a:lnTo>
                  <a:pt x="2453" y="34811"/>
                </a:lnTo>
                <a:lnTo>
                  <a:pt x="2830" y="32830"/>
                </a:lnTo>
                <a:lnTo>
                  <a:pt x="2830" y="33207"/>
                </a:lnTo>
                <a:lnTo>
                  <a:pt x="2924" y="33490"/>
                </a:lnTo>
                <a:lnTo>
                  <a:pt x="2924" y="32453"/>
                </a:lnTo>
                <a:lnTo>
                  <a:pt x="3019" y="31415"/>
                </a:lnTo>
                <a:lnTo>
                  <a:pt x="3396" y="29245"/>
                </a:lnTo>
                <a:lnTo>
                  <a:pt x="3868" y="27075"/>
                </a:lnTo>
                <a:lnTo>
                  <a:pt x="4623" y="25000"/>
                </a:lnTo>
                <a:lnTo>
                  <a:pt x="5566" y="22830"/>
                </a:lnTo>
                <a:lnTo>
                  <a:pt x="6604" y="20849"/>
                </a:lnTo>
                <a:lnTo>
                  <a:pt x="7830" y="18868"/>
                </a:lnTo>
                <a:lnTo>
                  <a:pt x="9151" y="16887"/>
                </a:lnTo>
                <a:lnTo>
                  <a:pt x="10566" y="15094"/>
                </a:lnTo>
                <a:lnTo>
                  <a:pt x="12075" y="13302"/>
                </a:lnTo>
                <a:lnTo>
                  <a:pt x="13773" y="11698"/>
                </a:lnTo>
                <a:lnTo>
                  <a:pt x="15377" y="10095"/>
                </a:lnTo>
                <a:lnTo>
                  <a:pt x="17170" y="8679"/>
                </a:lnTo>
                <a:lnTo>
                  <a:pt x="18962" y="7453"/>
                </a:lnTo>
                <a:lnTo>
                  <a:pt x="20754" y="6321"/>
                </a:lnTo>
                <a:lnTo>
                  <a:pt x="22547" y="5378"/>
                </a:lnTo>
                <a:lnTo>
                  <a:pt x="21603" y="6227"/>
                </a:lnTo>
                <a:lnTo>
                  <a:pt x="22641" y="5472"/>
                </a:lnTo>
                <a:lnTo>
                  <a:pt x="23302" y="5095"/>
                </a:lnTo>
                <a:lnTo>
                  <a:pt x="25377" y="4151"/>
                </a:lnTo>
                <a:lnTo>
                  <a:pt x="24811" y="4151"/>
                </a:lnTo>
                <a:lnTo>
                  <a:pt x="25660" y="3774"/>
                </a:lnTo>
                <a:lnTo>
                  <a:pt x="26886" y="3208"/>
                </a:lnTo>
                <a:lnTo>
                  <a:pt x="26603" y="3585"/>
                </a:lnTo>
                <a:lnTo>
                  <a:pt x="26886" y="3585"/>
                </a:lnTo>
                <a:lnTo>
                  <a:pt x="26886" y="3680"/>
                </a:lnTo>
                <a:lnTo>
                  <a:pt x="26792" y="3774"/>
                </a:lnTo>
                <a:lnTo>
                  <a:pt x="28301" y="3302"/>
                </a:lnTo>
                <a:lnTo>
                  <a:pt x="29622" y="2736"/>
                </a:lnTo>
                <a:lnTo>
                  <a:pt x="31037" y="2264"/>
                </a:lnTo>
                <a:lnTo>
                  <a:pt x="31792" y="2076"/>
                </a:lnTo>
                <a:lnTo>
                  <a:pt x="32641" y="1981"/>
                </a:lnTo>
                <a:lnTo>
                  <a:pt x="32547" y="2076"/>
                </a:lnTo>
                <a:lnTo>
                  <a:pt x="32924" y="1981"/>
                </a:lnTo>
                <a:lnTo>
                  <a:pt x="34245" y="1793"/>
                </a:lnTo>
                <a:lnTo>
                  <a:pt x="35848" y="1415"/>
                </a:lnTo>
                <a:lnTo>
                  <a:pt x="36981" y="1132"/>
                </a:lnTo>
                <a:lnTo>
                  <a:pt x="36981" y="1415"/>
                </a:lnTo>
                <a:lnTo>
                  <a:pt x="40943" y="1227"/>
                </a:lnTo>
                <a:lnTo>
                  <a:pt x="41509" y="1038"/>
                </a:lnTo>
                <a:lnTo>
                  <a:pt x="41697" y="1132"/>
                </a:lnTo>
                <a:lnTo>
                  <a:pt x="41509" y="1227"/>
                </a:lnTo>
                <a:lnTo>
                  <a:pt x="41320" y="1321"/>
                </a:lnTo>
                <a:lnTo>
                  <a:pt x="42263" y="1321"/>
                </a:lnTo>
                <a:lnTo>
                  <a:pt x="43113" y="1227"/>
                </a:lnTo>
                <a:lnTo>
                  <a:pt x="43396" y="1415"/>
                </a:lnTo>
                <a:lnTo>
                  <a:pt x="44056" y="1604"/>
                </a:lnTo>
                <a:lnTo>
                  <a:pt x="45943" y="2076"/>
                </a:lnTo>
                <a:lnTo>
                  <a:pt x="48018" y="2359"/>
                </a:lnTo>
                <a:lnTo>
                  <a:pt x="49622" y="2736"/>
                </a:lnTo>
                <a:lnTo>
                  <a:pt x="47641" y="1981"/>
                </a:lnTo>
                <a:lnTo>
                  <a:pt x="45282" y="1321"/>
                </a:lnTo>
                <a:lnTo>
                  <a:pt x="42735" y="755"/>
                </a:lnTo>
                <a:lnTo>
                  <a:pt x="40188" y="283"/>
                </a:lnTo>
                <a:lnTo>
                  <a:pt x="37735" y="95"/>
                </a:lnTo>
                <a:lnTo>
                  <a:pt x="35471" y="0"/>
                </a:lnTo>
                <a:close/>
              </a:path>
            </a:pathLst>
          </a:custGeom>
          <a:solidFill>
            <a:schemeClr val="bg2">
              <a:lumMod val="75000"/>
            </a:schemeClr>
          </a:solidFill>
          <a:ln>
            <a:noFill/>
          </a:ln>
        </p:spPr>
        <p:txBody>
          <a:bodyPr spcFirstLastPara="1" wrap="square" lIns="91425" tIns="91425" rIns="91425" bIns="91425" anchor="ctr" anchorCtr="0">
            <a:noAutofit/>
          </a:bodyPr>
          <a:lstStyle/>
          <a:p>
            <a:pPr marL="0" lvl="0" indent="0">
              <a:spcBef>
                <a:spcPts val="0"/>
              </a:spcBef>
              <a:spcAft>
                <a:spcPts val="0"/>
              </a:spcAft>
              <a:buNone/>
            </a:pPr>
            <a:endParaRPr sz="1200" dirty="0">
              <a:latin typeface="Comic Sans MS" panose="030F0902030302020204" pitchFamily="66" charset="0"/>
            </a:endParaRPr>
          </a:p>
        </p:txBody>
      </p:sp>
      <p:sp>
        <p:nvSpPr>
          <p:cNvPr id="38" name="Google Shape;431;p39">
            <a:extLst>
              <a:ext uri="{FF2B5EF4-FFF2-40B4-BE49-F238E27FC236}">
                <a16:creationId xmlns:a16="http://schemas.microsoft.com/office/drawing/2014/main" id="{D806272F-1EA2-154A-A6E7-751020238EEE}"/>
              </a:ext>
            </a:extLst>
          </p:cNvPr>
          <p:cNvSpPr/>
          <p:nvPr/>
        </p:nvSpPr>
        <p:spPr>
          <a:xfrm rot="21011211">
            <a:off x="3905442" y="3076302"/>
            <a:ext cx="118019" cy="139785"/>
          </a:xfrm>
          <a:custGeom>
            <a:avLst/>
            <a:gdLst/>
            <a:ahLst/>
            <a:cxnLst/>
            <a:rect l="0" t="0" r="0" b="0"/>
            <a:pathLst>
              <a:path w="67641" h="69056" extrusionOk="0">
                <a:moveTo>
                  <a:pt x="49622" y="2736"/>
                </a:moveTo>
                <a:lnTo>
                  <a:pt x="49622" y="2736"/>
                </a:lnTo>
                <a:lnTo>
                  <a:pt x="49622" y="2736"/>
                </a:lnTo>
                <a:close/>
                <a:moveTo>
                  <a:pt x="59622" y="55565"/>
                </a:moveTo>
                <a:lnTo>
                  <a:pt x="59622" y="55565"/>
                </a:lnTo>
                <a:lnTo>
                  <a:pt x="59622" y="55565"/>
                </a:lnTo>
                <a:close/>
                <a:moveTo>
                  <a:pt x="35471" y="0"/>
                </a:moveTo>
                <a:lnTo>
                  <a:pt x="34433" y="95"/>
                </a:lnTo>
                <a:lnTo>
                  <a:pt x="33584" y="189"/>
                </a:lnTo>
                <a:lnTo>
                  <a:pt x="32735" y="378"/>
                </a:lnTo>
                <a:lnTo>
                  <a:pt x="32169" y="566"/>
                </a:lnTo>
                <a:lnTo>
                  <a:pt x="31509" y="472"/>
                </a:lnTo>
                <a:lnTo>
                  <a:pt x="30754" y="472"/>
                </a:lnTo>
                <a:lnTo>
                  <a:pt x="29339" y="566"/>
                </a:lnTo>
                <a:lnTo>
                  <a:pt x="27830" y="849"/>
                </a:lnTo>
                <a:lnTo>
                  <a:pt x="26320" y="1321"/>
                </a:lnTo>
                <a:lnTo>
                  <a:pt x="24811" y="1981"/>
                </a:lnTo>
                <a:lnTo>
                  <a:pt x="23207" y="2736"/>
                </a:lnTo>
                <a:lnTo>
                  <a:pt x="21698" y="3585"/>
                </a:lnTo>
                <a:lnTo>
                  <a:pt x="20188" y="4623"/>
                </a:lnTo>
                <a:lnTo>
                  <a:pt x="18679" y="5661"/>
                </a:lnTo>
                <a:lnTo>
                  <a:pt x="17170" y="6793"/>
                </a:lnTo>
                <a:lnTo>
                  <a:pt x="15754" y="8019"/>
                </a:lnTo>
                <a:lnTo>
                  <a:pt x="14434" y="9151"/>
                </a:lnTo>
                <a:lnTo>
                  <a:pt x="11981" y="11510"/>
                </a:lnTo>
                <a:lnTo>
                  <a:pt x="10000" y="13774"/>
                </a:lnTo>
                <a:lnTo>
                  <a:pt x="7736" y="16981"/>
                </a:lnTo>
                <a:lnTo>
                  <a:pt x="8019" y="16321"/>
                </a:lnTo>
                <a:lnTo>
                  <a:pt x="8302" y="15660"/>
                </a:lnTo>
                <a:lnTo>
                  <a:pt x="7736" y="16604"/>
                </a:lnTo>
                <a:lnTo>
                  <a:pt x="7075" y="17642"/>
                </a:lnTo>
                <a:lnTo>
                  <a:pt x="7170" y="17830"/>
                </a:lnTo>
                <a:lnTo>
                  <a:pt x="6509" y="18868"/>
                </a:lnTo>
                <a:lnTo>
                  <a:pt x="7075" y="17359"/>
                </a:lnTo>
                <a:lnTo>
                  <a:pt x="6132" y="19057"/>
                </a:lnTo>
                <a:lnTo>
                  <a:pt x="5189" y="20849"/>
                </a:lnTo>
                <a:lnTo>
                  <a:pt x="4434" y="22736"/>
                </a:lnTo>
                <a:lnTo>
                  <a:pt x="3679" y="24622"/>
                </a:lnTo>
                <a:lnTo>
                  <a:pt x="2453" y="28490"/>
                </a:lnTo>
                <a:lnTo>
                  <a:pt x="1321" y="32169"/>
                </a:lnTo>
                <a:lnTo>
                  <a:pt x="1509" y="32264"/>
                </a:lnTo>
                <a:lnTo>
                  <a:pt x="1604" y="32453"/>
                </a:lnTo>
                <a:lnTo>
                  <a:pt x="1604" y="32641"/>
                </a:lnTo>
                <a:lnTo>
                  <a:pt x="1509" y="32924"/>
                </a:lnTo>
                <a:lnTo>
                  <a:pt x="1226" y="33396"/>
                </a:lnTo>
                <a:lnTo>
                  <a:pt x="1038" y="33585"/>
                </a:lnTo>
                <a:lnTo>
                  <a:pt x="1038" y="33773"/>
                </a:lnTo>
                <a:lnTo>
                  <a:pt x="1038" y="35000"/>
                </a:lnTo>
                <a:lnTo>
                  <a:pt x="849" y="36132"/>
                </a:lnTo>
                <a:lnTo>
                  <a:pt x="660" y="37358"/>
                </a:lnTo>
                <a:lnTo>
                  <a:pt x="472" y="38867"/>
                </a:lnTo>
                <a:lnTo>
                  <a:pt x="283" y="38301"/>
                </a:lnTo>
                <a:lnTo>
                  <a:pt x="94" y="39811"/>
                </a:lnTo>
                <a:lnTo>
                  <a:pt x="0" y="41509"/>
                </a:lnTo>
                <a:lnTo>
                  <a:pt x="94" y="43301"/>
                </a:lnTo>
                <a:lnTo>
                  <a:pt x="283" y="44056"/>
                </a:lnTo>
                <a:lnTo>
                  <a:pt x="472" y="44622"/>
                </a:lnTo>
                <a:lnTo>
                  <a:pt x="566" y="45660"/>
                </a:lnTo>
                <a:lnTo>
                  <a:pt x="755" y="46792"/>
                </a:lnTo>
                <a:lnTo>
                  <a:pt x="1226" y="48962"/>
                </a:lnTo>
                <a:lnTo>
                  <a:pt x="1981" y="51037"/>
                </a:lnTo>
                <a:lnTo>
                  <a:pt x="2924" y="53112"/>
                </a:lnTo>
                <a:lnTo>
                  <a:pt x="4057" y="55094"/>
                </a:lnTo>
                <a:lnTo>
                  <a:pt x="5283" y="56980"/>
                </a:lnTo>
                <a:lnTo>
                  <a:pt x="6698" y="58678"/>
                </a:lnTo>
                <a:lnTo>
                  <a:pt x="8113" y="60282"/>
                </a:lnTo>
                <a:lnTo>
                  <a:pt x="9056" y="61131"/>
                </a:lnTo>
                <a:lnTo>
                  <a:pt x="10000" y="61980"/>
                </a:lnTo>
                <a:lnTo>
                  <a:pt x="11038" y="62829"/>
                </a:lnTo>
                <a:lnTo>
                  <a:pt x="12075" y="63584"/>
                </a:lnTo>
                <a:lnTo>
                  <a:pt x="14339" y="64905"/>
                </a:lnTo>
                <a:lnTo>
                  <a:pt x="16604" y="66131"/>
                </a:lnTo>
                <a:lnTo>
                  <a:pt x="19056" y="67169"/>
                </a:lnTo>
                <a:lnTo>
                  <a:pt x="21509" y="67923"/>
                </a:lnTo>
                <a:lnTo>
                  <a:pt x="24056" y="68584"/>
                </a:lnTo>
                <a:lnTo>
                  <a:pt x="26603" y="69055"/>
                </a:lnTo>
                <a:lnTo>
                  <a:pt x="27830" y="69055"/>
                </a:lnTo>
                <a:lnTo>
                  <a:pt x="30188" y="68867"/>
                </a:lnTo>
                <a:lnTo>
                  <a:pt x="33113" y="68678"/>
                </a:lnTo>
                <a:lnTo>
                  <a:pt x="36509" y="68301"/>
                </a:lnTo>
                <a:lnTo>
                  <a:pt x="39811" y="67923"/>
                </a:lnTo>
                <a:lnTo>
                  <a:pt x="42735" y="67452"/>
                </a:lnTo>
                <a:lnTo>
                  <a:pt x="44905" y="66980"/>
                </a:lnTo>
                <a:lnTo>
                  <a:pt x="45565" y="66791"/>
                </a:lnTo>
                <a:lnTo>
                  <a:pt x="45943" y="66508"/>
                </a:lnTo>
                <a:lnTo>
                  <a:pt x="47358" y="65942"/>
                </a:lnTo>
                <a:lnTo>
                  <a:pt x="48018" y="65565"/>
                </a:lnTo>
                <a:lnTo>
                  <a:pt x="48678" y="65188"/>
                </a:lnTo>
                <a:lnTo>
                  <a:pt x="47924" y="65471"/>
                </a:lnTo>
                <a:lnTo>
                  <a:pt x="51509" y="62924"/>
                </a:lnTo>
                <a:lnTo>
                  <a:pt x="53301" y="61508"/>
                </a:lnTo>
                <a:lnTo>
                  <a:pt x="55093" y="59905"/>
                </a:lnTo>
                <a:lnTo>
                  <a:pt x="55093" y="59905"/>
                </a:lnTo>
                <a:lnTo>
                  <a:pt x="54810" y="60376"/>
                </a:lnTo>
                <a:lnTo>
                  <a:pt x="54339" y="60754"/>
                </a:lnTo>
                <a:lnTo>
                  <a:pt x="55376" y="59999"/>
                </a:lnTo>
                <a:lnTo>
                  <a:pt x="56320" y="59056"/>
                </a:lnTo>
                <a:lnTo>
                  <a:pt x="57075" y="58395"/>
                </a:lnTo>
                <a:lnTo>
                  <a:pt x="57169" y="58207"/>
                </a:lnTo>
                <a:lnTo>
                  <a:pt x="57075" y="58207"/>
                </a:lnTo>
                <a:lnTo>
                  <a:pt x="57924" y="57546"/>
                </a:lnTo>
                <a:lnTo>
                  <a:pt x="58678" y="56697"/>
                </a:lnTo>
                <a:lnTo>
                  <a:pt x="59339" y="55754"/>
                </a:lnTo>
                <a:lnTo>
                  <a:pt x="59905" y="54905"/>
                </a:lnTo>
                <a:lnTo>
                  <a:pt x="59716" y="54999"/>
                </a:lnTo>
                <a:lnTo>
                  <a:pt x="59622" y="54999"/>
                </a:lnTo>
                <a:lnTo>
                  <a:pt x="59810" y="54622"/>
                </a:lnTo>
                <a:lnTo>
                  <a:pt x="59150" y="55565"/>
                </a:lnTo>
                <a:lnTo>
                  <a:pt x="59527" y="55094"/>
                </a:lnTo>
                <a:lnTo>
                  <a:pt x="59433" y="55377"/>
                </a:lnTo>
                <a:lnTo>
                  <a:pt x="58867" y="56037"/>
                </a:lnTo>
                <a:lnTo>
                  <a:pt x="59056" y="55660"/>
                </a:lnTo>
                <a:lnTo>
                  <a:pt x="59056" y="55660"/>
                </a:lnTo>
                <a:lnTo>
                  <a:pt x="58678" y="56037"/>
                </a:lnTo>
                <a:lnTo>
                  <a:pt x="59810" y="54339"/>
                </a:lnTo>
                <a:lnTo>
                  <a:pt x="60282" y="53490"/>
                </a:lnTo>
                <a:lnTo>
                  <a:pt x="60282" y="53301"/>
                </a:lnTo>
                <a:lnTo>
                  <a:pt x="60188" y="53395"/>
                </a:lnTo>
                <a:lnTo>
                  <a:pt x="60188" y="53395"/>
                </a:lnTo>
                <a:lnTo>
                  <a:pt x="60565" y="52924"/>
                </a:lnTo>
                <a:lnTo>
                  <a:pt x="61037" y="52452"/>
                </a:lnTo>
                <a:lnTo>
                  <a:pt x="61886" y="51509"/>
                </a:lnTo>
                <a:lnTo>
                  <a:pt x="61508" y="52452"/>
                </a:lnTo>
                <a:lnTo>
                  <a:pt x="60848" y="53584"/>
                </a:lnTo>
                <a:lnTo>
                  <a:pt x="59622" y="55565"/>
                </a:lnTo>
                <a:lnTo>
                  <a:pt x="60376" y="54528"/>
                </a:lnTo>
                <a:lnTo>
                  <a:pt x="60942" y="53678"/>
                </a:lnTo>
                <a:lnTo>
                  <a:pt x="61980" y="51792"/>
                </a:lnTo>
                <a:lnTo>
                  <a:pt x="61886" y="51886"/>
                </a:lnTo>
                <a:lnTo>
                  <a:pt x="61886" y="51697"/>
                </a:lnTo>
                <a:lnTo>
                  <a:pt x="62169" y="51037"/>
                </a:lnTo>
                <a:lnTo>
                  <a:pt x="62735" y="49999"/>
                </a:lnTo>
                <a:lnTo>
                  <a:pt x="61508" y="51603"/>
                </a:lnTo>
                <a:lnTo>
                  <a:pt x="61603" y="51037"/>
                </a:lnTo>
                <a:lnTo>
                  <a:pt x="61697" y="50377"/>
                </a:lnTo>
                <a:lnTo>
                  <a:pt x="62169" y="48962"/>
                </a:lnTo>
                <a:lnTo>
                  <a:pt x="62829" y="47358"/>
                </a:lnTo>
                <a:lnTo>
                  <a:pt x="63678" y="45565"/>
                </a:lnTo>
                <a:lnTo>
                  <a:pt x="65376" y="42169"/>
                </a:lnTo>
                <a:lnTo>
                  <a:pt x="66131" y="40660"/>
                </a:lnTo>
                <a:lnTo>
                  <a:pt x="66697" y="39339"/>
                </a:lnTo>
                <a:lnTo>
                  <a:pt x="66603" y="39528"/>
                </a:lnTo>
                <a:lnTo>
                  <a:pt x="66697" y="39056"/>
                </a:lnTo>
                <a:lnTo>
                  <a:pt x="66791" y="38962"/>
                </a:lnTo>
                <a:lnTo>
                  <a:pt x="66791" y="39056"/>
                </a:lnTo>
                <a:lnTo>
                  <a:pt x="66886" y="38584"/>
                </a:lnTo>
                <a:lnTo>
                  <a:pt x="66791" y="38867"/>
                </a:lnTo>
                <a:lnTo>
                  <a:pt x="66980" y="38207"/>
                </a:lnTo>
                <a:lnTo>
                  <a:pt x="67169" y="37264"/>
                </a:lnTo>
                <a:lnTo>
                  <a:pt x="67263" y="36415"/>
                </a:lnTo>
                <a:lnTo>
                  <a:pt x="67357" y="36509"/>
                </a:lnTo>
                <a:lnTo>
                  <a:pt x="67452" y="36509"/>
                </a:lnTo>
                <a:lnTo>
                  <a:pt x="67546" y="35943"/>
                </a:lnTo>
                <a:lnTo>
                  <a:pt x="67546" y="34811"/>
                </a:lnTo>
                <a:lnTo>
                  <a:pt x="67640" y="31037"/>
                </a:lnTo>
                <a:lnTo>
                  <a:pt x="67640" y="28490"/>
                </a:lnTo>
                <a:lnTo>
                  <a:pt x="67546" y="27736"/>
                </a:lnTo>
                <a:lnTo>
                  <a:pt x="67546" y="27547"/>
                </a:lnTo>
                <a:lnTo>
                  <a:pt x="67452" y="27547"/>
                </a:lnTo>
                <a:lnTo>
                  <a:pt x="67074" y="26792"/>
                </a:lnTo>
                <a:lnTo>
                  <a:pt x="66791" y="25660"/>
                </a:lnTo>
                <a:lnTo>
                  <a:pt x="66508" y="24528"/>
                </a:lnTo>
                <a:lnTo>
                  <a:pt x="66414" y="23585"/>
                </a:lnTo>
                <a:lnTo>
                  <a:pt x="66320" y="23679"/>
                </a:lnTo>
                <a:lnTo>
                  <a:pt x="66320" y="23490"/>
                </a:lnTo>
                <a:lnTo>
                  <a:pt x="65942" y="22924"/>
                </a:lnTo>
                <a:lnTo>
                  <a:pt x="65565" y="22358"/>
                </a:lnTo>
                <a:lnTo>
                  <a:pt x="64527" y="21132"/>
                </a:lnTo>
                <a:lnTo>
                  <a:pt x="63584" y="19906"/>
                </a:lnTo>
                <a:lnTo>
                  <a:pt x="63207" y="19340"/>
                </a:lnTo>
                <a:lnTo>
                  <a:pt x="63018" y="18774"/>
                </a:lnTo>
                <a:lnTo>
                  <a:pt x="63112" y="18962"/>
                </a:lnTo>
                <a:lnTo>
                  <a:pt x="63301" y="19057"/>
                </a:lnTo>
                <a:lnTo>
                  <a:pt x="63301" y="19057"/>
                </a:lnTo>
                <a:lnTo>
                  <a:pt x="63207" y="18868"/>
                </a:lnTo>
                <a:lnTo>
                  <a:pt x="62923" y="18491"/>
                </a:lnTo>
                <a:lnTo>
                  <a:pt x="61980" y="17453"/>
                </a:lnTo>
                <a:lnTo>
                  <a:pt x="61037" y="16509"/>
                </a:lnTo>
                <a:lnTo>
                  <a:pt x="61037" y="16698"/>
                </a:lnTo>
                <a:lnTo>
                  <a:pt x="61037" y="16887"/>
                </a:lnTo>
                <a:lnTo>
                  <a:pt x="60093" y="15943"/>
                </a:lnTo>
                <a:lnTo>
                  <a:pt x="60376" y="16321"/>
                </a:lnTo>
                <a:lnTo>
                  <a:pt x="59527" y="15377"/>
                </a:lnTo>
                <a:lnTo>
                  <a:pt x="59056" y="14906"/>
                </a:lnTo>
                <a:lnTo>
                  <a:pt x="59244" y="14906"/>
                </a:lnTo>
                <a:lnTo>
                  <a:pt x="59905" y="15472"/>
                </a:lnTo>
                <a:lnTo>
                  <a:pt x="59905" y="15472"/>
                </a:lnTo>
                <a:lnTo>
                  <a:pt x="57641" y="13396"/>
                </a:lnTo>
                <a:lnTo>
                  <a:pt x="58112" y="13868"/>
                </a:lnTo>
                <a:lnTo>
                  <a:pt x="56886" y="13019"/>
                </a:lnTo>
                <a:lnTo>
                  <a:pt x="55754" y="12453"/>
                </a:lnTo>
                <a:lnTo>
                  <a:pt x="56603" y="13113"/>
                </a:lnTo>
                <a:lnTo>
                  <a:pt x="57452" y="13774"/>
                </a:lnTo>
                <a:lnTo>
                  <a:pt x="58961" y="15283"/>
                </a:lnTo>
                <a:lnTo>
                  <a:pt x="60376" y="16604"/>
                </a:lnTo>
                <a:lnTo>
                  <a:pt x="61225" y="17264"/>
                </a:lnTo>
                <a:lnTo>
                  <a:pt x="62074" y="17925"/>
                </a:lnTo>
                <a:lnTo>
                  <a:pt x="62074" y="17925"/>
                </a:lnTo>
                <a:lnTo>
                  <a:pt x="61414" y="17547"/>
                </a:lnTo>
                <a:lnTo>
                  <a:pt x="60659" y="16981"/>
                </a:lnTo>
                <a:lnTo>
                  <a:pt x="60754" y="17264"/>
                </a:lnTo>
                <a:lnTo>
                  <a:pt x="60942" y="17642"/>
                </a:lnTo>
                <a:lnTo>
                  <a:pt x="61980" y="19151"/>
                </a:lnTo>
                <a:lnTo>
                  <a:pt x="63301" y="20943"/>
                </a:lnTo>
                <a:lnTo>
                  <a:pt x="63207" y="20943"/>
                </a:lnTo>
                <a:lnTo>
                  <a:pt x="63395" y="21038"/>
                </a:lnTo>
                <a:lnTo>
                  <a:pt x="63490" y="21321"/>
                </a:lnTo>
                <a:lnTo>
                  <a:pt x="63678" y="21604"/>
                </a:lnTo>
                <a:lnTo>
                  <a:pt x="63773" y="21698"/>
                </a:lnTo>
                <a:lnTo>
                  <a:pt x="63584" y="21321"/>
                </a:lnTo>
                <a:lnTo>
                  <a:pt x="63584" y="21321"/>
                </a:lnTo>
                <a:lnTo>
                  <a:pt x="64244" y="22170"/>
                </a:lnTo>
                <a:lnTo>
                  <a:pt x="64716" y="22641"/>
                </a:lnTo>
                <a:lnTo>
                  <a:pt x="64905" y="22830"/>
                </a:lnTo>
                <a:lnTo>
                  <a:pt x="64999" y="22830"/>
                </a:lnTo>
                <a:lnTo>
                  <a:pt x="64999" y="22641"/>
                </a:lnTo>
                <a:lnTo>
                  <a:pt x="64905" y="22358"/>
                </a:lnTo>
                <a:lnTo>
                  <a:pt x="65282" y="23207"/>
                </a:lnTo>
                <a:lnTo>
                  <a:pt x="65565" y="24056"/>
                </a:lnTo>
                <a:lnTo>
                  <a:pt x="66225" y="25943"/>
                </a:lnTo>
                <a:lnTo>
                  <a:pt x="66697" y="27830"/>
                </a:lnTo>
                <a:lnTo>
                  <a:pt x="66886" y="28490"/>
                </a:lnTo>
                <a:lnTo>
                  <a:pt x="66980" y="28868"/>
                </a:lnTo>
                <a:lnTo>
                  <a:pt x="66886" y="28962"/>
                </a:lnTo>
                <a:lnTo>
                  <a:pt x="66697" y="28679"/>
                </a:lnTo>
                <a:lnTo>
                  <a:pt x="66697" y="29245"/>
                </a:lnTo>
                <a:lnTo>
                  <a:pt x="66791" y="29905"/>
                </a:lnTo>
                <a:lnTo>
                  <a:pt x="66886" y="29905"/>
                </a:lnTo>
                <a:lnTo>
                  <a:pt x="66886" y="30094"/>
                </a:lnTo>
                <a:lnTo>
                  <a:pt x="66886" y="30566"/>
                </a:lnTo>
                <a:lnTo>
                  <a:pt x="66697" y="30377"/>
                </a:lnTo>
                <a:lnTo>
                  <a:pt x="66603" y="30188"/>
                </a:lnTo>
                <a:lnTo>
                  <a:pt x="66603" y="30094"/>
                </a:lnTo>
                <a:lnTo>
                  <a:pt x="66697" y="29905"/>
                </a:lnTo>
                <a:lnTo>
                  <a:pt x="66508" y="28679"/>
                </a:lnTo>
                <a:lnTo>
                  <a:pt x="66225" y="27358"/>
                </a:lnTo>
                <a:lnTo>
                  <a:pt x="66603" y="30283"/>
                </a:lnTo>
                <a:lnTo>
                  <a:pt x="66697" y="31792"/>
                </a:lnTo>
                <a:lnTo>
                  <a:pt x="66697" y="33302"/>
                </a:lnTo>
                <a:lnTo>
                  <a:pt x="66603" y="34717"/>
                </a:lnTo>
                <a:lnTo>
                  <a:pt x="66414" y="36226"/>
                </a:lnTo>
                <a:lnTo>
                  <a:pt x="66131" y="37547"/>
                </a:lnTo>
                <a:lnTo>
                  <a:pt x="65659" y="38962"/>
                </a:lnTo>
                <a:lnTo>
                  <a:pt x="65848" y="38584"/>
                </a:lnTo>
                <a:lnTo>
                  <a:pt x="65942" y="38584"/>
                </a:lnTo>
                <a:lnTo>
                  <a:pt x="65848" y="39245"/>
                </a:lnTo>
                <a:lnTo>
                  <a:pt x="65565" y="40188"/>
                </a:lnTo>
                <a:lnTo>
                  <a:pt x="65471" y="40471"/>
                </a:lnTo>
                <a:lnTo>
                  <a:pt x="65282" y="40660"/>
                </a:lnTo>
                <a:lnTo>
                  <a:pt x="65282" y="40566"/>
                </a:lnTo>
                <a:lnTo>
                  <a:pt x="65093" y="41132"/>
                </a:lnTo>
                <a:lnTo>
                  <a:pt x="64433" y="43018"/>
                </a:lnTo>
                <a:lnTo>
                  <a:pt x="63678" y="45282"/>
                </a:lnTo>
                <a:lnTo>
                  <a:pt x="62735" y="47264"/>
                </a:lnTo>
                <a:lnTo>
                  <a:pt x="61697" y="49056"/>
                </a:lnTo>
                <a:lnTo>
                  <a:pt x="60659" y="50943"/>
                </a:lnTo>
                <a:lnTo>
                  <a:pt x="59433" y="52735"/>
                </a:lnTo>
                <a:lnTo>
                  <a:pt x="58207" y="54433"/>
                </a:lnTo>
                <a:lnTo>
                  <a:pt x="56886" y="56037"/>
                </a:lnTo>
                <a:lnTo>
                  <a:pt x="55376" y="57641"/>
                </a:lnTo>
                <a:lnTo>
                  <a:pt x="53867" y="59150"/>
                </a:lnTo>
                <a:lnTo>
                  <a:pt x="52169" y="60376"/>
                </a:lnTo>
                <a:lnTo>
                  <a:pt x="48961" y="62452"/>
                </a:lnTo>
                <a:lnTo>
                  <a:pt x="44528" y="65282"/>
                </a:lnTo>
                <a:lnTo>
                  <a:pt x="44622" y="65188"/>
                </a:lnTo>
                <a:lnTo>
                  <a:pt x="44716" y="65093"/>
                </a:lnTo>
                <a:lnTo>
                  <a:pt x="45094" y="64810"/>
                </a:lnTo>
                <a:lnTo>
                  <a:pt x="45660" y="64527"/>
                </a:lnTo>
                <a:lnTo>
                  <a:pt x="43867" y="65376"/>
                </a:lnTo>
                <a:lnTo>
                  <a:pt x="43113" y="65754"/>
                </a:lnTo>
                <a:lnTo>
                  <a:pt x="42924" y="65754"/>
                </a:lnTo>
                <a:lnTo>
                  <a:pt x="43113" y="65659"/>
                </a:lnTo>
                <a:lnTo>
                  <a:pt x="41603" y="66037"/>
                </a:lnTo>
                <a:lnTo>
                  <a:pt x="39999" y="66320"/>
                </a:lnTo>
                <a:lnTo>
                  <a:pt x="38396" y="66508"/>
                </a:lnTo>
                <a:lnTo>
                  <a:pt x="36792" y="66697"/>
                </a:lnTo>
                <a:lnTo>
                  <a:pt x="33584" y="66980"/>
                </a:lnTo>
                <a:lnTo>
                  <a:pt x="32169" y="67169"/>
                </a:lnTo>
                <a:lnTo>
                  <a:pt x="30754" y="67357"/>
                </a:lnTo>
                <a:lnTo>
                  <a:pt x="30094" y="67357"/>
                </a:lnTo>
                <a:lnTo>
                  <a:pt x="29339" y="67263"/>
                </a:lnTo>
                <a:lnTo>
                  <a:pt x="27830" y="66886"/>
                </a:lnTo>
                <a:lnTo>
                  <a:pt x="26415" y="66508"/>
                </a:lnTo>
                <a:lnTo>
                  <a:pt x="25754" y="66414"/>
                </a:lnTo>
                <a:lnTo>
                  <a:pt x="25094" y="66414"/>
                </a:lnTo>
                <a:lnTo>
                  <a:pt x="25566" y="66980"/>
                </a:lnTo>
                <a:lnTo>
                  <a:pt x="25471" y="67074"/>
                </a:lnTo>
                <a:lnTo>
                  <a:pt x="25188" y="66980"/>
                </a:lnTo>
                <a:lnTo>
                  <a:pt x="24339" y="66791"/>
                </a:lnTo>
                <a:lnTo>
                  <a:pt x="23773" y="66508"/>
                </a:lnTo>
                <a:lnTo>
                  <a:pt x="24245" y="66414"/>
                </a:lnTo>
                <a:lnTo>
                  <a:pt x="24717" y="66603"/>
                </a:lnTo>
                <a:lnTo>
                  <a:pt x="24811" y="66414"/>
                </a:lnTo>
                <a:lnTo>
                  <a:pt x="24811" y="66320"/>
                </a:lnTo>
                <a:lnTo>
                  <a:pt x="24717" y="66225"/>
                </a:lnTo>
                <a:lnTo>
                  <a:pt x="24528" y="66131"/>
                </a:lnTo>
                <a:lnTo>
                  <a:pt x="24151" y="66225"/>
                </a:lnTo>
                <a:lnTo>
                  <a:pt x="23679" y="66320"/>
                </a:lnTo>
                <a:lnTo>
                  <a:pt x="23018" y="66414"/>
                </a:lnTo>
                <a:lnTo>
                  <a:pt x="23490" y="66225"/>
                </a:lnTo>
                <a:lnTo>
                  <a:pt x="22075" y="65942"/>
                </a:lnTo>
                <a:lnTo>
                  <a:pt x="20943" y="65659"/>
                </a:lnTo>
                <a:lnTo>
                  <a:pt x="20000" y="65282"/>
                </a:lnTo>
                <a:lnTo>
                  <a:pt x="19056" y="64810"/>
                </a:lnTo>
                <a:lnTo>
                  <a:pt x="19056" y="64810"/>
                </a:lnTo>
                <a:lnTo>
                  <a:pt x="19717" y="64999"/>
                </a:lnTo>
                <a:lnTo>
                  <a:pt x="19151" y="64716"/>
                </a:lnTo>
                <a:lnTo>
                  <a:pt x="18962" y="64810"/>
                </a:lnTo>
                <a:lnTo>
                  <a:pt x="19151" y="64905"/>
                </a:lnTo>
                <a:lnTo>
                  <a:pt x="18490" y="64905"/>
                </a:lnTo>
                <a:lnTo>
                  <a:pt x="17830" y="64716"/>
                </a:lnTo>
                <a:lnTo>
                  <a:pt x="17264" y="64527"/>
                </a:lnTo>
                <a:lnTo>
                  <a:pt x="16698" y="64150"/>
                </a:lnTo>
                <a:lnTo>
                  <a:pt x="16981" y="64056"/>
                </a:lnTo>
                <a:lnTo>
                  <a:pt x="17264" y="64150"/>
                </a:lnTo>
                <a:lnTo>
                  <a:pt x="17264" y="64150"/>
                </a:lnTo>
                <a:lnTo>
                  <a:pt x="15188" y="63207"/>
                </a:lnTo>
                <a:lnTo>
                  <a:pt x="14622" y="62829"/>
                </a:lnTo>
                <a:lnTo>
                  <a:pt x="14717" y="62924"/>
                </a:lnTo>
                <a:lnTo>
                  <a:pt x="13773" y="62546"/>
                </a:lnTo>
                <a:lnTo>
                  <a:pt x="12924" y="62075"/>
                </a:lnTo>
                <a:lnTo>
                  <a:pt x="12358" y="61697"/>
                </a:lnTo>
                <a:lnTo>
                  <a:pt x="12264" y="61508"/>
                </a:lnTo>
                <a:lnTo>
                  <a:pt x="12170" y="61320"/>
                </a:lnTo>
                <a:lnTo>
                  <a:pt x="11698" y="60942"/>
                </a:lnTo>
                <a:lnTo>
                  <a:pt x="11132" y="60471"/>
                </a:lnTo>
                <a:lnTo>
                  <a:pt x="9906" y="59244"/>
                </a:lnTo>
                <a:lnTo>
                  <a:pt x="9906" y="59244"/>
                </a:lnTo>
                <a:lnTo>
                  <a:pt x="10566" y="59527"/>
                </a:lnTo>
                <a:lnTo>
                  <a:pt x="9434" y="58584"/>
                </a:lnTo>
                <a:lnTo>
                  <a:pt x="8207" y="57546"/>
                </a:lnTo>
                <a:lnTo>
                  <a:pt x="7547" y="56886"/>
                </a:lnTo>
                <a:lnTo>
                  <a:pt x="6981" y="56131"/>
                </a:lnTo>
                <a:lnTo>
                  <a:pt x="6226" y="55094"/>
                </a:lnTo>
                <a:lnTo>
                  <a:pt x="6415" y="55377"/>
                </a:lnTo>
                <a:lnTo>
                  <a:pt x="6038" y="54905"/>
                </a:lnTo>
                <a:lnTo>
                  <a:pt x="5472" y="54244"/>
                </a:lnTo>
                <a:lnTo>
                  <a:pt x="5283" y="53961"/>
                </a:lnTo>
                <a:lnTo>
                  <a:pt x="5094" y="53867"/>
                </a:lnTo>
                <a:lnTo>
                  <a:pt x="5377" y="54622"/>
                </a:lnTo>
                <a:lnTo>
                  <a:pt x="5849" y="55282"/>
                </a:lnTo>
                <a:lnTo>
                  <a:pt x="6321" y="55943"/>
                </a:lnTo>
                <a:lnTo>
                  <a:pt x="6698" y="56603"/>
                </a:lnTo>
                <a:lnTo>
                  <a:pt x="6226" y="56226"/>
                </a:lnTo>
                <a:lnTo>
                  <a:pt x="5943" y="55848"/>
                </a:lnTo>
                <a:lnTo>
                  <a:pt x="6038" y="56037"/>
                </a:lnTo>
                <a:lnTo>
                  <a:pt x="5943" y="55943"/>
                </a:lnTo>
                <a:lnTo>
                  <a:pt x="5377" y="55188"/>
                </a:lnTo>
                <a:lnTo>
                  <a:pt x="5000" y="54716"/>
                </a:lnTo>
                <a:lnTo>
                  <a:pt x="4717" y="54150"/>
                </a:lnTo>
                <a:lnTo>
                  <a:pt x="4528" y="53678"/>
                </a:lnTo>
                <a:lnTo>
                  <a:pt x="4528" y="53584"/>
                </a:lnTo>
                <a:lnTo>
                  <a:pt x="4623" y="53395"/>
                </a:lnTo>
                <a:lnTo>
                  <a:pt x="5094" y="54244"/>
                </a:lnTo>
                <a:lnTo>
                  <a:pt x="4717" y="53301"/>
                </a:lnTo>
                <a:lnTo>
                  <a:pt x="4528" y="53018"/>
                </a:lnTo>
                <a:lnTo>
                  <a:pt x="4151" y="52263"/>
                </a:lnTo>
                <a:lnTo>
                  <a:pt x="4151" y="52169"/>
                </a:lnTo>
                <a:lnTo>
                  <a:pt x="3774" y="51509"/>
                </a:lnTo>
                <a:lnTo>
                  <a:pt x="3396" y="50660"/>
                </a:lnTo>
                <a:lnTo>
                  <a:pt x="3585" y="51603"/>
                </a:lnTo>
                <a:lnTo>
                  <a:pt x="3396" y="51226"/>
                </a:lnTo>
                <a:lnTo>
                  <a:pt x="3208" y="50848"/>
                </a:lnTo>
                <a:lnTo>
                  <a:pt x="3208" y="50471"/>
                </a:lnTo>
                <a:lnTo>
                  <a:pt x="3208" y="50094"/>
                </a:lnTo>
                <a:lnTo>
                  <a:pt x="3585" y="50754"/>
                </a:lnTo>
                <a:lnTo>
                  <a:pt x="3868" y="51509"/>
                </a:lnTo>
                <a:lnTo>
                  <a:pt x="3868" y="51509"/>
                </a:lnTo>
                <a:lnTo>
                  <a:pt x="3208" y="49528"/>
                </a:lnTo>
                <a:lnTo>
                  <a:pt x="3208" y="49528"/>
                </a:lnTo>
                <a:lnTo>
                  <a:pt x="3868" y="50754"/>
                </a:lnTo>
                <a:lnTo>
                  <a:pt x="3208" y="48962"/>
                </a:lnTo>
                <a:lnTo>
                  <a:pt x="3585" y="49339"/>
                </a:lnTo>
                <a:lnTo>
                  <a:pt x="3774" y="49433"/>
                </a:lnTo>
                <a:lnTo>
                  <a:pt x="3962" y="49528"/>
                </a:lnTo>
                <a:lnTo>
                  <a:pt x="4057" y="49905"/>
                </a:lnTo>
                <a:lnTo>
                  <a:pt x="3868" y="48962"/>
                </a:lnTo>
                <a:lnTo>
                  <a:pt x="3491" y="47924"/>
                </a:lnTo>
                <a:lnTo>
                  <a:pt x="2641" y="45565"/>
                </a:lnTo>
                <a:lnTo>
                  <a:pt x="2170" y="43867"/>
                </a:lnTo>
                <a:lnTo>
                  <a:pt x="1698" y="41886"/>
                </a:lnTo>
                <a:lnTo>
                  <a:pt x="1698" y="41886"/>
                </a:lnTo>
                <a:lnTo>
                  <a:pt x="1887" y="42075"/>
                </a:lnTo>
                <a:lnTo>
                  <a:pt x="1981" y="41981"/>
                </a:lnTo>
                <a:lnTo>
                  <a:pt x="2075" y="42075"/>
                </a:lnTo>
                <a:lnTo>
                  <a:pt x="2264" y="42169"/>
                </a:lnTo>
                <a:lnTo>
                  <a:pt x="2170" y="40283"/>
                </a:lnTo>
                <a:lnTo>
                  <a:pt x="2075" y="38301"/>
                </a:lnTo>
                <a:lnTo>
                  <a:pt x="2170" y="36415"/>
                </a:lnTo>
                <a:lnTo>
                  <a:pt x="2358" y="35566"/>
                </a:lnTo>
                <a:lnTo>
                  <a:pt x="2453" y="34811"/>
                </a:lnTo>
                <a:lnTo>
                  <a:pt x="2830" y="32830"/>
                </a:lnTo>
                <a:lnTo>
                  <a:pt x="2830" y="33207"/>
                </a:lnTo>
                <a:lnTo>
                  <a:pt x="2924" y="33490"/>
                </a:lnTo>
                <a:lnTo>
                  <a:pt x="2924" y="32453"/>
                </a:lnTo>
                <a:lnTo>
                  <a:pt x="3019" y="31415"/>
                </a:lnTo>
                <a:lnTo>
                  <a:pt x="3396" y="29245"/>
                </a:lnTo>
                <a:lnTo>
                  <a:pt x="3868" y="27075"/>
                </a:lnTo>
                <a:lnTo>
                  <a:pt x="4623" y="25000"/>
                </a:lnTo>
                <a:lnTo>
                  <a:pt x="5566" y="22830"/>
                </a:lnTo>
                <a:lnTo>
                  <a:pt x="6604" y="20849"/>
                </a:lnTo>
                <a:lnTo>
                  <a:pt x="7830" y="18868"/>
                </a:lnTo>
                <a:lnTo>
                  <a:pt x="9151" y="16887"/>
                </a:lnTo>
                <a:lnTo>
                  <a:pt x="10566" y="15094"/>
                </a:lnTo>
                <a:lnTo>
                  <a:pt x="12075" y="13302"/>
                </a:lnTo>
                <a:lnTo>
                  <a:pt x="13773" y="11698"/>
                </a:lnTo>
                <a:lnTo>
                  <a:pt x="15377" y="10095"/>
                </a:lnTo>
                <a:lnTo>
                  <a:pt x="17170" y="8679"/>
                </a:lnTo>
                <a:lnTo>
                  <a:pt x="18962" y="7453"/>
                </a:lnTo>
                <a:lnTo>
                  <a:pt x="20754" y="6321"/>
                </a:lnTo>
                <a:lnTo>
                  <a:pt x="22547" y="5378"/>
                </a:lnTo>
                <a:lnTo>
                  <a:pt x="21603" y="6227"/>
                </a:lnTo>
                <a:lnTo>
                  <a:pt x="22641" y="5472"/>
                </a:lnTo>
                <a:lnTo>
                  <a:pt x="23302" y="5095"/>
                </a:lnTo>
                <a:lnTo>
                  <a:pt x="25377" y="4151"/>
                </a:lnTo>
                <a:lnTo>
                  <a:pt x="24811" y="4151"/>
                </a:lnTo>
                <a:lnTo>
                  <a:pt x="25660" y="3774"/>
                </a:lnTo>
                <a:lnTo>
                  <a:pt x="26886" y="3208"/>
                </a:lnTo>
                <a:lnTo>
                  <a:pt x="26603" y="3585"/>
                </a:lnTo>
                <a:lnTo>
                  <a:pt x="26886" y="3585"/>
                </a:lnTo>
                <a:lnTo>
                  <a:pt x="26886" y="3680"/>
                </a:lnTo>
                <a:lnTo>
                  <a:pt x="26792" y="3774"/>
                </a:lnTo>
                <a:lnTo>
                  <a:pt x="28301" y="3302"/>
                </a:lnTo>
                <a:lnTo>
                  <a:pt x="29622" y="2736"/>
                </a:lnTo>
                <a:lnTo>
                  <a:pt x="31037" y="2264"/>
                </a:lnTo>
                <a:lnTo>
                  <a:pt x="31792" y="2076"/>
                </a:lnTo>
                <a:lnTo>
                  <a:pt x="32641" y="1981"/>
                </a:lnTo>
                <a:lnTo>
                  <a:pt x="32547" y="2076"/>
                </a:lnTo>
                <a:lnTo>
                  <a:pt x="32924" y="1981"/>
                </a:lnTo>
                <a:lnTo>
                  <a:pt x="34245" y="1793"/>
                </a:lnTo>
                <a:lnTo>
                  <a:pt x="35848" y="1415"/>
                </a:lnTo>
                <a:lnTo>
                  <a:pt x="36981" y="1132"/>
                </a:lnTo>
                <a:lnTo>
                  <a:pt x="36981" y="1415"/>
                </a:lnTo>
                <a:lnTo>
                  <a:pt x="40943" y="1227"/>
                </a:lnTo>
                <a:lnTo>
                  <a:pt x="41509" y="1038"/>
                </a:lnTo>
                <a:lnTo>
                  <a:pt x="41697" y="1132"/>
                </a:lnTo>
                <a:lnTo>
                  <a:pt x="41509" y="1227"/>
                </a:lnTo>
                <a:lnTo>
                  <a:pt x="41320" y="1321"/>
                </a:lnTo>
                <a:lnTo>
                  <a:pt x="42263" y="1321"/>
                </a:lnTo>
                <a:lnTo>
                  <a:pt x="43113" y="1227"/>
                </a:lnTo>
                <a:lnTo>
                  <a:pt x="43396" y="1415"/>
                </a:lnTo>
                <a:lnTo>
                  <a:pt x="44056" y="1604"/>
                </a:lnTo>
                <a:lnTo>
                  <a:pt x="45943" y="2076"/>
                </a:lnTo>
                <a:lnTo>
                  <a:pt x="48018" y="2359"/>
                </a:lnTo>
                <a:lnTo>
                  <a:pt x="49622" y="2736"/>
                </a:lnTo>
                <a:lnTo>
                  <a:pt x="47641" y="1981"/>
                </a:lnTo>
                <a:lnTo>
                  <a:pt x="45282" y="1321"/>
                </a:lnTo>
                <a:lnTo>
                  <a:pt x="42735" y="755"/>
                </a:lnTo>
                <a:lnTo>
                  <a:pt x="40188" y="283"/>
                </a:lnTo>
                <a:lnTo>
                  <a:pt x="37735" y="95"/>
                </a:lnTo>
                <a:lnTo>
                  <a:pt x="35471" y="0"/>
                </a:lnTo>
                <a:close/>
              </a:path>
            </a:pathLst>
          </a:custGeom>
          <a:solidFill>
            <a:schemeClr val="bg2">
              <a:lumMod val="75000"/>
            </a:schemeClr>
          </a:solidFill>
          <a:ln>
            <a:noFill/>
          </a:ln>
        </p:spPr>
        <p:txBody>
          <a:bodyPr spcFirstLastPara="1" wrap="square" lIns="91425" tIns="91425" rIns="91425" bIns="91425" anchor="ctr" anchorCtr="0">
            <a:noAutofit/>
          </a:bodyPr>
          <a:lstStyle/>
          <a:p>
            <a:pPr marL="0" lvl="0" indent="0">
              <a:spcBef>
                <a:spcPts val="0"/>
              </a:spcBef>
              <a:spcAft>
                <a:spcPts val="0"/>
              </a:spcAft>
              <a:buNone/>
            </a:pPr>
            <a:endParaRPr sz="1200" dirty="0">
              <a:latin typeface="Comic Sans MS" panose="030F0902030302020204" pitchFamily="66" charset="0"/>
            </a:endParaRPr>
          </a:p>
        </p:txBody>
      </p:sp>
      <p:sp>
        <p:nvSpPr>
          <p:cNvPr id="39" name="Google Shape;431;p39">
            <a:extLst>
              <a:ext uri="{FF2B5EF4-FFF2-40B4-BE49-F238E27FC236}">
                <a16:creationId xmlns:a16="http://schemas.microsoft.com/office/drawing/2014/main" id="{8D2607F9-0AF0-3241-BFDC-8B0612071C46}"/>
              </a:ext>
            </a:extLst>
          </p:cNvPr>
          <p:cNvSpPr/>
          <p:nvPr/>
        </p:nvSpPr>
        <p:spPr>
          <a:xfrm rot="21011211">
            <a:off x="4328239" y="2566734"/>
            <a:ext cx="118019" cy="139785"/>
          </a:xfrm>
          <a:custGeom>
            <a:avLst/>
            <a:gdLst/>
            <a:ahLst/>
            <a:cxnLst/>
            <a:rect l="0" t="0" r="0" b="0"/>
            <a:pathLst>
              <a:path w="67641" h="69056" extrusionOk="0">
                <a:moveTo>
                  <a:pt x="49622" y="2736"/>
                </a:moveTo>
                <a:lnTo>
                  <a:pt x="49622" y="2736"/>
                </a:lnTo>
                <a:lnTo>
                  <a:pt x="49622" y="2736"/>
                </a:lnTo>
                <a:close/>
                <a:moveTo>
                  <a:pt x="59622" y="55565"/>
                </a:moveTo>
                <a:lnTo>
                  <a:pt x="59622" y="55565"/>
                </a:lnTo>
                <a:lnTo>
                  <a:pt x="59622" y="55565"/>
                </a:lnTo>
                <a:close/>
                <a:moveTo>
                  <a:pt x="35471" y="0"/>
                </a:moveTo>
                <a:lnTo>
                  <a:pt x="34433" y="95"/>
                </a:lnTo>
                <a:lnTo>
                  <a:pt x="33584" y="189"/>
                </a:lnTo>
                <a:lnTo>
                  <a:pt x="32735" y="378"/>
                </a:lnTo>
                <a:lnTo>
                  <a:pt x="32169" y="566"/>
                </a:lnTo>
                <a:lnTo>
                  <a:pt x="31509" y="472"/>
                </a:lnTo>
                <a:lnTo>
                  <a:pt x="30754" y="472"/>
                </a:lnTo>
                <a:lnTo>
                  <a:pt x="29339" y="566"/>
                </a:lnTo>
                <a:lnTo>
                  <a:pt x="27830" y="849"/>
                </a:lnTo>
                <a:lnTo>
                  <a:pt x="26320" y="1321"/>
                </a:lnTo>
                <a:lnTo>
                  <a:pt x="24811" y="1981"/>
                </a:lnTo>
                <a:lnTo>
                  <a:pt x="23207" y="2736"/>
                </a:lnTo>
                <a:lnTo>
                  <a:pt x="21698" y="3585"/>
                </a:lnTo>
                <a:lnTo>
                  <a:pt x="20188" y="4623"/>
                </a:lnTo>
                <a:lnTo>
                  <a:pt x="18679" y="5661"/>
                </a:lnTo>
                <a:lnTo>
                  <a:pt x="17170" y="6793"/>
                </a:lnTo>
                <a:lnTo>
                  <a:pt x="15754" y="8019"/>
                </a:lnTo>
                <a:lnTo>
                  <a:pt x="14434" y="9151"/>
                </a:lnTo>
                <a:lnTo>
                  <a:pt x="11981" y="11510"/>
                </a:lnTo>
                <a:lnTo>
                  <a:pt x="10000" y="13774"/>
                </a:lnTo>
                <a:lnTo>
                  <a:pt x="7736" y="16981"/>
                </a:lnTo>
                <a:lnTo>
                  <a:pt x="8019" y="16321"/>
                </a:lnTo>
                <a:lnTo>
                  <a:pt x="8302" y="15660"/>
                </a:lnTo>
                <a:lnTo>
                  <a:pt x="7736" y="16604"/>
                </a:lnTo>
                <a:lnTo>
                  <a:pt x="7075" y="17642"/>
                </a:lnTo>
                <a:lnTo>
                  <a:pt x="7170" y="17830"/>
                </a:lnTo>
                <a:lnTo>
                  <a:pt x="6509" y="18868"/>
                </a:lnTo>
                <a:lnTo>
                  <a:pt x="7075" y="17359"/>
                </a:lnTo>
                <a:lnTo>
                  <a:pt x="6132" y="19057"/>
                </a:lnTo>
                <a:lnTo>
                  <a:pt x="5189" y="20849"/>
                </a:lnTo>
                <a:lnTo>
                  <a:pt x="4434" y="22736"/>
                </a:lnTo>
                <a:lnTo>
                  <a:pt x="3679" y="24622"/>
                </a:lnTo>
                <a:lnTo>
                  <a:pt x="2453" y="28490"/>
                </a:lnTo>
                <a:lnTo>
                  <a:pt x="1321" y="32169"/>
                </a:lnTo>
                <a:lnTo>
                  <a:pt x="1509" y="32264"/>
                </a:lnTo>
                <a:lnTo>
                  <a:pt x="1604" y="32453"/>
                </a:lnTo>
                <a:lnTo>
                  <a:pt x="1604" y="32641"/>
                </a:lnTo>
                <a:lnTo>
                  <a:pt x="1509" y="32924"/>
                </a:lnTo>
                <a:lnTo>
                  <a:pt x="1226" y="33396"/>
                </a:lnTo>
                <a:lnTo>
                  <a:pt x="1038" y="33585"/>
                </a:lnTo>
                <a:lnTo>
                  <a:pt x="1038" y="33773"/>
                </a:lnTo>
                <a:lnTo>
                  <a:pt x="1038" y="35000"/>
                </a:lnTo>
                <a:lnTo>
                  <a:pt x="849" y="36132"/>
                </a:lnTo>
                <a:lnTo>
                  <a:pt x="660" y="37358"/>
                </a:lnTo>
                <a:lnTo>
                  <a:pt x="472" y="38867"/>
                </a:lnTo>
                <a:lnTo>
                  <a:pt x="283" y="38301"/>
                </a:lnTo>
                <a:lnTo>
                  <a:pt x="94" y="39811"/>
                </a:lnTo>
                <a:lnTo>
                  <a:pt x="0" y="41509"/>
                </a:lnTo>
                <a:lnTo>
                  <a:pt x="94" y="43301"/>
                </a:lnTo>
                <a:lnTo>
                  <a:pt x="283" y="44056"/>
                </a:lnTo>
                <a:lnTo>
                  <a:pt x="472" y="44622"/>
                </a:lnTo>
                <a:lnTo>
                  <a:pt x="566" y="45660"/>
                </a:lnTo>
                <a:lnTo>
                  <a:pt x="755" y="46792"/>
                </a:lnTo>
                <a:lnTo>
                  <a:pt x="1226" y="48962"/>
                </a:lnTo>
                <a:lnTo>
                  <a:pt x="1981" y="51037"/>
                </a:lnTo>
                <a:lnTo>
                  <a:pt x="2924" y="53112"/>
                </a:lnTo>
                <a:lnTo>
                  <a:pt x="4057" y="55094"/>
                </a:lnTo>
                <a:lnTo>
                  <a:pt x="5283" y="56980"/>
                </a:lnTo>
                <a:lnTo>
                  <a:pt x="6698" y="58678"/>
                </a:lnTo>
                <a:lnTo>
                  <a:pt x="8113" y="60282"/>
                </a:lnTo>
                <a:lnTo>
                  <a:pt x="9056" y="61131"/>
                </a:lnTo>
                <a:lnTo>
                  <a:pt x="10000" y="61980"/>
                </a:lnTo>
                <a:lnTo>
                  <a:pt x="11038" y="62829"/>
                </a:lnTo>
                <a:lnTo>
                  <a:pt x="12075" y="63584"/>
                </a:lnTo>
                <a:lnTo>
                  <a:pt x="14339" y="64905"/>
                </a:lnTo>
                <a:lnTo>
                  <a:pt x="16604" y="66131"/>
                </a:lnTo>
                <a:lnTo>
                  <a:pt x="19056" y="67169"/>
                </a:lnTo>
                <a:lnTo>
                  <a:pt x="21509" y="67923"/>
                </a:lnTo>
                <a:lnTo>
                  <a:pt x="24056" y="68584"/>
                </a:lnTo>
                <a:lnTo>
                  <a:pt x="26603" y="69055"/>
                </a:lnTo>
                <a:lnTo>
                  <a:pt x="27830" y="69055"/>
                </a:lnTo>
                <a:lnTo>
                  <a:pt x="30188" y="68867"/>
                </a:lnTo>
                <a:lnTo>
                  <a:pt x="33113" y="68678"/>
                </a:lnTo>
                <a:lnTo>
                  <a:pt x="36509" y="68301"/>
                </a:lnTo>
                <a:lnTo>
                  <a:pt x="39811" y="67923"/>
                </a:lnTo>
                <a:lnTo>
                  <a:pt x="42735" y="67452"/>
                </a:lnTo>
                <a:lnTo>
                  <a:pt x="44905" y="66980"/>
                </a:lnTo>
                <a:lnTo>
                  <a:pt x="45565" y="66791"/>
                </a:lnTo>
                <a:lnTo>
                  <a:pt x="45943" y="66508"/>
                </a:lnTo>
                <a:lnTo>
                  <a:pt x="47358" y="65942"/>
                </a:lnTo>
                <a:lnTo>
                  <a:pt x="48018" y="65565"/>
                </a:lnTo>
                <a:lnTo>
                  <a:pt x="48678" y="65188"/>
                </a:lnTo>
                <a:lnTo>
                  <a:pt x="47924" y="65471"/>
                </a:lnTo>
                <a:lnTo>
                  <a:pt x="51509" y="62924"/>
                </a:lnTo>
                <a:lnTo>
                  <a:pt x="53301" y="61508"/>
                </a:lnTo>
                <a:lnTo>
                  <a:pt x="55093" y="59905"/>
                </a:lnTo>
                <a:lnTo>
                  <a:pt x="55093" y="59905"/>
                </a:lnTo>
                <a:lnTo>
                  <a:pt x="54810" y="60376"/>
                </a:lnTo>
                <a:lnTo>
                  <a:pt x="54339" y="60754"/>
                </a:lnTo>
                <a:lnTo>
                  <a:pt x="55376" y="59999"/>
                </a:lnTo>
                <a:lnTo>
                  <a:pt x="56320" y="59056"/>
                </a:lnTo>
                <a:lnTo>
                  <a:pt x="57075" y="58395"/>
                </a:lnTo>
                <a:lnTo>
                  <a:pt x="57169" y="58207"/>
                </a:lnTo>
                <a:lnTo>
                  <a:pt x="57075" y="58207"/>
                </a:lnTo>
                <a:lnTo>
                  <a:pt x="57924" y="57546"/>
                </a:lnTo>
                <a:lnTo>
                  <a:pt x="58678" y="56697"/>
                </a:lnTo>
                <a:lnTo>
                  <a:pt x="59339" y="55754"/>
                </a:lnTo>
                <a:lnTo>
                  <a:pt x="59905" y="54905"/>
                </a:lnTo>
                <a:lnTo>
                  <a:pt x="59716" y="54999"/>
                </a:lnTo>
                <a:lnTo>
                  <a:pt x="59622" y="54999"/>
                </a:lnTo>
                <a:lnTo>
                  <a:pt x="59810" y="54622"/>
                </a:lnTo>
                <a:lnTo>
                  <a:pt x="59150" y="55565"/>
                </a:lnTo>
                <a:lnTo>
                  <a:pt x="59527" y="55094"/>
                </a:lnTo>
                <a:lnTo>
                  <a:pt x="59433" y="55377"/>
                </a:lnTo>
                <a:lnTo>
                  <a:pt x="58867" y="56037"/>
                </a:lnTo>
                <a:lnTo>
                  <a:pt x="59056" y="55660"/>
                </a:lnTo>
                <a:lnTo>
                  <a:pt x="59056" y="55660"/>
                </a:lnTo>
                <a:lnTo>
                  <a:pt x="58678" y="56037"/>
                </a:lnTo>
                <a:lnTo>
                  <a:pt x="59810" y="54339"/>
                </a:lnTo>
                <a:lnTo>
                  <a:pt x="60282" y="53490"/>
                </a:lnTo>
                <a:lnTo>
                  <a:pt x="60282" y="53301"/>
                </a:lnTo>
                <a:lnTo>
                  <a:pt x="60188" y="53395"/>
                </a:lnTo>
                <a:lnTo>
                  <a:pt x="60188" y="53395"/>
                </a:lnTo>
                <a:lnTo>
                  <a:pt x="60565" y="52924"/>
                </a:lnTo>
                <a:lnTo>
                  <a:pt x="61037" y="52452"/>
                </a:lnTo>
                <a:lnTo>
                  <a:pt x="61886" y="51509"/>
                </a:lnTo>
                <a:lnTo>
                  <a:pt x="61508" y="52452"/>
                </a:lnTo>
                <a:lnTo>
                  <a:pt x="60848" y="53584"/>
                </a:lnTo>
                <a:lnTo>
                  <a:pt x="59622" y="55565"/>
                </a:lnTo>
                <a:lnTo>
                  <a:pt x="60376" y="54528"/>
                </a:lnTo>
                <a:lnTo>
                  <a:pt x="60942" y="53678"/>
                </a:lnTo>
                <a:lnTo>
                  <a:pt x="61980" y="51792"/>
                </a:lnTo>
                <a:lnTo>
                  <a:pt x="61886" y="51886"/>
                </a:lnTo>
                <a:lnTo>
                  <a:pt x="61886" y="51697"/>
                </a:lnTo>
                <a:lnTo>
                  <a:pt x="62169" y="51037"/>
                </a:lnTo>
                <a:lnTo>
                  <a:pt x="62735" y="49999"/>
                </a:lnTo>
                <a:lnTo>
                  <a:pt x="61508" y="51603"/>
                </a:lnTo>
                <a:lnTo>
                  <a:pt x="61603" y="51037"/>
                </a:lnTo>
                <a:lnTo>
                  <a:pt x="61697" y="50377"/>
                </a:lnTo>
                <a:lnTo>
                  <a:pt x="62169" y="48962"/>
                </a:lnTo>
                <a:lnTo>
                  <a:pt x="62829" y="47358"/>
                </a:lnTo>
                <a:lnTo>
                  <a:pt x="63678" y="45565"/>
                </a:lnTo>
                <a:lnTo>
                  <a:pt x="65376" y="42169"/>
                </a:lnTo>
                <a:lnTo>
                  <a:pt x="66131" y="40660"/>
                </a:lnTo>
                <a:lnTo>
                  <a:pt x="66697" y="39339"/>
                </a:lnTo>
                <a:lnTo>
                  <a:pt x="66603" y="39528"/>
                </a:lnTo>
                <a:lnTo>
                  <a:pt x="66697" y="39056"/>
                </a:lnTo>
                <a:lnTo>
                  <a:pt x="66791" y="38962"/>
                </a:lnTo>
                <a:lnTo>
                  <a:pt x="66791" y="39056"/>
                </a:lnTo>
                <a:lnTo>
                  <a:pt x="66886" y="38584"/>
                </a:lnTo>
                <a:lnTo>
                  <a:pt x="66791" y="38867"/>
                </a:lnTo>
                <a:lnTo>
                  <a:pt x="66980" y="38207"/>
                </a:lnTo>
                <a:lnTo>
                  <a:pt x="67169" y="37264"/>
                </a:lnTo>
                <a:lnTo>
                  <a:pt x="67263" y="36415"/>
                </a:lnTo>
                <a:lnTo>
                  <a:pt x="67357" y="36509"/>
                </a:lnTo>
                <a:lnTo>
                  <a:pt x="67452" y="36509"/>
                </a:lnTo>
                <a:lnTo>
                  <a:pt x="67546" y="35943"/>
                </a:lnTo>
                <a:lnTo>
                  <a:pt x="67546" y="34811"/>
                </a:lnTo>
                <a:lnTo>
                  <a:pt x="67640" y="31037"/>
                </a:lnTo>
                <a:lnTo>
                  <a:pt x="67640" y="28490"/>
                </a:lnTo>
                <a:lnTo>
                  <a:pt x="67546" y="27736"/>
                </a:lnTo>
                <a:lnTo>
                  <a:pt x="67546" y="27547"/>
                </a:lnTo>
                <a:lnTo>
                  <a:pt x="67452" y="27547"/>
                </a:lnTo>
                <a:lnTo>
                  <a:pt x="67074" y="26792"/>
                </a:lnTo>
                <a:lnTo>
                  <a:pt x="66791" y="25660"/>
                </a:lnTo>
                <a:lnTo>
                  <a:pt x="66508" y="24528"/>
                </a:lnTo>
                <a:lnTo>
                  <a:pt x="66414" y="23585"/>
                </a:lnTo>
                <a:lnTo>
                  <a:pt x="66320" y="23679"/>
                </a:lnTo>
                <a:lnTo>
                  <a:pt x="66320" y="23490"/>
                </a:lnTo>
                <a:lnTo>
                  <a:pt x="65942" y="22924"/>
                </a:lnTo>
                <a:lnTo>
                  <a:pt x="65565" y="22358"/>
                </a:lnTo>
                <a:lnTo>
                  <a:pt x="64527" y="21132"/>
                </a:lnTo>
                <a:lnTo>
                  <a:pt x="63584" y="19906"/>
                </a:lnTo>
                <a:lnTo>
                  <a:pt x="63207" y="19340"/>
                </a:lnTo>
                <a:lnTo>
                  <a:pt x="63018" y="18774"/>
                </a:lnTo>
                <a:lnTo>
                  <a:pt x="63112" y="18962"/>
                </a:lnTo>
                <a:lnTo>
                  <a:pt x="63301" y="19057"/>
                </a:lnTo>
                <a:lnTo>
                  <a:pt x="63301" y="19057"/>
                </a:lnTo>
                <a:lnTo>
                  <a:pt x="63207" y="18868"/>
                </a:lnTo>
                <a:lnTo>
                  <a:pt x="62923" y="18491"/>
                </a:lnTo>
                <a:lnTo>
                  <a:pt x="61980" y="17453"/>
                </a:lnTo>
                <a:lnTo>
                  <a:pt x="61037" y="16509"/>
                </a:lnTo>
                <a:lnTo>
                  <a:pt x="61037" y="16698"/>
                </a:lnTo>
                <a:lnTo>
                  <a:pt x="61037" y="16887"/>
                </a:lnTo>
                <a:lnTo>
                  <a:pt x="60093" y="15943"/>
                </a:lnTo>
                <a:lnTo>
                  <a:pt x="60376" y="16321"/>
                </a:lnTo>
                <a:lnTo>
                  <a:pt x="59527" y="15377"/>
                </a:lnTo>
                <a:lnTo>
                  <a:pt x="59056" y="14906"/>
                </a:lnTo>
                <a:lnTo>
                  <a:pt x="59244" y="14906"/>
                </a:lnTo>
                <a:lnTo>
                  <a:pt x="59905" y="15472"/>
                </a:lnTo>
                <a:lnTo>
                  <a:pt x="59905" y="15472"/>
                </a:lnTo>
                <a:lnTo>
                  <a:pt x="57641" y="13396"/>
                </a:lnTo>
                <a:lnTo>
                  <a:pt x="58112" y="13868"/>
                </a:lnTo>
                <a:lnTo>
                  <a:pt x="56886" y="13019"/>
                </a:lnTo>
                <a:lnTo>
                  <a:pt x="55754" y="12453"/>
                </a:lnTo>
                <a:lnTo>
                  <a:pt x="56603" y="13113"/>
                </a:lnTo>
                <a:lnTo>
                  <a:pt x="57452" y="13774"/>
                </a:lnTo>
                <a:lnTo>
                  <a:pt x="58961" y="15283"/>
                </a:lnTo>
                <a:lnTo>
                  <a:pt x="60376" y="16604"/>
                </a:lnTo>
                <a:lnTo>
                  <a:pt x="61225" y="17264"/>
                </a:lnTo>
                <a:lnTo>
                  <a:pt x="62074" y="17925"/>
                </a:lnTo>
                <a:lnTo>
                  <a:pt x="62074" y="17925"/>
                </a:lnTo>
                <a:lnTo>
                  <a:pt x="61414" y="17547"/>
                </a:lnTo>
                <a:lnTo>
                  <a:pt x="60659" y="16981"/>
                </a:lnTo>
                <a:lnTo>
                  <a:pt x="60754" y="17264"/>
                </a:lnTo>
                <a:lnTo>
                  <a:pt x="60942" y="17642"/>
                </a:lnTo>
                <a:lnTo>
                  <a:pt x="61980" y="19151"/>
                </a:lnTo>
                <a:lnTo>
                  <a:pt x="63301" y="20943"/>
                </a:lnTo>
                <a:lnTo>
                  <a:pt x="63207" y="20943"/>
                </a:lnTo>
                <a:lnTo>
                  <a:pt x="63395" y="21038"/>
                </a:lnTo>
                <a:lnTo>
                  <a:pt x="63490" y="21321"/>
                </a:lnTo>
                <a:lnTo>
                  <a:pt x="63678" y="21604"/>
                </a:lnTo>
                <a:lnTo>
                  <a:pt x="63773" y="21698"/>
                </a:lnTo>
                <a:lnTo>
                  <a:pt x="63584" y="21321"/>
                </a:lnTo>
                <a:lnTo>
                  <a:pt x="63584" y="21321"/>
                </a:lnTo>
                <a:lnTo>
                  <a:pt x="64244" y="22170"/>
                </a:lnTo>
                <a:lnTo>
                  <a:pt x="64716" y="22641"/>
                </a:lnTo>
                <a:lnTo>
                  <a:pt x="64905" y="22830"/>
                </a:lnTo>
                <a:lnTo>
                  <a:pt x="64999" y="22830"/>
                </a:lnTo>
                <a:lnTo>
                  <a:pt x="64999" y="22641"/>
                </a:lnTo>
                <a:lnTo>
                  <a:pt x="64905" y="22358"/>
                </a:lnTo>
                <a:lnTo>
                  <a:pt x="65282" y="23207"/>
                </a:lnTo>
                <a:lnTo>
                  <a:pt x="65565" y="24056"/>
                </a:lnTo>
                <a:lnTo>
                  <a:pt x="66225" y="25943"/>
                </a:lnTo>
                <a:lnTo>
                  <a:pt x="66697" y="27830"/>
                </a:lnTo>
                <a:lnTo>
                  <a:pt x="66886" y="28490"/>
                </a:lnTo>
                <a:lnTo>
                  <a:pt x="66980" y="28868"/>
                </a:lnTo>
                <a:lnTo>
                  <a:pt x="66886" y="28962"/>
                </a:lnTo>
                <a:lnTo>
                  <a:pt x="66697" y="28679"/>
                </a:lnTo>
                <a:lnTo>
                  <a:pt x="66697" y="29245"/>
                </a:lnTo>
                <a:lnTo>
                  <a:pt x="66791" y="29905"/>
                </a:lnTo>
                <a:lnTo>
                  <a:pt x="66886" y="29905"/>
                </a:lnTo>
                <a:lnTo>
                  <a:pt x="66886" y="30094"/>
                </a:lnTo>
                <a:lnTo>
                  <a:pt x="66886" y="30566"/>
                </a:lnTo>
                <a:lnTo>
                  <a:pt x="66697" y="30377"/>
                </a:lnTo>
                <a:lnTo>
                  <a:pt x="66603" y="30188"/>
                </a:lnTo>
                <a:lnTo>
                  <a:pt x="66603" y="30094"/>
                </a:lnTo>
                <a:lnTo>
                  <a:pt x="66697" y="29905"/>
                </a:lnTo>
                <a:lnTo>
                  <a:pt x="66508" y="28679"/>
                </a:lnTo>
                <a:lnTo>
                  <a:pt x="66225" y="27358"/>
                </a:lnTo>
                <a:lnTo>
                  <a:pt x="66603" y="30283"/>
                </a:lnTo>
                <a:lnTo>
                  <a:pt x="66697" y="31792"/>
                </a:lnTo>
                <a:lnTo>
                  <a:pt x="66697" y="33302"/>
                </a:lnTo>
                <a:lnTo>
                  <a:pt x="66603" y="34717"/>
                </a:lnTo>
                <a:lnTo>
                  <a:pt x="66414" y="36226"/>
                </a:lnTo>
                <a:lnTo>
                  <a:pt x="66131" y="37547"/>
                </a:lnTo>
                <a:lnTo>
                  <a:pt x="65659" y="38962"/>
                </a:lnTo>
                <a:lnTo>
                  <a:pt x="65848" y="38584"/>
                </a:lnTo>
                <a:lnTo>
                  <a:pt x="65942" y="38584"/>
                </a:lnTo>
                <a:lnTo>
                  <a:pt x="65848" y="39245"/>
                </a:lnTo>
                <a:lnTo>
                  <a:pt x="65565" y="40188"/>
                </a:lnTo>
                <a:lnTo>
                  <a:pt x="65471" y="40471"/>
                </a:lnTo>
                <a:lnTo>
                  <a:pt x="65282" y="40660"/>
                </a:lnTo>
                <a:lnTo>
                  <a:pt x="65282" y="40566"/>
                </a:lnTo>
                <a:lnTo>
                  <a:pt x="65093" y="41132"/>
                </a:lnTo>
                <a:lnTo>
                  <a:pt x="64433" y="43018"/>
                </a:lnTo>
                <a:lnTo>
                  <a:pt x="63678" y="45282"/>
                </a:lnTo>
                <a:lnTo>
                  <a:pt x="62735" y="47264"/>
                </a:lnTo>
                <a:lnTo>
                  <a:pt x="61697" y="49056"/>
                </a:lnTo>
                <a:lnTo>
                  <a:pt x="60659" y="50943"/>
                </a:lnTo>
                <a:lnTo>
                  <a:pt x="59433" y="52735"/>
                </a:lnTo>
                <a:lnTo>
                  <a:pt x="58207" y="54433"/>
                </a:lnTo>
                <a:lnTo>
                  <a:pt x="56886" y="56037"/>
                </a:lnTo>
                <a:lnTo>
                  <a:pt x="55376" y="57641"/>
                </a:lnTo>
                <a:lnTo>
                  <a:pt x="53867" y="59150"/>
                </a:lnTo>
                <a:lnTo>
                  <a:pt x="52169" y="60376"/>
                </a:lnTo>
                <a:lnTo>
                  <a:pt x="48961" y="62452"/>
                </a:lnTo>
                <a:lnTo>
                  <a:pt x="44528" y="65282"/>
                </a:lnTo>
                <a:lnTo>
                  <a:pt x="44622" y="65188"/>
                </a:lnTo>
                <a:lnTo>
                  <a:pt x="44716" y="65093"/>
                </a:lnTo>
                <a:lnTo>
                  <a:pt x="45094" y="64810"/>
                </a:lnTo>
                <a:lnTo>
                  <a:pt x="45660" y="64527"/>
                </a:lnTo>
                <a:lnTo>
                  <a:pt x="43867" y="65376"/>
                </a:lnTo>
                <a:lnTo>
                  <a:pt x="43113" y="65754"/>
                </a:lnTo>
                <a:lnTo>
                  <a:pt x="42924" y="65754"/>
                </a:lnTo>
                <a:lnTo>
                  <a:pt x="43113" y="65659"/>
                </a:lnTo>
                <a:lnTo>
                  <a:pt x="41603" y="66037"/>
                </a:lnTo>
                <a:lnTo>
                  <a:pt x="39999" y="66320"/>
                </a:lnTo>
                <a:lnTo>
                  <a:pt x="38396" y="66508"/>
                </a:lnTo>
                <a:lnTo>
                  <a:pt x="36792" y="66697"/>
                </a:lnTo>
                <a:lnTo>
                  <a:pt x="33584" y="66980"/>
                </a:lnTo>
                <a:lnTo>
                  <a:pt x="32169" y="67169"/>
                </a:lnTo>
                <a:lnTo>
                  <a:pt x="30754" y="67357"/>
                </a:lnTo>
                <a:lnTo>
                  <a:pt x="30094" y="67357"/>
                </a:lnTo>
                <a:lnTo>
                  <a:pt x="29339" y="67263"/>
                </a:lnTo>
                <a:lnTo>
                  <a:pt x="27830" y="66886"/>
                </a:lnTo>
                <a:lnTo>
                  <a:pt x="26415" y="66508"/>
                </a:lnTo>
                <a:lnTo>
                  <a:pt x="25754" y="66414"/>
                </a:lnTo>
                <a:lnTo>
                  <a:pt x="25094" y="66414"/>
                </a:lnTo>
                <a:lnTo>
                  <a:pt x="25566" y="66980"/>
                </a:lnTo>
                <a:lnTo>
                  <a:pt x="25471" y="67074"/>
                </a:lnTo>
                <a:lnTo>
                  <a:pt x="25188" y="66980"/>
                </a:lnTo>
                <a:lnTo>
                  <a:pt x="24339" y="66791"/>
                </a:lnTo>
                <a:lnTo>
                  <a:pt x="23773" y="66508"/>
                </a:lnTo>
                <a:lnTo>
                  <a:pt x="24245" y="66414"/>
                </a:lnTo>
                <a:lnTo>
                  <a:pt x="24717" y="66603"/>
                </a:lnTo>
                <a:lnTo>
                  <a:pt x="24811" y="66414"/>
                </a:lnTo>
                <a:lnTo>
                  <a:pt x="24811" y="66320"/>
                </a:lnTo>
                <a:lnTo>
                  <a:pt x="24717" y="66225"/>
                </a:lnTo>
                <a:lnTo>
                  <a:pt x="24528" y="66131"/>
                </a:lnTo>
                <a:lnTo>
                  <a:pt x="24151" y="66225"/>
                </a:lnTo>
                <a:lnTo>
                  <a:pt x="23679" y="66320"/>
                </a:lnTo>
                <a:lnTo>
                  <a:pt x="23018" y="66414"/>
                </a:lnTo>
                <a:lnTo>
                  <a:pt x="23490" y="66225"/>
                </a:lnTo>
                <a:lnTo>
                  <a:pt x="22075" y="65942"/>
                </a:lnTo>
                <a:lnTo>
                  <a:pt x="20943" y="65659"/>
                </a:lnTo>
                <a:lnTo>
                  <a:pt x="20000" y="65282"/>
                </a:lnTo>
                <a:lnTo>
                  <a:pt x="19056" y="64810"/>
                </a:lnTo>
                <a:lnTo>
                  <a:pt x="19056" y="64810"/>
                </a:lnTo>
                <a:lnTo>
                  <a:pt x="19717" y="64999"/>
                </a:lnTo>
                <a:lnTo>
                  <a:pt x="19151" y="64716"/>
                </a:lnTo>
                <a:lnTo>
                  <a:pt x="18962" y="64810"/>
                </a:lnTo>
                <a:lnTo>
                  <a:pt x="19151" y="64905"/>
                </a:lnTo>
                <a:lnTo>
                  <a:pt x="18490" y="64905"/>
                </a:lnTo>
                <a:lnTo>
                  <a:pt x="17830" y="64716"/>
                </a:lnTo>
                <a:lnTo>
                  <a:pt x="17264" y="64527"/>
                </a:lnTo>
                <a:lnTo>
                  <a:pt x="16698" y="64150"/>
                </a:lnTo>
                <a:lnTo>
                  <a:pt x="16981" y="64056"/>
                </a:lnTo>
                <a:lnTo>
                  <a:pt x="17264" y="64150"/>
                </a:lnTo>
                <a:lnTo>
                  <a:pt x="17264" y="64150"/>
                </a:lnTo>
                <a:lnTo>
                  <a:pt x="15188" y="63207"/>
                </a:lnTo>
                <a:lnTo>
                  <a:pt x="14622" y="62829"/>
                </a:lnTo>
                <a:lnTo>
                  <a:pt x="14717" y="62924"/>
                </a:lnTo>
                <a:lnTo>
                  <a:pt x="13773" y="62546"/>
                </a:lnTo>
                <a:lnTo>
                  <a:pt x="12924" y="62075"/>
                </a:lnTo>
                <a:lnTo>
                  <a:pt x="12358" y="61697"/>
                </a:lnTo>
                <a:lnTo>
                  <a:pt x="12264" y="61508"/>
                </a:lnTo>
                <a:lnTo>
                  <a:pt x="12170" y="61320"/>
                </a:lnTo>
                <a:lnTo>
                  <a:pt x="11698" y="60942"/>
                </a:lnTo>
                <a:lnTo>
                  <a:pt x="11132" y="60471"/>
                </a:lnTo>
                <a:lnTo>
                  <a:pt x="9906" y="59244"/>
                </a:lnTo>
                <a:lnTo>
                  <a:pt x="9906" y="59244"/>
                </a:lnTo>
                <a:lnTo>
                  <a:pt x="10566" y="59527"/>
                </a:lnTo>
                <a:lnTo>
                  <a:pt x="9434" y="58584"/>
                </a:lnTo>
                <a:lnTo>
                  <a:pt x="8207" y="57546"/>
                </a:lnTo>
                <a:lnTo>
                  <a:pt x="7547" y="56886"/>
                </a:lnTo>
                <a:lnTo>
                  <a:pt x="6981" y="56131"/>
                </a:lnTo>
                <a:lnTo>
                  <a:pt x="6226" y="55094"/>
                </a:lnTo>
                <a:lnTo>
                  <a:pt x="6415" y="55377"/>
                </a:lnTo>
                <a:lnTo>
                  <a:pt x="6038" y="54905"/>
                </a:lnTo>
                <a:lnTo>
                  <a:pt x="5472" y="54244"/>
                </a:lnTo>
                <a:lnTo>
                  <a:pt x="5283" y="53961"/>
                </a:lnTo>
                <a:lnTo>
                  <a:pt x="5094" y="53867"/>
                </a:lnTo>
                <a:lnTo>
                  <a:pt x="5377" y="54622"/>
                </a:lnTo>
                <a:lnTo>
                  <a:pt x="5849" y="55282"/>
                </a:lnTo>
                <a:lnTo>
                  <a:pt x="6321" y="55943"/>
                </a:lnTo>
                <a:lnTo>
                  <a:pt x="6698" y="56603"/>
                </a:lnTo>
                <a:lnTo>
                  <a:pt x="6226" y="56226"/>
                </a:lnTo>
                <a:lnTo>
                  <a:pt x="5943" y="55848"/>
                </a:lnTo>
                <a:lnTo>
                  <a:pt x="6038" y="56037"/>
                </a:lnTo>
                <a:lnTo>
                  <a:pt x="5943" y="55943"/>
                </a:lnTo>
                <a:lnTo>
                  <a:pt x="5377" y="55188"/>
                </a:lnTo>
                <a:lnTo>
                  <a:pt x="5000" y="54716"/>
                </a:lnTo>
                <a:lnTo>
                  <a:pt x="4717" y="54150"/>
                </a:lnTo>
                <a:lnTo>
                  <a:pt x="4528" y="53678"/>
                </a:lnTo>
                <a:lnTo>
                  <a:pt x="4528" y="53584"/>
                </a:lnTo>
                <a:lnTo>
                  <a:pt x="4623" y="53395"/>
                </a:lnTo>
                <a:lnTo>
                  <a:pt x="5094" y="54244"/>
                </a:lnTo>
                <a:lnTo>
                  <a:pt x="4717" y="53301"/>
                </a:lnTo>
                <a:lnTo>
                  <a:pt x="4528" y="53018"/>
                </a:lnTo>
                <a:lnTo>
                  <a:pt x="4151" y="52263"/>
                </a:lnTo>
                <a:lnTo>
                  <a:pt x="4151" y="52169"/>
                </a:lnTo>
                <a:lnTo>
                  <a:pt x="3774" y="51509"/>
                </a:lnTo>
                <a:lnTo>
                  <a:pt x="3396" y="50660"/>
                </a:lnTo>
                <a:lnTo>
                  <a:pt x="3585" y="51603"/>
                </a:lnTo>
                <a:lnTo>
                  <a:pt x="3396" y="51226"/>
                </a:lnTo>
                <a:lnTo>
                  <a:pt x="3208" y="50848"/>
                </a:lnTo>
                <a:lnTo>
                  <a:pt x="3208" y="50471"/>
                </a:lnTo>
                <a:lnTo>
                  <a:pt x="3208" y="50094"/>
                </a:lnTo>
                <a:lnTo>
                  <a:pt x="3585" y="50754"/>
                </a:lnTo>
                <a:lnTo>
                  <a:pt x="3868" y="51509"/>
                </a:lnTo>
                <a:lnTo>
                  <a:pt x="3868" y="51509"/>
                </a:lnTo>
                <a:lnTo>
                  <a:pt x="3208" y="49528"/>
                </a:lnTo>
                <a:lnTo>
                  <a:pt x="3208" y="49528"/>
                </a:lnTo>
                <a:lnTo>
                  <a:pt x="3868" y="50754"/>
                </a:lnTo>
                <a:lnTo>
                  <a:pt x="3208" y="48962"/>
                </a:lnTo>
                <a:lnTo>
                  <a:pt x="3585" y="49339"/>
                </a:lnTo>
                <a:lnTo>
                  <a:pt x="3774" y="49433"/>
                </a:lnTo>
                <a:lnTo>
                  <a:pt x="3962" y="49528"/>
                </a:lnTo>
                <a:lnTo>
                  <a:pt x="4057" y="49905"/>
                </a:lnTo>
                <a:lnTo>
                  <a:pt x="3868" y="48962"/>
                </a:lnTo>
                <a:lnTo>
                  <a:pt x="3491" y="47924"/>
                </a:lnTo>
                <a:lnTo>
                  <a:pt x="2641" y="45565"/>
                </a:lnTo>
                <a:lnTo>
                  <a:pt x="2170" y="43867"/>
                </a:lnTo>
                <a:lnTo>
                  <a:pt x="1698" y="41886"/>
                </a:lnTo>
                <a:lnTo>
                  <a:pt x="1698" y="41886"/>
                </a:lnTo>
                <a:lnTo>
                  <a:pt x="1887" y="42075"/>
                </a:lnTo>
                <a:lnTo>
                  <a:pt x="1981" y="41981"/>
                </a:lnTo>
                <a:lnTo>
                  <a:pt x="2075" y="42075"/>
                </a:lnTo>
                <a:lnTo>
                  <a:pt x="2264" y="42169"/>
                </a:lnTo>
                <a:lnTo>
                  <a:pt x="2170" y="40283"/>
                </a:lnTo>
                <a:lnTo>
                  <a:pt x="2075" y="38301"/>
                </a:lnTo>
                <a:lnTo>
                  <a:pt x="2170" y="36415"/>
                </a:lnTo>
                <a:lnTo>
                  <a:pt x="2358" y="35566"/>
                </a:lnTo>
                <a:lnTo>
                  <a:pt x="2453" y="34811"/>
                </a:lnTo>
                <a:lnTo>
                  <a:pt x="2830" y="32830"/>
                </a:lnTo>
                <a:lnTo>
                  <a:pt x="2830" y="33207"/>
                </a:lnTo>
                <a:lnTo>
                  <a:pt x="2924" y="33490"/>
                </a:lnTo>
                <a:lnTo>
                  <a:pt x="2924" y="32453"/>
                </a:lnTo>
                <a:lnTo>
                  <a:pt x="3019" y="31415"/>
                </a:lnTo>
                <a:lnTo>
                  <a:pt x="3396" y="29245"/>
                </a:lnTo>
                <a:lnTo>
                  <a:pt x="3868" y="27075"/>
                </a:lnTo>
                <a:lnTo>
                  <a:pt x="4623" y="25000"/>
                </a:lnTo>
                <a:lnTo>
                  <a:pt x="5566" y="22830"/>
                </a:lnTo>
                <a:lnTo>
                  <a:pt x="6604" y="20849"/>
                </a:lnTo>
                <a:lnTo>
                  <a:pt x="7830" y="18868"/>
                </a:lnTo>
                <a:lnTo>
                  <a:pt x="9151" y="16887"/>
                </a:lnTo>
                <a:lnTo>
                  <a:pt x="10566" y="15094"/>
                </a:lnTo>
                <a:lnTo>
                  <a:pt x="12075" y="13302"/>
                </a:lnTo>
                <a:lnTo>
                  <a:pt x="13773" y="11698"/>
                </a:lnTo>
                <a:lnTo>
                  <a:pt x="15377" y="10095"/>
                </a:lnTo>
                <a:lnTo>
                  <a:pt x="17170" y="8679"/>
                </a:lnTo>
                <a:lnTo>
                  <a:pt x="18962" y="7453"/>
                </a:lnTo>
                <a:lnTo>
                  <a:pt x="20754" y="6321"/>
                </a:lnTo>
                <a:lnTo>
                  <a:pt x="22547" y="5378"/>
                </a:lnTo>
                <a:lnTo>
                  <a:pt x="21603" y="6227"/>
                </a:lnTo>
                <a:lnTo>
                  <a:pt x="22641" y="5472"/>
                </a:lnTo>
                <a:lnTo>
                  <a:pt x="23302" y="5095"/>
                </a:lnTo>
                <a:lnTo>
                  <a:pt x="25377" y="4151"/>
                </a:lnTo>
                <a:lnTo>
                  <a:pt x="24811" y="4151"/>
                </a:lnTo>
                <a:lnTo>
                  <a:pt x="25660" y="3774"/>
                </a:lnTo>
                <a:lnTo>
                  <a:pt x="26886" y="3208"/>
                </a:lnTo>
                <a:lnTo>
                  <a:pt x="26603" y="3585"/>
                </a:lnTo>
                <a:lnTo>
                  <a:pt x="26886" y="3585"/>
                </a:lnTo>
                <a:lnTo>
                  <a:pt x="26886" y="3680"/>
                </a:lnTo>
                <a:lnTo>
                  <a:pt x="26792" y="3774"/>
                </a:lnTo>
                <a:lnTo>
                  <a:pt x="28301" y="3302"/>
                </a:lnTo>
                <a:lnTo>
                  <a:pt x="29622" y="2736"/>
                </a:lnTo>
                <a:lnTo>
                  <a:pt x="31037" y="2264"/>
                </a:lnTo>
                <a:lnTo>
                  <a:pt x="31792" y="2076"/>
                </a:lnTo>
                <a:lnTo>
                  <a:pt x="32641" y="1981"/>
                </a:lnTo>
                <a:lnTo>
                  <a:pt x="32547" y="2076"/>
                </a:lnTo>
                <a:lnTo>
                  <a:pt x="32924" y="1981"/>
                </a:lnTo>
                <a:lnTo>
                  <a:pt x="34245" y="1793"/>
                </a:lnTo>
                <a:lnTo>
                  <a:pt x="35848" y="1415"/>
                </a:lnTo>
                <a:lnTo>
                  <a:pt x="36981" y="1132"/>
                </a:lnTo>
                <a:lnTo>
                  <a:pt x="36981" y="1415"/>
                </a:lnTo>
                <a:lnTo>
                  <a:pt x="40943" y="1227"/>
                </a:lnTo>
                <a:lnTo>
                  <a:pt x="41509" y="1038"/>
                </a:lnTo>
                <a:lnTo>
                  <a:pt x="41697" y="1132"/>
                </a:lnTo>
                <a:lnTo>
                  <a:pt x="41509" y="1227"/>
                </a:lnTo>
                <a:lnTo>
                  <a:pt x="41320" y="1321"/>
                </a:lnTo>
                <a:lnTo>
                  <a:pt x="42263" y="1321"/>
                </a:lnTo>
                <a:lnTo>
                  <a:pt x="43113" y="1227"/>
                </a:lnTo>
                <a:lnTo>
                  <a:pt x="43396" y="1415"/>
                </a:lnTo>
                <a:lnTo>
                  <a:pt x="44056" y="1604"/>
                </a:lnTo>
                <a:lnTo>
                  <a:pt x="45943" y="2076"/>
                </a:lnTo>
                <a:lnTo>
                  <a:pt x="48018" y="2359"/>
                </a:lnTo>
                <a:lnTo>
                  <a:pt x="49622" y="2736"/>
                </a:lnTo>
                <a:lnTo>
                  <a:pt x="47641" y="1981"/>
                </a:lnTo>
                <a:lnTo>
                  <a:pt x="45282" y="1321"/>
                </a:lnTo>
                <a:lnTo>
                  <a:pt x="42735" y="755"/>
                </a:lnTo>
                <a:lnTo>
                  <a:pt x="40188" y="283"/>
                </a:lnTo>
                <a:lnTo>
                  <a:pt x="37735" y="95"/>
                </a:lnTo>
                <a:lnTo>
                  <a:pt x="35471" y="0"/>
                </a:lnTo>
                <a:close/>
              </a:path>
            </a:pathLst>
          </a:custGeom>
          <a:solidFill>
            <a:schemeClr val="bg2">
              <a:lumMod val="75000"/>
            </a:schemeClr>
          </a:solidFill>
          <a:ln>
            <a:noFill/>
          </a:ln>
        </p:spPr>
        <p:txBody>
          <a:bodyPr spcFirstLastPara="1" wrap="square" lIns="91425" tIns="91425" rIns="91425" bIns="91425" anchor="ctr" anchorCtr="0">
            <a:noAutofit/>
          </a:bodyPr>
          <a:lstStyle/>
          <a:p>
            <a:pPr marL="0" lvl="0" indent="0">
              <a:spcBef>
                <a:spcPts val="0"/>
              </a:spcBef>
              <a:spcAft>
                <a:spcPts val="0"/>
              </a:spcAft>
              <a:buNone/>
            </a:pPr>
            <a:endParaRPr sz="1200" dirty="0">
              <a:latin typeface="Comic Sans MS" panose="030F0902030302020204" pitchFamily="66" charset="0"/>
            </a:endParaRPr>
          </a:p>
        </p:txBody>
      </p:sp>
      <p:sp>
        <p:nvSpPr>
          <p:cNvPr id="40" name="Google Shape;431;p39">
            <a:extLst>
              <a:ext uri="{FF2B5EF4-FFF2-40B4-BE49-F238E27FC236}">
                <a16:creationId xmlns:a16="http://schemas.microsoft.com/office/drawing/2014/main" id="{6B0C6671-F25F-5E4A-AF2F-61BCE0BB72EE}"/>
              </a:ext>
            </a:extLst>
          </p:cNvPr>
          <p:cNvSpPr/>
          <p:nvPr/>
        </p:nvSpPr>
        <p:spPr>
          <a:xfrm rot="21011211">
            <a:off x="4681537" y="3296732"/>
            <a:ext cx="118019" cy="139785"/>
          </a:xfrm>
          <a:custGeom>
            <a:avLst/>
            <a:gdLst/>
            <a:ahLst/>
            <a:cxnLst/>
            <a:rect l="0" t="0" r="0" b="0"/>
            <a:pathLst>
              <a:path w="67641" h="69056" extrusionOk="0">
                <a:moveTo>
                  <a:pt x="49622" y="2736"/>
                </a:moveTo>
                <a:lnTo>
                  <a:pt x="49622" y="2736"/>
                </a:lnTo>
                <a:lnTo>
                  <a:pt x="49622" y="2736"/>
                </a:lnTo>
                <a:close/>
                <a:moveTo>
                  <a:pt x="59622" y="55565"/>
                </a:moveTo>
                <a:lnTo>
                  <a:pt x="59622" y="55565"/>
                </a:lnTo>
                <a:lnTo>
                  <a:pt x="59622" y="55565"/>
                </a:lnTo>
                <a:close/>
                <a:moveTo>
                  <a:pt x="35471" y="0"/>
                </a:moveTo>
                <a:lnTo>
                  <a:pt x="34433" y="95"/>
                </a:lnTo>
                <a:lnTo>
                  <a:pt x="33584" y="189"/>
                </a:lnTo>
                <a:lnTo>
                  <a:pt x="32735" y="378"/>
                </a:lnTo>
                <a:lnTo>
                  <a:pt x="32169" y="566"/>
                </a:lnTo>
                <a:lnTo>
                  <a:pt x="31509" y="472"/>
                </a:lnTo>
                <a:lnTo>
                  <a:pt x="30754" y="472"/>
                </a:lnTo>
                <a:lnTo>
                  <a:pt x="29339" y="566"/>
                </a:lnTo>
                <a:lnTo>
                  <a:pt x="27830" y="849"/>
                </a:lnTo>
                <a:lnTo>
                  <a:pt x="26320" y="1321"/>
                </a:lnTo>
                <a:lnTo>
                  <a:pt x="24811" y="1981"/>
                </a:lnTo>
                <a:lnTo>
                  <a:pt x="23207" y="2736"/>
                </a:lnTo>
                <a:lnTo>
                  <a:pt x="21698" y="3585"/>
                </a:lnTo>
                <a:lnTo>
                  <a:pt x="20188" y="4623"/>
                </a:lnTo>
                <a:lnTo>
                  <a:pt x="18679" y="5661"/>
                </a:lnTo>
                <a:lnTo>
                  <a:pt x="17170" y="6793"/>
                </a:lnTo>
                <a:lnTo>
                  <a:pt x="15754" y="8019"/>
                </a:lnTo>
                <a:lnTo>
                  <a:pt x="14434" y="9151"/>
                </a:lnTo>
                <a:lnTo>
                  <a:pt x="11981" y="11510"/>
                </a:lnTo>
                <a:lnTo>
                  <a:pt x="10000" y="13774"/>
                </a:lnTo>
                <a:lnTo>
                  <a:pt x="7736" y="16981"/>
                </a:lnTo>
                <a:lnTo>
                  <a:pt x="8019" y="16321"/>
                </a:lnTo>
                <a:lnTo>
                  <a:pt x="8302" y="15660"/>
                </a:lnTo>
                <a:lnTo>
                  <a:pt x="7736" y="16604"/>
                </a:lnTo>
                <a:lnTo>
                  <a:pt x="7075" y="17642"/>
                </a:lnTo>
                <a:lnTo>
                  <a:pt x="7170" y="17830"/>
                </a:lnTo>
                <a:lnTo>
                  <a:pt x="6509" y="18868"/>
                </a:lnTo>
                <a:lnTo>
                  <a:pt x="7075" y="17359"/>
                </a:lnTo>
                <a:lnTo>
                  <a:pt x="6132" y="19057"/>
                </a:lnTo>
                <a:lnTo>
                  <a:pt x="5189" y="20849"/>
                </a:lnTo>
                <a:lnTo>
                  <a:pt x="4434" y="22736"/>
                </a:lnTo>
                <a:lnTo>
                  <a:pt x="3679" y="24622"/>
                </a:lnTo>
                <a:lnTo>
                  <a:pt x="2453" y="28490"/>
                </a:lnTo>
                <a:lnTo>
                  <a:pt x="1321" y="32169"/>
                </a:lnTo>
                <a:lnTo>
                  <a:pt x="1509" y="32264"/>
                </a:lnTo>
                <a:lnTo>
                  <a:pt x="1604" y="32453"/>
                </a:lnTo>
                <a:lnTo>
                  <a:pt x="1604" y="32641"/>
                </a:lnTo>
                <a:lnTo>
                  <a:pt x="1509" y="32924"/>
                </a:lnTo>
                <a:lnTo>
                  <a:pt x="1226" y="33396"/>
                </a:lnTo>
                <a:lnTo>
                  <a:pt x="1038" y="33585"/>
                </a:lnTo>
                <a:lnTo>
                  <a:pt x="1038" y="33773"/>
                </a:lnTo>
                <a:lnTo>
                  <a:pt x="1038" y="35000"/>
                </a:lnTo>
                <a:lnTo>
                  <a:pt x="849" y="36132"/>
                </a:lnTo>
                <a:lnTo>
                  <a:pt x="660" y="37358"/>
                </a:lnTo>
                <a:lnTo>
                  <a:pt x="472" y="38867"/>
                </a:lnTo>
                <a:lnTo>
                  <a:pt x="283" y="38301"/>
                </a:lnTo>
                <a:lnTo>
                  <a:pt x="94" y="39811"/>
                </a:lnTo>
                <a:lnTo>
                  <a:pt x="0" y="41509"/>
                </a:lnTo>
                <a:lnTo>
                  <a:pt x="94" y="43301"/>
                </a:lnTo>
                <a:lnTo>
                  <a:pt x="283" y="44056"/>
                </a:lnTo>
                <a:lnTo>
                  <a:pt x="472" y="44622"/>
                </a:lnTo>
                <a:lnTo>
                  <a:pt x="566" y="45660"/>
                </a:lnTo>
                <a:lnTo>
                  <a:pt x="755" y="46792"/>
                </a:lnTo>
                <a:lnTo>
                  <a:pt x="1226" y="48962"/>
                </a:lnTo>
                <a:lnTo>
                  <a:pt x="1981" y="51037"/>
                </a:lnTo>
                <a:lnTo>
                  <a:pt x="2924" y="53112"/>
                </a:lnTo>
                <a:lnTo>
                  <a:pt x="4057" y="55094"/>
                </a:lnTo>
                <a:lnTo>
                  <a:pt x="5283" y="56980"/>
                </a:lnTo>
                <a:lnTo>
                  <a:pt x="6698" y="58678"/>
                </a:lnTo>
                <a:lnTo>
                  <a:pt x="8113" y="60282"/>
                </a:lnTo>
                <a:lnTo>
                  <a:pt x="9056" y="61131"/>
                </a:lnTo>
                <a:lnTo>
                  <a:pt x="10000" y="61980"/>
                </a:lnTo>
                <a:lnTo>
                  <a:pt x="11038" y="62829"/>
                </a:lnTo>
                <a:lnTo>
                  <a:pt x="12075" y="63584"/>
                </a:lnTo>
                <a:lnTo>
                  <a:pt x="14339" y="64905"/>
                </a:lnTo>
                <a:lnTo>
                  <a:pt x="16604" y="66131"/>
                </a:lnTo>
                <a:lnTo>
                  <a:pt x="19056" y="67169"/>
                </a:lnTo>
                <a:lnTo>
                  <a:pt x="21509" y="67923"/>
                </a:lnTo>
                <a:lnTo>
                  <a:pt x="24056" y="68584"/>
                </a:lnTo>
                <a:lnTo>
                  <a:pt x="26603" y="69055"/>
                </a:lnTo>
                <a:lnTo>
                  <a:pt x="27830" y="69055"/>
                </a:lnTo>
                <a:lnTo>
                  <a:pt x="30188" y="68867"/>
                </a:lnTo>
                <a:lnTo>
                  <a:pt x="33113" y="68678"/>
                </a:lnTo>
                <a:lnTo>
                  <a:pt x="36509" y="68301"/>
                </a:lnTo>
                <a:lnTo>
                  <a:pt x="39811" y="67923"/>
                </a:lnTo>
                <a:lnTo>
                  <a:pt x="42735" y="67452"/>
                </a:lnTo>
                <a:lnTo>
                  <a:pt x="44905" y="66980"/>
                </a:lnTo>
                <a:lnTo>
                  <a:pt x="45565" y="66791"/>
                </a:lnTo>
                <a:lnTo>
                  <a:pt x="45943" y="66508"/>
                </a:lnTo>
                <a:lnTo>
                  <a:pt x="47358" y="65942"/>
                </a:lnTo>
                <a:lnTo>
                  <a:pt x="48018" y="65565"/>
                </a:lnTo>
                <a:lnTo>
                  <a:pt x="48678" y="65188"/>
                </a:lnTo>
                <a:lnTo>
                  <a:pt x="47924" y="65471"/>
                </a:lnTo>
                <a:lnTo>
                  <a:pt x="51509" y="62924"/>
                </a:lnTo>
                <a:lnTo>
                  <a:pt x="53301" y="61508"/>
                </a:lnTo>
                <a:lnTo>
                  <a:pt x="55093" y="59905"/>
                </a:lnTo>
                <a:lnTo>
                  <a:pt x="55093" y="59905"/>
                </a:lnTo>
                <a:lnTo>
                  <a:pt x="54810" y="60376"/>
                </a:lnTo>
                <a:lnTo>
                  <a:pt x="54339" y="60754"/>
                </a:lnTo>
                <a:lnTo>
                  <a:pt x="55376" y="59999"/>
                </a:lnTo>
                <a:lnTo>
                  <a:pt x="56320" y="59056"/>
                </a:lnTo>
                <a:lnTo>
                  <a:pt x="57075" y="58395"/>
                </a:lnTo>
                <a:lnTo>
                  <a:pt x="57169" y="58207"/>
                </a:lnTo>
                <a:lnTo>
                  <a:pt x="57075" y="58207"/>
                </a:lnTo>
                <a:lnTo>
                  <a:pt x="57924" y="57546"/>
                </a:lnTo>
                <a:lnTo>
                  <a:pt x="58678" y="56697"/>
                </a:lnTo>
                <a:lnTo>
                  <a:pt x="59339" y="55754"/>
                </a:lnTo>
                <a:lnTo>
                  <a:pt x="59905" y="54905"/>
                </a:lnTo>
                <a:lnTo>
                  <a:pt x="59716" y="54999"/>
                </a:lnTo>
                <a:lnTo>
                  <a:pt x="59622" y="54999"/>
                </a:lnTo>
                <a:lnTo>
                  <a:pt x="59810" y="54622"/>
                </a:lnTo>
                <a:lnTo>
                  <a:pt x="59150" y="55565"/>
                </a:lnTo>
                <a:lnTo>
                  <a:pt x="59527" y="55094"/>
                </a:lnTo>
                <a:lnTo>
                  <a:pt x="59433" y="55377"/>
                </a:lnTo>
                <a:lnTo>
                  <a:pt x="58867" y="56037"/>
                </a:lnTo>
                <a:lnTo>
                  <a:pt x="59056" y="55660"/>
                </a:lnTo>
                <a:lnTo>
                  <a:pt x="59056" y="55660"/>
                </a:lnTo>
                <a:lnTo>
                  <a:pt x="58678" y="56037"/>
                </a:lnTo>
                <a:lnTo>
                  <a:pt x="59810" y="54339"/>
                </a:lnTo>
                <a:lnTo>
                  <a:pt x="60282" y="53490"/>
                </a:lnTo>
                <a:lnTo>
                  <a:pt x="60282" y="53301"/>
                </a:lnTo>
                <a:lnTo>
                  <a:pt x="60188" y="53395"/>
                </a:lnTo>
                <a:lnTo>
                  <a:pt x="60188" y="53395"/>
                </a:lnTo>
                <a:lnTo>
                  <a:pt x="60565" y="52924"/>
                </a:lnTo>
                <a:lnTo>
                  <a:pt x="61037" y="52452"/>
                </a:lnTo>
                <a:lnTo>
                  <a:pt x="61886" y="51509"/>
                </a:lnTo>
                <a:lnTo>
                  <a:pt x="61508" y="52452"/>
                </a:lnTo>
                <a:lnTo>
                  <a:pt x="60848" y="53584"/>
                </a:lnTo>
                <a:lnTo>
                  <a:pt x="59622" y="55565"/>
                </a:lnTo>
                <a:lnTo>
                  <a:pt x="60376" y="54528"/>
                </a:lnTo>
                <a:lnTo>
                  <a:pt x="60942" y="53678"/>
                </a:lnTo>
                <a:lnTo>
                  <a:pt x="61980" y="51792"/>
                </a:lnTo>
                <a:lnTo>
                  <a:pt x="61886" y="51886"/>
                </a:lnTo>
                <a:lnTo>
                  <a:pt x="61886" y="51697"/>
                </a:lnTo>
                <a:lnTo>
                  <a:pt x="62169" y="51037"/>
                </a:lnTo>
                <a:lnTo>
                  <a:pt x="62735" y="49999"/>
                </a:lnTo>
                <a:lnTo>
                  <a:pt x="61508" y="51603"/>
                </a:lnTo>
                <a:lnTo>
                  <a:pt x="61603" y="51037"/>
                </a:lnTo>
                <a:lnTo>
                  <a:pt x="61697" y="50377"/>
                </a:lnTo>
                <a:lnTo>
                  <a:pt x="62169" y="48962"/>
                </a:lnTo>
                <a:lnTo>
                  <a:pt x="62829" y="47358"/>
                </a:lnTo>
                <a:lnTo>
                  <a:pt x="63678" y="45565"/>
                </a:lnTo>
                <a:lnTo>
                  <a:pt x="65376" y="42169"/>
                </a:lnTo>
                <a:lnTo>
                  <a:pt x="66131" y="40660"/>
                </a:lnTo>
                <a:lnTo>
                  <a:pt x="66697" y="39339"/>
                </a:lnTo>
                <a:lnTo>
                  <a:pt x="66603" y="39528"/>
                </a:lnTo>
                <a:lnTo>
                  <a:pt x="66697" y="39056"/>
                </a:lnTo>
                <a:lnTo>
                  <a:pt x="66791" y="38962"/>
                </a:lnTo>
                <a:lnTo>
                  <a:pt x="66791" y="39056"/>
                </a:lnTo>
                <a:lnTo>
                  <a:pt x="66886" y="38584"/>
                </a:lnTo>
                <a:lnTo>
                  <a:pt x="66791" y="38867"/>
                </a:lnTo>
                <a:lnTo>
                  <a:pt x="66980" y="38207"/>
                </a:lnTo>
                <a:lnTo>
                  <a:pt x="67169" y="37264"/>
                </a:lnTo>
                <a:lnTo>
                  <a:pt x="67263" y="36415"/>
                </a:lnTo>
                <a:lnTo>
                  <a:pt x="67357" y="36509"/>
                </a:lnTo>
                <a:lnTo>
                  <a:pt x="67452" y="36509"/>
                </a:lnTo>
                <a:lnTo>
                  <a:pt x="67546" y="35943"/>
                </a:lnTo>
                <a:lnTo>
                  <a:pt x="67546" y="34811"/>
                </a:lnTo>
                <a:lnTo>
                  <a:pt x="67640" y="31037"/>
                </a:lnTo>
                <a:lnTo>
                  <a:pt x="67640" y="28490"/>
                </a:lnTo>
                <a:lnTo>
                  <a:pt x="67546" y="27736"/>
                </a:lnTo>
                <a:lnTo>
                  <a:pt x="67546" y="27547"/>
                </a:lnTo>
                <a:lnTo>
                  <a:pt x="67452" y="27547"/>
                </a:lnTo>
                <a:lnTo>
                  <a:pt x="67074" y="26792"/>
                </a:lnTo>
                <a:lnTo>
                  <a:pt x="66791" y="25660"/>
                </a:lnTo>
                <a:lnTo>
                  <a:pt x="66508" y="24528"/>
                </a:lnTo>
                <a:lnTo>
                  <a:pt x="66414" y="23585"/>
                </a:lnTo>
                <a:lnTo>
                  <a:pt x="66320" y="23679"/>
                </a:lnTo>
                <a:lnTo>
                  <a:pt x="66320" y="23490"/>
                </a:lnTo>
                <a:lnTo>
                  <a:pt x="65942" y="22924"/>
                </a:lnTo>
                <a:lnTo>
                  <a:pt x="65565" y="22358"/>
                </a:lnTo>
                <a:lnTo>
                  <a:pt x="64527" y="21132"/>
                </a:lnTo>
                <a:lnTo>
                  <a:pt x="63584" y="19906"/>
                </a:lnTo>
                <a:lnTo>
                  <a:pt x="63207" y="19340"/>
                </a:lnTo>
                <a:lnTo>
                  <a:pt x="63018" y="18774"/>
                </a:lnTo>
                <a:lnTo>
                  <a:pt x="63112" y="18962"/>
                </a:lnTo>
                <a:lnTo>
                  <a:pt x="63301" y="19057"/>
                </a:lnTo>
                <a:lnTo>
                  <a:pt x="63301" y="19057"/>
                </a:lnTo>
                <a:lnTo>
                  <a:pt x="63207" y="18868"/>
                </a:lnTo>
                <a:lnTo>
                  <a:pt x="62923" y="18491"/>
                </a:lnTo>
                <a:lnTo>
                  <a:pt x="61980" y="17453"/>
                </a:lnTo>
                <a:lnTo>
                  <a:pt x="61037" y="16509"/>
                </a:lnTo>
                <a:lnTo>
                  <a:pt x="61037" y="16698"/>
                </a:lnTo>
                <a:lnTo>
                  <a:pt x="61037" y="16887"/>
                </a:lnTo>
                <a:lnTo>
                  <a:pt x="60093" y="15943"/>
                </a:lnTo>
                <a:lnTo>
                  <a:pt x="60376" y="16321"/>
                </a:lnTo>
                <a:lnTo>
                  <a:pt x="59527" y="15377"/>
                </a:lnTo>
                <a:lnTo>
                  <a:pt x="59056" y="14906"/>
                </a:lnTo>
                <a:lnTo>
                  <a:pt x="59244" y="14906"/>
                </a:lnTo>
                <a:lnTo>
                  <a:pt x="59905" y="15472"/>
                </a:lnTo>
                <a:lnTo>
                  <a:pt x="59905" y="15472"/>
                </a:lnTo>
                <a:lnTo>
                  <a:pt x="57641" y="13396"/>
                </a:lnTo>
                <a:lnTo>
                  <a:pt x="58112" y="13868"/>
                </a:lnTo>
                <a:lnTo>
                  <a:pt x="56886" y="13019"/>
                </a:lnTo>
                <a:lnTo>
                  <a:pt x="55754" y="12453"/>
                </a:lnTo>
                <a:lnTo>
                  <a:pt x="56603" y="13113"/>
                </a:lnTo>
                <a:lnTo>
                  <a:pt x="57452" y="13774"/>
                </a:lnTo>
                <a:lnTo>
                  <a:pt x="58961" y="15283"/>
                </a:lnTo>
                <a:lnTo>
                  <a:pt x="60376" y="16604"/>
                </a:lnTo>
                <a:lnTo>
                  <a:pt x="61225" y="17264"/>
                </a:lnTo>
                <a:lnTo>
                  <a:pt x="62074" y="17925"/>
                </a:lnTo>
                <a:lnTo>
                  <a:pt x="62074" y="17925"/>
                </a:lnTo>
                <a:lnTo>
                  <a:pt x="61414" y="17547"/>
                </a:lnTo>
                <a:lnTo>
                  <a:pt x="60659" y="16981"/>
                </a:lnTo>
                <a:lnTo>
                  <a:pt x="60754" y="17264"/>
                </a:lnTo>
                <a:lnTo>
                  <a:pt x="60942" y="17642"/>
                </a:lnTo>
                <a:lnTo>
                  <a:pt x="61980" y="19151"/>
                </a:lnTo>
                <a:lnTo>
                  <a:pt x="63301" y="20943"/>
                </a:lnTo>
                <a:lnTo>
                  <a:pt x="63207" y="20943"/>
                </a:lnTo>
                <a:lnTo>
                  <a:pt x="63395" y="21038"/>
                </a:lnTo>
                <a:lnTo>
                  <a:pt x="63490" y="21321"/>
                </a:lnTo>
                <a:lnTo>
                  <a:pt x="63678" y="21604"/>
                </a:lnTo>
                <a:lnTo>
                  <a:pt x="63773" y="21698"/>
                </a:lnTo>
                <a:lnTo>
                  <a:pt x="63584" y="21321"/>
                </a:lnTo>
                <a:lnTo>
                  <a:pt x="63584" y="21321"/>
                </a:lnTo>
                <a:lnTo>
                  <a:pt x="64244" y="22170"/>
                </a:lnTo>
                <a:lnTo>
                  <a:pt x="64716" y="22641"/>
                </a:lnTo>
                <a:lnTo>
                  <a:pt x="64905" y="22830"/>
                </a:lnTo>
                <a:lnTo>
                  <a:pt x="64999" y="22830"/>
                </a:lnTo>
                <a:lnTo>
                  <a:pt x="64999" y="22641"/>
                </a:lnTo>
                <a:lnTo>
                  <a:pt x="64905" y="22358"/>
                </a:lnTo>
                <a:lnTo>
                  <a:pt x="65282" y="23207"/>
                </a:lnTo>
                <a:lnTo>
                  <a:pt x="65565" y="24056"/>
                </a:lnTo>
                <a:lnTo>
                  <a:pt x="66225" y="25943"/>
                </a:lnTo>
                <a:lnTo>
                  <a:pt x="66697" y="27830"/>
                </a:lnTo>
                <a:lnTo>
                  <a:pt x="66886" y="28490"/>
                </a:lnTo>
                <a:lnTo>
                  <a:pt x="66980" y="28868"/>
                </a:lnTo>
                <a:lnTo>
                  <a:pt x="66886" y="28962"/>
                </a:lnTo>
                <a:lnTo>
                  <a:pt x="66697" y="28679"/>
                </a:lnTo>
                <a:lnTo>
                  <a:pt x="66697" y="29245"/>
                </a:lnTo>
                <a:lnTo>
                  <a:pt x="66791" y="29905"/>
                </a:lnTo>
                <a:lnTo>
                  <a:pt x="66886" y="29905"/>
                </a:lnTo>
                <a:lnTo>
                  <a:pt x="66886" y="30094"/>
                </a:lnTo>
                <a:lnTo>
                  <a:pt x="66886" y="30566"/>
                </a:lnTo>
                <a:lnTo>
                  <a:pt x="66697" y="30377"/>
                </a:lnTo>
                <a:lnTo>
                  <a:pt x="66603" y="30188"/>
                </a:lnTo>
                <a:lnTo>
                  <a:pt x="66603" y="30094"/>
                </a:lnTo>
                <a:lnTo>
                  <a:pt x="66697" y="29905"/>
                </a:lnTo>
                <a:lnTo>
                  <a:pt x="66508" y="28679"/>
                </a:lnTo>
                <a:lnTo>
                  <a:pt x="66225" y="27358"/>
                </a:lnTo>
                <a:lnTo>
                  <a:pt x="66603" y="30283"/>
                </a:lnTo>
                <a:lnTo>
                  <a:pt x="66697" y="31792"/>
                </a:lnTo>
                <a:lnTo>
                  <a:pt x="66697" y="33302"/>
                </a:lnTo>
                <a:lnTo>
                  <a:pt x="66603" y="34717"/>
                </a:lnTo>
                <a:lnTo>
                  <a:pt x="66414" y="36226"/>
                </a:lnTo>
                <a:lnTo>
                  <a:pt x="66131" y="37547"/>
                </a:lnTo>
                <a:lnTo>
                  <a:pt x="65659" y="38962"/>
                </a:lnTo>
                <a:lnTo>
                  <a:pt x="65848" y="38584"/>
                </a:lnTo>
                <a:lnTo>
                  <a:pt x="65942" y="38584"/>
                </a:lnTo>
                <a:lnTo>
                  <a:pt x="65848" y="39245"/>
                </a:lnTo>
                <a:lnTo>
                  <a:pt x="65565" y="40188"/>
                </a:lnTo>
                <a:lnTo>
                  <a:pt x="65471" y="40471"/>
                </a:lnTo>
                <a:lnTo>
                  <a:pt x="65282" y="40660"/>
                </a:lnTo>
                <a:lnTo>
                  <a:pt x="65282" y="40566"/>
                </a:lnTo>
                <a:lnTo>
                  <a:pt x="65093" y="41132"/>
                </a:lnTo>
                <a:lnTo>
                  <a:pt x="64433" y="43018"/>
                </a:lnTo>
                <a:lnTo>
                  <a:pt x="63678" y="45282"/>
                </a:lnTo>
                <a:lnTo>
                  <a:pt x="62735" y="47264"/>
                </a:lnTo>
                <a:lnTo>
                  <a:pt x="61697" y="49056"/>
                </a:lnTo>
                <a:lnTo>
                  <a:pt x="60659" y="50943"/>
                </a:lnTo>
                <a:lnTo>
                  <a:pt x="59433" y="52735"/>
                </a:lnTo>
                <a:lnTo>
                  <a:pt x="58207" y="54433"/>
                </a:lnTo>
                <a:lnTo>
                  <a:pt x="56886" y="56037"/>
                </a:lnTo>
                <a:lnTo>
                  <a:pt x="55376" y="57641"/>
                </a:lnTo>
                <a:lnTo>
                  <a:pt x="53867" y="59150"/>
                </a:lnTo>
                <a:lnTo>
                  <a:pt x="52169" y="60376"/>
                </a:lnTo>
                <a:lnTo>
                  <a:pt x="48961" y="62452"/>
                </a:lnTo>
                <a:lnTo>
                  <a:pt x="44528" y="65282"/>
                </a:lnTo>
                <a:lnTo>
                  <a:pt x="44622" y="65188"/>
                </a:lnTo>
                <a:lnTo>
                  <a:pt x="44716" y="65093"/>
                </a:lnTo>
                <a:lnTo>
                  <a:pt x="45094" y="64810"/>
                </a:lnTo>
                <a:lnTo>
                  <a:pt x="45660" y="64527"/>
                </a:lnTo>
                <a:lnTo>
                  <a:pt x="43867" y="65376"/>
                </a:lnTo>
                <a:lnTo>
                  <a:pt x="43113" y="65754"/>
                </a:lnTo>
                <a:lnTo>
                  <a:pt x="42924" y="65754"/>
                </a:lnTo>
                <a:lnTo>
                  <a:pt x="43113" y="65659"/>
                </a:lnTo>
                <a:lnTo>
                  <a:pt x="41603" y="66037"/>
                </a:lnTo>
                <a:lnTo>
                  <a:pt x="39999" y="66320"/>
                </a:lnTo>
                <a:lnTo>
                  <a:pt x="38396" y="66508"/>
                </a:lnTo>
                <a:lnTo>
                  <a:pt x="36792" y="66697"/>
                </a:lnTo>
                <a:lnTo>
                  <a:pt x="33584" y="66980"/>
                </a:lnTo>
                <a:lnTo>
                  <a:pt x="32169" y="67169"/>
                </a:lnTo>
                <a:lnTo>
                  <a:pt x="30754" y="67357"/>
                </a:lnTo>
                <a:lnTo>
                  <a:pt x="30094" y="67357"/>
                </a:lnTo>
                <a:lnTo>
                  <a:pt x="29339" y="67263"/>
                </a:lnTo>
                <a:lnTo>
                  <a:pt x="27830" y="66886"/>
                </a:lnTo>
                <a:lnTo>
                  <a:pt x="26415" y="66508"/>
                </a:lnTo>
                <a:lnTo>
                  <a:pt x="25754" y="66414"/>
                </a:lnTo>
                <a:lnTo>
                  <a:pt x="25094" y="66414"/>
                </a:lnTo>
                <a:lnTo>
                  <a:pt x="25566" y="66980"/>
                </a:lnTo>
                <a:lnTo>
                  <a:pt x="25471" y="67074"/>
                </a:lnTo>
                <a:lnTo>
                  <a:pt x="25188" y="66980"/>
                </a:lnTo>
                <a:lnTo>
                  <a:pt x="24339" y="66791"/>
                </a:lnTo>
                <a:lnTo>
                  <a:pt x="23773" y="66508"/>
                </a:lnTo>
                <a:lnTo>
                  <a:pt x="24245" y="66414"/>
                </a:lnTo>
                <a:lnTo>
                  <a:pt x="24717" y="66603"/>
                </a:lnTo>
                <a:lnTo>
                  <a:pt x="24811" y="66414"/>
                </a:lnTo>
                <a:lnTo>
                  <a:pt x="24811" y="66320"/>
                </a:lnTo>
                <a:lnTo>
                  <a:pt x="24717" y="66225"/>
                </a:lnTo>
                <a:lnTo>
                  <a:pt x="24528" y="66131"/>
                </a:lnTo>
                <a:lnTo>
                  <a:pt x="24151" y="66225"/>
                </a:lnTo>
                <a:lnTo>
                  <a:pt x="23679" y="66320"/>
                </a:lnTo>
                <a:lnTo>
                  <a:pt x="23018" y="66414"/>
                </a:lnTo>
                <a:lnTo>
                  <a:pt x="23490" y="66225"/>
                </a:lnTo>
                <a:lnTo>
                  <a:pt x="22075" y="65942"/>
                </a:lnTo>
                <a:lnTo>
                  <a:pt x="20943" y="65659"/>
                </a:lnTo>
                <a:lnTo>
                  <a:pt x="20000" y="65282"/>
                </a:lnTo>
                <a:lnTo>
                  <a:pt x="19056" y="64810"/>
                </a:lnTo>
                <a:lnTo>
                  <a:pt x="19056" y="64810"/>
                </a:lnTo>
                <a:lnTo>
                  <a:pt x="19717" y="64999"/>
                </a:lnTo>
                <a:lnTo>
                  <a:pt x="19151" y="64716"/>
                </a:lnTo>
                <a:lnTo>
                  <a:pt x="18962" y="64810"/>
                </a:lnTo>
                <a:lnTo>
                  <a:pt x="19151" y="64905"/>
                </a:lnTo>
                <a:lnTo>
                  <a:pt x="18490" y="64905"/>
                </a:lnTo>
                <a:lnTo>
                  <a:pt x="17830" y="64716"/>
                </a:lnTo>
                <a:lnTo>
                  <a:pt x="17264" y="64527"/>
                </a:lnTo>
                <a:lnTo>
                  <a:pt x="16698" y="64150"/>
                </a:lnTo>
                <a:lnTo>
                  <a:pt x="16981" y="64056"/>
                </a:lnTo>
                <a:lnTo>
                  <a:pt x="17264" y="64150"/>
                </a:lnTo>
                <a:lnTo>
                  <a:pt x="17264" y="64150"/>
                </a:lnTo>
                <a:lnTo>
                  <a:pt x="15188" y="63207"/>
                </a:lnTo>
                <a:lnTo>
                  <a:pt x="14622" y="62829"/>
                </a:lnTo>
                <a:lnTo>
                  <a:pt x="14717" y="62924"/>
                </a:lnTo>
                <a:lnTo>
                  <a:pt x="13773" y="62546"/>
                </a:lnTo>
                <a:lnTo>
                  <a:pt x="12924" y="62075"/>
                </a:lnTo>
                <a:lnTo>
                  <a:pt x="12358" y="61697"/>
                </a:lnTo>
                <a:lnTo>
                  <a:pt x="12264" y="61508"/>
                </a:lnTo>
                <a:lnTo>
                  <a:pt x="12170" y="61320"/>
                </a:lnTo>
                <a:lnTo>
                  <a:pt x="11698" y="60942"/>
                </a:lnTo>
                <a:lnTo>
                  <a:pt x="11132" y="60471"/>
                </a:lnTo>
                <a:lnTo>
                  <a:pt x="9906" y="59244"/>
                </a:lnTo>
                <a:lnTo>
                  <a:pt x="9906" y="59244"/>
                </a:lnTo>
                <a:lnTo>
                  <a:pt x="10566" y="59527"/>
                </a:lnTo>
                <a:lnTo>
                  <a:pt x="9434" y="58584"/>
                </a:lnTo>
                <a:lnTo>
                  <a:pt x="8207" y="57546"/>
                </a:lnTo>
                <a:lnTo>
                  <a:pt x="7547" y="56886"/>
                </a:lnTo>
                <a:lnTo>
                  <a:pt x="6981" y="56131"/>
                </a:lnTo>
                <a:lnTo>
                  <a:pt x="6226" y="55094"/>
                </a:lnTo>
                <a:lnTo>
                  <a:pt x="6415" y="55377"/>
                </a:lnTo>
                <a:lnTo>
                  <a:pt x="6038" y="54905"/>
                </a:lnTo>
                <a:lnTo>
                  <a:pt x="5472" y="54244"/>
                </a:lnTo>
                <a:lnTo>
                  <a:pt x="5283" y="53961"/>
                </a:lnTo>
                <a:lnTo>
                  <a:pt x="5094" y="53867"/>
                </a:lnTo>
                <a:lnTo>
                  <a:pt x="5377" y="54622"/>
                </a:lnTo>
                <a:lnTo>
                  <a:pt x="5849" y="55282"/>
                </a:lnTo>
                <a:lnTo>
                  <a:pt x="6321" y="55943"/>
                </a:lnTo>
                <a:lnTo>
                  <a:pt x="6698" y="56603"/>
                </a:lnTo>
                <a:lnTo>
                  <a:pt x="6226" y="56226"/>
                </a:lnTo>
                <a:lnTo>
                  <a:pt x="5943" y="55848"/>
                </a:lnTo>
                <a:lnTo>
                  <a:pt x="6038" y="56037"/>
                </a:lnTo>
                <a:lnTo>
                  <a:pt x="5943" y="55943"/>
                </a:lnTo>
                <a:lnTo>
                  <a:pt x="5377" y="55188"/>
                </a:lnTo>
                <a:lnTo>
                  <a:pt x="5000" y="54716"/>
                </a:lnTo>
                <a:lnTo>
                  <a:pt x="4717" y="54150"/>
                </a:lnTo>
                <a:lnTo>
                  <a:pt x="4528" y="53678"/>
                </a:lnTo>
                <a:lnTo>
                  <a:pt x="4528" y="53584"/>
                </a:lnTo>
                <a:lnTo>
                  <a:pt x="4623" y="53395"/>
                </a:lnTo>
                <a:lnTo>
                  <a:pt x="5094" y="54244"/>
                </a:lnTo>
                <a:lnTo>
                  <a:pt x="4717" y="53301"/>
                </a:lnTo>
                <a:lnTo>
                  <a:pt x="4528" y="53018"/>
                </a:lnTo>
                <a:lnTo>
                  <a:pt x="4151" y="52263"/>
                </a:lnTo>
                <a:lnTo>
                  <a:pt x="4151" y="52169"/>
                </a:lnTo>
                <a:lnTo>
                  <a:pt x="3774" y="51509"/>
                </a:lnTo>
                <a:lnTo>
                  <a:pt x="3396" y="50660"/>
                </a:lnTo>
                <a:lnTo>
                  <a:pt x="3585" y="51603"/>
                </a:lnTo>
                <a:lnTo>
                  <a:pt x="3396" y="51226"/>
                </a:lnTo>
                <a:lnTo>
                  <a:pt x="3208" y="50848"/>
                </a:lnTo>
                <a:lnTo>
                  <a:pt x="3208" y="50471"/>
                </a:lnTo>
                <a:lnTo>
                  <a:pt x="3208" y="50094"/>
                </a:lnTo>
                <a:lnTo>
                  <a:pt x="3585" y="50754"/>
                </a:lnTo>
                <a:lnTo>
                  <a:pt x="3868" y="51509"/>
                </a:lnTo>
                <a:lnTo>
                  <a:pt x="3868" y="51509"/>
                </a:lnTo>
                <a:lnTo>
                  <a:pt x="3208" y="49528"/>
                </a:lnTo>
                <a:lnTo>
                  <a:pt x="3208" y="49528"/>
                </a:lnTo>
                <a:lnTo>
                  <a:pt x="3868" y="50754"/>
                </a:lnTo>
                <a:lnTo>
                  <a:pt x="3208" y="48962"/>
                </a:lnTo>
                <a:lnTo>
                  <a:pt x="3585" y="49339"/>
                </a:lnTo>
                <a:lnTo>
                  <a:pt x="3774" y="49433"/>
                </a:lnTo>
                <a:lnTo>
                  <a:pt x="3962" y="49528"/>
                </a:lnTo>
                <a:lnTo>
                  <a:pt x="4057" y="49905"/>
                </a:lnTo>
                <a:lnTo>
                  <a:pt x="3868" y="48962"/>
                </a:lnTo>
                <a:lnTo>
                  <a:pt x="3491" y="47924"/>
                </a:lnTo>
                <a:lnTo>
                  <a:pt x="2641" y="45565"/>
                </a:lnTo>
                <a:lnTo>
                  <a:pt x="2170" y="43867"/>
                </a:lnTo>
                <a:lnTo>
                  <a:pt x="1698" y="41886"/>
                </a:lnTo>
                <a:lnTo>
                  <a:pt x="1698" y="41886"/>
                </a:lnTo>
                <a:lnTo>
                  <a:pt x="1887" y="42075"/>
                </a:lnTo>
                <a:lnTo>
                  <a:pt x="1981" y="41981"/>
                </a:lnTo>
                <a:lnTo>
                  <a:pt x="2075" y="42075"/>
                </a:lnTo>
                <a:lnTo>
                  <a:pt x="2264" y="42169"/>
                </a:lnTo>
                <a:lnTo>
                  <a:pt x="2170" y="40283"/>
                </a:lnTo>
                <a:lnTo>
                  <a:pt x="2075" y="38301"/>
                </a:lnTo>
                <a:lnTo>
                  <a:pt x="2170" y="36415"/>
                </a:lnTo>
                <a:lnTo>
                  <a:pt x="2358" y="35566"/>
                </a:lnTo>
                <a:lnTo>
                  <a:pt x="2453" y="34811"/>
                </a:lnTo>
                <a:lnTo>
                  <a:pt x="2830" y="32830"/>
                </a:lnTo>
                <a:lnTo>
                  <a:pt x="2830" y="33207"/>
                </a:lnTo>
                <a:lnTo>
                  <a:pt x="2924" y="33490"/>
                </a:lnTo>
                <a:lnTo>
                  <a:pt x="2924" y="32453"/>
                </a:lnTo>
                <a:lnTo>
                  <a:pt x="3019" y="31415"/>
                </a:lnTo>
                <a:lnTo>
                  <a:pt x="3396" y="29245"/>
                </a:lnTo>
                <a:lnTo>
                  <a:pt x="3868" y="27075"/>
                </a:lnTo>
                <a:lnTo>
                  <a:pt x="4623" y="25000"/>
                </a:lnTo>
                <a:lnTo>
                  <a:pt x="5566" y="22830"/>
                </a:lnTo>
                <a:lnTo>
                  <a:pt x="6604" y="20849"/>
                </a:lnTo>
                <a:lnTo>
                  <a:pt x="7830" y="18868"/>
                </a:lnTo>
                <a:lnTo>
                  <a:pt x="9151" y="16887"/>
                </a:lnTo>
                <a:lnTo>
                  <a:pt x="10566" y="15094"/>
                </a:lnTo>
                <a:lnTo>
                  <a:pt x="12075" y="13302"/>
                </a:lnTo>
                <a:lnTo>
                  <a:pt x="13773" y="11698"/>
                </a:lnTo>
                <a:lnTo>
                  <a:pt x="15377" y="10095"/>
                </a:lnTo>
                <a:lnTo>
                  <a:pt x="17170" y="8679"/>
                </a:lnTo>
                <a:lnTo>
                  <a:pt x="18962" y="7453"/>
                </a:lnTo>
                <a:lnTo>
                  <a:pt x="20754" y="6321"/>
                </a:lnTo>
                <a:lnTo>
                  <a:pt x="22547" y="5378"/>
                </a:lnTo>
                <a:lnTo>
                  <a:pt x="21603" y="6227"/>
                </a:lnTo>
                <a:lnTo>
                  <a:pt x="22641" y="5472"/>
                </a:lnTo>
                <a:lnTo>
                  <a:pt x="23302" y="5095"/>
                </a:lnTo>
                <a:lnTo>
                  <a:pt x="25377" y="4151"/>
                </a:lnTo>
                <a:lnTo>
                  <a:pt x="24811" y="4151"/>
                </a:lnTo>
                <a:lnTo>
                  <a:pt x="25660" y="3774"/>
                </a:lnTo>
                <a:lnTo>
                  <a:pt x="26886" y="3208"/>
                </a:lnTo>
                <a:lnTo>
                  <a:pt x="26603" y="3585"/>
                </a:lnTo>
                <a:lnTo>
                  <a:pt x="26886" y="3585"/>
                </a:lnTo>
                <a:lnTo>
                  <a:pt x="26886" y="3680"/>
                </a:lnTo>
                <a:lnTo>
                  <a:pt x="26792" y="3774"/>
                </a:lnTo>
                <a:lnTo>
                  <a:pt x="28301" y="3302"/>
                </a:lnTo>
                <a:lnTo>
                  <a:pt x="29622" y="2736"/>
                </a:lnTo>
                <a:lnTo>
                  <a:pt x="31037" y="2264"/>
                </a:lnTo>
                <a:lnTo>
                  <a:pt x="31792" y="2076"/>
                </a:lnTo>
                <a:lnTo>
                  <a:pt x="32641" y="1981"/>
                </a:lnTo>
                <a:lnTo>
                  <a:pt x="32547" y="2076"/>
                </a:lnTo>
                <a:lnTo>
                  <a:pt x="32924" y="1981"/>
                </a:lnTo>
                <a:lnTo>
                  <a:pt x="34245" y="1793"/>
                </a:lnTo>
                <a:lnTo>
                  <a:pt x="35848" y="1415"/>
                </a:lnTo>
                <a:lnTo>
                  <a:pt x="36981" y="1132"/>
                </a:lnTo>
                <a:lnTo>
                  <a:pt x="36981" y="1415"/>
                </a:lnTo>
                <a:lnTo>
                  <a:pt x="40943" y="1227"/>
                </a:lnTo>
                <a:lnTo>
                  <a:pt x="41509" y="1038"/>
                </a:lnTo>
                <a:lnTo>
                  <a:pt x="41697" y="1132"/>
                </a:lnTo>
                <a:lnTo>
                  <a:pt x="41509" y="1227"/>
                </a:lnTo>
                <a:lnTo>
                  <a:pt x="41320" y="1321"/>
                </a:lnTo>
                <a:lnTo>
                  <a:pt x="42263" y="1321"/>
                </a:lnTo>
                <a:lnTo>
                  <a:pt x="43113" y="1227"/>
                </a:lnTo>
                <a:lnTo>
                  <a:pt x="43396" y="1415"/>
                </a:lnTo>
                <a:lnTo>
                  <a:pt x="44056" y="1604"/>
                </a:lnTo>
                <a:lnTo>
                  <a:pt x="45943" y="2076"/>
                </a:lnTo>
                <a:lnTo>
                  <a:pt x="48018" y="2359"/>
                </a:lnTo>
                <a:lnTo>
                  <a:pt x="49622" y="2736"/>
                </a:lnTo>
                <a:lnTo>
                  <a:pt x="47641" y="1981"/>
                </a:lnTo>
                <a:lnTo>
                  <a:pt x="45282" y="1321"/>
                </a:lnTo>
                <a:lnTo>
                  <a:pt x="42735" y="755"/>
                </a:lnTo>
                <a:lnTo>
                  <a:pt x="40188" y="283"/>
                </a:lnTo>
                <a:lnTo>
                  <a:pt x="37735" y="95"/>
                </a:lnTo>
                <a:lnTo>
                  <a:pt x="35471" y="0"/>
                </a:lnTo>
                <a:close/>
              </a:path>
            </a:pathLst>
          </a:custGeom>
          <a:solidFill>
            <a:srgbClr val="C5277F"/>
          </a:solidFill>
          <a:ln>
            <a:noFill/>
          </a:ln>
        </p:spPr>
        <p:txBody>
          <a:bodyPr spcFirstLastPara="1" wrap="square" lIns="91425" tIns="91425" rIns="91425" bIns="91425" anchor="ctr" anchorCtr="0">
            <a:noAutofit/>
          </a:bodyPr>
          <a:lstStyle/>
          <a:p>
            <a:pPr marL="0" lvl="0" indent="0">
              <a:spcBef>
                <a:spcPts val="0"/>
              </a:spcBef>
              <a:spcAft>
                <a:spcPts val="0"/>
              </a:spcAft>
              <a:buNone/>
            </a:pPr>
            <a:endParaRPr sz="1200" dirty="0">
              <a:latin typeface="Comic Sans MS" panose="030F0902030302020204" pitchFamily="66" charset="0"/>
            </a:endParaRPr>
          </a:p>
        </p:txBody>
      </p:sp>
      <p:sp>
        <p:nvSpPr>
          <p:cNvPr id="41" name="Google Shape;431;p39">
            <a:extLst>
              <a:ext uri="{FF2B5EF4-FFF2-40B4-BE49-F238E27FC236}">
                <a16:creationId xmlns:a16="http://schemas.microsoft.com/office/drawing/2014/main" id="{43D5CB9B-0DB4-D24A-9D18-E73F79CAB37C}"/>
              </a:ext>
            </a:extLst>
          </p:cNvPr>
          <p:cNvSpPr/>
          <p:nvPr/>
        </p:nvSpPr>
        <p:spPr>
          <a:xfrm rot="21011211">
            <a:off x="6557995" y="4511102"/>
            <a:ext cx="118019" cy="139785"/>
          </a:xfrm>
          <a:custGeom>
            <a:avLst/>
            <a:gdLst/>
            <a:ahLst/>
            <a:cxnLst/>
            <a:rect l="0" t="0" r="0" b="0"/>
            <a:pathLst>
              <a:path w="67641" h="69056" extrusionOk="0">
                <a:moveTo>
                  <a:pt x="49622" y="2736"/>
                </a:moveTo>
                <a:lnTo>
                  <a:pt x="49622" y="2736"/>
                </a:lnTo>
                <a:lnTo>
                  <a:pt x="49622" y="2736"/>
                </a:lnTo>
                <a:close/>
                <a:moveTo>
                  <a:pt x="59622" y="55565"/>
                </a:moveTo>
                <a:lnTo>
                  <a:pt x="59622" y="55565"/>
                </a:lnTo>
                <a:lnTo>
                  <a:pt x="59622" y="55565"/>
                </a:lnTo>
                <a:close/>
                <a:moveTo>
                  <a:pt x="35471" y="0"/>
                </a:moveTo>
                <a:lnTo>
                  <a:pt x="34433" y="95"/>
                </a:lnTo>
                <a:lnTo>
                  <a:pt x="33584" y="189"/>
                </a:lnTo>
                <a:lnTo>
                  <a:pt x="32735" y="378"/>
                </a:lnTo>
                <a:lnTo>
                  <a:pt x="32169" y="566"/>
                </a:lnTo>
                <a:lnTo>
                  <a:pt x="31509" y="472"/>
                </a:lnTo>
                <a:lnTo>
                  <a:pt x="30754" y="472"/>
                </a:lnTo>
                <a:lnTo>
                  <a:pt x="29339" y="566"/>
                </a:lnTo>
                <a:lnTo>
                  <a:pt x="27830" y="849"/>
                </a:lnTo>
                <a:lnTo>
                  <a:pt x="26320" y="1321"/>
                </a:lnTo>
                <a:lnTo>
                  <a:pt x="24811" y="1981"/>
                </a:lnTo>
                <a:lnTo>
                  <a:pt x="23207" y="2736"/>
                </a:lnTo>
                <a:lnTo>
                  <a:pt x="21698" y="3585"/>
                </a:lnTo>
                <a:lnTo>
                  <a:pt x="20188" y="4623"/>
                </a:lnTo>
                <a:lnTo>
                  <a:pt x="18679" y="5661"/>
                </a:lnTo>
                <a:lnTo>
                  <a:pt x="17170" y="6793"/>
                </a:lnTo>
                <a:lnTo>
                  <a:pt x="15754" y="8019"/>
                </a:lnTo>
                <a:lnTo>
                  <a:pt x="14434" y="9151"/>
                </a:lnTo>
                <a:lnTo>
                  <a:pt x="11981" y="11510"/>
                </a:lnTo>
                <a:lnTo>
                  <a:pt x="10000" y="13774"/>
                </a:lnTo>
                <a:lnTo>
                  <a:pt x="7736" y="16981"/>
                </a:lnTo>
                <a:lnTo>
                  <a:pt x="8019" y="16321"/>
                </a:lnTo>
                <a:lnTo>
                  <a:pt x="8302" y="15660"/>
                </a:lnTo>
                <a:lnTo>
                  <a:pt x="7736" y="16604"/>
                </a:lnTo>
                <a:lnTo>
                  <a:pt x="7075" y="17642"/>
                </a:lnTo>
                <a:lnTo>
                  <a:pt x="7170" y="17830"/>
                </a:lnTo>
                <a:lnTo>
                  <a:pt x="6509" y="18868"/>
                </a:lnTo>
                <a:lnTo>
                  <a:pt x="7075" y="17359"/>
                </a:lnTo>
                <a:lnTo>
                  <a:pt x="6132" y="19057"/>
                </a:lnTo>
                <a:lnTo>
                  <a:pt x="5189" y="20849"/>
                </a:lnTo>
                <a:lnTo>
                  <a:pt x="4434" y="22736"/>
                </a:lnTo>
                <a:lnTo>
                  <a:pt x="3679" y="24622"/>
                </a:lnTo>
                <a:lnTo>
                  <a:pt x="2453" y="28490"/>
                </a:lnTo>
                <a:lnTo>
                  <a:pt x="1321" y="32169"/>
                </a:lnTo>
                <a:lnTo>
                  <a:pt x="1509" y="32264"/>
                </a:lnTo>
                <a:lnTo>
                  <a:pt x="1604" y="32453"/>
                </a:lnTo>
                <a:lnTo>
                  <a:pt x="1604" y="32641"/>
                </a:lnTo>
                <a:lnTo>
                  <a:pt x="1509" y="32924"/>
                </a:lnTo>
                <a:lnTo>
                  <a:pt x="1226" y="33396"/>
                </a:lnTo>
                <a:lnTo>
                  <a:pt x="1038" y="33585"/>
                </a:lnTo>
                <a:lnTo>
                  <a:pt x="1038" y="33773"/>
                </a:lnTo>
                <a:lnTo>
                  <a:pt x="1038" y="35000"/>
                </a:lnTo>
                <a:lnTo>
                  <a:pt x="849" y="36132"/>
                </a:lnTo>
                <a:lnTo>
                  <a:pt x="660" y="37358"/>
                </a:lnTo>
                <a:lnTo>
                  <a:pt x="472" y="38867"/>
                </a:lnTo>
                <a:lnTo>
                  <a:pt x="283" y="38301"/>
                </a:lnTo>
                <a:lnTo>
                  <a:pt x="94" y="39811"/>
                </a:lnTo>
                <a:lnTo>
                  <a:pt x="0" y="41509"/>
                </a:lnTo>
                <a:lnTo>
                  <a:pt x="94" y="43301"/>
                </a:lnTo>
                <a:lnTo>
                  <a:pt x="283" y="44056"/>
                </a:lnTo>
                <a:lnTo>
                  <a:pt x="472" y="44622"/>
                </a:lnTo>
                <a:lnTo>
                  <a:pt x="566" y="45660"/>
                </a:lnTo>
                <a:lnTo>
                  <a:pt x="755" y="46792"/>
                </a:lnTo>
                <a:lnTo>
                  <a:pt x="1226" y="48962"/>
                </a:lnTo>
                <a:lnTo>
                  <a:pt x="1981" y="51037"/>
                </a:lnTo>
                <a:lnTo>
                  <a:pt x="2924" y="53112"/>
                </a:lnTo>
                <a:lnTo>
                  <a:pt x="4057" y="55094"/>
                </a:lnTo>
                <a:lnTo>
                  <a:pt x="5283" y="56980"/>
                </a:lnTo>
                <a:lnTo>
                  <a:pt x="6698" y="58678"/>
                </a:lnTo>
                <a:lnTo>
                  <a:pt x="8113" y="60282"/>
                </a:lnTo>
                <a:lnTo>
                  <a:pt x="9056" y="61131"/>
                </a:lnTo>
                <a:lnTo>
                  <a:pt x="10000" y="61980"/>
                </a:lnTo>
                <a:lnTo>
                  <a:pt x="11038" y="62829"/>
                </a:lnTo>
                <a:lnTo>
                  <a:pt x="12075" y="63584"/>
                </a:lnTo>
                <a:lnTo>
                  <a:pt x="14339" y="64905"/>
                </a:lnTo>
                <a:lnTo>
                  <a:pt x="16604" y="66131"/>
                </a:lnTo>
                <a:lnTo>
                  <a:pt x="19056" y="67169"/>
                </a:lnTo>
                <a:lnTo>
                  <a:pt x="21509" y="67923"/>
                </a:lnTo>
                <a:lnTo>
                  <a:pt x="24056" y="68584"/>
                </a:lnTo>
                <a:lnTo>
                  <a:pt x="26603" y="69055"/>
                </a:lnTo>
                <a:lnTo>
                  <a:pt x="27830" y="69055"/>
                </a:lnTo>
                <a:lnTo>
                  <a:pt x="30188" y="68867"/>
                </a:lnTo>
                <a:lnTo>
                  <a:pt x="33113" y="68678"/>
                </a:lnTo>
                <a:lnTo>
                  <a:pt x="36509" y="68301"/>
                </a:lnTo>
                <a:lnTo>
                  <a:pt x="39811" y="67923"/>
                </a:lnTo>
                <a:lnTo>
                  <a:pt x="42735" y="67452"/>
                </a:lnTo>
                <a:lnTo>
                  <a:pt x="44905" y="66980"/>
                </a:lnTo>
                <a:lnTo>
                  <a:pt x="45565" y="66791"/>
                </a:lnTo>
                <a:lnTo>
                  <a:pt x="45943" y="66508"/>
                </a:lnTo>
                <a:lnTo>
                  <a:pt x="47358" y="65942"/>
                </a:lnTo>
                <a:lnTo>
                  <a:pt x="48018" y="65565"/>
                </a:lnTo>
                <a:lnTo>
                  <a:pt x="48678" y="65188"/>
                </a:lnTo>
                <a:lnTo>
                  <a:pt x="47924" y="65471"/>
                </a:lnTo>
                <a:lnTo>
                  <a:pt x="51509" y="62924"/>
                </a:lnTo>
                <a:lnTo>
                  <a:pt x="53301" y="61508"/>
                </a:lnTo>
                <a:lnTo>
                  <a:pt x="55093" y="59905"/>
                </a:lnTo>
                <a:lnTo>
                  <a:pt x="55093" y="59905"/>
                </a:lnTo>
                <a:lnTo>
                  <a:pt x="54810" y="60376"/>
                </a:lnTo>
                <a:lnTo>
                  <a:pt x="54339" y="60754"/>
                </a:lnTo>
                <a:lnTo>
                  <a:pt x="55376" y="59999"/>
                </a:lnTo>
                <a:lnTo>
                  <a:pt x="56320" y="59056"/>
                </a:lnTo>
                <a:lnTo>
                  <a:pt x="57075" y="58395"/>
                </a:lnTo>
                <a:lnTo>
                  <a:pt x="57169" y="58207"/>
                </a:lnTo>
                <a:lnTo>
                  <a:pt x="57075" y="58207"/>
                </a:lnTo>
                <a:lnTo>
                  <a:pt x="57924" y="57546"/>
                </a:lnTo>
                <a:lnTo>
                  <a:pt x="58678" y="56697"/>
                </a:lnTo>
                <a:lnTo>
                  <a:pt x="59339" y="55754"/>
                </a:lnTo>
                <a:lnTo>
                  <a:pt x="59905" y="54905"/>
                </a:lnTo>
                <a:lnTo>
                  <a:pt x="59716" y="54999"/>
                </a:lnTo>
                <a:lnTo>
                  <a:pt x="59622" y="54999"/>
                </a:lnTo>
                <a:lnTo>
                  <a:pt x="59810" y="54622"/>
                </a:lnTo>
                <a:lnTo>
                  <a:pt x="59150" y="55565"/>
                </a:lnTo>
                <a:lnTo>
                  <a:pt x="59527" y="55094"/>
                </a:lnTo>
                <a:lnTo>
                  <a:pt x="59433" y="55377"/>
                </a:lnTo>
                <a:lnTo>
                  <a:pt x="58867" y="56037"/>
                </a:lnTo>
                <a:lnTo>
                  <a:pt x="59056" y="55660"/>
                </a:lnTo>
                <a:lnTo>
                  <a:pt x="59056" y="55660"/>
                </a:lnTo>
                <a:lnTo>
                  <a:pt x="58678" y="56037"/>
                </a:lnTo>
                <a:lnTo>
                  <a:pt x="59810" y="54339"/>
                </a:lnTo>
                <a:lnTo>
                  <a:pt x="60282" y="53490"/>
                </a:lnTo>
                <a:lnTo>
                  <a:pt x="60282" y="53301"/>
                </a:lnTo>
                <a:lnTo>
                  <a:pt x="60188" y="53395"/>
                </a:lnTo>
                <a:lnTo>
                  <a:pt x="60188" y="53395"/>
                </a:lnTo>
                <a:lnTo>
                  <a:pt x="60565" y="52924"/>
                </a:lnTo>
                <a:lnTo>
                  <a:pt x="61037" y="52452"/>
                </a:lnTo>
                <a:lnTo>
                  <a:pt x="61886" y="51509"/>
                </a:lnTo>
                <a:lnTo>
                  <a:pt x="61508" y="52452"/>
                </a:lnTo>
                <a:lnTo>
                  <a:pt x="60848" y="53584"/>
                </a:lnTo>
                <a:lnTo>
                  <a:pt x="59622" y="55565"/>
                </a:lnTo>
                <a:lnTo>
                  <a:pt x="60376" y="54528"/>
                </a:lnTo>
                <a:lnTo>
                  <a:pt x="60942" y="53678"/>
                </a:lnTo>
                <a:lnTo>
                  <a:pt x="61980" y="51792"/>
                </a:lnTo>
                <a:lnTo>
                  <a:pt x="61886" y="51886"/>
                </a:lnTo>
                <a:lnTo>
                  <a:pt x="61886" y="51697"/>
                </a:lnTo>
                <a:lnTo>
                  <a:pt x="62169" y="51037"/>
                </a:lnTo>
                <a:lnTo>
                  <a:pt x="62735" y="49999"/>
                </a:lnTo>
                <a:lnTo>
                  <a:pt x="61508" y="51603"/>
                </a:lnTo>
                <a:lnTo>
                  <a:pt x="61603" y="51037"/>
                </a:lnTo>
                <a:lnTo>
                  <a:pt x="61697" y="50377"/>
                </a:lnTo>
                <a:lnTo>
                  <a:pt x="62169" y="48962"/>
                </a:lnTo>
                <a:lnTo>
                  <a:pt x="62829" y="47358"/>
                </a:lnTo>
                <a:lnTo>
                  <a:pt x="63678" y="45565"/>
                </a:lnTo>
                <a:lnTo>
                  <a:pt x="65376" y="42169"/>
                </a:lnTo>
                <a:lnTo>
                  <a:pt x="66131" y="40660"/>
                </a:lnTo>
                <a:lnTo>
                  <a:pt x="66697" y="39339"/>
                </a:lnTo>
                <a:lnTo>
                  <a:pt x="66603" y="39528"/>
                </a:lnTo>
                <a:lnTo>
                  <a:pt x="66697" y="39056"/>
                </a:lnTo>
                <a:lnTo>
                  <a:pt x="66791" y="38962"/>
                </a:lnTo>
                <a:lnTo>
                  <a:pt x="66791" y="39056"/>
                </a:lnTo>
                <a:lnTo>
                  <a:pt x="66886" y="38584"/>
                </a:lnTo>
                <a:lnTo>
                  <a:pt x="66791" y="38867"/>
                </a:lnTo>
                <a:lnTo>
                  <a:pt x="66980" y="38207"/>
                </a:lnTo>
                <a:lnTo>
                  <a:pt x="67169" y="37264"/>
                </a:lnTo>
                <a:lnTo>
                  <a:pt x="67263" y="36415"/>
                </a:lnTo>
                <a:lnTo>
                  <a:pt x="67357" y="36509"/>
                </a:lnTo>
                <a:lnTo>
                  <a:pt x="67452" y="36509"/>
                </a:lnTo>
                <a:lnTo>
                  <a:pt x="67546" y="35943"/>
                </a:lnTo>
                <a:lnTo>
                  <a:pt x="67546" y="34811"/>
                </a:lnTo>
                <a:lnTo>
                  <a:pt x="67640" y="31037"/>
                </a:lnTo>
                <a:lnTo>
                  <a:pt x="67640" y="28490"/>
                </a:lnTo>
                <a:lnTo>
                  <a:pt x="67546" y="27736"/>
                </a:lnTo>
                <a:lnTo>
                  <a:pt x="67546" y="27547"/>
                </a:lnTo>
                <a:lnTo>
                  <a:pt x="67452" y="27547"/>
                </a:lnTo>
                <a:lnTo>
                  <a:pt x="67074" y="26792"/>
                </a:lnTo>
                <a:lnTo>
                  <a:pt x="66791" y="25660"/>
                </a:lnTo>
                <a:lnTo>
                  <a:pt x="66508" y="24528"/>
                </a:lnTo>
                <a:lnTo>
                  <a:pt x="66414" y="23585"/>
                </a:lnTo>
                <a:lnTo>
                  <a:pt x="66320" y="23679"/>
                </a:lnTo>
                <a:lnTo>
                  <a:pt x="66320" y="23490"/>
                </a:lnTo>
                <a:lnTo>
                  <a:pt x="65942" y="22924"/>
                </a:lnTo>
                <a:lnTo>
                  <a:pt x="65565" y="22358"/>
                </a:lnTo>
                <a:lnTo>
                  <a:pt x="64527" y="21132"/>
                </a:lnTo>
                <a:lnTo>
                  <a:pt x="63584" y="19906"/>
                </a:lnTo>
                <a:lnTo>
                  <a:pt x="63207" y="19340"/>
                </a:lnTo>
                <a:lnTo>
                  <a:pt x="63018" y="18774"/>
                </a:lnTo>
                <a:lnTo>
                  <a:pt x="63112" y="18962"/>
                </a:lnTo>
                <a:lnTo>
                  <a:pt x="63301" y="19057"/>
                </a:lnTo>
                <a:lnTo>
                  <a:pt x="63301" y="19057"/>
                </a:lnTo>
                <a:lnTo>
                  <a:pt x="63207" y="18868"/>
                </a:lnTo>
                <a:lnTo>
                  <a:pt x="62923" y="18491"/>
                </a:lnTo>
                <a:lnTo>
                  <a:pt x="61980" y="17453"/>
                </a:lnTo>
                <a:lnTo>
                  <a:pt x="61037" y="16509"/>
                </a:lnTo>
                <a:lnTo>
                  <a:pt x="61037" y="16698"/>
                </a:lnTo>
                <a:lnTo>
                  <a:pt x="61037" y="16887"/>
                </a:lnTo>
                <a:lnTo>
                  <a:pt x="60093" y="15943"/>
                </a:lnTo>
                <a:lnTo>
                  <a:pt x="60376" y="16321"/>
                </a:lnTo>
                <a:lnTo>
                  <a:pt x="59527" y="15377"/>
                </a:lnTo>
                <a:lnTo>
                  <a:pt x="59056" y="14906"/>
                </a:lnTo>
                <a:lnTo>
                  <a:pt x="59244" y="14906"/>
                </a:lnTo>
                <a:lnTo>
                  <a:pt x="59905" y="15472"/>
                </a:lnTo>
                <a:lnTo>
                  <a:pt x="59905" y="15472"/>
                </a:lnTo>
                <a:lnTo>
                  <a:pt x="57641" y="13396"/>
                </a:lnTo>
                <a:lnTo>
                  <a:pt x="58112" y="13868"/>
                </a:lnTo>
                <a:lnTo>
                  <a:pt x="56886" y="13019"/>
                </a:lnTo>
                <a:lnTo>
                  <a:pt x="55754" y="12453"/>
                </a:lnTo>
                <a:lnTo>
                  <a:pt x="56603" y="13113"/>
                </a:lnTo>
                <a:lnTo>
                  <a:pt x="57452" y="13774"/>
                </a:lnTo>
                <a:lnTo>
                  <a:pt x="58961" y="15283"/>
                </a:lnTo>
                <a:lnTo>
                  <a:pt x="60376" y="16604"/>
                </a:lnTo>
                <a:lnTo>
                  <a:pt x="61225" y="17264"/>
                </a:lnTo>
                <a:lnTo>
                  <a:pt x="62074" y="17925"/>
                </a:lnTo>
                <a:lnTo>
                  <a:pt x="62074" y="17925"/>
                </a:lnTo>
                <a:lnTo>
                  <a:pt x="61414" y="17547"/>
                </a:lnTo>
                <a:lnTo>
                  <a:pt x="60659" y="16981"/>
                </a:lnTo>
                <a:lnTo>
                  <a:pt x="60754" y="17264"/>
                </a:lnTo>
                <a:lnTo>
                  <a:pt x="60942" y="17642"/>
                </a:lnTo>
                <a:lnTo>
                  <a:pt x="61980" y="19151"/>
                </a:lnTo>
                <a:lnTo>
                  <a:pt x="63301" y="20943"/>
                </a:lnTo>
                <a:lnTo>
                  <a:pt x="63207" y="20943"/>
                </a:lnTo>
                <a:lnTo>
                  <a:pt x="63395" y="21038"/>
                </a:lnTo>
                <a:lnTo>
                  <a:pt x="63490" y="21321"/>
                </a:lnTo>
                <a:lnTo>
                  <a:pt x="63678" y="21604"/>
                </a:lnTo>
                <a:lnTo>
                  <a:pt x="63773" y="21698"/>
                </a:lnTo>
                <a:lnTo>
                  <a:pt x="63584" y="21321"/>
                </a:lnTo>
                <a:lnTo>
                  <a:pt x="63584" y="21321"/>
                </a:lnTo>
                <a:lnTo>
                  <a:pt x="64244" y="22170"/>
                </a:lnTo>
                <a:lnTo>
                  <a:pt x="64716" y="22641"/>
                </a:lnTo>
                <a:lnTo>
                  <a:pt x="64905" y="22830"/>
                </a:lnTo>
                <a:lnTo>
                  <a:pt x="64999" y="22830"/>
                </a:lnTo>
                <a:lnTo>
                  <a:pt x="64999" y="22641"/>
                </a:lnTo>
                <a:lnTo>
                  <a:pt x="64905" y="22358"/>
                </a:lnTo>
                <a:lnTo>
                  <a:pt x="65282" y="23207"/>
                </a:lnTo>
                <a:lnTo>
                  <a:pt x="65565" y="24056"/>
                </a:lnTo>
                <a:lnTo>
                  <a:pt x="66225" y="25943"/>
                </a:lnTo>
                <a:lnTo>
                  <a:pt x="66697" y="27830"/>
                </a:lnTo>
                <a:lnTo>
                  <a:pt x="66886" y="28490"/>
                </a:lnTo>
                <a:lnTo>
                  <a:pt x="66980" y="28868"/>
                </a:lnTo>
                <a:lnTo>
                  <a:pt x="66886" y="28962"/>
                </a:lnTo>
                <a:lnTo>
                  <a:pt x="66697" y="28679"/>
                </a:lnTo>
                <a:lnTo>
                  <a:pt x="66697" y="29245"/>
                </a:lnTo>
                <a:lnTo>
                  <a:pt x="66791" y="29905"/>
                </a:lnTo>
                <a:lnTo>
                  <a:pt x="66886" y="29905"/>
                </a:lnTo>
                <a:lnTo>
                  <a:pt x="66886" y="30094"/>
                </a:lnTo>
                <a:lnTo>
                  <a:pt x="66886" y="30566"/>
                </a:lnTo>
                <a:lnTo>
                  <a:pt x="66697" y="30377"/>
                </a:lnTo>
                <a:lnTo>
                  <a:pt x="66603" y="30188"/>
                </a:lnTo>
                <a:lnTo>
                  <a:pt x="66603" y="30094"/>
                </a:lnTo>
                <a:lnTo>
                  <a:pt x="66697" y="29905"/>
                </a:lnTo>
                <a:lnTo>
                  <a:pt x="66508" y="28679"/>
                </a:lnTo>
                <a:lnTo>
                  <a:pt x="66225" y="27358"/>
                </a:lnTo>
                <a:lnTo>
                  <a:pt x="66603" y="30283"/>
                </a:lnTo>
                <a:lnTo>
                  <a:pt x="66697" y="31792"/>
                </a:lnTo>
                <a:lnTo>
                  <a:pt x="66697" y="33302"/>
                </a:lnTo>
                <a:lnTo>
                  <a:pt x="66603" y="34717"/>
                </a:lnTo>
                <a:lnTo>
                  <a:pt x="66414" y="36226"/>
                </a:lnTo>
                <a:lnTo>
                  <a:pt x="66131" y="37547"/>
                </a:lnTo>
                <a:lnTo>
                  <a:pt x="65659" y="38962"/>
                </a:lnTo>
                <a:lnTo>
                  <a:pt x="65848" y="38584"/>
                </a:lnTo>
                <a:lnTo>
                  <a:pt x="65942" y="38584"/>
                </a:lnTo>
                <a:lnTo>
                  <a:pt x="65848" y="39245"/>
                </a:lnTo>
                <a:lnTo>
                  <a:pt x="65565" y="40188"/>
                </a:lnTo>
                <a:lnTo>
                  <a:pt x="65471" y="40471"/>
                </a:lnTo>
                <a:lnTo>
                  <a:pt x="65282" y="40660"/>
                </a:lnTo>
                <a:lnTo>
                  <a:pt x="65282" y="40566"/>
                </a:lnTo>
                <a:lnTo>
                  <a:pt x="65093" y="41132"/>
                </a:lnTo>
                <a:lnTo>
                  <a:pt x="64433" y="43018"/>
                </a:lnTo>
                <a:lnTo>
                  <a:pt x="63678" y="45282"/>
                </a:lnTo>
                <a:lnTo>
                  <a:pt x="62735" y="47264"/>
                </a:lnTo>
                <a:lnTo>
                  <a:pt x="61697" y="49056"/>
                </a:lnTo>
                <a:lnTo>
                  <a:pt x="60659" y="50943"/>
                </a:lnTo>
                <a:lnTo>
                  <a:pt x="59433" y="52735"/>
                </a:lnTo>
                <a:lnTo>
                  <a:pt x="58207" y="54433"/>
                </a:lnTo>
                <a:lnTo>
                  <a:pt x="56886" y="56037"/>
                </a:lnTo>
                <a:lnTo>
                  <a:pt x="55376" y="57641"/>
                </a:lnTo>
                <a:lnTo>
                  <a:pt x="53867" y="59150"/>
                </a:lnTo>
                <a:lnTo>
                  <a:pt x="52169" y="60376"/>
                </a:lnTo>
                <a:lnTo>
                  <a:pt x="48961" y="62452"/>
                </a:lnTo>
                <a:lnTo>
                  <a:pt x="44528" y="65282"/>
                </a:lnTo>
                <a:lnTo>
                  <a:pt x="44622" y="65188"/>
                </a:lnTo>
                <a:lnTo>
                  <a:pt x="44716" y="65093"/>
                </a:lnTo>
                <a:lnTo>
                  <a:pt x="45094" y="64810"/>
                </a:lnTo>
                <a:lnTo>
                  <a:pt x="45660" y="64527"/>
                </a:lnTo>
                <a:lnTo>
                  <a:pt x="43867" y="65376"/>
                </a:lnTo>
                <a:lnTo>
                  <a:pt x="43113" y="65754"/>
                </a:lnTo>
                <a:lnTo>
                  <a:pt x="42924" y="65754"/>
                </a:lnTo>
                <a:lnTo>
                  <a:pt x="43113" y="65659"/>
                </a:lnTo>
                <a:lnTo>
                  <a:pt x="41603" y="66037"/>
                </a:lnTo>
                <a:lnTo>
                  <a:pt x="39999" y="66320"/>
                </a:lnTo>
                <a:lnTo>
                  <a:pt x="38396" y="66508"/>
                </a:lnTo>
                <a:lnTo>
                  <a:pt x="36792" y="66697"/>
                </a:lnTo>
                <a:lnTo>
                  <a:pt x="33584" y="66980"/>
                </a:lnTo>
                <a:lnTo>
                  <a:pt x="32169" y="67169"/>
                </a:lnTo>
                <a:lnTo>
                  <a:pt x="30754" y="67357"/>
                </a:lnTo>
                <a:lnTo>
                  <a:pt x="30094" y="67357"/>
                </a:lnTo>
                <a:lnTo>
                  <a:pt x="29339" y="67263"/>
                </a:lnTo>
                <a:lnTo>
                  <a:pt x="27830" y="66886"/>
                </a:lnTo>
                <a:lnTo>
                  <a:pt x="26415" y="66508"/>
                </a:lnTo>
                <a:lnTo>
                  <a:pt x="25754" y="66414"/>
                </a:lnTo>
                <a:lnTo>
                  <a:pt x="25094" y="66414"/>
                </a:lnTo>
                <a:lnTo>
                  <a:pt x="25566" y="66980"/>
                </a:lnTo>
                <a:lnTo>
                  <a:pt x="25471" y="67074"/>
                </a:lnTo>
                <a:lnTo>
                  <a:pt x="25188" y="66980"/>
                </a:lnTo>
                <a:lnTo>
                  <a:pt x="24339" y="66791"/>
                </a:lnTo>
                <a:lnTo>
                  <a:pt x="23773" y="66508"/>
                </a:lnTo>
                <a:lnTo>
                  <a:pt x="24245" y="66414"/>
                </a:lnTo>
                <a:lnTo>
                  <a:pt x="24717" y="66603"/>
                </a:lnTo>
                <a:lnTo>
                  <a:pt x="24811" y="66414"/>
                </a:lnTo>
                <a:lnTo>
                  <a:pt x="24811" y="66320"/>
                </a:lnTo>
                <a:lnTo>
                  <a:pt x="24717" y="66225"/>
                </a:lnTo>
                <a:lnTo>
                  <a:pt x="24528" y="66131"/>
                </a:lnTo>
                <a:lnTo>
                  <a:pt x="24151" y="66225"/>
                </a:lnTo>
                <a:lnTo>
                  <a:pt x="23679" y="66320"/>
                </a:lnTo>
                <a:lnTo>
                  <a:pt x="23018" y="66414"/>
                </a:lnTo>
                <a:lnTo>
                  <a:pt x="23490" y="66225"/>
                </a:lnTo>
                <a:lnTo>
                  <a:pt x="22075" y="65942"/>
                </a:lnTo>
                <a:lnTo>
                  <a:pt x="20943" y="65659"/>
                </a:lnTo>
                <a:lnTo>
                  <a:pt x="20000" y="65282"/>
                </a:lnTo>
                <a:lnTo>
                  <a:pt x="19056" y="64810"/>
                </a:lnTo>
                <a:lnTo>
                  <a:pt x="19056" y="64810"/>
                </a:lnTo>
                <a:lnTo>
                  <a:pt x="19717" y="64999"/>
                </a:lnTo>
                <a:lnTo>
                  <a:pt x="19151" y="64716"/>
                </a:lnTo>
                <a:lnTo>
                  <a:pt x="18962" y="64810"/>
                </a:lnTo>
                <a:lnTo>
                  <a:pt x="19151" y="64905"/>
                </a:lnTo>
                <a:lnTo>
                  <a:pt x="18490" y="64905"/>
                </a:lnTo>
                <a:lnTo>
                  <a:pt x="17830" y="64716"/>
                </a:lnTo>
                <a:lnTo>
                  <a:pt x="17264" y="64527"/>
                </a:lnTo>
                <a:lnTo>
                  <a:pt x="16698" y="64150"/>
                </a:lnTo>
                <a:lnTo>
                  <a:pt x="16981" y="64056"/>
                </a:lnTo>
                <a:lnTo>
                  <a:pt x="17264" y="64150"/>
                </a:lnTo>
                <a:lnTo>
                  <a:pt x="17264" y="64150"/>
                </a:lnTo>
                <a:lnTo>
                  <a:pt x="15188" y="63207"/>
                </a:lnTo>
                <a:lnTo>
                  <a:pt x="14622" y="62829"/>
                </a:lnTo>
                <a:lnTo>
                  <a:pt x="14717" y="62924"/>
                </a:lnTo>
                <a:lnTo>
                  <a:pt x="13773" y="62546"/>
                </a:lnTo>
                <a:lnTo>
                  <a:pt x="12924" y="62075"/>
                </a:lnTo>
                <a:lnTo>
                  <a:pt x="12358" y="61697"/>
                </a:lnTo>
                <a:lnTo>
                  <a:pt x="12264" y="61508"/>
                </a:lnTo>
                <a:lnTo>
                  <a:pt x="12170" y="61320"/>
                </a:lnTo>
                <a:lnTo>
                  <a:pt x="11698" y="60942"/>
                </a:lnTo>
                <a:lnTo>
                  <a:pt x="11132" y="60471"/>
                </a:lnTo>
                <a:lnTo>
                  <a:pt x="9906" y="59244"/>
                </a:lnTo>
                <a:lnTo>
                  <a:pt x="9906" y="59244"/>
                </a:lnTo>
                <a:lnTo>
                  <a:pt x="10566" y="59527"/>
                </a:lnTo>
                <a:lnTo>
                  <a:pt x="9434" y="58584"/>
                </a:lnTo>
                <a:lnTo>
                  <a:pt x="8207" y="57546"/>
                </a:lnTo>
                <a:lnTo>
                  <a:pt x="7547" y="56886"/>
                </a:lnTo>
                <a:lnTo>
                  <a:pt x="6981" y="56131"/>
                </a:lnTo>
                <a:lnTo>
                  <a:pt x="6226" y="55094"/>
                </a:lnTo>
                <a:lnTo>
                  <a:pt x="6415" y="55377"/>
                </a:lnTo>
                <a:lnTo>
                  <a:pt x="6038" y="54905"/>
                </a:lnTo>
                <a:lnTo>
                  <a:pt x="5472" y="54244"/>
                </a:lnTo>
                <a:lnTo>
                  <a:pt x="5283" y="53961"/>
                </a:lnTo>
                <a:lnTo>
                  <a:pt x="5094" y="53867"/>
                </a:lnTo>
                <a:lnTo>
                  <a:pt x="5377" y="54622"/>
                </a:lnTo>
                <a:lnTo>
                  <a:pt x="5849" y="55282"/>
                </a:lnTo>
                <a:lnTo>
                  <a:pt x="6321" y="55943"/>
                </a:lnTo>
                <a:lnTo>
                  <a:pt x="6698" y="56603"/>
                </a:lnTo>
                <a:lnTo>
                  <a:pt x="6226" y="56226"/>
                </a:lnTo>
                <a:lnTo>
                  <a:pt x="5943" y="55848"/>
                </a:lnTo>
                <a:lnTo>
                  <a:pt x="6038" y="56037"/>
                </a:lnTo>
                <a:lnTo>
                  <a:pt x="5943" y="55943"/>
                </a:lnTo>
                <a:lnTo>
                  <a:pt x="5377" y="55188"/>
                </a:lnTo>
                <a:lnTo>
                  <a:pt x="5000" y="54716"/>
                </a:lnTo>
                <a:lnTo>
                  <a:pt x="4717" y="54150"/>
                </a:lnTo>
                <a:lnTo>
                  <a:pt x="4528" y="53678"/>
                </a:lnTo>
                <a:lnTo>
                  <a:pt x="4528" y="53584"/>
                </a:lnTo>
                <a:lnTo>
                  <a:pt x="4623" y="53395"/>
                </a:lnTo>
                <a:lnTo>
                  <a:pt x="5094" y="54244"/>
                </a:lnTo>
                <a:lnTo>
                  <a:pt x="4717" y="53301"/>
                </a:lnTo>
                <a:lnTo>
                  <a:pt x="4528" y="53018"/>
                </a:lnTo>
                <a:lnTo>
                  <a:pt x="4151" y="52263"/>
                </a:lnTo>
                <a:lnTo>
                  <a:pt x="4151" y="52169"/>
                </a:lnTo>
                <a:lnTo>
                  <a:pt x="3774" y="51509"/>
                </a:lnTo>
                <a:lnTo>
                  <a:pt x="3396" y="50660"/>
                </a:lnTo>
                <a:lnTo>
                  <a:pt x="3585" y="51603"/>
                </a:lnTo>
                <a:lnTo>
                  <a:pt x="3396" y="51226"/>
                </a:lnTo>
                <a:lnTo>
                  <a:pt x="3208" y="50848"/>
                </a:lnTo>
                <a:lnTo>
                  <a:pt x="3208" y="50471"/>
                </a:lnTo>
                <a:lnTo>
                  <a:pt x="3208" y="50094"/>
                </a:lnTo>
                <a:lnTo>
                  <a:pt x="3585" y="50754"/>
                </a:lnTo>
                <a:lnTo>
                  <a:pt x="3868" y="51509"/>
                </a:lnTo>
                <a:lnTo>
                  <a:pt x="3868" y="51509"/>
                </a:lnTo>
                <a:lnTo>
                  <a:pt x="3208" y="49528"/>
                </a:lnTo>
                <a:lnTo>
                  <a:pt x="3208" y="49528"/>
                </a:lnTo>
                <a:lnTo>
                  <a:pt x="3868" y="50754"/>
                </a:lnTo>
                <a:lnTo>
                  <a:pt x="3208" y="48962"/>
                </a:lnTo>
                <a:lnTo>
                  <a:pt x="3585" y="49339"/>
                </a:lnTo>
                <a:lnTo>
                  <a:pt x="3774" y="49433"/>
                </a:lnTo>
                <a:lnTo>
                  <a:pt x="3962" y="49528"/>
                </a:lnTo>
                <a:lnTo>
                  <a:pt x="4057" y="49905"/>
                </a:lnTo>
                <a:lnTo>
                  <a:pt x="3868" y="48962"/>
                </a:lnTo>
                <a:lnTo>
                  <a:pt x="3491" y="47924"/>
                </a:lnTo>
                <a:lnTo>
                  <a:pt x="2641" y="45565"/>
                </a:lnTo>
                <a:lnTo>
                  <a:pt x="2170" y="43867"/>
                </a:lnTo>
                <a:lnTo>
                  <a:pt x="1698" y="41886"/>
                </a:lnTo>
                <a:lnTo>
                  <a:pt x="1698" y="41886"/>
                </a:lnTo>
                <a:lnTo>
                  <a:pt x="1887" y="42075"/>
                </a:lnTo>
                <a:lnTo>
                  <a:pt x="1981" y="41981"/>
                </a:lnTo>
                <a:lnTo>
                  <a:pt x="2075" y="42075"/>
                </a:lnTo>
                <a:lnTo>
                  <a:pt x="2264" y="42169"/>
                </a:lnTo>
                <a:lnTo>
                  <a:pt x="2170" y="40283"/>
                </a:lnTo>
                <a:lnTo>
                  <a:pt x="2075" y="38301"/>
                </a:lnTo>
                <a:lnTo>
                  <a:pt x="2170" y="36415"/>
                </a:lnTo>
                <a:lnTo>
                  <a:pt x="2358" y="35566"/>
                </a:lnTo>
                <a:lnTo>
                  <a:pt x="2453" y="34811"/>
                </a:lnTo>
                <a:lnTo>
                  <a:pt x="2830" y="32830"/>
                </a:lnTo>
                <a:lnTo>
                  <a:pt x="2830" y="33207"/>
                </a:lnTo>
                <a:lnTo>
                  <a:pt x="2924" y="33490"/>
                </a:lnTo>
                <a:lnTo>
                  <a:pt x="2924" y="32453"/>
                </a:lnTo>
                <a:lnTo>
                  <a:pt x="3019" y="31415"/>
                </a:lnTo>
                <a:lnTo>
                  <a:pt x="3396" y="29245"/>
                </a:lnTo>
                <a:lnTo>
                  <a:pt x="3868" y="27075"/>
                </a:lnTo>
                <a:lnTo>
                  <a:pt x="4623" y="25000"/>
                </a:lnTo>
                <a:lnTo>
                  <a:pt x="5566" y="22830"/>
                </a:lnTo>
                <a:lnTo>
                  <a:pt x="6604" y="20849"/>
                </a:lnTo>
                <a:lnTo>
                  <a:pt x="7830" y="18868"/>
                </a:lnTo>
                <a:lnTo>
                  <a:pt x="9151" y="16887"/>
                </a:lnTo>
                <a:lnTo>
                  <a:pt x="10566" y="15094"/>
                </a:lnTo>
                <a:lnTo>
                  <a:pt x="12075" y="13302"/>
                </a:lnTo>
                <a:lnTo>
                  <a:pt x="13773" y="11698"/>
                </a:lnTo>
                <a:lnTo>
                  <a:pt x="15377" y="10095"/>
                </a:lnTo>
                <a:lnTo>
                  <a:pt x="17170" y="8679"/>
                </a:lnTo>
                <a:lnTo>
                  <a:pt x="18962" y="7453"/>
                </a:lnTo>
                <a:lnTo>
                  <a:pt x="20754" y="6321"/>
                </a:lnTo>
                <a:lnTo>
                  <a:pt x="22547" y="5378"/>
                </a:lnTo>
                <a:lnTo>
                  <a:pt x="21603" y="6227"/>
                </a:lnTo>
                <a:lnTo>
                  <a:pt x="22641" y="5472"/>
                </a:lnTo>
                <a:lnTo>
                  <a:pt x="23302" y="5095"/>
                </a:lnTo>
                <a:lnTo>
                  <a:pt x="25377" y="4151"/>
                </a:lnTo>
                <a:lnTo>
                  <a:pt x="24811" y="4151"/>
                </a:lnTo>
                <a:lnTo>
                  <a:pt x="25660" y="3774"/>
                </a:lnTo>
                <a:lnTo>
                  <a:pt x="26886" y="3208"/>
                </a:lnTo>
                <a:lnTo>
                  <a:pt x="26603" y="3585"/>
                </a:lnTo>
                <a:lnTo>
                  <a:pt x="26886" y="3585"/>
                </a:lnTo>
                <a:lnTo>
                  <a:pt x="26886" y="3680"/>
                </a:lnTo>
                <a:lnTo>
                  <a:pt x="26792" y="3774"/>
                </a:lnTo>
                <a:lnTo>
                  <a:pt x="28301" y="3302"/>
                </a:lnTo>
                <a:lnTo>
                  <a:pt x="29622" y="2736"/>
                </a:lnTo>
                <a:lnTo>
                  <a:pt x="31037" y="2264"/>
                </a:lnTo>
                <a:lnTo>
                  <a:pt x="31792" y="2076"/>
                </a:lnTo>
                <a:lnTo>
                  <a:pt x="32641" y="1981"/>
                </a:lnTo>
                <a:lnTo>
                  <a:pt x="32547" y="2076"/>
                </a:lnTo>
                <a:lnTo>
                  <a:pt x="32924" y="1981"/>
                </a:lnTo>
                <a:lnTo>
                  <a:pt x="34245" y="1793"/>
                </a:lnTo>
                <a:lnTo>
                  <a:pt x="35848" y="1415"/>
                </a:lnTo>
                <a:lnTo>
                  <a:pt x="36981" y="1132"/>
                </a:lnTo>
                <a:lnTo>
                  <a:pt x="36981" y="1415"/>
                </a:lnTo>
                <a:lnTo>
                  <a:pt x="40943" y="1227"/>
                </a:lnTo>
                <a:lnTo>
                  <a:pt x="41509" y="1038"/>
                </a:lnTo>
                <a:lnTo>
                  <a:pt x="41697" y="1132"/>
                </a:lnTo>
                <a:lnTo>
                  <a:pt x="41509" y="1227"/>
                </a:lnTo>
                <a:lnTo>
                  <a:pt x="41320" y="1321"/>
                </a:lnTo>
                <a:lnTo>
                  <a:pt x="42263" y="1321"/>
                </a:lnTo>
                <a:lnTo>
                  <a:pt x="43113" y="1227"/>
                </a:lnTo>
                <a:lnTo>
                  <a:pt x="43396" y="1415"/>
                </a:lnTo>
                <a:lnTo>
                  <a:pt x="44056" y="1604"/>
                </a:lnTo>
                <a:lnTo>
                  <a:pt x="45943" y="2076"/>
                </a:lnTo>
                <a:lnTo>
                  <a:pt x="48018" y="2359"/>
                </a:lnTo>
                <a:lnTo>
                  <a:pt x="49622" y="2736"/>
                </a:lnTo>
                <a:lnTo>
                  <a:pt x="47641" y="1981"/>
                </a:lnTo>
                <a:lnTo>
                  <a:pt x="45282" y="1321"/>
                </a:lnTo>
                <a:lnTo>
                  <a:pt x="42735" y="755"/>
                </a:lnTo>
                <a:lnTo>
                  <a:pt x="40188" y="283"/>
                </a:lnTo>
                <a:lnTo>
                  <a:pt x="37735" y="95"/>
                </a:lnTo>
                <a:lnTo>
                  <a:pt x="35471" y="0"/>
                </a:lnTo>
                <a:close/>
              </a:path>
            </a:pathLst>
          </a:custGeom>
          <a:solidFill>
            <a:schemeClr val="bg2">
              <a:lumMod val="75000"/>
            </a:schemeClr>
          </a:solidFill>
          <a:ln>
            <a:noFill/>
          </a:ln>
        </p:spPr>
        <p:txBody>
          <a:bodyPr spcFirstLastPara="1" wrap="square" lIns="91425" tIns="91425" rIns="91425" bIns="91425" anchor="ctr" anchorCtr="0">
            <a:noAutofit/>
          </a:bodyPr>
          <a:lstStyle/>
          <a:p>
            <a:pPr marL="0" lvl="0" indent="0">
              <a:spcBef>
                <a:spcPts val="0"/>
              </a:spcBef>
              <a:spcAft>
                <a:spcPts val="0"/>
              </a:spcAft>
              <a:buNone/>
            </a:pPr>
            <a:endParaRPr sz="1200" dirty="0">
              <a:latin typeface="Comic Sans MS" panose="030F0902030302020204" pitchFamily="66" charset="0"/>
            </a:endParaRPr>
          </a:p>
        </p:txBody>
      </p:sp>
      <p:sp>
        <p:nvSpPr>
          <p:cNvPr id="42" name="Google Shape;431;p39">
            <a:extLst>
              <a:ext uri="{FF2B5EF4-FFF2-40B4-BE49-F238E27FC236}">
                <a16:creationId xmlns:a16="http://schemas.microsoft.com/office/drawing/2014/main" id="{8D7361E5-901C-DE40-A665-34D4DF0DA0E7}"/>
              </a:ext>
            </a:extLst>
          </p:cNvPr>
          <p:cNvSpPr/>
          <p:nvPr/>
        </p:nvSpPr>
        <p:spPr>
          <a:xfrm rot="21011211">
            <a:off x="6507564" y="2893430"/>
            <a:ext cx="118019" cy="139785"/>
          </a:xfrm>
          <a:custGeom>
            <a:avLst/>
            <a:gdLst/>
            <a:ahLst/>
            <a:cxnLst/>
            <a:rect l="0" t="0" r="0" b="0"/>
            <a:pathLst>
              <a:path w="67641" h="69056" extrusionOk="0">
                <a:moveTo>
                  <a:pt x="49622" y="2736"/>
                </a:moveTo>
                <a:lnTo>
                  <a:pt x="49622" y="2736"/>
                </a:lnTo>
                <a:lnTo>
                  <a:pt x="49622" y="2736"/>
                </a:lnTo>
                <a:close/>
                <a:moveTo>
                  <a:pt x="59622" y="55565"/>
                </a:moveTo>
                <a:lnTo>
                  <a:pt x="59622" y="55565"/>
                </a:lnTo>
                <a:lnTo>
                  <a:pt x="59622" y="55565"/>
                </a:lnTo>
                <a:close/>
                <a:moveTo>
                  <a:pt x="35471" y="0"/>
                </a:moveTo>
                <a:lnTo>
                  <a:pt x="34433" y="95"/>
                </a:lnTo>
                <a:lnTo>
                  <a:pt x="33584" y="189"/>
                </a:lnTo>
                <a:lnTo>
                  <a:pt x="32735" y="378"/>
                </a:lnTo>
                <a:lnTo>
                  <a:pt x="32169" y="566"/>
                </a:lnTo>
                <a:lnTo>
                  <a:pt x="31509" y="472"/>
                </a:lnTo>
                <a:lnTo>
                  <a:pt x="30754" y="472"/>
                </a:lnTo>
                <a:lnTo>
                  <a:pt x="29339" y="566"/>
                </a:lnTo>
                <a:lnTo>
                  <a:pt x="27830" y="849"/>
                </a:lnTo>
                <a:lnTo>
                  <a:pt x="26320" y="1321"/>
                </a:lnTo>
                <a:lnTo>
                  <a:pt x="24811" y="1981"/>
                </a:lnTo>
                <a:lnTo>
                  <a:pt x="23207" y="2736"/>
                </a:lnTo>
                <a:lnTo>
                  <a:pt x="21698" y="3585"/>
                </a:lnTo>
                <a:lnTo>
                  <a:pt x="20188" y="4623"/>
                </a:lnTo>
                <a:lnTo>
                  <a:pt x="18679" y="5661"/>
                </a:lnTo>
                <a:lnTo>
                  <a:pt x="17170" y="6793"/>
                </a:lnTo>
                <a:lnTo>
                  <a:pt x="15754" y="8019"/>
                </a:lnTo>
                <a:lnTo>
                  <a:pt x="14434" y="9151"/>
                </a:lnTo>
                <a:lnTo>
                  <a:pt x="11981" y="11510"/>
                </a:lnTo>
                <a:lnTo>
                  <a:pt x="10000" y="13774"/>
                </a:lnTo>
                <a:lnTo>
                  <a:pt x="7736" y="16981"/>
                </a:lnTo>
                <a:lnTo>
                  <a:pt x="8019" y="16321"/>
                </a:lnTo>
                <a:lnTo>
                  <a:pt x="8302" y="15660"/>
                </a:lnTo>
                <a:lnTo>
                  <a:pt x="7736" y="16604"/>
                </a:lnTo>
                <a:lnTo>
                  <a:pt x="7075" y="17642"/>
                </a:lnTo>
                <a:lnTo>
                  <a:pt x="7170" y="17830"/>
                </a:lnTo>
                <a:lnTo>
                  <a:pt x="6509" y="18868"/>
                </a:lnTo>
                <a:lnTo>
                  <a:pt x="7075" y="17359"/>
                </a:lnTo>
                <a:lnTo>
                  <a:pt x="6132" y="19057"/>
                </a:lnTo>
                <a:lnTo>
                  <a:pt x="5189" y="20849"/>
                </a:lnTo>
                <a:lnTo>
                  <a:pt x="4434" y="22736"/>
                </a:lnTo>
                <a:lnTo>
                  <a:pt x="3679" y="24622"/>
                </a:lnTo>
                <a:lnTo>
                  <a:pt x="2453" y="28490"/>
                </a:lnTo>
                <a:lnTo>
                  <a:pt x="1321" y="32169"/>
                </a:lnTo>
                <a:lnTo>
                  <a:pt x="1509" y="32264"/>
                </a:lnTo>
                <a:lnTo>
                  <a:pt x="1604" y="32453"/>
                </a:lnTo>
                <a:lnTo>
                  <a:pt x="1604" y="32641"/>
                </a:lnTo>
                <a:lnTo>
                  <a:pt x="1509" y="32924"/>
                </a:lnTo>
                <a:lnTo>
                  <a:pt x="1226" y="33396"/>
                </a:lnTo>
                <a:lnTo>
                  <a:pt x="1038" y="33585"/>
                </a:lnTo>
                <a:lnTo>
                  <a:pt x="1038" y="33773"/>
                </a:lnTo>
                <a:lnTo>
                  <a:pt x="1038" y="35000"/>
                </a:lnTo>
                <a:lnTo>
                  <a:pt x="849" y="36132"/>
                </a:lnTo>
                <a:lnTo>
                  <a:pt x="660" y="37358"/>
                </a:lnTo>
                <a:lnTo>
                  <a:pt x="472" y="38867"/>
                </a:lnTo>
                <a:lnTo>
                  <a:pt x="283" y="38301"/>
                </a:lnTo>
                <a:lnTo>
                  <a:pt x="94" y="39811"/>
                </a:lnTo>
                <a:lnTo>
                  <a:pt x="0" y="41509"/>
                </a:lnTo>
                <a:lnTo>
                  <a:pt x="94" y="43301"/>
                </a:lnTo>
                <a:lnTo>
                  <a:pt x="283" y="44056"/>
                </a:lnTo>
                <a:lnTo>
                  <a:pt x="472" y="44622"/>
                </a:lnTo>
                <a:lnTo>
                  <a:pt x="566" y="45660"/>
                </a:lnTo>
                <a:lnTo>
                  <a:pt x="755" y="46792"/>
                </a:lnTo>
                <a:lnTo>
                  <a:pt x="1226" y="48962"/>
                </a:lnTo>
                <a:lnTo>
                  <a:pt x="1981" y="51037"/>
                </a:lnTo>
                <a:lnTo>
                  <a:pt x="2924" y="53112"/>
                </a:lnTo>
                <a:lnTo>
                  <a:pt x="4057" y="55094"/>
                </a:lnTo>
                <a:lnTo>
                  <a:pt x="5283" y="56980"/>
                </a:lnTo>
                <a:lnTo>
                  <a:pt x="6698" y="58678"/>
                </a:lnTo>
                <a:lnTo>
                  <a:pt x="8113" y="60282"/>
                </a:lnTo>
                <a:lnTo>
                  <a:pt x="9056" y="61131"/>
                </a:lnTo>
                <a:lnTo>
                  <a:pt x="10000" y="61980"/>
                </a:lnTo>
                <a:lnTo>
                  <a:pt x="11038" y="62829"/>
                </a:lnTo>
                <a:lnTo>
                  <a:pt x="12075" y="63584"/>
                </a:lnTo>
                <a:lnTo>
                  <a:pt x="14339" y="64905"/>
                </a:lnTo>
                <a:lnTo>
                  <a:pt x="16604" y="66131"/>
                </a:lnTo>
                <a:lnTo>
                  <a:pt x="19056" y="67169"/>
                </a:lnTo>
                <a:lnTo>
                  <a:pt x="21509" y="67923"/>
                </a:lnTo>
                <a:lnTo>
                  <a:pt x="24056" y="68584"/>
                </a:lnTo>
                <a:lnTo>
                  <a:pt x="26603" y="69055"/>
                </a:lnTo>
                <a:lnTo>
                  <a:pt x="27830" y="69055"/>
                </a:lnTo>
                <a:lnTo>
                  <a:pt x="30188" y="68867"/>
                </a:lnTo>
                <a:lnTo>
                  <a:pt x="33113" y="68678"/>
                </a:lnTo>
                <a:lnTo>
                  <a:pt x="36509" y="68301"/>
                </a:lnTo>
                <a:lnTo>
                  <a:pt x="39811" y="67923"/>
                </a:lnTo>
                <a:lnTo>
                  <a:pt x="42735" y="67452"/>
                </a:lnTo>
                <a:lnTo>
                  <a:pt x="44905" y="66980"/>
                </a:lnTo>
                <a:lnTo>
                  <a:pt x="45565" y="66791"/>
                </a:lnTo>
                <a:lnTo>
                  <a:pt x="45943" y="66508"/>
                </a:lnTo>
                <a:lnTo>
                  <a:pt x="47358" y="65942"/>
                </a:lnTo>
                <a:lnTo>
                  <a:pt x="48018" y="65565"/>
                </a:lnTo>
                <a:lnTo>
                  <a:pt x="48678" y="65188"/>
                </a:lnTo>
                <a:lnTo>
                  <a:pt x="47924" y="65471"/>
                </a:lnTo>
                <a:lnTo>
                  <a:pt x="51509" y="62924"/>
                </a:lnTo>
                <a:lnTo>
                  <a:pt x="53301" y="61508"/>
                </a:lnTo>
                <a:lnTo>
                  <a:pt x="55093" y="59905"/>
                </a:lnTo>
                <a:lnTo>
                  <a:pt x="55093" y="59905"/>
                </a:lnTo>
                <a:lnTo>
                  <a:pt x="54810" y="60376"/>
                </a:lnTo>
                <a:lnTo>
                  <a:pt x="54339" y="60754"/>
                </a:lnTo>
                <a:lnTo>
                  <a:pt x="55376" y="59999"/>
                </a:lnTo>
                <a:lnTo>
                  <a:pt x="56320" y="59056"/>
                </a:lnTo>
                <a:lnTo>
                  <a:pt x="57075" y="58395"/>
                </a:lnTo>
                <a:lnTo>
                  <a:pt x="57169" y="58207"/>
                </a:lnTo>
                <a:lnTo>
                  <a:pt x="57075" y="58207"/>
                </a:lnTo>
                <a:lnTo>
                  <a:pt x="57924" y="57546"/>
                </a:lnTo>
                <a:lnTo>
                  <a:pt x="58678" y="56697"/>
                </a:lnTo>
                <a:lnTo>
                  <a:pt x="59339" y="55754"/>
                </a:lnTo>
                <a:lnTo>
                  <a:pt x="59905" y="54905"/>
                </a:lnTo>
                <a:lnTo>
                  <a:pt x="59716" y="54999"/>
                </a:lnTo>
                <a:lnTo>
                  <a:pt x="59622" y="54999"/>
                </a:lnTo>
                <a:lnTo>
                  <a:pt x="59810" y="54622"/>
                </a:lnTo>
                <a:lnTo>
                  <a:pt x="59150" y="55565"/>
                </a:lnTo>
                <a:lnTo>
                  <a:pt x="59527" y="55094"/>
                </a:lnTo>
                <a:lnTo>
                  <a:pt x="59433" y="55377"/>
                </a:lnTo>
                <a:lnTo>
                  <a:pt x="58867" y="56037"/>
                </a:lnTo>
                <a:lnTo>
                  <a:pt x="59056" y="55660"/>
                </a:lnTo>
                <a:lnTo>
                  <a:pt x="59056" y="55660"/>
                </a:lnTo>
                <a:lnTo>
                  <a:pt x="58678" y="56037"/>
                </a:lnTo>
                <a:lnTo>
                  <a:pt x="59810" y="54339"/>
                </a:lnTo>
                <a:lnTo>
                  <a:pt x="60282" y="53490"/>
                </a:lnTo>
                <a:lnTo>
                  <a:pt x="60282" y="53301"/>
                </a:lnTo>
                <a:lnTo>
                  <a:pt x="60188" y="53395"/>
                </a:lnTo>
                <a:lnTo>
                  <a:pt x="60188" y="53395"/>
                </a:lnTo>
                <a:lnTo>
                  <a:pt x="60565" y="52924"/>
                </a:lnTo>
                <a:lnTo>
                  <a:pt x="61037" y="52452"/>
                </a:lnTo>
                <a:lnTo>
                  <a:pt x="61886" y="51509"/>
                </a:lnTo>
                <a:lnTo>
                  <a:pt x="61508" y="52452"/>
                </a:lnTo>
                <a:lnTo>
                  <a:pt x="60848" y="53584"/>
                </a:lnTo>
                <a:lnTo>
                  <a:pt x="59622" y="55565"/>
                </a:lnTo>
                <a:lnTo>
                  <a:pt x="60376" y="54528"/>
                </a:lnTo>
                <a:lnTo>
                  <a:pt x="60942" y="53678"/>
                </a:lnTo>
                <a:lnTo>
                  <a:pt x="61980" y="51792"/>
                </a:lnTo>
                <a:lnTo>
                  <a:pt x="61886" y="51886"/>
                </a:lnTo>
                <a:lnTo>
                  <a:pt x="61886" y="51697"/>
                </a:lnTo>
                <a:lnTo>
                  <a:pt x="62169" y="51037"/>
                </a:lnTo>
                <a:lnTo>
                  <a:pt x="62735" y="49999"/>
                </a:lnTo>
                <a:lnTo>
                  <a:pt x="61508" y="51603"/>
                </a:lnTo>
                <a:lnTo>
                  <a:pt x="61603" y="51037"/>
                </a:lnTo>
                <a:lnTo>
                  <a:pt x="61697" y="50377"/>
                </a:lnTo>
                <a:lnTo>
                  <a:pt x="62169" y="48962"/>
                </a:lnTo>
                <a:lnTo>
                  <a:pt x="62829" y="47358"/>
                </a:lnTo>
                <a:lnTo>
                  <a:pt x="63678" y="45565"/>
                </a:lnTo>
                <a:lnTo>
                  <a:pt x="65376" y="42169"/>
                </a:lnTo>
                <a:lnTo>
                  <a:pt x="66131" y="40660"/>
                </a:lnTo>
                <a:lnTo>
                  <a:pt x="66697" y="39339"/>
                </a:lnTo>
                <a:lnTo>
                  <a:pt x="66603" y="39528"/>
                </a:lnTo>
                <a:lnTo>
                  <a:pt x="66697" y="39056"/>
                </a:lnTo>
                <a:lnTo>
                  <a:pt x="66791" y="38962"/>
                </a:lnTo>
                <a:lnTo>
                  <a:pt x="66791" y="39056"/>
                </a:lnTo>
                <a:lnTo>
                  <a:pt x="66886" y="38584"/>
                </a:lnTo>
                <a:lnTo>
                  <a:pt x="66791" y="38867"/>
                </a:lnTo>
                <a:lnTo>
                  <a:pt x="66980" y="38207"/>
                </a:lnTo>
                <a:lnTo>
                  <a:pt x="67169" y="37264"/>
                </a:lnTo>
                <a:lnTo>
                  <a:pt x="67263" y="36415"/>
                </a:lnTo>
                <a:lnTo>
                  <a:pt x="67357" y="36509"/>
                </a:lnTo>
                <a:lnTo>
                  <a:pt x="67452" y="36509"/>
                </a:lnTo>
                <a:lnTo>
                  <a:pt x="67546" y="35943"/>
                </a:lnTo>
                <a:lnTo>
                  <a:pt x="67546" y="34811"/>
                </a:lnTo>
                <a:lnTo>
                  <a:pt x="67640" y="31037"/>
                </a:lnTo>
                <a:lnTo>
                  <a:pt x="67640" y="28490"/>
                </a:lnTo>
                <a:lnTo>
                  <a:pt x="67546" y="27736"/>
                </a:lnTo>
                <a:lnTo>
                  <a:pt x="67546" y="27547"/>
                </a:lnTo>
                <a:lnTo>
                  <a:pt x="67452" y="27547"/>
                </a:lnTo>
                <a:lnTo>
                  <a:pt x="67074" y="26792"/>
                </a:lnTo>
                <a:lnTo>
                  <a:pt x="66791" y="25660"/>
                </a:lnTo>
                <a:lnTo>
                  <a:pt x="66508" y="24528"/>
                </a:lnTo>
                <a:lnTo>
                  <a:pt x="66414" y="23585"/>
                </a:lnTo>
                <a:lnTo>
                  <a:pt x="66320" y="23679"/>
                </a:lnTo>
                <a:lnTo>
                  <a:pt x="66320" y="23490"/>
                </a:lnTo>
                <a:lnTo>
                  <a:pt x="65942" y="22924"/>
                </a:lnTo>
                <a:lnTo>
                  <a:pt x="65565" y="22358"/>
                </a:lnTo>
                <a:lnTo>
                  <a:pt x="64527" y="21132"/>
                </a:lnTo>
                <a:lnTo>
                  <a:pt x="63584" y="19906"/>
                </a:lnTo>
                <a:lnTo>
                  <a:pt x="63207" y="19340"/>
                </a:lnTo>
                <a:lnTo>
                  <a:pt x="63018" y="18774"/>
                </a:lnTo>
                <a:lnTo>
                  <a:pt x="63112" y="18962"/>
                </a:lnTo>
                <a:lnTo>
                  <a:pt x="63301" y="19057"/>
                </a:lnTo>
                <a:lnTo>
                  <a:pt x="63301" y="19057"/>
                </a:lnTo>
                <a:lnTo>
                  <a:pt x="63207" y="18868"/>
                </a:lnTo>
                <a:lnTo>
                  <a:pt x="62923" y="18491"/>
                </a:lnTo>
                <a:lnTo>
                  <a:pt x="61980" y="17453"/>
                </a:lnTo>
                <a:lnTo>
                  <a:pt x="61037" y="16509"/>
                </a:lnTo>
                <a:lnTo>
                  <a:pt x="61037" y="16698"/>
                </a:lnTo>
                <a:lnTo>
                  <a:pt x="61037" y="16887"/>
                </a:lnTo>
                <a:lnTo>
                  <a:pt x="60093" y="15943"/>
                </a:lnTo>
                <a:lnTo>
                  <a:pt x="60376" y="16321"/>
                </a:lnTo>
                <a:lnTo>
                  <a:pt x="59527" y="15377"/>
                </a:lnTo>
                <a:lnTo>
                  <a:pt x="59056" y="14906"/>
                </a:lnTo>
                <a:lnTo>
                  <a:pt x="59244" y="14906"/>
                </a:lnTo>
                <a:lnTo>
                  <a:pt x="59905" y="15472"/>
                </a:lnTo>
                <a:lnTo>
                  <a:pt x="59905" y="15472"/>
                </a:lnTo>
                <a:lnTo>
                  <a:pt x="57641" y="13396"/>
                </a:lnTo>
                <a:lnTo>
                  <a:pt x="58112" y="13868"/>
                </a:lnTo>
                <a:lnTo>
                  <a:pt x="56886" y="13019"/>
                </a:lnTo>
                <a:lnTo>
                  <a:pt x="55754" y="12453"/>
                </a:lnTo>
                <a:lnTo>
                  <a:pt x="56603" y="13113"/>
                </a:lnTo>
                <a:lnTo>
                  <a:pt x="57452" y="13774"/>
                </a:lnTo>
                <a:lnTo>
                  <a:pt x="58961" y="15283"/>
                </a:lnTo>
                <a:lnTo>
                  <a:pt x="60376" y="16604"/>
                </a:lnTo>
                <a:lnTo>
                  <a:pt x="61225" y="17264"/>
                </a:lnTo>
                <a:lnTo>
                  <a:pt x="62074" y="17925"/>
                </a:lnTo>
                <a:lnTo>
                  <a:pt x="62074" y="17925"/>
                </a:lnTo>
                <a:lnTo>
                  <a:pt x="61414" y="17547"/>
                </a:lnTo>
                <a:lnTo>
                  <a:pt x="60659" y="16981"/>
                </a:lnTo>
                <a:lnTo>
                  <a:pt x="60754" y="17264"/>
                </a:lnTo>
                <a:lnTo>
                  <a:pt x="60942" y="17642"/>
                </a:lnTo>
                <a:lnTo>
                  <a:pt x="61980" y="19151"/>
                </a:lnTo>
                <a:lnTo>
                  <a:pt x="63301" y="20943"/>
                </a:lnTo>
                <a:lnTo>
                  <a:pt x="63207" y="20943"/>
                </a:lnTo>
                <a:lnTo>
                  <a:pt x="63395" y="21038"/>
                </a:lnTo>
                <a:lnTo>
                  <a:pt x="63490" y="21321"/>
                </a:lnTo>
                <a:lnTo>
                  <a:pt x="63678" y="21604"/>
                </a:lnTo>
                <a:lnTo>
                  <a:pt x="63773" y="21698"/>
                </a:lnTo>
                <a:lnTo>
                  <a:pt x="63584" y="21321"/>
                </a:lnTo>
                <a:lnTo>
                  <a:pt x="63584" y="21321"/>
                </a:lnTo>
                <a:lnTo>
                  <a:pt x="64244" y="22170"/>
                </a:lnTo>
                <a:lnTo>
                  <a:pt x="64716" y="22641"/>
                </a:lnTo>
                <a:lnTo>
                  <a:pt x="64905" y="22830"/>
                </a:lnTo>
                <a:lnTo>
                  <a:pt x="64999" y="22830"/>
                </a:lnTo>
                <a:lnTo>
                  <a:pt x="64999" y="22641"/>
                </a:lnTo>
                <a:lnTo>
                  <a:pt x="64905" y="22358"/>
                </a:lnTo>
                <a:lnTo>
                  <a:pt x="65282" y="23207"/>
                </a:lnTo>
                <a:lnTo>
                  <a:pt x="65565" y="24056"/>
                </a:lnTo>
                <a:lnTo>
                  <a:pt x="66225" y="25943"/>
                </a:lnTo>
                <a:lnTo>
                  <a:pt x="66697" y="27830"/>
                </a:lnTo>
                <a:lnTo>
                  <a:pt x="66886" y="28490"/>
                </a:lnTo>
                <a:lnTo>
                  <a:pt x="66980" y="28868"/>
                </a:lnTo>
                <a:lnTo>
                  <a:pt x="66886" y="28962"/>
                </a:lnTo>
                <a:lnTo>
                  <a:pt x="66697" y="28679"/>
                </a:lnTo>
                <a:lnTo>
                  <a:pt x="66697" y="29245"/>
                </a:lnTo>
                <a:lnTo>
                  <a:pt x="66791" y="29905"/>
                </a:lnTo>
                <a:lnTo>
                  <a:pt x="66886" y="29905"/>
                </a:lnTo>
                <a:lnTo>
                  <a:pt x="66886" y="30094"/>
                </a:lnTo>
                <a:lnTo>
                  <a:pt x="66886" y="30566"/>
                </a:lnTo>
                <a:lnTo>
                  <a:pt x="66697" y="30377"/>
                </a:lnTo>
                <a:lnTo>
                  <a:pt x="66603" y="30188"/>
                </a:lnTo>
                <a:lnTo>
                  <a:pt x="66603" y="30094"/>
                </a:lnTo>
                <a:lnTo>
                  <a:pt x="66697" y="29905"/>
                </a:lnTo>
                <a:lnTo>
                  <a:pt x="66508" y="28679"/>
                </a:lnTo>
                <a:lnTo>
                  <a:pt x="66225" y="27358"/>
                </a:lnTo>
                <a:lnTo>
                  <a:pt x="66603" y="30283"/>
                </a:lnTo>
                <a:lnTo>
                  <a:pt x="66697" y="31792"/>
                </a:lnTo>
                <a:lnTo>
                  <a:pt x="66697" y="33302"/>
                </a:lnTo>
                <a:lnTo>
                  <a:pt x="66603" y="34717"/>
                </a:lnTo>
                <a:lnTo>
                  <a:pt x="66414" y="36226"/>
                </a:lnTo>
                <a:lnTo>
                  <a:pt x="66131" y="37547"/>
                </a:lnTo>
                <a:lnTo>
                  <a:pt x="65659" y="38962"/>
                </a:lnTo>
                <a:lnTo>
                  <a:pt x="65848" y="38584"/>
                </a:lnTo>
                <a:lnTo>
                  <a:pt x="65942" y="38584"/>
                </a:lnTo>
                <a:lnTo>
                  <a:pt x="65848" y="39245"/>
                </a:lnTo>
                <a:lnTo>
                  <a:pt x="65565" y="40188"/>
                </a:lnTo>
                <a:lnTo>
                  <a:pt x="65471" y="40471"/>
                </a:lnTo>
                <a:lnTo>
                  <a:pt x="65282" y="40660"/>
                </a:lnTo>
                <a:lnTo>
                  <a:pt x="65282" y="40566"/>
                </a:lnTo>
                <a:lnTo>
                  <a:pt x="65093" y="41132"/>
                </a:lnTo>
                <a:lnTo>
                  <a:pt x="64433" y="43018"/>
                </a:lnTo>
                <a:lnTo>
                  <a:pt x="63678" y="45282"/>
                </a:lnTo>
                <a:lnTo>
                  <a:pt x="62735" y="47264"/>
                </a:lnTo>
                <a:lnTo>
                  <a:pt x="61697" y="49056"/>
                </a:lnTo>
                <a:lnTo>
                  <a:pt x="60659" y="50943"/>
                </a:lnTo>
                <a:lnTo>
                  <a:pt x="59433" y="52735"/>
                </a:lnTo>
                <a:lnTo>
                  <a:pt x="58207" y="54433"/>
                </a:lnTo>
                <a:lnTo>
                  <a:pt x="56886" y="56037"/>
                </a:lnTo>
                <a:lnTo>
                  <a:pt x="55376" y="57641"/>
                </a:lnTo>
                <a:lnTo>
                  <a:pt x="53867" y="59150"/>
                </a:lnTo>
                <a:lnTo>
                  <a:pt x="52169" y="60376"/>
                </a:lnTo>
                <a:lnTo>
                  <a:pt x="48961" y="62452"/>
                </a:lnTo>
                <a:lnTo>
                  <a:pt x="44528" y="65282"/>
                </a:lnTo>
                <a:lnTo>
                  <a:pt x="44622" y="65188"/>
                </a:lnTo>
                <a:lnTo>
                  <a:pt x="44716" y="65093"/>
                </a:lnTo>
                <a:lnTo>
                  <a:pt x="45094" y="64810"/>
                </a:lnTo>
                <a:lnTo>
                  <a:pt x="45660" y="64527"/>
                </a:lnTo>
                <a:lnTo>
                  <a:pt x="43867" y="65376"/>
                </a:lnTo>
                <a:lnTo>
                  <a:pt x="43113" y="65754"/>
                </a:lnTo>
                <a:lnTo>
                  <a:pt x="42924" y="65754"/>
                </a:lnTo>
                <a:lnTo>
                  <a:pt x="43113" y="65659"/>
                </a:lnTo>
                <a:lnTo>
                  <a:pt x="41603" y="66037"/>
                </a:lnTo>
                <a:lnTo>
                  <a:pt x="39999" y="66320"/>
                </a:lnTo>
                <a:lnTo>
                  <a:pt x="38396" y="66508"/>
                </a:lnTo>
                <a:lnTo>
                  <a:pt x="36792" y="66697"/>
                </a:lnTo>
                <a:lnTo>
                  <a:pt x="33584" y="66980"/>
                </a:lnTo>
                <a:lnTo>
                  <a:pt x="32169" y="67169"/>
                </a:lnTo>
                <a:lnTo>
                  <a:pt x="30754" y="67357"/>
                </a:lnTo>
                <a:lnTo>
                  <a:pt x="30094" y="67357"/>
                </a:lnTo>
                <a:lnTo>
                  <a:pt x="29339" y="67263"/>
                </a:lnTo>
                <a:lnTo>
                  <a:pt x="27830" y="66886"/>
                </a:lnTo>
                <a:lnTo>
                  <a:pt x="26415" y="66508"/>
                </a:lnTo>
                <a:lnTo>
                  <a:pt x="25754" y="66414"/>
                </a:lnTo>
                <a:lnTo>
                  <a:pt x="25094" y="66414"/>
                </a:lnTo>
                <a:lnTo>
                  <a:pt x="25566" y="66980"/>
                </a:lnTo>
                <a:lnTo>
                  <a:pt x="25471" y="67074"/>
                </a:lnTo>
                <a:lnTo>
                  <a:pt x="25188" y="66980"/>
                </a:lnTo>
                <a:lnTo>
                  <a:pt x="24339" y="66791"/>
                </a:lnTo>
                <a:lnTo>
                  <a:pt x="23773" y="66508"/>
                </a:lnTo>
                <a:lnTo>
                  <a:pt x="24245" y="66414"/>
                </a:lnTo>
                <a:lnTo>
                  <a:pt x="24717" y="66603"/>
                </a:lnTo>
                <a:lnTo>
                  <a:pt x="24811" y="66414"/>
                </a:lnTo>
                <a:lnTo>
                  <a:pt x="24811" y="66320"/>
                </a:lnTo>
                <a:lnTo>
                  <a:pt x="24717" y="66225"/>
                </a:lnTo>
                <a:lnTo>
                  <a:pt x="24528" y="66131"/>
                </a:lnTo>
                <a:lnTo>
                  <a:pt x="24151" y="66225"/>
                </a:lnTo>
                <a:lnTo>
                  <a:pt x="23679" y="66320"/>
                </a:lnTo>
                <a:lnTo>
                  <a:pt x="23018" y="66414"/>
                </a:lnTo>
                <a:lnTo>
                  <a:pt x="23490" y="66225"/>
                </a:lnTo>
                <a:lnTo>
                  <a:pt x="22075" y="65942"/>
                </a:lnTo>
                <a:lnTo>
                  <a:pt x="20943" y="65659"/>
                </a:lnTo>
                <a:lnTo>
                  <a:pt x="20000" y="65282"/>
                </a:lnTo>
                <a:lnTo>
                  <a:pt x="19056" y="64810"/>
                </a:lnTo>
                <a:lnTo>
                  <a:pt x="19056" y="64810"/>
                </a:lnTo>
                <a:lnTo>
                  <a:pt x="19717" y="64999"/>
                </a:lnTo>
                <a:lnTo>
                  <a:pt x="19151" y="64716"/>
                </a:lnTo>
                <a:lnTo>
                  <a:pt x="18962" y="64810"/>
                </a:lnTo>
                <a:lnTo>
                  <a:pt x="19151" y="64905"/>
                </a:lnTo>
                <a:lnTo>
                  <a:pt x="18490" y="64905"/>
                </a:lnTo>
                <a:lnTo>
                  <a:pt x="17830" y="64716"/>
                </a:lnTo>
                <a:lnTo>
                  <a:pt x="17264" y="64527"/>
                </a:lnTo>
                <a:lnTo>
                  <a:pt x="16698" y="64150"/>
                </a:lnTo>
                <a:lnTo>
                  <a:pt x="16981" y="64056"/>
                </a:lnTo>
                <a:lnTo>
                  <a:pt x="17264" y="64150"/>
                </a:lnTo>
                <a:lnTo>
                  <a:pt x="17264" y="64150"/>
                </a:lnTo>
                <a:lnTo>
                  <a:pt x="15188" y="63207"/>
                </a:lnTo>
                <a:lnTo>
                  <a:pt x="14622" y="62829"/>
                </a:lnTo>
                <a:lnTo>
                  <a:pt x="14717" y="62924"/>
                </a:lnTo>
                <a:lnTo>
                  <a:pt x="13773" y="62546"/>
                </a:lnTo>
                <a:lnTo>
                  <a:pt x="12924" y="62075"/>
                </a:lnTo>
                <a:lnTo>
                  <a:pt x="12358" y="61697"/>
                </a:lnTo>
                <a:lnTo>
                  <a:pt x="12264" y="61508"/>
                </a:lnTo>
                <a:lnTo>
                  <a:pt x="12170" y="61320"/>
                </a:lnTo>
                <a:lnTo>
                  <a:pt x="11698" y="60942"/>
                </a:lnTo>
                <a:lnTo>
                  <a:pt x="11132" y="60471"/>
                </a:lnTo>
                <a:lnTo>
                  <a:pt x="9906" y="59244"/>
                </a:lnTo>
                <a:lnTo>
                  <a:pt x="9906" y="59244"/>
                </a:lnTo>
                <a:lnTo>
                  <a:pt x="10566" y="59527"/>
                </a:lnTo>
                <a:lnTo>
                  <a:pt x="9434" y="58584"/>
                </a:lnTo>
                <a:lnTo>
                  <a:pt x="8207" y="57546"/>
                </a:lnTo>
                <a:lnTo>
                  <a:pt x="7547" y="56886"/>
                </a:lnTo>
                <a:lnTo>
                  <a:pt x="6981" y="56131"/>
                </a:lnTo>
                <a:lnTo>
                  <a:pt x="6226" y="55094"/>
                </a:lnTo>
                <a:lnTo>
                  <a:pt x="6415" y="55377"/>
                </a:lnTo>
                <a:lnTo>
                  <a:pt x="6038" y="54905"/>
                </a:lnTo>
                <a:lnTo>
                  <a:pt x="5472" y="54244"/>
                </a:lnTo>
                <a:lnTo>
                  <a:pt x="5283" y="53961"/>
                </a:lnTo>
                <a:lnTo>
                  <a:pt x="5094" y="53867"/>
                </a:lnTo>
                <a:lnTo>
                  <a:pt x="5377" y="54622"/>
                </a:lnTo>
                <a:lnTo>
                  <a:pt x="5849" y="55282"/>
                </a:lnTo>
                <a:lnTo>
                  <a:pt x="6321" y="55943"/>
                </a:lnTo>
                <a:lnTo>
                  <a:pt x="6698" y="56603"/>
                </a:lnTo>
                <a:lnTo>
                  <a:pt x="6226" y="56226"/>
                </a:lnTo>
                <a:lnTo>
                  <a:pt x="5943" y="55848"/>
                </a:lnTo>
                <a:lnTo>
                  <a:pt x="6038" y="56037"/>
                </a:lnTo>
                <a:lnTo>
                  <a:pt x="5943" y="55943"/>
                </a:lnTo>
                <a:lnTo>
                  <a:pt x="5377" y="55188"/>
                </a:lnTo>
                <a:lnTo>
                  <a:pt x="5000" y="54716"/>
                </a:lnTo>
                <a:lnTo>
                  <a:pt x="4717" y="54150"/>
                </a:lnTo>
                <a:lnTo>
                  <a:pt x="4528" y="53678"/>
                </a:lnTo>
                <a:lnTo>
                  <a:pt x="4528" y="53584"/>
                </a:lnTo>
                <a:lnTo>
                  <a:pt x="4623" y="53395"/>
                </a:lnTo>
                <a:lnTo>
                  <a:pt x="5094" y="54244"/>
                </a:lnTo>
                <a:lnTo>
                  <a:pt x="4717" y="53301"/>
                </a:lnTo>
                <a:lnTo>
                  <a:pt x="4528" y="53018"/>
                </a:lnTo>
                <a:lnTo>
                  <a:pt x="4151" y="52263"/>
                </a:lnTo>
                <a:lnTo>
                  <a:pt x="4151" y="52169"/>
                </a:lnTo>
                <a:lnTo>
                  <a:pt x="3774" y="51509"/>
                </a:lnTo>
                <a:lnTo>
                  <a:pt x="3396" y="50660"/>
                </a:lnTo>
                <a:lnTo>
                  <a:pt x="3585" y="51603"/>
                </a:lnTo>
                <a:lnTo>
                  <a:pt x="3396" y="51226"/>
                </a:lnTo>
                <a:lnTo>
                  <a:pt x="3208" y="50848"/>
                </a:lnTo>
                <a:lnTo>
                  <a:pt x="3208" y="50471"/>
                </a:lnTo>
                <a:lnTo>
                  <a:pt x="3208" y="50094"/>
                </a:lnTo>
                <a:lnTo>
                  <a:pt x="3585" y="50754"/>
                </a:lnTo>
                <a:lnTo>
                  <a:pt x="3868" y="51509"/>
                </a:lnTo>
                <a:lnTo>
                  <a:pt x="3868" y="51509"/>
                </a:lnTo>
                <a:lnTo>
                  <a:pt x="3208" y="49528"/>
                </a:lnTo>
                <a:lnTo>
                  <a:pt x="3208" y="49528"/>
                </a:lnTo>
                <a:lnTo>
                  <a:pt x="3868" y="50754"/>
                </a:lnTo>
                <a:lnTo>
                  <a:pt x="3208" y="48962"/>
                </a:lnTo>
                <a:lnTo>
                  <a:pt x="3585" y="49339"/>
                </a:lnTo>
                <a:lnTo>
                  <a:pt x="3774" y="49433"/>
                </a:lnTo>
                <a:lnTo>
                  <a:pt x="3962" y="49528"/>
                </a:lnTo>
                <a:lnTo>
                  <a:pt x="4057" y="49905"/>
                </a:lnTo>
                <a:lnTo>
                  <a:pt x="3868" y="48962"/>
                </a:lnTo>
                <a:lnTo>
                  <a:pt x="3491" y="47924"/>
                </a:lnTo>
                <a:lnTo>
                  <a:pt x="2641" y="45565"/>
                </a:lnTo>
                <a:lnTo>
                  <a:pt x="2170" y="43867"/>
                </a:lnTo>
                <a:lnTo>
                  <a:pt x="1698" y="41886"/>
                </a:lnTo>
                <a:lnTo>
                  <a:pt x="1698" y="41886"/>
                </a:lnTo>
                <a:lnTo>
                  <a:pt x="1887" y="42075"/>
                </a:lnTo>
                <a:lnTo>
                  <a:pt x="1981" y="41981"/>
                </a:lnTo>
                <a:lnTo>
                  <a:pt x="2075" y="42075"/>
                </a:lnTo>
                <a:lnTo>
                  <a:pt x="2264" y="42169"/>
                </a:lnTo>
                <a:lnTo>
                  <a:pt x="2170" y="40283"/>
                </a:lnTo>
                <a:lnTo>
                  <a:pt x="2075" y="38301"/>
                </a:lnTo>
                <a:lnTo>
                  <a:pt x="2170" y="36415"/>
                </a:lnTo>
                <a:lnTo>
                  <a:pt x="2358" y="35566"/>
                </a:lnTo>
                <a:lnTo>
                  <a:pt x="2453" y="34811"/>
                </a:lnTo>
                <a:lnTo>
                  <a:pt x="2830" y="32830"/>
                </a:lnTo>
                <a:lnTo>
                  <a:pt x="2830" y="33207"/>
                </a:lnTo>
                <a:lnTo>
                  <a:pt x="2924" y="33490"/>
                </a:lnTo>
                <a:lnTo>
                  <a:pt x="2924" y="32453"/>
                </a:lnTo>
                <a:lnTo>
                  <a:pt x="3019" y="31415"/>
                </a:lnTo>
                <a:lnTo>
                  <a:pt x="3396" y="29245"/>
                </a:lnTo>
                <a:lnTo>
                  <a:pt x="3868" y="27075"/>
                </a:lnTo>
                <a:lnTo>
                  <a:pt x="4623" y="25000"/>
                </a:lnTo>
                <a:lnTo>
                  <a:pt x="5566" y="22830"/>
                </a:lnTo>
                <a:lnTo>
                  <a:pt x="6604" y="20849"/>
                </a:lnTo>
                <a:lnTo>
                  <a:pt x="7830" y="18868"/>
                </a:lnTo>
                <a:lnTo>
                  <a:pt x="9151" y="16887"/>
                </a:lnTo>
                <a:lnTo>
                  <a:pt x="10566" y="15094"/>
                </a:lnTo>
                <a:lnTo>
                  <a:pt x="12075" y="13302"/>
                </a:lnTo>
                <a:lnTo>
                  <a:pt x="13773" y="11698"/>
                </a:lnTo>
                <a:lnTo>
                  <a:pt x="15377" y="10095"/>
                </a:lnTo>
                <a:lnTo>
                  <a:pt x="17170" y="8679"/>
                </a:lnTo>
                <a:lnTo>
                  <a:pt x="18962" y="7453"/>
                </a:lnTo>
                <a:lnTo>
                  <a:pt x="20754" y="6321"/>
                </a:lnTo>
                <a:lnTo>
                  <a:pt x="22547" y="5378"/>
                </a:lnTo>
                <a:lnTo>
                  <a:pt x="21603" y="6227"/>
                </a:lnTo>
                <a:lnTo>
                  <a:pt x="22641" y="5472"/>
                </a:lnTo>
                <a:lnTo>
                  <a:pt x="23302" y="5095"/>
                </a:lnTo>
                <a:lnTo>
                  <a:pt x="25377" y="4151"/>
                </a:lnTo>
                <a:lnTo>
                  <a:pt x="24811" y="4151"/>
                </a:lnTo>
                <a:lnTo>
                  <a:pt x="25660" y="3774"/>
                </a:lnTo>
                <a:lnTo>
                  <a:pt x="26886" y="3208"/>
                </a:lnTo>
                <a:lnTo>
                  <a:pt x="26603" y="3585"/>
                </a:lnTo>
                <a:lnTo>
                  <a:pt x="26886" y="3585"/>
                </a:lnTo>
                <a:lnTo>
                  <a:pt x="26886" y="3680"/>
                </a:lnTo>
                <a:lnTo>
                  <a:pt x="26792" y="3774"/>
                </a:lnTo>
                <a:lnTo>
                  <a:pt x="28301" y="3302"/>
                </a:lnTo>
                <a:lnTo>
                  <a:pt x="29622" y="2736"/>
                </a:lnTo>
                <a:lnTo>
                  <a:pt x="31037" y="2264"/>
                </a:lnTo>
                <a:lnTo>
                  <a:pt x="31792" y="2076"/>
                </a:lnTo>
                <a:lnTo>
                  <a:pt x="32641" y="1981"/>
                </a:lnTo>
                <a:lnTo>
                  <a:pt x="32547" y="2076"/>
                </a:lnTo>
                <a:lnTo>
                  <a:pt x="32924" y="1981"/>
                </a:lnTo>
                <a:lnTo>
                  <a:pt x="34245" y="1793"/>
                </a:lnTo>
                <a:lnTo>
                  <a:pt x="35848" y="1415"/>
                </a:lnTo>
                <a:lnTo>
                  <a:pt x="36981" y="1132"/>
                </a:lnTo>
                <a:lnTo>
                  <a:pt x="36981" y="1415"/>
                </a:lnTo>
                <a:lnTo>
                  <a:pt x="40943" y="1227"/>
                </a:lnTo>
                <a:lnTo>
                  <a:pt x="41509" y="1038"/>
                </a:lnTo>
                <a:lnTo>
                  <a:pt x="41697" y="1132"/>
                </a:lnTo>
                <a:lnTo>
                  <a:pt x="41509" y="1227"/>
                </a:lnTo>
                <a:lnTo>
                  <a:pt x="41320" y="1321"/>
                </a:lnTo>
                <a:lnTo>
                  <a:pt x="42263" y="1321"/>
                </a:lnTo>
                <a:lnTo>
                  <a:pt x="43113" y="1227"/>
                </a:lnTo>
                <a:lnTo>
                  <a:pt x="43396" y="1415"/>
                </a:lnTo>
                <a:lnTo>
                  <a:pt x="44056" y="1604"/>
                </a:lnTo>
                <a:lnTo>
                  <a:pt x="45943" y="2076"/>
                </a:lnTo>
                <a:lnTo>
                  <a:pt x="48018" y="2359"/>
                </a:lnTo>
                <a:lnTo>
                  <a:pt x="49622" y="2736"/>
                </a:lnTo>
                <a:lnTo>
                  <a:pt x="47641" y="1981"/>
                </a:lnTo>
                <a:lnTo>
                  <a:pt x="45282" y="1321"/>
                </a:lnTo>
                <a:lnTo>
                  <a:pt x="42735" y="755"/>
                </a:lnTo>
                <a:lnTo>
                  <a:pt x="40188" y="283"/>
                </a:lnTo>
                <a:lnTo>
                  <a:pt x="37735" y="95"/>
                </a:lnTo>
                <a:lnTo>
                  <a:pt x="35471" y="0"/>
                </a:lnTo>
                <a:close/>
              </a:path>
            </a:pathLst>
          </a:custGeom>
          <a:solidFill>
            <a:schemeClr val="bg2">
              <a:lumMod val="75000"/>
            </a:schemeClr>
          </a:solidFill>
          <a:ln>
            <a:noFill/>
          </a:ln>
        </p:spPr>
        <p:txBody>
          <a:bodyPr spcFirstLastPara="1" wrap="square" lIns="91425" tIns="91425" rIns="91425" bIns="91425" anchor="ctr" anchorCtr="0">
            <a:noAutofit/>
          </a:bodyPr>
          <a:lstStyle/>
          <a:p>
            <a:pPr marL="0" lvl="0" indent="0">
              <a:spcBef>
                <a:spcPts val="0"/>
              </a:spcBef>
              <a:spcAft>
                <a:spcPts val="0"/>
              </a:spcAft>
              <a:buNone/>
            </a:pPr>
            <a:endParaRPr sz="1200" dirty="0">
              <a:latin typeface="Comic Sans MS" panose="030F0902030302020204" pitchFamily="66" charset="0"/>
            </a:endParaRPr>
          </a:p>
        </p:txBody>
      </p:sp>
      <p:sp>
        <p:nvSpPr>
          <p:cNvPr id="46" name="Google Shape;431;p39">
            <a:extLst>
              <a:ext uri="{FF2B5EF4-FFF2-40B4-BE49-F238E27FC236}">
                <a16:creationId xmlns:a16="http://schemas.microsoft.com/office/drawing/2014/main" id="{55532372-9DF9-6A47-9A78-F6831BEE062B}"/>
              </a:ext>
            </a:extLst>
          </p:cNvPr>
          <p:cNvSpPr/>
          <p:nvPr/>
        </p:nvSpPr>
        <p:spPr>
          <a:xfrm rot="21011211">
            <a:off x="4094525" y="2734168"/>
            <a:ext cx="863367" cy="884892"/>
          </a:xfrm>
          <a:custGeom>
            <a:avLst/>
            <a:gdLst/>
            <a:ahLst/>
            <a:cxnLst/>
            <a:rect l="0" t="0" r="0" b="0"/>
            <a:pathLst>
              <a:path w="67641" h="69056" extrusionOk="0">
                <a:moveTo>
                  <a:pt x="49622" y="2736"/>
                </a:moveTo>
                <a:lnTo>
                  <a:pt x="49622" y="2736"/>
                </a:lnTo>
                <a:lnTo>
                  <a:pt x="49622" y="2736"/>
                </a:lnTo>
                <a:close/>
                <a:moveTo>
                  <a:pt x="59622" y="55565"/>
                </a:moveTo>
                <a:lnTo>
                  <a:pt x="59622" y="55565"/>
                </a:lnTo>
                <a:lnTo>
                  <a:pt x="59622" y="55565"/>
                </a:lnTo>
                <a:close/>
                <a:moveTo>
                  <a:pt x="35471" y="0"/>
                </a:moveTo>
                <a:lnTo>
                  <a:pt x="34433" y="95"/>
                </a:lnTo>
                <a:lnTo>
                  <a:pt x="33584" y="189"/>
                </a:lnTo>
                <a:lnTo>
                  <a:pt x="32735" y="378"/>
                </a:lnTo>
                <a:lnTo>
                  <a:pt x="32169" y="566"/>
                </a:lnTo>
                <a:lnTo>
                  <a:pt x="31509" y="472"/>
                </a:lnTo>
                <a:lnTo>
                  <a:pt x="30754" y="472"/>
                </a:lnTo>
                <a:lnTo>
                  <a:pt x="29339" y="566"/>
                </a:lnTo>
                <a:lnTo>
                  <a:pt x="27830" y="849"/>
                </a:lnTo>
                <a:lnTo>
                  <a:pt x="26320" y="1321"/>
                </a:lnTo>
                <a:lnTo>
                  <a:pt x="24811" y="1981"/>
                </a:lnTo>
                <a:lnTo>
                  <a:pt x="23207" y="2736"/>
                </a:lnTo>
                <a:lnTo>
                  <a:pt x="21698" y="3585"/>
                </a:lnTo>
                <a:lnTo>
                  <a:pt x="20188" y="4623"/>
                </a:lnTo>
                <a:lnTo>
                  <a:pt x="18679" y="5661"/>
                </a:lnTo>
                <a:lnTo>
                  <a:pt x="17170" y="6793"/>
                </a:lnTo>
                <a:lnTo>
                  <a:pt x="15754" y="8019"/>
                </a:lnTo>
                <a:lnTo>
                  <a:pt x="14434" y="9151"/>
                </a:lnTo>
                <a:lnTo>
                  <a:pt x="11981" y="11510"/>
                </a:lnTo>
                <a:lnTo>
                  <a:pt x="10000" y="13774"/>
                </a:lnTo>
                <a:lnTo>
                  <a:pt x="7736" y="16981"/>
                </a:lnTo>
                <a:lnTo>
                  <a:pt x="8019" y="16321"/>
                </a:lnTo>
                <a:lnTo>
                  <a:pt x="8302" y="15660"/>
                </a:lnTo>
                <a:lnTo>
                  <a:pt x="7736" y="16604"/>
                </a:lnTo>
                <a:lnTo>
                  <a:pt x="7075" y="17642"/>
                </a:lnTo>
                <a:lnTo>
                  <a:pt x="7170" y="17830"/>
                </a:lnTo>
                <a:lnTo>
                  <a:pt x="6509" y="18868"/>
                </a:lnTo>
                <a:lnTo>
                  <a:pt x="7075" y="17359"/>
                </a:lnTo>
                <a:lnTo>
                  <a:pt x="6132" y="19057"/>
                </a:lnTo>
                <a:lnTo>
                  <a:pt x="5189" y="20849"/>
                </a:lnTo>
                <a:lnTo>
                  <a:pt x="4434" y="22736"/>
                </a:lnTo>
                <a:lnTo>
                  <a:pt x="3679" y="24622"/>
                </a:lnTo>
                <a:lnTo>
                  <a:pt x="2453" y="28490"/>
                </a:lnTo>
                <a:lnTo>
                  <a:pt x="1321" y="32169"/>
                </a:lnTo>
                <a:lnTo>
                  <a:pt x="1509" y="32264"/>
                </a:lnTo>
                <a:lnTo>
                  <a:pt x="1604" y="32453"/>
                </a:lnTo>
                <a:lnTo>
                  <a:pt x="1604" y="32641"/>
                </a:lnTo>
                <a:lnTo>
                  <a:pt x="1509" y="32924"/>
                </a:lnTo>
                <a:lnTo>
                  <a:pt x="1226" y="33396"/>
                </a:lnTo>
                <a:lnTo>
                  <a:pt x="1038" y="33585"/>
                </a:lnTo>
                <a:lnTo>
                  <a:pt x="1038" y="33773"/>
                </a:lnTo>
                <a:lnTo>
                  <a:pt x="1038" y="35000"/>
                </a:lnTo>
                <a:lnTo>
                  <a:pt x="849" y="36132"/>
                </a:lnTo>
                <a:lnTo>
                  <a:pt x="660" y="37358"/>
                </a:lnTo>
                <a:lnTo>
                  <a:pt x="472" y="38867"/>
                </a:lnTo>
                <a:lnTo>
                  <a:pt x="283" y="38301"/>
                </a:lnTo>
                <a:lnTo>
                  <a:pt x="94" y="39811"/>
                </a:lnTo>
                <a:lnTo>
                  <a:pt x="0" y="41509"/>
                </a:lnTo>
                <a:lnTo>
                  <a:pt x="94" y="43301"/>
                </a:lnTo>
                <a:lnTo>
                  <a:pt x="283" y="44056"/>
                </a:lnTo>
                <a:lnTo>
                  <a:pt x="472" y="44622"/>
                </a:lnTo>
                <a:lnTo>
                  <a:pt x="566" y="45660"/>
                </a:lnTo>
                <a:lnTo>
                  <a:pt x="755" y="46792"/>
                </a:lnTo>
                <a:lnTo>
                  <a:pt x="1226" y="48962"/>
                </a:lnTo>
                <a:lnTo>
                  <a:pt x="1981" y="51037"/>
                </a:lnTo>
                <a:lnTo>
                  <a:pt x="2924" y="53112"/>
                </a:lnTo>
                <a:lnTo>
                  <a:pt x="4057" y="55094"/>
                </a:lnTo>
                <a:lnTo>
                  <a:pt x="5283" y="56980"/>
                </a:lnTo>
                <a:lnTo>
                  <a:pt x="6698" y="58678"/>
                </a:lnTo>
                <a:lnTo>
                  <a:pt x="8113" y="60282"/>
                </a:lnTo>
                <a:lnTo>
                  <a:pt x="9056" y="61131"/>
                </a:lnTo>
                <a:lnTo>
                  <a:pt x="10000" y="61980"/>
                </a:lnTo>
                <a:lnTo>
                  <a:pt x="11038" y="62829"/>
                </a:lnTo>
                <a:lnTo>
                  <a:pt x="12075" y="63584"/>
                </a:lnTo>
                <a:lnTo>
                  <a:pt x="14339" y="64905"/>
                </a:lnTo>
                <a:lnTo>
                  <a:pt x="16604" y="66131"/>
                </a:lnTo>
                <a:lnTo>
                  <a:pt x="19056" y="67169"/>
                </a:lnTo>
                <a:lnTo>
                  <a:pt x="21509" y="67923"/>
                </a:lnTo>
                <a:lnTo>
                  <a:pt x="24056" y="68584"/>
                </a:lnTo>
                <a:lnTo>
                  <a:pt x="26603" y="69055"/>
                </a:lnTo>
                <a:lnTo>
                  <a:pt x="27830" y="69055"/>
                </a:lnTo>
                <a:lnTo>
                  <a:pt x="30188" y="68867"/>
                </a:lnTo>
                <a:lnTo>
                  <a:pt x="33113" y="68678"/>
                </a:lnTo>
                <a:lnTo>
                  <a:pt x="36509" y="68301"/>
                </a:lnTo>
                <a:lnTo>
                  <a:pt x="39811" y="67923"/>
                </a:lnTo>
                <a:lnTo>
                  <a:pt x="42735" y="67452"/>
                </a:lnTo>
                <a:lnTo>
                  <a:pt x="44905" y="66980"/>
                </a:lnTo>
                <a:lnTo>
                  <a:pt x="45565" y="66791"/>
                </a:lnTo>
                <a:lnTo>
                  <a:pt x="45943" y="66508"/>
                </a:lnTo>
                <a:lnTo>
                  <a:pt x="47358" y="65942"/>
                </a:lnTo>
                <a:lnTo>
                  <a:pt x="48018" y="65565"/>
                </a:lnTo>
                <a:lnTo>
                  <a:pt x="48678" y="65188"/>
                </a:lnTo>
                <a:lnTo>
                  <a:pt x="47924" y="65471"/>
                </a:lnTo>
                <a:lnTo>
                  <a:pt x="51509" y="62924"/>
                </a:lnTo>
                <a:lnTo>
                  <a:pt x="53301" y="61508"/>
                </a:lnTo>
                <a:lnTo>
                  <a:pt x="55093" y="59905"/>
                </a:lnTo>
                <a:lnTo>
                  <a:pt x="55093" y="59905"/>
                </a:lnTo>
                <a:lnTo>
                  <a:pt x="54810" y="60376"/>
                </a:lnTo>
                <a:lnTo>
                  <a:pt x="54339" y="60754"/>
                </a:lnTo>
                <a:lnTo>
                  <a:pt x="55376" y="59999"/>
                </a:lnTo>
                <a:lnTo>
                  <a:pt x="56320" y="59056"/>
                </a:lnTo>
                <a:lnTo>
                  <a:pt x="57075" y="58395"/>
                </a:lnTo>
                <a:lnTo>
                  <a:pt x="57169" y="58207"/>
                </a:lnTo>
                <a:lnTo>
                  <a:pt x="57075" y="58207"/>
                </a:lnTo>
                <a:lnTo>
                  <a:pt x="57924" y="57546"/>
                </a:lnTo>
                <a:lnTo>
                  <a:pt x="58678" y="56697"/>
                </a:lnTo>
                <a:lnTo>
                  <a:pt x="59339" y="55754"/>
                </a:lnTo>
                <a:lnTo>
                  <a:pt x="59905" y="54905"/>
                </a:lnTo>
                <a:lnTo>
                  <a:pt x="59716" y="54999"/>
                </a:lnTo>
                <a:lnTo>
                  <a:pt x="59622" y="54999"/>
                </a:lnTo>
                <a:lnTo>
                  <a:pt x="59810" y="54622"/>
                </a:lnTo>
                <a:lnTo>
                  <a:pt x="59150" y="55565"/>
                </a:lnTo>
                <a:lnTo>
                  <a:pt x="59527" y="55094"/>
                </a:lnTo>
                <a:lnTo>
                  <a:pt x="59433" y="55377"/>
                </a:lnTo>
                <a:lnTo>
                  <a:pt x="58867" y="56037"/>
                </a:lnTo>
                <a:lnTo>
                  <a:pt x="59056" y="55660"/>
                </a:lnTo>
                <a:lnTo>
                  <a:pt x="59056" y="55660"/>
                </a:lnTo>
                <a:lnTo>
                  <a:pt x="58678" y="56037"/>
                </a:lnTo>
                <a:lnTo>
                  <a:pt x="59810" y="54339"/>
                </a:lnTo>
                <a:lnTo>
                  <a:pt x="60282" y="53490"/>
                </a:lnTo>
                <a:lnTo>
                  <a:pt x="60282" y="53301"/>
                </a:lnTo>
                <a:lnTo>
                  <a:pt x="60188" y="53395"/>
                </a:lnTo>
                <a:lnTo>
                  <a:pt x="60188" y="53395"/>
                </a:lnTo>
                <a:lnTo>
                  <a:pt x="60565" y="52924"/>
                </a:lnTo>
                <a:lnTo>
                  <a:pt x="61037" y="52452"/>
                </a:lnTo>
                <a:lnTo>
                  <a:pt x="61886" y="51509"/>
                </a:lnTo>
                <a:lnTo>
                  <a:pt x="61508" y="52452"/>
                </a:lnTo>
                <a:lnTo>
                  <a:pt x="60848" y="53584"/>
                </a:lnTo>
                <a:lnTo>
                  <a:pt x="59622" y="55565"/>
                </a:lnTo>
                <a:lnTo>
                  <a:pt x="60376" y="54528"/>
                </a:lnTo>
                <a:lnTo>
                  <a:pt x="60942" y="53678"/>
                </a:lnTo>
                <a:lnTo>
                  <a:pt x="61980" y="51792"/>
                </a:lnTo>
                <a:lnTo>
                  <a:pt x="61886" y="51886"/>
                </a:lnTo>
                <a:lnTo>
                  <a:pt x="61886" y="51697"/>
                </a:lnTo>
                <a:lnTo>
                  <a:pt x="62169" y="51037"/>
                </a:lnTo>
                <a:lnTo>
                  <a:pt x="62735" y="49999"/>
                </a:lnTo>
                <a:lnTo>
                  <a:pt x="61508" y="51603"/>
                </a:lnTo>
                <a:lnTo>
                  <a:pt x="61603" y="51037"/>
                </a:lnTo>
                <a:lnTo>
                  <a:pt x="61697" y="50377"/>
                </a:lnTo>
                <a:lnTo>
                  <a:pt x="62169" y="48962"/>
                </a:lnTo>
                <a:lnTo>
                  <a:pt x="62829" y="47358"/>
                </a:lnTo>
                <a:lnTo>
                  <a:pt x="63678" y="45565"/>
                </a:lnTo>
                <a:lnTo>
                  <a:pt x="65376" y="42169"/>
                </a:lnTo>
                <a:lnTo>
                  <a:pt x="66131" y="40660"/>
                </a:lnTo>
                <a:lnTo>
                  <a:pt x="66697" y="39339"/>
                </a:lnTo>
                <a:lnTo>
                  <a:pt x="66603" y="39528"/>
                </a:lnTo>
                <a:lnTo>
                  <a:pt x="66697" y="39056"/>
                </a:lnTo>
                <a:lnTo>
                  <a:pt x="66791" y="38962"/>
                </a:lnTo>
                <a:lnTo>
                  <a:pt x="66791" y="39056"/>
                </a:lnTo>
                <a:lnTo>
                  <a:pt x="66886" y="38584"/>
                </a:lnTo>
                <a:lnTo>
                  <a:pt x="66791" y="38867"/>
                </a:lnTo>
                <a:lnTo>
                  <a:pt x="66980" y="38207"/>
                </a:lnTo>
                <a:lnTo>
                  <a:pt x="67169" y="37264"/>
                </a:lnTo>
                <a:lnTo>
                  <a:pt x="67263" y="36415"/>
                </a:lnTo>
                <a:lnTo>
                  <a:pt x="67357" y="36509"/>
                </a:lnTo>
                <a:lnTo>
                  <a:pt x="67452" y="36509"/>
                </a:lnTo>
                <a:lnTo>
                  <a:pt x="67546" y="35943"/>
                </a:lnTo>
                <a:lnTo>
                  <a:pt x="67546" y="34811"/>
                </a:lnTo>
                <a:lnTo>
                  <a:pt x="67640" y="31037"/>
                </a:lnTo>
                <a:lnTo>
                  <a:pt x="67640" y="28490"/>
                </a:lnTo>
                <a:lnTo>
                  <a:pt x="67546" y="27736"/>
                </a:lnTo>
                <a:lnTo>
                  <a:pt x="67546" y="27547"/>
                </a:lnTo>
                <a:lnTo>
                  <a:pt x="67452" y="27547"/>
                </a:lnTo>
                <a:lnTo>
                  <a:pt x="67074" y="26792"/>
                </a:lnTo>
                <a:lnTo>
                  <a:pt x="66791" y="25660"/>
                </a:lnTo>
                <a:lnTo>
                  <a:pt x="66508" y="24528"/>
                </a:lnTo>
                <a:lnTo>
                  <a:pt x="66414" y="23585"/>
                </a:lnTo>
                <a:lnTo>
                  <a:pt x="66320" y="23679"/>
                </a:lnTo>
                <a:lnTo>
                  <a:pt x="66320" y="23490"/>
                </a:lnTo>
                <a:lnTo>
                  <a:pt x="65942" y="22924"/>
                </a:lnTo>
                <a:lnTo>
                  <a:pt x="65565" y="22358"/>
                </a:lnTo>
                <a:lnTo>
                  <a:pt x="64527" y="21132"/>
                </a:lnTo>
                <a:lnTo>
                  <a:pt x="63584" y="19906"/>
                </a:lnTo>
                <a:lnTo>
                  <a:pt x="63207" y="19340"/>
                </a:lnTo>
                <a:lnTo>
                  <a:pt x="63018" y="18774"/>
                </a:lnTo>
                <a:lnTo>
                  <a:pt x="63112" y="18962"/>
                </a:lnTo>
                <a:lnTo>
                  <a:pt x="63301" y="19057"/>
                </a:lnTo>
                <a:lnTo>
                  <a:pt x="63301" y="19057"/>
                </a:lnTo>
                <a:lnTo>
                  <a:pt x="63207" y="18868"/>
                </a:lnTo>
                <a:lnTo>
                  <a:pt x="62923" y="18491"/>
                </a:lnTo>
                <a:lnTo>
                  <a:pt x="61980" y="17453"/>
                </a:lnTo>
                <a:lnTo>
                  <a:pt x="61037" y="16509"/>
                </a:lnTo>
                <a:lnTo>
                  <a:pt x="61037" y="16698"/>
                </a:lnTo>
                <a:lnTo>
                  <a:pt x="61037" y="16887"/>
                </a:lnTo>
                <a:lnTo>
                  <a:pt x="60093" y="15943"/>
                </a:lnTo>
                <a:lnTo>
                  <a:pt x="60376" y="16321"/>
                </a:lnTo>
                <a:lnTo>
                  <a:pt x="59527" y="15377"/>
                </a:lnTo>
                <a:lnTo>
                  <a:pt x="59056" y="14906"/>
                </a:lnTo>
                <a:lnTo>
                  <a:pt x="59244" y="14906"/>
                </a:lnTo>
                <a:lnTo>
                  <a:pt x="59905" y="15472"/>
                </a:lnTo>
                <a:lnTo>
                  <a:pt x="59905" y="15472"/>
                </a:lnTo>
                <a:lnTo>
                  <a:pt x="57641" y="13396"/>
                </a:lnTo>
                <a:lnTo>
                  <a:pt x="58112" y="13868"/>
                </a:lnTo>
                <a:lnTo>
                  <a:pt x="56886" y="13019"/>
                </a:lnTo>
                <a:lnTo>
                  <a:pt x="55754" y="12453"/>
                </a:lnTo>
                <a:lnTo>
                  <a:pt x="56603" y="13113"/>
                </a:lnTo>
                <a:lnTo>
                  <a:pt x="57452" y="13774"/>
                </a:lnTo>
                <a:lnTo>
                  <a:pt x="58961" y="15283"/>
                </a:lnTo>
                <a:lnTo>
                  <a:pt x="60376" y="16604"/>
                </a:lnTo>
                <a:lnTo>
                  <a:pt x="61225" y="17264"/>
                </a:lnTo>
                <a:lnTo>
                  <a:pt x="62074" y="17925"/>
                </a:lnTo>
                <a:lnTo>
                  <a:pt x="62074" y="17925"/>
                </a:lnTo>
                <a:lnTo>
                  <a:pt x="61414" y="17547"/>
                </a:lnTo>
                <a:lnTo>
                  <a:pt x="60659" y="16981"/>
                </a:lnTo>
                <a:lnTo>
                  <a:pt x="60754" y="17264"/>
                </a:lnTo>
                <a:lnTo>
                  <a:pt x="60942" y="17642"/>
                </a:lnTo>
                <a:lnTo>
                  <a:pt x="61980" y="19151"/>
                </a:lnTo>
                <a:lnTo>
                  <a:pt x="63301" y="20943"/>
                </a:lnTo>
                <a:lnTo>
                  <a:pt x="63207" y="20943"/>
                </a:lnTo>
                <a:lnTo>
                  <a:pt x="63395" y="21038"/>
                </a:lnTo>
                <a:lnTo>
                  <a:pt x="63490" y="21321"/>
                </a:lnTo>
                <a:lnTo>
                  <a:pt x="63678" y="21604"/>
                </a:lnTo>
                <a:lnTo>
                  <a:pt x="63773" y="21698"/>
                </a:lnTo>
                <a:lnTo>
                  <a:pt x="63584" y="21321"/>
                </a:lnTo>
                <a:lnTo>
                  <a:pt x="63584" y="21321"/>
                </a:lnTo>
                <a:lnTo>
                  <a:pt x="64244" y="22170"/>
                </a:lnTo>
                <a:lnTo>
                  <a:pt x="64716" y="22641"/>
                </a:lnTo>
                <a:lnTo>
                  <a:pt x="64905" y="22830"/>
                </a:lnTo>
                <a:lnTo>
                  <a:pt x="64999" y="22830"/>
                </a:lnTo>
                <a:lnTo>
                  <a:pt x="64999" y="22641"/>
                </a:lnTo>
                <a:lnTo>
                  <a:pt x="64905" y="22358"/>
                </a:lnTo>
                <a:lnTo>
                  <a:pt x="65282" y="23207"/>
                </a:lnTo>
                <a:lnTo>
                  <a:pt x="65565" y="24056"/>
                </a:lnTo>
                <a:lnTo>
                  <a:pt x="66225" y="25943"/>
                </a:lnTo>
                <a:lnTo>
                  <a:pt x="66697" y="27830"/>
                </a:lnTo>
                <a:lnTo>
                  <a:pt x="66886" y="28490"/>
                </a:lnTo>
                <a:lnTo>
                  <a:pt x="66980" y="28868"/>
                </a:lnTo>
                <a:lnTo>
                  <a:pt x="66886" y="28962"/>
                </a:lnTo>
                <a:lnTo>
                  <a:pt x="66697" y="28679"/>
                </a:lnTo>
                <a:lnTo>
                  <a:pt x="66697" y="29245"/>
                </a:lnTo>
                <a:lnTo>
                  <a:pt x="66791" y="29905"/>
                </a:lnTo>
                <a:lnTo>
                  <a:pt x="66886" y="29905"/>
                </a:lnTo>
                <a:lnTo>
                  <a:pt x="66886" y="30094"/>
                </a:lnTo>
                <a:lnTo>
                  <a:pt x="66886" y="30566"/>
                </a:lnTo>
                <a:lnTo>
                  <a:pt x="66697" y="30377"/>
                </a:lnTo>
                <a:lnTo>
                  <a:pt x="66603" y="30188"/>
                </a:lnTo>
                <a:lnTo>
                  <a:pt x="66603" y="30094"/>
                </a:lnTo>
                <a:lnTo>
                  <a:pt x="66697" y="29905"/>
                </a:lnTo>
                <a:lnTo>
                  <a:pt x="66508" y="28679"/>
                </a:lnTo>
                <a:lnTo>
                  <a:pt x="66225" y="27358"/>
                </a:lnTo>
                <a:lnTo>
                  <a:pt x="66603" y="30283"/>
                </a:lnTo>
                <a:lnTo>
                  <a:pt x="66697" y="31792"/>
                </a:lnTo>
                <a:lnTo>
                  <a:pt x="66697" y="33302"/>
                </a:lnTo>
                <a:lnTo>
                  <a:pt x="66603" y="34717"/>
                </a:lnTo>
                <a:lnTo>
                  <a:pt x="66414" y="36226"/>
                </a:lnTo>
                <a:lnTo>
                  <a:pt x="66131" y="37547"/>
                </a:lnTo>
                <a:lnTo>
                  <a:pt x="65659" y="38962"/>
                </a:lnTo>
                <a:lnTo>
                  <a:pt x="65848" y="38584"/>
                </a:lnTo>
                <a:lnTo>
                  <a:pt x="65942" y="38584"/>
                </a:lnTo>
                <a:lnTo>
                  <a:pt x="65848" y="39245"/>
                </a:lnTo>
                <a:lnTo>
                  <a:pt x="65565" y="40188"/>
                </a:lnTo>
                <a:lnTo>
                  <a:pt x="65471" y="40471"/>
                </a:lnTo>
                <a:lnTo>
                  <a:pt x="65282" y="40660"/>
                </a:lnTo>
                <a:lnTo>
                  <a:pt x="65282" y="40566"/>
                </a:lnTo>
                <a:lnTo>
                  <a:pt x="65093" y="41132"/>
                </a:lnTo>
                <a:lnTo>
                  <a:pt x="64433" y="43018"/>
                </a:lnTo>
                <a:lnTo>
                  <a:pt x="63678" y="45282"/>
                </a:lnTo>
                <a:lnTo>
                  <a:pt x="62735" y="47264"/>
                </a:lnTo>
                <a:lnTo>
                  <a:pt x="61697" y="49056"/>
                </a:lnTo>
                <a:lnTo>
                  <a:pt x="60659" y="50943"/>
                </a:lnTo>
                <a:lnTo>
                  <a:pt x="59433" y="52735"/>
                </a:lnTo>
                <a:lnTo>
                  <a:pt x="58207" y="54433"/>
                </a:lnTo>
                <a:lnTo>
                  <a:pt x="56886" y="56037"/>
                </a:lnTo>
                <a:lnTo>
                  <a:pt x="55376" y="57641"/>
                </a:lnTo>
                <a:lnTo>
                  <a:pt x="53867" y="59150"/>
                </a:lnTo>
                <a:lnTo>
                  <a:pt x="52169" y="60376"/>
                </a:lnTo>
                <a:lnTo>
                  <a:pt x="48961" y="62452"/>
                </a:lnTo>
                <a:lnTo>
                  <a:pt x="44528" y="65282"/>
                </a:lnTo>
                <a:lnTo>
                  <a:pt x="44622" y="65188"/>
                </a:lnTo>
                <a:lnTo>
                  <a:pt x="44716" y="65093"/>
                </a:lnTo>
                <a:lnTo>
                  <a:pt x="45094" y="64810"/>
                </a:lnTo>
                <a:lnTo>
                  <a:pt x="45660" y="64527"/>
                </a:lnTo>
                <a:lnTo>
                  <a:pt x="43867" y="65376"/>
                </a:lnTo>
                <a:lnTo>
                  <a:pt x="43113" y="65754"/>
                </a:lnTo>
                <a:lnTo>
                  <a:pt x="42924" y="65754"/>
                </a:lnTo>
                <a:lnTo>
                  <a:pt x="43113" y="65659"/>
                </a:lnTo>
                <a:lnTo>
                  <a:pt x="41603" y="66037"/>
                </a:lnTo>
                <a:lnTo>
                  <a:pt x="39999" y="66320"/>
                </a:lnTo>
                <a:lnTo>
                  <a:pt x="38396" y="66508"/>
                </a:lnTo>
                <a:lnTo>
                  <a:pt x="36792" y="66697"/>
                </a:lnTo>
                <a:lnTo>
                  <a:pt x="33584" y="66980"/>
                </a:lnTo>
                <a:lnTo>
                  <a:pt x="32169" y="67169"/>
                </a:lnTo>
                <a:lnTo>
                  <a:pt x="30754" y="67357"/>
                </a:lnTo>
                <a:lnTo>
                  <a:pt x="30094" y="67357"/>
                </a:lnTo>
                <a:lnTo>
                  <a:pt x="29339" y="67263"/>
                </a:lnTo>
                <a:lnTo>
                  <a:pt x="27830" y="66886"/>
                </a:lnTo>
                <a:lnTo>
                  <a:pt x="26415" y="66508"/>
                </a:lnTo>
                <a:lnTo>
                  <a:pt x="25754" y="66414"/>
                </a:lnTo>
                <a:lnTo>
                  <a:pt x="25094" y="66414"/>
                </a:lnTo>
                <a:lnTo>
                  <a:pt x="25566" y="66980"/>
                </a:lnTo>
                <a:lnTo>
                  <a:pt x="25471" y="67074"/>
                </a:lnTo>
                <a:lnTo>
                  <a:pt x="25188" y="66980"/>
                </a:lnTo>
                <a:lnTo>
                  <a:pt x="24339" y="66791"/>
                </a:lnTo>
                <a:lnTo>
                  <a:pt x="23773" y="66508"/>
                </a:lnTo>
                <a:lnTo>
                  <a:pt x="24245" y="66414"/>
                </a:lnTo>
                <a:lnTo>
                  <a:pt x="24717" y="66603"/>
                </a:lnTo>
                <a:lnTo>
                  <a:pt x="24811" y="66414"/>
                </a:lnTo>
                <a:lnTo>
                  <a:pt x="24811" y="66320"/>
                </a:lnTo>
                <a:lnTo>
                  <a:pt x="24717" y="66225"/>
                </a:lnTo>
                <a:lnTo>
                  <a:pt x="24528" y="66131"/>
                </a:lnTo>
                <a:lnTo>
                  <a:pt x="24151" y="66225"/>
                </a:lnTo>
                <a:lnTo>
                  <a:pt x="23679" y="66320"/>
                </a:lnTo>
                <a:lnTo>
                  <a:pt x="23018" y="66414"/>
                </a:lnTo>
                <a:lnTo>
                  <a:pt x="23490" y="66225"/>
                </a:lnTo>
                <a:lnTo>
                  <a:pt x="22075" y="65942"/>
                </a:lnTo>
                <a:lnTo>
                  <a:pt x="20943" y="65659"/>
                </a:lnTo>
                <a:lnTo>
                  <a:pt x="20000" y="65282"/>
                </a:lnTo>
                <a:lnTo>
                  <a:pt x="19056" y="64810"/>
                </a:lnTo>
                <a:lnTo>
                  <a:pt x="19056" y="64810"/>
                </a:lnTo>
                <a:lnTo>
                  <a:pt x="19717" y="64999"/>
                </a:lnTo>
                <a:lnTo>
                  <a:pt x="19151" y="64716"/>
                </a:lnTo>
                <a:lnTo>
                  <a:pt x="18962" y="64810"/>
                </a:lnTo>
                <a:lnTo>
                  <a:pt x="19151" y="64905"/>
                </a:lnTo>
                <a:lnTo>
                  <a:pt x="18490" y="64905"/>
                </a:lnTo>
                <a:lnTo>
                  <a:pt x="17830" y="64716"/>
                </a:lnTo>
                <a:lnTo>
                  <a:pt x="17264" y="64527"/>
                </a:lnTo>
                <a:lnTo>
                  <a:pt x="16698" y="64150"/>
                </a:lnTo>
                <a:lnTo>
                  <a:pt x="16981" y="64056"/>
                </a:lnTo>
                <a:lnTo>
                  <a:pt x="17264" y="64150"/>
                </a:lnTo>
                <a:lnTo>
                  <a:pt x="17264" y="64150"/>
                </a:lnTo>
                <a:lnTo>
                  <a:pt x="15188" y="63207"/>
                </a:lnTo>
                <a:lnTo>
                  <a:pt x="14622" y="62829"/>
                </a:lnTo>
                <a:lnTo>
                  <a:pt x="14717" y="62924"/>
                </a:lnTo>
                <a:lnTo>
                  <a:pt x="13773" y="62546"/>
                </a:lnTo>
                <a:lnTo>
                  <a:pt x="12924" y="62075"/>
                </a:lnTo>
                <a:lnTo>
                  <a:pt x="12358" y="61697"/>
                </a:lnTo>
                <a:lnTo>
                  <a:pt x="12264" y="61508"/>
                </a:lnTo>
                <a:lnTo>
                  <a:pt x="12170" y="61320"/>
                </a:lnTo>
                <a:lnTo>
                  <a:pt x="11698" y="60942"/>
                </a:lnTo>
                <a:lnTo>
                  <a:pt x="11132" y="60471"/>
                </a:lnTo>
                <a:lnTo>
                  <a:pt x="9906" y="59244"/>
                </a:lnTo>
                <a:lnTo>
                  <a:pt x="9906" y="59244"/>
                </a:lnTo>
                <a:lnTo>
                  <a:pt x="10566" y="59527"/>
                </a:lnTo>
                <a:lnTo>
                  <a:pt x="9434" y="58584"/>
                </a:lnTo>
                <a:lnTo>
                  <a:pt x="8207" y="57546"/>
                </a:lnTo>
                <a:lnTo>
                  <a:pt x="7547" y="56886"/>
                </a:lnTo>
                <a:lnTo>
                  <a:pt x="6981" y="56131"/>
                </a:lnTo>
                <a:lnTo>
                  <a:pt x="6226" y="55094"/>
                </a:lnTo>
                <a:lnTo>
                  <a:pt x="6415" y="55377"/>
                </a:lnTo>
                <a:lnTo>
                  <a:pt x="6038" y="54905"/>
                </a:lnTo>
                <a:lnTo>
                  <a:pt x="5472" y="54244"/>
                </a:lnTo>
                <a:lnTo>
                  <a:pt x="5283" y="53961"/>
                </a:lnTo>
                <a:lnTo>
                  <a:pt x="5094" y="53867"/>
                </a:lnTo>
                <a:lnTo>
                  <a:pt x="5377" y="54622"/>
                </a:lnTo>
                <a:lnTo>
                  <a:pt x="5849" y="55282"/>
                </a:lnTo>
                <a:lnTo>
                  <a:pt x="6321" y="55943"/>
                </a:lnTo>
                <a:lnTo>
                  <a:pt x="6698" y="56603"/>
                </a:lnTo>
                <a:lnTo>
                  <a:pt x="6226" y="56226"/>
                </a:lnTo>
                <a:lnTo>
                  <a:pt x="5943" y="55848"/>
                </a:lnTo>
                <a:lnTo>
                  <a:pt x="6038" y="56037"/>
                </a:lnTo>
                <a:lnTo>
                  <a:pt x="5943" y="55943"/>
                </a:lnTo>
                <a:lnTo>
                  <a:pt x="5377" y="55188"/>
                </a:lnTo>
                <a:lnTo>
                  <a:pt x="5000" y="54716"/>
                </a:lnTo>
                <a:lnTo>
                  <a:pt x="4717" y="54150"/>
                </a:lnTo>
                <a:lnTo>
                  <a:pt x="4528" y="53678"/>
                </a:lnTo>
                <a:lnTo>
                  <a:pt x="4528" y="53584"/>
                </a:lnTo>
                <a:lnTo>
                  <a:pt x="4623" y="53395"/>
                </a:lnTo>
                <a:lnTo>
                  <a:pt x="5094" y="54244"/>
                </a:lnTo>
                <a:lnTo>
                  <a:pt x="4717" y="53301"/>
                </a:lnTo>
                <a:lnTo>
                  <a:pt x="4528" y="53018"/>
                </a:lnTo>
                <a:lnTo>
                  <a:pt x="4151" y="52263"/>
                </a:lnTo>
                <a:lnTo>
                  <a:pt x="4151" y="52169"/>
                </a:lnTo>
                <a:lnTo>
                  <a:pt x="3774" y="51509"/>
                </a:lnTo>
                <a:lnTo>
                  <a:pt x="3396" y="50660"/>
                </a:lnTo>
                <a:lnTo>
                  <a:pt x="3585" y="51603"/>
                </a:lnTo>
                <a:lnTo>
                  <a:pt x="3396" y="51226"/>
                </a:lnTo>
                <a:lnTo>
                  <a:pt x="3208" y="50848"/>
                </a:lnTo>
                <a:lnTo>
                  <a:pt x="3208" y="50471"/>
                </a:lnTo>
                <a:lnTo>
                  <a:pt x="3208" y="50094"/>
                </a:lnTo>
                <a:lnTo>
                  <a:pt x="3585" y="50754"/>
                </a:lnTo>
                <a:lnTo>
                  <a:pt x="3868" y="51509"/>
                </a:lnTo>
                <a:lnTo>
                  <a:pt x="3868" y="51509"/>
                </a:lnTo>
                <a:lnTo>
                  <a:pt x="3208" y="49528"/>
                </a:lnTo>
                <a:lnTo>
                  <a:pt x="3208" y="49528"/>
                </a:lnTo>
                <a:lnTo>
                  <a:pt x="3868" y="50754"/>
                </a:lnTo>
                <a:lnTo>
                  <a:pt x="3208" y="48962"/>
                </a:lnTo>
                <a:lnTo>
                  <a:pt x="3585" y="49339"/>
                </a:lnTo>
                <a:lnTo>
                  <a:pt x="3774" y="49433"/>
                </a:lnTo>
                <a:lnTo>
                  <a:pt x="3962" y="49528"/>
                </a:lnTo>
                <a:lnTo>
                  <a:pt x="4057" y="49905"/>
                </a:lnTo>
                <a:lnTo>
                  <a:pt x="3868" y="48962"/>
                </a:lnTo>
                <a:lnTo>
                  <a:pt x="3491" y="47924"/>
                </a:lnTo>
                <a:lnTo>
                  <a:pt x="2641" y="45565"/>
                </a:lnTo>
                <a:lnTo>
                  <a:pt x="2170" y="43867"/>
                </a:lnTo>
                <a:lnTo>
                  <a:pt x="1698" y="41886"/>
                </a:lnTo>
                <a:lnTo>
                  <a:pt x="1698" y="41886"/>
                </a:lnTo>
                <a:lnTo>
                  <a:pt x="1887" y="42075"/>
                </a:lnTo>
                <a:lnTo>
                  <a:pt x="1981" y="41981"/>
                </a:lnTo>
                <a:lnTo>
                  <a:pt x="2075" y="42075"/>
                </a:lnTo>
                <a:lnTo>
                  <a:pt x="2264" y="42169"/>
                </a:lnTo>
                <a:lnTo>
                  <a:pt x="2170" y="40283"/>
                </a:lnTo>
                <a:lnTo>
                  <a:pt x="2075" y="38301"/>
                </a:lnTo>
                <a:lnTo>
                  <a:pt x="2170" y="36415"/>
                </a:lnTo>
                <a:lnTo>
                  <a:pt x="2358" y="35566"/>
                </a:lnTo>
                <a:lnTo>
                  <a:pt x="2453" y="34811"/>
                </a:lnTo>
                <a:lnTo>
                  <a:pt x="2830" y="32830"/>
                </a:lnTo>
                <a:lnTo>
                  <a:pt x="2830" y="33207"/>
                </a:lnTo>
                <a:lnTo>
                  <a:pt x="2924" y="33490"/>
                </a:lnTo>
                <a:lnTo>
                  <a:pt x="2924" y="32453"/>
                </a:lnTo>
                <a:lnTo>
                  <a:pt x="3019" y="31415"/>
                </a:lnTo>
                <a:lnTo>
                  <a:pt x="3396" y="29245"/>
                </a:lnTo>
                <a:lnTo>
                  <a:pt x="3868" y="27075"/>
                </a:lnTo>
                <a:lnTo>
                  <a:pt x="4623" y="25000"/>
                </a:lnTo>
                <a:lnTo>
                  <a:pt x="5566" y="22830"/>
                </a:lnTo>
                <a:lnTo>
                  <a:pt x="6604" y="20849"/>
                </a:lnTo>
                <a:lnTo>
                  <a:pt x="7830" y="18868"/>
                </a:lnTo>
                <a:lnTo>
                  <a:pt x="9151" y="16887"/>
                </a:lnTo>
                <a:lnTo>
                  <a:pt x="10566" y="15094"/>
                </a:lnTo>
                <a:lnTo>
                  <a:pt x="12075" y="13302"/>
                </a:lnTo>
                <a:lnTo>
                  <a:pt x="13773" y="11698"/>
                </a:lnTo>
                <a:lnTo>
                  <a:pt x="15377" y="10095"/>
                </a:lnTo>
                <a:lnTo>
                  <a:pt x="17170" y="8679"/>
                </a:lnTo>
                <a:lnTo>
                  <a:pt x="18962" y="7453"/>
                </a:lnTo>
                <a:lnTo>
                  <a:pt x="20754" y="6321"/>
                </a:lnTo>
                <a:lnTo>
                  <a:pt x="22547" y="5378"/>
                </a:lnTo>
                <a:lnTo>
                  <a:pt x="21603" y="6227"/>
                </a:lnTo>
                <a:lnTo>
                  <a:pt x="22641" y="5472"/>
                </a:lnTo>
                <a:lnTo>
                  <a:pt x="23302" y="5095"/>
                </a:lnTo>
                <a:lnTo>
                  <a:pt x="25377" y="4151"/>
                </a:lnTo>
                <a:lnTo>
                  <a:pt x="24811" y="4151"/>
                </a:lnTo>
                <a:lnTo>
                  <a:pt x="25660" y="3774"/>
                </a:lnTo>
                <a:lnTo>
                  <a:pt x="26886" y="3208"/>
                </a:lnTo>
                <a:lnTo>
                  <a:pt x="26603" y="3585"/>
                </a:lnTo>
                <a:lnTo>
                  <a:pt x="26886" y="3585"/>
                </a:lnTo>
                <a:lnTo>
                  <a:pt x="26886" y="3680"/>
                </a:lnTo>
                <a:lnTo>
                  <a:pt x="26792" y="3774"/>
                </a:lnTo>
                <a:lnTo>
                  <a:pt x="28301" y="3302"/>
                </a:lnTo>
                <a:lnTo>
                  <a:pt x="29622" y="2736"/>
                </a:lnTo>
                <a:lnTo>
                  <a:pt x="31037" y="2264"/>
                </a:lnTo>
                <a:lnTo>
                  <a:pt x="31792" y="2076"/>
                </a:lnTo>
                <a:lnTo>
                  <a:pt x="32641" y="1981"/>
                </a:lnTo>
                <a:lnTo>
                  <a:pt x="32547" y="2076"/>
                </a:lnTo>
                <a:lnTo>
                  <a:pt x="32924" y="1981"/>
                </a:lnTo>
                <a:lnTo>
                  <a:pt x="34245" y="1793"/>
                </a:lnTo>
                <a:lnTo>
                  <a:pt x="35848" y="1415"/>
                </a:lnTo>
                <a:lnTo>
                  <a:pt x="36981" y="1132"/>
                </a:lnTo>
                <a:lnTo>
                  <a:pt x="36981" y="1415"/>
                </a:lnTo>
                <a:lnTo>
                  <a:pt x="40943" y="1227"/>
                </a:lnTo>
                <a:lnTo>
                  <a:pt x="41509" y="1038"/>
                </a:lnTo>
                <a:lnTo>
                  <a:pt x="41697" y="1132"/>
                </a:lnTo>
                <a:lnTo>
                  <a:pt x="41509" y="1227"/>
                </a:lnTo>
                <a:lnTo>
                  <a:pt x="41320" y="1321"/>
                </a:lnTo>
                <a:lnTo>
                  <a:pt x="42263" y="1321"/>
                </a:lnTo>
                <a:lnTo>
                  <a:pt x="43113" y="1227"/>
                </a:lnTo>
                <a:lnTo>
                  <a:pt x="43396" y="1415"/>
                </a:lnTo>
                <a:lnTo>
                  <a:pt x="44056" y="1604"/>
                </a:lnTo>
                <a:lnTo>
                  <a:pt x="45943" y="2076"/>
                </a:lnTo>
                <a:lnTo>
                  <a:pt x="48018" y="2359"/>
                </a:lnTo>
                <a:lnTo>
                  <a:pt x="49622" y="2736"/>
                </a:lnTo>
                <a:lnTo>
                  <a:pt x="47641" y="1981"/>
                </a:lnTo>
                <a:lnTo>
                  <a:pt x="45282" y="1321"/>
                </a:lnTo>
                <a:lnTo>
                  <a:pt x="42735" y="755"/>
                </a:lnTo>
                <a:lnTo>
                  <a:pt x="40188" y="283"/>
                </a:lnTo>
                <a:lnTo>
                  <a:pt x="37735" y="95"/>
                </a:lnTo>
                <a:lnTo>
                  <a:pt x="35471" y="0"/>
                </a:lnTo>
                <a:close/>
              </a:path>
            </a:pathLst>
          </a:custGeom>
          <a:solidFill>
            <a:srgbClr val="87CBD8">
              <a:alpha val="60000"/>
            </a:srgbClr>
          </a:solidFill>
          <a:ln w="0">
            <a:solidFill>
              <a:srgbClr val="87CBD8">
                <a:alpha val="60000"/>
              </a:srgbClr>
            </a:solidFill>
          </a:ln>
        </p:spPr>
        <p:txBody>
          <a:bodyPr spcFirstLastPara="1" wrap="square" lIns="91425" tIns="91425" rIns="91425" bIns="91425" anchor="ctr" anchorCtr="0">
            <a:noAutofit/>
          </a:bodyPr>
          <a:lstStyle/>
          <a:p>
            <a:pPr marL="0" lvl="0" indent="0">
              <a:spcBef>
                <a:spcPts val="0"/>
              </a:spcBef>
              <a:spcAft>
                <a:spcPts val="0"/>
              </a:spcAft>
              <a:buNone/>
            </a:pPr>
            <a:endParaRPr sz="1200" dirty="0">
              <a:latin typeface="Comic Sans MS" panose="030F0902030302020204" pitchFamily="66" charset="0"/>
            </a:endParaRPr>
          </a:p>
        </p:txBody>
      </p:sp>
      <p:cxnSp>
        <p:nvCxnSpPr>
          <p:cNvPr id="4" name="Curved Connector 3">
            <a:extLst>
              <a:ext uri="{FF2B5EF4-FFF2-40B4-BE49-F238E27FC236}">
                <a16:creationId xmlns:a16="http://schemas.microsoft.com/office/drawing/2014/main" id="{AD1E6B5D-7DD7-D743-ABEB-F71F44F656E4}"/>
              </a:ext>
            </a:extLst>
          </p:cNvPr>
          <p:cNvCxnSpPr>
            <a:cxnSpLocks/>
            <a:endCxn id="30" idx="3"/>
          </p:cNvCxnSpPr>
          <p:nvPr/>
        </p:nvCxnSpPr>
        <p:spPr>
          <a:xfrm rot="16200000" flipH="1">
            <a:off x="4544313" y="2934189"/>
            <a:ext cx="270134" cy="113707"/>
          </a:xfrm>
          <a:prstGeom prst="curvedConnector4">
            <a:avLst>
              <a:gd name="adj1" fmla="val 30061"/>
              <a:gd name="adj2" fmla="val 301043"/>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50" name="Curved Connector 49">
            <a:extLst>
              <a:ext uri="{FF2B5EF4-FFF2-40B4-BE49-F238E27FC236}">
                <a16:creationId xmlns:a16="http://schemas.microsoft.com/office/drawing/2014/main" id="{5FB7D6BC-8BC5-5D4B-8798-71353938BC34}"/>
              </a:ext>
            </a:extLst>
          </p:cNvPr>
          <p:cNvCxnSpPr>
            <a:cxnSpLocks/>
            <a:stCxn id="30" idx="0"/>
          </p:cNvCxnSpPr>
          <p:nvPr/>
        </p:nvCxnSpPr>
        <p:spPr>
          <a:xfrm rot="5400000" flipH="1" flipV="1">
            <a:off x="4447703" y="2947746"/>
            <a:ext cx="122941" cy="18344"/>
          </a:xfrm>
          <a:prstGeom prst="curvedConnector3">
            <a:avLst>
              <a:gd name="adj1" fmla="val 50000"/>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59" name="Curved Connector 58">
            <a:extLst>
              <a:ext uri="{FF2B5EF4-FFF2-40B4-BE49-F238E27FC236}">
                <a16:creationId xmlns:a16="http://schemas.microsoft.com/office/drawing/2014/main" id="{C434B3A0-0640-9042-A10B-21A334496276}"/>
              </a:ext>
            </a:extLst>
          </p:cNvPr>
          <p:cNvCxnSpPr>
            <a:cxnSpLocks/>
            <a:stCxn id="30" idx="2"/>
          </p:cNvCxnSpPr>
          <p:nvPr/>
        </p:nvCxnSpPr>
        <p:spPr>
          <a:xfrm rot="16200000" flipH="1">
            <a:off x="4536415" y="3197418"/>
            <a:ext cx="142730" cy="215558"/>
          </a:xfrm>
          <a:prstGeom prst="curvedConnector2">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64" name="Curved Connector 63">
            <a:extLst>
              <a:ext uri="{FF2B5EF4-FFF2-40B4-BE49-F238E27FC236}">
                <a16:creationId xmlns:a16="http://schemas.microsoft.com/office/drawing/2014/main" id="{328F6A40-4401-494F-80AD-9320B40797BD}"/>
              </a:ext>
            </a:extLst>
          </p:cNvPr>
          <p:cNvCxnSpPr>
            <a:cxnSpLocks/>
          </p:cNvCxnSpPr>
          <p:nvPr/>
        </p:nvCxnSpPr>
        <p:spPr>
          <a:xfrm rot="10800000" flipV="1">
            <a:off x="4349221" y="3294377"/>
            <a:ext cx="138498" cy="87295"/>
          </a:xfrm>
          <a:prstGeom prst="curvedConnector3">
            <a:avLst>
              <a:gd name="adj1" fmla="val 50000"/>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70" name="Curved Connector 69">
            <a:extLst>
              <a:ext uri="{FF2B5EF4-FFF2-40B4-BE49-F238E27FC236}">
                <a16:creationId xmlns:a16="http://schemas.microsoft.com/office/drawing/2014/main" id="{E592A06B-7452-0844-8B48-8058B57E91AA}"/>
              </a:ext>
            </a:extLst>
          </p:cNvPr>
          <p:cNvCxnSpPr>
            <a:cxnSpLocks/>
            <a:endCxn id="30" idx="3"/>
          </p:cNvCxnSpPr>
          <p:nvPr/>
        </p:nvCxnSpPr>
        <p:spPr>
          <a:xfrm rot="16200000" flipV="1">
            <a:off x="4655977" y="3206367"/>
            <a:ext cx="209786" cy="49271"/>
          </a:xfrm>
          <a:prstGeom prst="curvedConnector2">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71" name="Curved Connector 70">
            <a:extLst>
              <a:ext uri="{FF2B5EF4-FFF2-40B4-BE49-F238E27FC236}">
                <a16:creationId xmlns:a16="http://schemas.microsoft.com/office/drawing/2014/main" id="{203BA87B-C077-B54C-A001-6A97A3A05DA2}"/>
              </a:ext>
            </a:extLst>
          </p:cNvPr>
          <p:cNvCxnSpPr>
            <a:cxnSpLocks/>
          </p:cNvCxnSpPr>
          <p:nvPr/>
        </p:nvCxnSpPr>
        <p:spPr>
          <a:xfrm rot="5400000" flipH="1" flipV="1">
            <a:off x="4204151" y="2836247"/>
            <a:ext cx="351322" cy="12961"/>
          </a:xfrm>
          <a:prstGeom prst="curvedConnector3">
            <a:avLst>
              <a:gd name="adj1" fmla="val 50000"/>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78" name="Curved Connector 77">
            <a:extLst>
              <a:ext uri="{FF2B5EF4-FFF2-40B4-BE49-F238E27FC236}">
                <a16:creationId xmlns:a16="http://schemas.microsoft.com/office/drawing/2014/main" id="{BFBECB65-62C3-344C-B955-955EA4894975}"/>
              </a:ext>
            </a:extLst>
          </p:cNvPr>
          <p:cNvCxnSpPr>
            <a:cxnSpLocks/>
            <a:stCxn id="30" idx="1"/>
          </p:cNvCxnSpPr>
          <p:nvPr/>
        </p:nvCxnSpPr>
        <p:spPr>
          <a:xfrm rot="10800000" flipV="1">
            <a:off x="4020087" y="3126110"/>
            <a:ext cx="243680" cy="19238"/>
          </a:xfrm>
          <a:prstGeom prst="curvedConnector3">
            <a:avLst>
              <a:gd name="adj1" fmla="val 50000"/>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82" name="Curved Connector 81">
            <a:extLst>
              <a:ext uri="{FF2B5EF4-FFF2-40B4-BE49-F238E27FC236}">
                <a16:creationId xmlns:a16="http://schemas.microsoft.com/office/drawing/2014/main" id="{D97A1B6A-B3E8-1446-A13C-225A6ED43F6F}"/>
              </a:ext>
            </a:extLst>
          </p:cNvPr>
          <p:cNvCxnSpPr>
            <a:cxnSpLocks/>
            <a:stCxn id="30" idx="2"/>
          </p:cNvCxnSpPr>
          <p:nvPr/>
        </p:nvCxnSpPr>
        <p:spPr>
          <a:xfrm rot="16200000" flipH="1">
            <a:off x="4342796" y="3391037"/>
            <a:ext cx="436936" cy="122526"/>
          </a:xfrm>
          <a:prstGeom prst="curvedConnector3">
            <a:avLst>
              <a:gd name="adj1" fmla="val 50000"/>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86" name="Curved Connector 85">
            <a:extLst>
              <a:ext uri="{FF2B5EF4-FFF2-40B4-BE49-F238E27FC236}">
                <a16:creationId xmlns:a16="http://schemas.microsoft.com/office/drawing/2014/main" id="{6221343E-C524-6646-9AA1-9C713E7E7B25}"/>
              </a:ext>
            </a:extLst>
          </p:cNvPr>
          <p:cNvCxnSpPr>
            <a:cxnSpLocks/>
            <a:endCxn id="30" idx="2"/>
          </p:cNvCxnSpPr>
          <p:nvPr/>
        </p:nvCxnSpPr>
        <p:spPr>
          <a:xfrm rot="16200000" flipV="1">
            <a:off x="4359081" y="3374752"/>
            <a:ext cx="452328" cy="170488"/>
          </a:xfrm>
          <a:prstGeom prst="curvedConnector3">
            <a:avLst>
              <a:gd name="adj1" fmla="val 50000"/>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sp>
        <p:nvSpPr>
          <p:cNvPr id="96" name="Google Shape;431;p39">
            <a:extLst>
              <a:ext uri="{FF2B5EF4-FFF2-40B4-BE49-F238E27FC236}">
                <a16:creationId xmlns:a16="http://schemas.microsoft.com/office/drawing/2014/main" id="{C8E1A3DF-6F05-CF4D-8796-E3E757144BD2}"/>
              </a:ext>
            </a:extLst>
          </p:cNvPr>
          <p:cNvSpPr/>
          <p:nvPr/>
        </p:nvSpPr>
        <p:spPr>
          <a:xfrm rot="21011211">
            <a:off x="6247708" y="1810864"/>
            <a:ext cx="1378397" cy="1417952"/>
          </a:xfrm>
          <a:custGeom>
            <a:avLst/>
            <a:gdLst/>
            <a:ahLst/>
            <a:cxnLst/>
            <a:rect l="0" t="0" r="0" b="0"/>
            <a:pathLst>
              <a:path w="67641" h="69056" extrusionOk="0">
                <a:moveTo>
                  <a:pt x="49622" y="2736"/>
                </a:moveTo>
                <a:lnTo>
                  <a:pt x="49622" y="2736"/>
                </a:lnTo>
                <a:lnTo>
                  <a:pt x="49622" y="2736"/>
                </a:lnTo>
                <a:close/>
                <a:moveTo>
                  <a:pt x="59622" y="55565"/>
                </a:moveTo>
                <a:lnTo>
                  <a:pt x="59622" y="55565"/>
                </a:lnTo>
                <a:lnTo>
                  <a:pt x="59622" y="55565"/>
                </a:lnTo>
                <a:close/>
                <a:moveTo>
                  <a:pt x="35471" y="0"/>
                </a:moveTo>
                <a:lnTo>
                  <a:pt x="34433" y="95"/>
                </a:lnTo>
                <a:lnTo>
                  <a:pt x="33584" y="189"/>
                </a:lnTo>
                <a:lnTo>
                  <a:pt x="32735" y="378"/>
                </a:lnTo>
                <a:lnTo>
                  <a:pt x="32169" y="566"/>
                </a:lnTo>
                <a:lnTo>
                  <a:pt x="31509" y="472"/>
                </a:lnTo>
                <a:lnTo>
                  <a:pt x="30754" y="472"/>
                </a:lnTo>
                <a:lnTo>
                  <a:pt x="29339" y="566"/>
                </a:lnTo>
                <a:lnTo>
                  <a:pt x="27830" y="849"/>
                </a:lnTo>
                <a:lnTo>
                  <a:pt x="26320" y="1321"/>
                </a:lnTo>
                <a:lnTo>
                  <a:pt x="24811" y="1981"/>
                </a:lnTo>
                <a:lnTo>
                  <a:pt x="23207" y="2736"/>
                </a:lnTo>
                <a:lnTo>
                  <a:pt x="21698" y="3585"/>
                </a:lnTo>
                <a:lnTo>
                  <a:pt x="20188" y="4623"/>
                </a:lnTo>
                <a:lnTo>
                  <a:pt x="18679" y="5661"/>
                </a:lnTo>
                <a:lnTo>
                  <a:pt x="17170" y="6793"/>
                </a:lnTo>
                <a:lnTo>
                  <a:pt x="15754" y="8019"/>
                </a:lnTo>
                <a:lnTo>
                  <a:pt x="14434" y="9151"/>
                </a:lnTo>
                <a:lnTo>
                  <a:pt x="11981" y="11510"/>
                </a:lnTo>
                <a:lnTo>
                  <a:pt x="10000" y="13774"/>
                </a:lnTo>
                <a:lnTo>
                  <a:pt x="7736" y="16981"/>
                </a:lnTo>
                <a:lnTo>
                  <a:pt x="8019" y="16321"/>
                </a:lnTo>
                <a:lnTo>
                  <a:pt x="8302" y="15660"/>
                </a:lnTo>
                <a:lnTo>
                  <a:pt x="7736" y="16604"/>
                </a:lnTo>
                <a:lnTo>
                  <a:pt x="7075" y="17642"/>
                </a:lnTo>
                <a:lnTo>
                  <a:pt x="7170" y="17830"/>
                </a:lnTo>
                <a:lnTo>
                  <a:pt x="6509" y="18868"/>
                </a:lnTo>
                <a:lnTo>
                  <a:pt x="7075" y="17359"/>
                </a:lnTo>
                <a:lnTo>
                  <a:pt x="6132" y="19057"/>
                </a:lnTo>
                <a:lnTo>
                  <a:pt x="5189" y="20849"/>
                </a:lnTo>
                <a:lnTo>
                  <a:pt x="4434" y="22736"/>
                </a:lnTo>
                <a:lnTo>
                  <a:pt x="3679" y="24622"/>
                </a:lnTo>
                <a:lnTo>
                  <a:pt x="2453" y="28490"/>
                </a:lnTo>
                <a:lnTo>
                  <a:pt x="1321" y="32169"/>
                </a:lnTo>
                <a:lnTo>
                  <a:pt x="1509" y="32264"/>
                </a:lnTo>
                <a:lnTo>
                  <a:pt x="1604" y="32453"/>
                </a:lnTo>
                <a:lnTo>
                  <a:pt x="1604" y="32641"/>
                </a:lnTo>
                <a:lnTo>
                  <a:pt x="1509" y="32924"/>
                </a:lnTo>
                <a:lnTo>
                  <a:pt x="1226" y="33396"/>
                </a:lnTo>
                <a:lnTo>
                  <a:pt x="1038" y="33585"/>
                </a:lnTo>
                <a:lnTo>
                  <a:pt x="1038" y="33773"/>
                </a:lnTo>
                <a:lnTo>
                  <a:pt x="1038" y="35000"/>
                </a:lnTo>
                <a:lnTo>
                  <a:pt x="849" y="36132"/>
                </a:lnTo>
                <a:lnTo>
                  <a:pt x="660" y="37358"/>
                </a:lnTo>
                <a:lnTo>
                  <a:pt x="472" y="38867"/>
                </a:lnTo>
                <a:lnTo>
                  <a:pt x="283" y="38301"/>
                </a:lnTo>
                <a:lnTo>
                  <a:pt x="94" y="39811"/>
                </a:lnTo>
                <a:lnTo>
                  <a:pt x="0" y="41509"/>
                </a:lnTo>
                <a:lnTo>
                  <a:pt x="94" y="43301"/>
                </a:lnTo>
                <a:lnTo>
                  <a:pt x="283" y="44056"/>
                </a:lnTo>
                <a:lnTo>
                  <a:pt x="472" y="44622"/>
                </a:lnTo>
                <a:lnTo>
                  <a:pt x="566" y="45660"/>
                </a:lnTo>
                <a:lnTo>
                  <a:pt x="755" y="46792"/>
                </a:lnTo>
                <a:lnTo>
                  <a:pt x="1226" y="48962"/>
                </a:lnTo>
                <a:lnTo>
                  <a:pt x="1981" y="51037"/>
                </a:lnTo>
                <a:lnTo>
                  <a:pt x="2924" y="53112"/>
                </a:lnTo>
                <a:lnTo>
                  <a:pt x="4057" y="55094"/>
                </a:lnTo>
                <a:lnTo>
                  <a:pt x="5283" y="56980"/>
                </a:lnTo>
                <a:lnTo>
                  <a:pt x="6698" y="58678"/>
                </a:lnTo>
                <a:lnTo>
                  <a:pt x="8113" y="60282"/>
                </a:lnTo>
                <a:lnTo>
                  <a:pt x="9056" y="61131"/>
                </a:lnTo>
                <a:lnTo>
                  <a:pt x="10000" y="61980"/>
                </a:lnTo>
                <a:lnTo>
                  <a:pt x="11038" y="62829"/>
                </a:lnTo>
                <a:lnTo>
                  <a:pt x="12075" y="63584"/>
                </a:lnTo>
                <a:lnTo>
                  <a:pt x="14339" y="64905"/>
                </a:lnTo>
                <a:lnTo>
                  <a:pt x="16604" y="66131"/>
                </a:lnTo>
                <a:lnTo>
                  <a:pt x="19056" y="67169"/>
                </a:lnTo>
                <a:lnTo>
                  <a:pt x="21509" y="67923"/>
                </a:lnTo>
                <a:lnTo>
                  <a:pt x="24056" y="68584"/>
                </a:lnTo>
                <a:lnTo>
                  <a:pt x="26603" y="69055"/>
                </a:lnTo>
                <a:lnTo>
                  <a:pt x="27830" y="69055"/>
                </a:lnTo>
                <a:lnTo>
                  <a:pt x="30188" y="68867"/>
                </a:lnTo>
                <a:lnTo>
                  <a:pt x="33113" y="68678"/>
                </a:lnTo>
                <a:lnTo>
                  <a:pt x="36509" y="68301"/>
                </a:lnTo>
                <a:lnTo>
                  <a:pt x="39811" y="67923"/>
                </a:lnTo>
                <a:lnTo>
                  <a:pt x="42735" y="67452"/>
                </a:lnTo>
                <a:lnTo>
                  <a:pt x="44905" y="66980"/>
                </a:lnTo>
                <a:lnTo>
                  <a:pt x="45565" y="66791"/>
                </a:lnTo>
                <a:lnTo>
                  <a:pt x="45943" y="66508"/>
                </a:lnTo>
                <a:lnTo>
                  <a:pt x="47358" y="65942"/>
                </a:lnTo>
                <a:lnTo>
                  <a:pt x="48018" y="65565"/>
                </a:lnTo>
                <a:lnTo>
                  <a:pt x="48678" y="65188"/>
                </a:lnTo>
                <a:lnTo>
                  <a:pt x="47924" y="65471"/>
                </a:lnTo>
                <a:lnTo>
                  <a:pt x="51509" y="62924"/>
                </a:lnTo>
                <a:lnTo>
                  <a:pt x="53301" y="61508"/>
                </a:lnTo>
                <a:lnTo>
                  <a:pt x="55093" y="59905"/>
                </a:lnTo>
                <a:lnTo>
                  <a:pt x="55093" y="59905"/>
                </a:lnTo>
                <a:lnTo>
                  <a:pt x="54810" y="60376"/>
                </a:lnTo>
                <a:lnTo>
                  <a:pt x="54339" y="60754"/>
                </a:lnTo>
                <a:lnTo>
                  <a:pt x="55376" y="59999"/>
                </a:lnTo>
                <a:lnTo>
                  <a:pt x="56320" y="59056"/>
                </a:lnTo>
                <a:lnTo>
                  <a:pt x="57075" y="58395"/>
                </a:lnTo>
                <a:lnTo>
                  <a:pt x="57169" y="58207"/>
                </a:lnTo>
                <a:lnTo>
                  <a:pt x="57075" y="58207"/>
                </a:lnTo>
                <a:lnTo>
                  <a:pt x="57924" y="57546"/>
                </a:lnTo>
                <a:lnTo>
                  <a:pt x="58678" y="56697"/>
                </a:lnTo>
                <a:lnTo>
                  <a:pt x="59339" y="55754"/>
                </a:lnTo>
                <a:lnTo>
                  <a:pt x="59905" y="54905"/>
                </a:lnTo>
                <a:lnTo>
                  <a:pt x="59716" y="54999"/>
                </a:lnTo>
                <a:lnTo>
                  <a:pt x="59622" y="54999"/>
                </a:lnTo>
                <a:lnTo>
                  <a:pt x="59810" y="54622"/>
                </a:lnTo>
                <a:lnTo>
                  <a:pt x="59150" y="55565"/>
                </a:lnTo>
                <a:lnTo>
                  <a:pt x="59527" y="55094"/>
                </a:lnTo>
                <a:lnTo>
                  <a:pt x="59433" y="55377"/>
                </a:lnTo>
                <a:lnTo>
                  <a:pt x="58867" y="56037"/>
                </a:lnTo>
                <a:lnTo>
                  <a:pt x="59056" y="55660"/>
                </a:lnTo>
                <a:lnTo>
                  <a:pt x="59056" y="55660"/>
                </a:lnTo>
                <a:lnTo>
                  <a:pt x="58678" y="56037"/>
                </a:lnTo>
                <a:lnTo>
                  <a:pt x="59810" y="54339"/>
                </a:lnTo>
                <a:lnTo>
                  <a:pt x="60282" y="53490"/>
                </a:lnTo>
                <a:lnTo>
                  <a:pt x="60282" y="53301"/>
                </a:lnTo>
                <a:lnTo>
                  <a:pt x="60188" y="53395"/>
                </a:lnTo>
                <a:lnTo>
                  <a:pt x="60188" y="53395"/>
                </a:lnTo>
                <a:lnTo>
                  <a:pt x="60565" y="52924"/>
                </a:lnTo>
                <a:lnTo>
                  <a:pt x="61037" y="52452"/>
                </a:lnTo>
                <a:lnTo>
                  <a:pt x="61886" y="51509"/>
                </a:lnTo>
                <a:lnTo>
                  <a:pt x="61508" y="52452"/>
                </a:lnTo>
                <a:lnTo>
                  <a:pt x="60848" y="53584"/>
                </a:lnTo>
                <a:lnTo>
                  <a:pt x="59622" y="55565"/>
                </a:lnTo>
                <a:lnTo>
                  <a:pt x="60376" y="54528"/>
                </a:lnTo>
                <a:lnTo>
                  <a:pt x="60942" y="53678"/>
                </a:lnTo>
                <a:lnTo>
                  <a:pt x="61980" y="51792"/>
                </a:lnTo>
                <a:lnTo>
                  <a:pt x="61886" y="51886"/>
                </a:lnTo>
                <a:lnTo>
                  <a:pt x="61886" y="51697"/>
                </a:lnTo>
                <a:lnTo>
                  <a:pt x="62169" y="51037"/>
                </a:lnTo>
                <a:lnTo>
                  <a:pt x="62735" y="49999"/>
                </a:lnTo>
                <a:lnTo>
                  <a:pt x="61508" y="51603"/>
                </a:lnTo>
                <a:lnTo>
                  <a:pt x="61603" y="51037"/>
                </a:lnTo>
                <a:lnTo>
                  <a:pt x="61697" y="50377"/>
                </a:lnTo>
                <a:lnTo>
                  <a:pt x="62169" y="48962"/>
                </a:lnTo>
                <a:lnTo>
                  <a:pt x="62829" y="47358"/>
                </a:lnTo>
                <a:lnTo>
                  <a:pt x="63678" y="45565"/>
                </a:lnTo>
                <a:lnTo>
                  <a:pt x="65376" y="42169"/>
                </a:lnTo>
                <a:lnTo>
                  <a:pt x="66131" y="40660"/>
                </a:lnTo>
                <a:lnTo>
                  <a:pt x="66697" y="39339"/>
                </a:lnTo>
                <a:lnTo>
                  <a:pt x="66603" y="39528"/>
                </a:lnTo>
                <a:lnTo>
                  <a:pt x="66697" y="39056"/>
                </a:lnTo>
                <a:lnTo>
                  <a:pt x="66791" y="38962"/>
                </a:lnTo>
                <a:lnTo>
                  <a:pt x="66791" y="39056"/>
                </a:lnTo>
                <a:lnTo>
                  <a:pt x="66886" y="38584"/>
                </a:lnTo>
                <a:lnTo>
                  <a:pt x="66791" y="38867"/>
                </a:lnTo>
                <a:lnTo>
                  <a:pt x="66980" y="38207"/>
                </a:lnTo>
                <a:lnTo>
                  <a:pt x="67169" y="37264"/>
                </a:lnTo>
                <a:lnTo>
                  <a:pt x="67263" y="36415"/>
                </a:lnTo>
                <a:lnTo>
                  <a:pt x="67357" y="36509"/>
                </a:lnTo>
                <a:lnTo>
                  <a:pt x="67452" y="36509"/>
                </a:lnTo>
                <a:lnTo>
                  <a:pt x="67546" y="35943"/>
                </a:lnTo>
                <a:lnTo>
                  <a:pt x="67546" y="34811"/>
                </a:lnTo>
                <a:lnTo>
                  <a:pt x="67640" y="31037"/>
                </a:lnTo>
                <a:lnTo>
                  <a:pt x="67640" y="28490"/>
                </a:lnTo>
                <a:lnTo>
                  <a:pt x="67546" y="27736"/>
                </a:lnTo>
                <a:lnTo>
                  <a:pt x="67546" y="27547"/>
                </a:lnTo>
                <a:lnTo>
                  <a:pt x="67452" y="27547"/>
                </a:lnTo>
                <a:lnTo>
                  <a:pt x="67074" y="26792"/>
                </a:lnTo>
                <a:lnTo>
                  <a:pt x="66791" y="25660"/>
                </a:lnTo>
                <a:lnTo>
                  <a:pt x="66508" y="24528"/>
                </a:lnTo>
                <a:lnTo>
                  <a:pt x="66414" y="23585"/>
                </a:lnTo>
                <a:lnTo>
                  <a:pt x="66320" y="23679"/>
                </a:lnTo>
                <a:lnTo>
                  <a:pt x="66320" y="23490"/>
                </a:lnTo>
                <a:lnTo>
                  <a:pt x="65942" y="22924"/>
                </a:lnTo>
                <a:lnTo>
                  <a:pt x="65565" y="22358"/>
                </a:lnTo>
                <a:lnTo>
                  <a:pt x="64527" y="21132"/>
                </a:lnTo>
                <a:lnTo>
                  <a:pt x="63584" y="19906"/>
                </a:lnTo>
                <a:lnTo>
                  <a:pt x="63207" y="19340"/>
                </a:lnTo>
                <a:lnTo>
                  <a:pt x="63018" y="18774"/>
                </a:lnTo>
                <a:lnTo>
                  <a:pt x="63112" y="18962"/>
                </a:lnTo>
                <a:lnTo>
                  <a:pt x="63301" y="19057"/>
                </a:lnTo>
                <a:lnTo>
                  <a:pt x="63301" y="19057"/>
                </a:lnTo>
                <a:lnTo>
                  <a:pt x="63207" y="18868"/>
                </a:lnTo>
                <a:lnTo>
                  <a:pt x="62923" y="18491"/>
                </a:lnTo>
                <a:lnTo>
                  <a:pt x="61980" y="17453"/>
                </a:lnTo>
                <a:lnTo>
                  <a:pt x="61037" y="16509"/>
                </a:lnTo>
                <a:lnTo>
                  <a:pt x="61037" y="16698"/>
                </a:lnTo>
                <a:lnTo>
                  <a:pt x="61037" y="16887"/>
                </a:lnTo>
                <a:lnTo>
                  <a:pt x="60093" y="15943"/>
                </a:lnTo>
                <a:lnTo>
                  <a:pt x="60376" y="16321"/>
                </a:lnTo>
                <a:lnTo>
                  <a:pt x="59527" y="15377"/>
                </a:lnTo>
                <a:lnTo>
                  <a:pt x="59056" y="14906"/>
                </a:lnTo>
                <a:lnTo>
                  <a:pt x="59244" y="14906"/>
                </a:lnTo>
                <a:lnTo>
                  <a:pt x="59905" y="15472"/>
                </a:lnTo>
                <a:lnTo>
                  <a:pt x="59905" y="15472"/>
                </a:lnTo>
                <a:lnTo>
                  <a:pt x="57641" y="13396"/>
                </a:lnTo>
                <a:lnTo>
                  <a:pt x="58112" y="13868"/>
                </a:lnTo>
                <a:lnTo>
                  <a:pt x="56886" y="13019"/>
                </a:lnTo>
                <a:lnTo>
                  <a:pt x="55754" y="12453"/>
                </a:lnTo>
                <a:lnTo>
                  <a:pt x="56603" y="13113"/>
                </a:lnTo>
                <a:lnTo>
                  <a:pt x="57452" y="13774"/>
                </a:lnTo>
                <a:lnTo>
                  <a:pt x="58961" y="15283"/>
                </a:lnTo>
                <a:lnTo>
                  <a:pt x="60376" y="16604"/>
                </a:lnTo>
                <a:lnTo>
                  <a:pt x="61225" y="17264"/>
                </a:lnTo>
                <a:lnTo>
                  <a:pt x="62074" y="17925"/>
                </a:lnTo>
                <a:lnTo>
                  <a:pt x="62074" y="17925"/>
                </a:lnTo>
                <a:lnTo>
                  <a:pt x="61414" y="17547"/>
                </a:lnTo>
                <a:lnTo>
                  <a:pt x="60659" y="16981"/>
                </a:lnTo>
                <a:lnTo>
                  <a:pt x="60754" y="17264"/>
                </a:lnTo>
                <a:lnTo>
                  <a:pt x="60942" y="17642"/>
                </a:lnTo>
                <a:lnTo>
                  <a:pt x="61980" y="19151"/>
                </a:lnTo>
                <a:lnTo>
                  <a:pt x="63301" y="20943"/>
                </a:lnTo>
                <a:lnTo>
                  <a:pt x="63207" y="20943"/>
                </a:lnTo>
                <a:lnTo>
                  <a:pt x="63395" y="21038"/>
                </a:lnTo>
                <a:lnTo>
                  <a:pt x="63490" y="21321"/>
                </a:lnTo>
                <a:lnTo>
                  <a:pt x="63678" y="21604"/>
                </a:lnTo>
                <a:lnTo>
                  <a:pt x="63773" y="21698"/>
                </a:lnTo>
                <a:lnTo>
                  <a:pt x="63584" y="21321"/>
                </a:lnTo>
                <a:lnTo>
                  <a:pt x="63584" y="21321"/>
                </a:lnTo>
                <a:lnTo>
                  <a:pt x="64244" y="22170"/>
                </a:lnTo>
                <a:lnTo>
                  <a:pt x="64716" y="22641"/>
                </a:lnTo>
                <a:lnTo>
                  <a:pt x="64905" y="22830"/>
                </a:lnTo>
                <a:lnTo>
                  <a:pt x="64999" y="22830"/>
                </a:lnTo>
                <a:lnTo>
                  <a:pt x="64999" y="22641"/>
                </a:lnTo>
                <a:lnTo>
                  <a:pt x="64905" y="22358"/>
                </a:lnTo>
                <a:lnTo>
                  <a:pt x="65282" y="23207"/>
                </a:lnTo>
                <a:lnTo>
                  <a:pt x="65565" y="24056"/>
                </a:lnTo>
                <a:lnTo>
                  <a:pt x="66225" y="25943"/>
                </a:lnTo>
                <a:lnTo>
                  <a:pt x="66697" y="27830"/>
                </a:lnTo>
                <a:lnTo>
                  <a:pt x="66886" y="28490"/>
                </a:lnTo>
                <a:lnTo>
                  <a:pt x="66980" y="28868"/>
                </a:lnTo>
                <a:lnTo>
                  <a:pt x="66886" y="28962"/>
                </a:lnTo>
                <a:lnTo>
                  <a:pt x="66697" y="28679"/>
                </a:lnTo>
                <a:lnTo>
                  <a:pt x="66697" y="29245"/>
                </a:lnTo>
                <a:lnTo>
                  <a:pt x="66791" y="29905"/>
                </a:lnTo>
                <a:lnTo>
                  <a:pt x="66886" y="29905"/>
                </a:lnTo>
                <a:lnTo>
                  <a:pt x="66886" y="30094"/>
                </a:lnTo>
                <a:lnTo>
                  <a:pt x="66886" y="30566"/>
                </a:lnTo>
                <a:lnTo>
                  <a:pt x="66697" y="30377"/>
                </a:lnTo>
                <a:lnTo>
                  <a:pt x="66603" y="30188"/>
                </a:lnTo>
                <a:lnTo>
                  <a:pt x="66603" y="30094"/>
                </a:lnTo>
                <a:lnTo>
                  <a:pt x="66697" y="29905"/>
                </a:lnTo>
                <a:lnTo>
                  <a:pt x="66508" y="28679"/>
                </a:lnTo>
                <a:lnTo>
                  <a:pt x="66225" y="27358"/>
                </a:lnTo>
                <a:lnTo>
                  <a:pt x="66603" y="30283"/>
                </a:lnTo>
                <a:lnTo>
                  <a:pt x="66697" y="31792"/>
                </a:lnTo>
                <a:lnTo>
                  <a:pt x="66697" y="33302"/>
                </a:lnTo>
                <a:lnTo>
                  <a:pt x="66603" y="34717"/>
                </a:lnTo>
                <a:lnTo>
                  <a:pt x="66414" y="36226"/>
                </a:lnTo>
                <a:lnTo>
                  <a:pt x="66131" y="37547"/>
                </a:lnTo>
                <a:lnTo>
                  <a:pt x="65659" y="38962"/>
                </a:lnTo>
                <a:lnTo>
                  <a:pt x="65848" y="38584"/>
                </a:lnTo>
                <a:lnTo>
                  <a:pt x="65942" y="38584"/>
                </a:lnTo>
                <a:lnTo>
                  <a:pt x="65848" y="39245"/>
                </a:lnTo>
                <a:lnTo>
                  <a:pt x="65565" y="40188"/>
                </a:lnTo>
                <a:lnTo>
                  <a:pt x="65471" y="40471"/>
                </a:lnTo>
                <a:lnTo>
                  <a:pt x="65282" y="40660"/>
                </a:lnTo>
                <a:lnTo>
                  <a:pt x="65282" y="40566"/>
                </a:lnTo>
                <a:lnTo>
                  <a:pt x="65093" y="41132"/>
                </a:lnTo>
                <a:lnTo>
                  <a:pt x="64433" y="43018"/>
                </a:lnTo>
                <a:lnTo>
                  <a:pt x="63678" y="45282"/>
                </a:lnTo>
                <a:lnTo>
                  <a:pt x="62735" y="47264"/>
                </a:lnTo>
                <a:lnTo>
                  <a:pt x="61697" y="49056"/>
                </a:lnTo>
                <a:lnTo>
                  <a:pt x="60659" y="50943"/>
                </a:lnTo>
                <a:lnTo>
                  <a:pt x="59433" y="52735"/>
                </a:lnTo>
                <a:lnTo>
                  <a:pt x="58207" y="54433"/>
                </a:lnTo>
                <a:lnTo>
                  <a:pt x="56886" y="56037"/>
                </a:lnTo>
                <a:lnTo>
                  <a:pt x="55376" y="57641"/>
                </a:lnTo>
                <a:lnTo>
                  <a:pt x="53867" y="59150"/>
                </a:lnTo>
                <a:lnTo>
                  <a:pt x="52169" y="60376"/>
                </a:lnTo>
                <a:lnTo>
                  <a:pt x="48961" y="62452"/>
                </a:lnTo>
                <a:lnTo>
                  <a:pt x="44528" y="65282"/>
                </a:lnTo>
                <a:lnTo>
                  <a:pt x="44622" y="65188"/>
                </a:lnTo>
                <a:lnTo>
                  <a:pt x="44716" y="65093"/>
                </a:lnTo>
                <a:lnTo>
                  <a:pt x="45094" y="64810"/>
                </a:lnTo>
                <a:lnTo>
                  <a:pt x="45660" y="64527"/>
                </a:lnTo>
                <a:lnTo>
                  <a:pt x="43867" y="65376"/>
                </a:lnTo>
                <a:lnTo>
                  <a:pt x="43113" y="65754"/>
                </a:lnTo>
                <a:lnTo>
                  <a:pt x="42924" y="65754"/>
                </a:lnTo>
                <a:lnTo>
                  <a:pt x="43113" y="65659"/>
                </a:lnTo>
                <a:lnTo>
                  <a:pt x="41603" y="66037"/>
                </a:lnTo>
                <a:lnTo>
                  <a:pt x="39999" y="66320"/>
                </a:lnTo>
                <a:lnTo>
                  <a:pt x="38396" y="66508"/>
                </a:lnTo>
                <a:lnTo>
                  <a:pt x="36792" y="66697"/>
                </a:lnTo>
                <a:lnTo>
                  <a:pt x="33584" y="66980"/>
                </a:lnTo>
                <a:lnTo>
                  <a:pt x="32169" y="67169"/>
                </a:lnTo>
                <a:lnTo>
                  <a:pt x="30754" y="67357"/>
                </a:lnTo>
                <a:lnTo>
                  <a:pt x="30094" y="67357"/>
                </a:lnTo>
                <a:lnTo>
                  <a:pt x="29339" y="67263"/>
                </a:lnTo>
                <a:lnTo>
                  <a:pt x="27830" y="66886"/>
                </a:lnTo>
                <a:lnTo>
                  <a:pt x="26415" y="66508"/>
                </a:lnTo>
                <a:lnTo>
                  <a:pt x="25754" y="66414"/>
                </a:lnTo>
                <a:lnTo>
                  <a:pt x="25094" y="66414"/>
                </a:lnTo>
                <a:lnTo>
                  <a:pt x="25566" y="66980"/>
                </a:lnTo>
                <a:lnTo>
                  <a:pt x="25471" y="67074"/>
                </a:lnTo>
                <a:lnTo>
                  <a:pt x="25188" y="66980"/>
                </a:lnTo>
                <a:lnTo>
                  <a:pt x="24339" y="66791"/>
                </a:lnTo>
                <a:lnTo>
                  <a:pt x="23773" y="66508"/>
                </a:lnTo>
                <a:lnTo>
                  <a:pt x="24245" y="66414"/>
                </a:lnTo>
                <a:lnTo>
                  <a:pt x="24717" y="66603"/>
                </a:lnTo>
                <a:lnTo>
                  <a:pt x="24811" y="66414"/>
                </a:lnTo>
                <a:lnTo>
                  <a:pt x="24811" y="66320"/>
                </a:lnTo>
                <a:lnTo>
                  <a:pt x="24717" y="66225"/>
                </a:lnTo>
                <a:lnTo>
                  <a:pt x="24528" y="66131"/>
                </a:lnTo>
                <a:lnTo>
                  <a:pt x="24151" y="66225"/>
                </a:lnTo>
                <a:lnTo>
                  <a:pt x="23679" y="66320"/>
                </a:lnTo>
                <a:lnTo>
                  <a:pt x="23018" y="66414"/>
                </a:lnTo>
                <a:lnTo>
                  <a:pt x="23490" y="66225"/>
                </a:lnTo>
                <a:lnTo>
                  <a:pt x="22075" y="65942"/>
                </a:lnTo>
                <a:lnTo>
                  <a:pt x="20943" y="65659"/>
                </a:lnTo>
                <a:lnTo>
                  <a:pt x="20000" y="65282"/>
                </a:lnTo>
                <a:lnTo>
                  <a:pt x="19056" y="64810"/>
                </a:lnTo>
                <a:lnTo>
                  <a:pt x="19056" y="64810"/>
                </a:lnTo>
                <a:lnTo>
                  <a:pt x="19717" y="64999"/>
                </a:lnTo>
                <a:lnTo>
                  <a:pt x="19151" y="64716"/>
                </a:lnTo>
                <a:lnTo>
                  <a:pt x="18962" y="64810"/>
                </a:lnTo>
                <a:lnTo>
                  <a:pt x="19151" y="64905"/>
                </a:lnTo>
                <a:lnTo>
                  <a:pt x="18490" y="64905"/>
                </a:lnTo>
                <a:lnTo>
                  <a:pt x="17830" y="64716"/>
                </a:lnTo>
                <a:lnTo>
                  <a:pt x="17264" y="64527"/>
                </a:lnTo>
                <a:lnTo>
                  <a:pt x="16698" y="64150"/>
                </a:lnTo>
                <a:lnTo>
                  <a:pt x="16981" y="64056"/>
                </a:lnTo>
                <a:lnTo>
                  <a:pt x="17264" y="64150"/>
                </a:lnTo>
                <a:lnTo>
                  <a:pt x="17264" y="64150"/>
                </a:lnTo>
                <a:lnTo>
                  <a:pt x="15188" y="63207"/>
                </a:lnTo>
                <a:lnTo>
                  <a:pt x="14622" y="62829"/>
                </a:lnTo>
                <a:lnTo>
                  <a:pt x="14717" y="62924"/>
                </a:lnTo>
                <a:lnTo>
                  <a:pt x="13773" y="62546"/>
                </a:lnTo>
                <a:lnTo>
                  <a:pt x="12924" y="62075"/>
                </a:lnTo>
                <a:lnTo>
                  <a:pt x="12358" y="61697"/>
                </a:lnTo>
                <a:lnTo>
                  <a:pt x="12264" y="61508"/>
                </a:lnTo>
                <a:lnTo>
                  <a:pt x="12170" y="61320"/>
                </a:lnTo>
                <a:lnTo>
                  <a:pt x="11698" y="60942"/>
                </a:lnTo>
                <a:lnTo>
                  <a:pt x="11132" y="60471"/>
                </a:lnTo>
                <a:lnTo>
                  <a:pt x="9906" y="59244"/>
                </a:lnTo>
                <a:lnTo>
                  <a:pt x="9906" y="59244"/>
                </a:lnTo>
                <a:lnTo>
                  <a:pt x="10566" y="59527"/>
                </a:lnTo>
                <a:lnTo>
                  <a:pt x="9434" y="58584"/>
                </a:lnTo>
                <a:lnTo>
                  <a:pt x="8207" y="57546"/>
                </a:lnTo>
                <a:lnTo>
                  <a:pt x="7547" y="56886"/>
                </a:lnTo>
                <a:lnTo>
                  <a:pt x="6981" y="56131"/>
                </a:lnTo>
                <a:lnTo>
                  <a:pt x="6226" y="55094"/>
                </a:lnTo>
                <a:lnTo>
                  <a:pt x="6415" y="55377"/>
                </a:lnTo>
                <a:lnTo>
                  <a:pt x="6038" y="54905"/>
                </a:lnTo>
                <a:lnTo>
                  <a:pt x="5472" y="54244"/>
                </a:lnTo>
                <a:lnTo>
                  <a:pt x="5283" y="53961"/>
                </a:lnTo>
                <a:lnTo>
                  <a:pt x="5094" y="53867"/>
                </a:lnTo>
                <a:lnTo>
                  <a:pt x="5377" y="54622"/>
                </a:lnTo>
                <a:lnTo>
                  <a:pt x="5849" y="55282"/>
                </a:lnTo>
                <a:lnTo>
                  <a:pt x="6321" y="55943"/>
                </a:lnTo>
                <a:lnTo>
                  <a:pt x="6698" y="56603"/>
                </a:lnTo>
                <a:lnTo>
                  <a:pt x="6226" y="56226"/>
                </a:lnTo>
                <a:lnTo>
                  <a:pt x="5943" y="55848"/>
                </a:lnTo>
                <a:lnTo>
                  <a:pt x="6038" y="56037"/>
                </a:lnTo>
                <a:lnTo>
                  <a:pt x="5943" y="55943"/>
                </a:lnTo>
                <a:lnTo>
                  <a:pt x="5377" y="55188"/>
                </a:lnTo>
                <a:lnTo>
                  <a:pt x="5000" y="54716"/>
                </a:lnTo>
                <a:lnTo>
                  <a:pt x="4717" y="54150"/>
                </a:lnTo>
                <a:lnTo>
                  <a:pt x="4528" y="53678"/>
                </a:lnTo>
                <a:lnTo>
                  <a:pt x="4528" y="53584"/>
                </a:lnTo>
                <a:lnTo>
                  <a:pt x="4623" y="53395"/>
                </a:lnTo>
                <a:lnTo>
                  <a:pt x="5094" y="54244"/>
                </a:lnTo>
                <a:lnTo>
                  <a:pt x="4717" y="53301"/>
                </a:lnTo>
                <a:lnTo>
                  <a:pt x="4528" y="53018"/>
                </a:lnTo>
                <a:lnTo>
                  <a:pt x="4151" y="52263"/>
                </a:lnTo>
                <a:lnTo>
                  <a:pt x="4151" y="52169"/>
                </a:lnTo>
                <a:lnTo>
                  <a:pt x="3774" y="51509"/>
                </a:lnTo>
                <a:lnTo>
                  <a:pt x="3396" y="50660"/>
                </a:lnTo>
                <a:lnTo>
                  <a:pt x="3585" y="51603"/>
                </a:lnTo>
                <a:lnTo>
                  <a:pt x="3396" y="51226"/>
                </a:lnTo>
                <a:lnTo>
                  <a:pt x="3208" y="50848"/>
                </a:lnTo>
                <a:lnTo>
                  <a:pt x="3208" y="50471"/>
                </a:lnTo>
                <a:lnTo>
                  <a:pt x="3208" y="50094"/>
                </a:lnTo>
                <a:lnTo>
                  <a:pt x="3585" y="50754"/>
                </a:lnTo>
                <a:lnTo>
                  <a:pt x="3868" y="51509"/>
                </a:lnTo>
                <a:lnTo>
                  <a:pt x="3868" y="51509"/>
                </a:lnTo>
                <a:lnTo>
                  <a:pt x="3208" y="49528"/>
                </a:lnTo>
                <a:lnTo>
                  <a:pt x="3208" y="49528"/>
                </a:lnTo>
                <a:lnTo>
                  <a:pt x="3868" y="50754"/>
                </a:lnTo>
                <a:lnTo>
                  <a:pt x="3208" y="48962"/>
                </a:lnTo>
                <a:lnTo>
                  <a:pt x="3585" y="49339"/>
                </a:lnTo>
                <a:lnTo>
                  <a:pt x="3774" y="49433"/>
                </a:lnTo>
                <a:lnTo>
                  <a:pt x="3962" y="49528"/>
                </a:lnTo>
                <a:lnTo>
                  <a:pt x="4057" y="49905"/>
                </a:lnTo>
                <a:lnTo>
                  <a:pt x="3868" y="48962"/>
                </a:lnTo>
                <a:lnTo>
                  <a:pt x="3491" y="47924"/>
                </a:lnTo>
                <a:lnTo>
                  <a:pt x="2641" y="45565"/>
                </a:lnTo>
                <a:lnTo>
                  <a:pt x="2170" y="43867"/>
                </a:lnTo>
                <a:lnTo>
                  <a:pt x="1698" y="41886"/>
                </a:lnTo>
                <a:lnTo>
                  <a:pt x="1698" y="41886"/>
                </a:lnTo>
                <a:lnTo>
                  <a:pt x="1887" y="42075"/>
                </a:lnTo>
                <a:lnTo>
                  <a:pt x="1981" y="41981"/>
                </a:lnTo>
                <a:lnTo>
                  <a:pt x="2075" y="42075"/>
                </a:lnTo>
                <a:lnTo>
                  <a:pt x="2264" y="42169"/>
                </a:lnTo>
                <a:lnTo>
                  <a:pt x="2170" y="40283"/>
                </a:lnTo>
                <a:lnTo>
                  <a:pt x="2075" y="38301"/>
                </a:lnTo>
                <a:lnTo>
                  <a:pt x="2170" y="36415"/>
                </a:lnTo>
                <a:lnTo>
                  <a:pt x="2358" y="35566"/>
                </a:lnTo>
                <a:lnTo>
                  <a:pt x="2453" y="34811"/>
                </a:lnTo>
                <a:lnTo>
                  <a:pt x="2830" y="32830"/>
                </a:lnTo>
                <a:lnTo>
                  <a:pt x="2830" y="33207"/>
                </a:lnTo>
                <a:lnTo>
                  <a:pt x="2924" y="33490"/>
                </a:lnTo>
                <a:lnTo>
                  <a:pt x="2924" y="32453"/>
                </a:lnTo>
                <a:lnTo>
                  <a:pt x="3019" y="31415"/>
                </a:lnTo>
                <a:lnTo>
                  <a:pt x="3396" y="29245"/>
                </a:lnTo>
                <a:lnTo>
                  <a:pt x="3868" y="27075"/>
                </a:lnTo>
                <a:lnTo>
                  <a:pt x="4623" y="25000"/>
                </a:lnTo>
                <a:lnTo>
                  <a:pt x="5566" y="22830"/>
                </a:lnTo>
                <a:lnTo>
                  <a:pt x="6604" y="20849"/>
                </a:lnTo>
                <a:lnTo>
                  <a:pt x="7830" y="18868"/>
                </a:lnTo>
                <a:lnTo>
                  <a:pt x="9151" y="16887"/>
                </a:lnTo>
                <a:lnTo>
                  <a:pt x="10566" y="15094"/>
                </a:lnTo>
                <a:lnTo>
                  <a:pt x="12075" y="13302"/>
                </a:lnTo>
                <a:lnTo>
                  <a:pt x="13773" y="11698"/>
                </a:lnTo>
                <a:lnTo>
                  <a:pt x="15377" y="10095"/>
                </a:lnTo>
                <a:lnTo>
                  <a:pt x="17170" y="8679"/>
                </a:lnTo>
                <a:lnTo>
                  <a:pt x="18962" y="7453"/>
                </a:lnTo>
                <a:lnTo>
                  <a:pt x="20754" y="6321"/>
                </a:lnTo>
                <a:lnTo>
                  <a:pt x="22547" y="5378"/>
                </a:lnTo>
                <a:lnTo>
                  <a:pt x="21603" y="6227"/>
                </a:lnTo>
                <a:lnTo>
                  <a:pt x="22641" y="5472"/>
                </a:lnTo>
                <a:lnTo>
                  <a:pt x="23302" y="5095"/>
                </a:lnTo>
                <a:lnTo>
                  <a:pt x="25377" y="4151"/>
                </a:lnTo>
                <a:lnTo>
                  <a:pt x="24811" y="4151"/>
                </a:lnTo>
                <a:lnTo>
                  <a:pt x="25660" y="3774"/>
                </a:lnTo>
                <a:lnTo>
                  <a:pt x="26886" y="3208"/>
                </a:lnTo>
                <a:lnTo>
                  <a:pt x="26603" y="3585"/>
                </a:lnTo>
                <a:lnTo>
                  <a:pt x="26886" y="3585"/>
                </a:lnTo>
                <a:lnTo>
                  <a:pt x="26886" y="3680"/>
                </a:lnTo>
                <a:lnTo>
                  <a:pt x="26792" y="3774"/>
                </a:lnTo>
                <a:lnTo>
                  <a:pt x="28301" y="3302"/>
                </a:lnTo>
                <a:lnTo>
                  <a:pt x="29622" y="2736"/>
                </a:lnTo>
                <a:lnTo>
                  <a:pt x="31037" y="2264"/>
                </a:lnTo>
                <a:lnTo>
                  <a:pt x="31792" y="2076"/>
                </a:lnTo>
                <a:lnTo>
                  <a:pt x="32641" y="1981"/>
                </a:lnTo>
                <a:lnTo>
                  <a:pt x="32547" y="2076"/>
                </a:lnTo>
                <a:lnTo>
                  <a:pt x="32924" y="1981"/>
                </a:lnTo>
                <a:lnTo>
                  <a:pt x="34245" y="1793"/>
                </a:lnTo>
                <a:lnTo>
                  <a:pt x="35848" y="1415"/>
                </a:lnTo>
                <a:lnTo>
                  <a:pt x="36981" y="1132"/>
                </a:lnTo>
                <a:lnTo>
                  <a:pt x="36981" y="1415"/>
                </a:lnTo>
                <a:lnTo>
                  <a:pt x="40943" y="1227"/>
                </a:lnTo>
                <a:lnTo>
                  <a:pt x="41509" y="1038"/>
                </a:lnTo>
                <a:lnTo>
                  <a:pt x="41697" y="1132"/>
                </a:lnTo>
                <a:lnTo>
                  <a:pt x="41509" y="1227"/>
                </a:lnTo>
                <a:lnTo>
                  <a:pt x="41320" y="1321"/>
                </a:lnTo>
                <a:lnTo>
                  <a:pt x="42263" y="1321"/>
                </a:lnTo>
                <a:lnTo>
                  <a:pt x="43113" y="1227"/>
                </a:lnTo>
                <a:lnTo>
                  <a:pt x="43396" y="1415"/>
                </a:lnTo>
                <a:lnTo>
                  <a:pt x="44056" y="1604"/>
                </a:lnTo>
                <a:lnTo>
                  <a:pt x="45943" y="2076"/>
                </a:lnTo>
                <a:lnTo>
                  <a:pt x="48018" y="2359"/>
                </a:lnTo>
                <a:lnTo>
                  <a:pt x="49622" y="2736"/>
                </a:lnTo>
                <a:lnTo>
                  <a:pt x="47641" y="1981"/>
                </a:lnTo>
                <a:lnTo>
                  <a:pt x="45282" y="1321"/>
                </a:lnTo>
                <a:lnTo>
                  <a:pt x="42735" y="755"/>
                </a:lnTo>
                <a:lnTo>
                  <a:pt x="40188" y="283"/>
                </a:lnTo>
                <a:lnTo>
                  <a:pt x="37735" y="95"/>
                </a:lnTo>
                <a:lnTo>
                  <a:pt x="35471" y="0"/>
                </a:lnTo>
                <a:close/>
              </a:path>
            </a:pathLst>
          </a:custGeom>
          <a:solidFill>
            <a:srgbClr val="F26F27">
              <a:alpha val="60000"/>
            </a:srgbClr>
          </a:solidFill>
          <a:ln>
            <a:solidFill>
              <a:srgbClr val="F26F27">
                <a:alpha val="60000"/>
              </a:srgbClr>
            </a:solidFill>
          </a:ln>
        </p:spPr>
        <p:txBody>
          <a:bodyPr spcFirstLastPara="1" wrap="square" lIns="91425" tIns="91425" rIns="91425" bIns="91425" anchor="ctr" anchorCtr="0">
            <a:noAutofit/>
          </a:bodyPr>
          <a:lstStyle/>
          <a:p>
            <a:pPr marL="0" lvl="0" indent="0">
              <a:spcBef>
                <a:spcPts val="0"/>
              </a:spcBef>
              <a:spcAft>
                <a:spcPts val="0"/>
              </a:spcAft>
              <a:buNone/>
            </a:pPr>
            <a:endParaRPr sz="1200">
              <a:latin typeface="Comic Sans MS" panose="030F0902030302020204" pitchFamily="66" charset="0"/>
            </a:endParaRPr>
          </a:p>
        </p:txBody>
      </p:sp>
      <p:sp>
        <p:nvSpPr>
          <p:cNvPr id="97" name="TextBox 96">
            <a:extLst>
              <a:ext uri="{FF2B5EF4-FFF2-40B4-BE49-F238E27FC236}">
                <a16:creationId xmlns:a16="http://schemas.microsoft.com/office/drawing/2014/main" id="{34E3FF41-A3A4-AB45-8C3D-02AA1D482A0F}"/>
              </a:ext>
            </a:extLst>
          </p:cNvPr>
          <p:cNvSpPr txBox="1"/>
          <p:nvPr/>
        </p:nvSpPr>
        <p:spPr>
          <a:xfrm>
            <a:off x="6715016" y="2351312"/>
            <a:ext cx="472467" cy="215444"/>
          </a:xfrm>
          <a:prstGeom prst="rect">
            <a:avLst/>
          </a:prstGeom>
          <a:noFill/>
          <a:ln>
            <a:solidFill>
              <a:srgbClr val="87CBD8"/>
            </a:solidFill>
          </a:ln>
        </p:spPr>
        <p:txBody>
          <a:bodyPr wrap="square" rtlCol="0">
            <a:spAutoFit/>
          </a:bodyPr>
          <a:lstStyle/>
          <a:p>
            <a:pPr algn="ctr" defTabSz="457200"/>
            <a:r>
              <a:rPr lang="en-US" sz="800" dirty="0">
                <a:solidFill>
                  <a:schemeClr val="tx1">
                    <a:lumMod val="50000"/>
                  </a:schemeClr>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Kafka</a:t>
            </a:r>
          </a:p>
        </p:txBody>
      </p:sp>
      <p:sp>
        <p:nvSpPr>
          <p:cNvPr id="98" name="Google Shape;431;p39">
            <a:extLst>
              <a:ext uri="{FF2B5EF4-FFF2-40B4-BE49-F238E27FC236}">
                <a16:creationId xmlns:a16="http://schemas.microsoft.com/office/drawing/2014/main" id="{EB0D3A0E-0977-BB43-A241-B72E941A2E3C}"/>
              </a:ext>
            </a:extLst>
          </p:cNvPr>
          <p:cNvSpPr/>
          <p:nvPr/>
        </p:nvSpPr>
        <p:spPr>
          <a:xfrm rot="21011211">
            <a:off x="6954236" y="2119011"/>
            <a:ext cx="118019" cy="139785"/>
          </a:xfrm>
          <a:custGeom>
            <a:avLst/>
            <a:gdLst/>
            <a:ahLst/>
            <a:cxnLst/>
            <a:rect l="0" t="0" r="0" b="0"/>
            <a:pathLst>
              <a:path w="67641" h="69056" extrusionOk="0">
                <a:moveTo>
                  <a:pt x="49622" y="2736"/>
                </a:moveTo>
                <a:lnTo>
                  <a:pt x="49622" y="2736"/>
                </a:lnTo>
                <a:lnTo>
                  <a:pt x="49622" y="2736"/>
                </a:lnTo>
                <a:close/>
                <a:moveTo>
                  <a:pt x="59622" y="55565"/>
                </a:moveTo>
                <a:lnTo>
                  <a:pt x="59622" y="55565"/>
                </a:lnTo>
                <a:lnTo>
                  <a:pt x="59622" y="55565"/>
                </a:lnTo>
                <a:close/>
                <a:moveTo>
                  <a:pt x="35471" y="0"/>
                </a:moveTo>
                <a:lnTo>
                  <a:pt x="34433" y="95"/>
                </a:lnTo>
                <a:lnTo>
                  <a:pt x="33584" y="189"/>
                </a:lnTo>
                <a:lnTo>
                  <a:pt x="32735" y="378"/>
                </a:lnTo>
                <a:lnTo>
                  <a:pt x="32169" y="566"/>
                </a:lnTo>
                <a:lnTo>
                  <a:pt x="31509" y="472"/>
                </a:lnTo>
                <a:lnTo>
                  <a:pt x="30754" y="472"/>
                </a:lnTo>
                <a:lnTo>
                  <a:pt x="29339" y="566"/>
                </a:lnTo>
                <a:lnTo>
                  <a:pt x="27830" y="849"/>
                </a:lnTo>
                <a:lnTo>
                  <a:pt x="26320" y="1321"/>
                </a:lnTo>
                <a:lnTo>
                  <a:pt x="24811" y="1981"/>
                </a:lnTo>
                <a:lnTo>
                  <a:pt x="23207" y="2736"/>
                </a:lnTo>
                <a:lnTo>
                  <a:pt x="21698" y="3585"/>
                </a:lnTo>
                <a:lnTo>
                  <a:pt x="20188" y="4623"/>
                </a:lnTo>
                <a:lnTo>
                  <a:pt x="18679" y="5661"/>
                </a:lnTo>
                <a:lnTo>
                  <a:pt x="17170" y="6793"/>
                </a:lnTo>
                <a:lnTo>
                  <a:pt x="15754" y="8019"/>
                </a:lnTo>
                <a:lnTo>
                  <a:pt x="14434" y="9151"/>
                </a:lnTo>
                <a:lnTo>
                  <a:pt x="11981" y="11510"/>
                </a:lnTo>
                <a:lnTo>
                  <a:pt x="10000" y="13774"/>
                </a:lnTo>
                <a:lnTo>
                  <a:pt x="7736" y="16981"/>
                </a:lnTo>
                <a:lnTo>
                  <a:pt x="8019" y="16321"/>
                </a:lnTo>
                <a:lnTo>
                  <a:pt x="8302" y="15660"/>
                </a:lnTo>
                <a:lnTo>
                  <a:pt x="7736" y="16604"/>
                </a:lnTo>
                <a:lnTo>
                  <a:pt x="7075" y="17642"/>
                </a:lnTo>
                <a:lnTo>
                  <a:pt x="7170" y="17830"/>
                </a:lnTo>
                <a:lnTo>
                  <a:pt x="6509" y="18868"/>
                </a:lnTo>
                <a:lnTo>
                  <a:pt x="7075" y="17359"/>
                </a:lnTo>
                <a:lnTo>
                  <a:pt x="6132" y="19057"/>
                </a:lnTo>
                <a:lnTo>
                  <a:pt x="5189" y="20849"/>
                </a:lnTo>
                <a:lnTo>
                  <a:pt x="4434" y="22736"/>
                </a:lnTo>
                <a:lnTo>
                  <a:pt x="3679" y="24622"/>
                </a:lnTo>
                <a:lnTo>
                  <a:pt x="2453" y="28490"/>
                </a:lnTo>
                <a:lnTo>
                  <a:pt x="1321" y="32169"/>
                </a:lnTo>
                <a:lnTo>
                  <a:pt x="1509" y="32264"/>
                </a:lnTo>
                <a:lnTo>
                  <a:pt x="1604" y="32453"/>
                </a:lnTo>
                <a:lnTo>
                  <a:pt x="1604" y="32641"/>
                </a:lnTo>
                <a:lnTo>
                  <a:pt x="1509" y="32924"/>
                </a:lnTo>
                <a:lnTo>
                  <a:pt x="1226" y="33396"/>
                </a:lnTo>
                <a:lnTo>
                  <a:pt x="1038" y="33585"/>
                </a:lnTo>
                <a:lnTo>
                  <a:pt x="1038" y="33773"/>
                </a:lnTo>
                <a:lnTo>
                  <a:pt x="1038" y="35000"/>
                </a:lnTo>
                <a:lnTo>
                  <a:pt x="849" y="36132"/>
                </a:lnTo>
                <a:lnTo>
                  <a:pt x="660" y="37358"/>
                </a:lnTo>
                <a:lnTo>
                  <a:pt x="472" y="38867"/>
                </a:lnTo>
                <a:lnTo>
                  <a:pt x="283" y="38301"/>
                </a:lnTo>
                <a:lnTo>
                  <a:pt x="94" y="39811"/>
                </a:lnTo>
                <a:lnTo>
                  <a:pt x="0" y="41509"/>
                </a:lnTo>
                <a:lnTo>
                  <a:pt x="94" y="43301"/>
                </a:lnTo>
                <a:lnTo>
                  <a:pt x="283" y="44056"/>
                </a:lnTo>
                <a:lnTo>
                  <a:pt x="472" y="44622"/>
                </a:lnTo>
                <a:lnTo>
                  <a:pt x="566" y="45660"/>
                </a:lnTo>
                <a:lnTo>
                  <a:pt x="755" y="46792"/>
                </a:lnTo>
                <a:lnTo>
                  <a:pt x="1226" y="48962"/>
                </a:lnTo>
                <a:lnTo>
                  <a:pt x="1981" y="51037"/>
                </a:lnTo>
                <a:lnTo>
                  <a:pt x="2924" y="53112"/>
                </a:lnTo>
                <a:lnTo>
                  <a:pt x="4057" y="55094"/>
                </a:lnTo>
                <a:lnTo>
                  <a:pt x="5283" y="56980"/>
                </a:lnTo>
                <a:lnTo>
                  <a:pt x="6698" y="58678"/>
                </a:lnTo>
                <a:lnTo>
                  <a:pt x="8113" y="60282"/>
                </a:lnTo>
                <a:lnTo>
                  <a:pt x="9056" y="61131"/>
                </a:lnTo>
                <a:lnTo>
                  <a:pt x="10000" y="61980"/>
                </a:lnTo>
                <a:lnTo>
                  <a:pt x="11038" y="62829"/>
                </a:lnTo>
                <a:lnTo>
                  <a:pt x="12075" y="63584"/>
                </a:lnTo>
                <a:lnTo>
                  <a:pt x="14339" y="64905"/>
                </a:lnTo>
                <a:lnTo>
                  <a:pt x="16604" y="66131"/>
                </a:lnTo>
                <a:lnTo>
                  <a:pt x="19056" y="67169"/>
                </a:lnTo>
                <a:lnTo>
                  <a:pt x="21509" y="67923"/>
                </a:lnTo>
                <a:lnTo>
                  <a:pt x="24056" y="68584"/>
                </a:lnTo>
                <a:lnTo>
                  <a:pt x="26603" y="69055"/>
                </a:lnTo>
                <a:lnTo>
                  <a:pt x="27830" y="69055"/>
                </a:lnTo>
                <a:lnTo>
                  <a:pt x="30188" y="68867"/>
                </a:lnTo>
                <a:lnTo>
                  <a:pt x="33113" y="68678"/>
                </a:lnTo>
                <a:lnTo>
                  <a:pt x="36509" y="68301"/>
                </a:lnTo>
                <a:lnTo>
                  <a:pt x="39811" y="67923"/>
                </a:lnTo>
                <a:lnTo>
                  <a:pt x="42735" y="67452"/>
                </a:lnTo>
                <a:lnTo>
                  <a:pt x="44905" y="66980"/>
                </a:lnTo>
                <a:lnTo>
                  <a:pt x="45565" y="66791"/>
                </a:lnTo>
                <a:lnTo>
                  <a:pt x="45943" y="66508"/>
                </a:lnTo>
                <a:lnTo>
                  <a:pt x="47358" y="65942"/>
                </a:lnTo>
                <a:lnTo>
                  <a:pt x="48018" y="65565"/>
                </a:lnTo>
                <a:lnTo>
                  <a:pt x="48678" y="65188"/>
                </a:lnTo>
                <a:lnTo>
                  <a:pt x="47924" y="65471"/>
                </a:lnTo>
                <a:lnTo>
                  <a:pt x="51509" y="62924"/>
                </a:lnTo>
                <a:lnTo>
                  <a:pt x="53301" y="61508"/>
                </a:lnTo>
                <a:lnTo>
                  <a:pt x="55093" y="59905"/>
                </a:lnTo>
                <a:lnTo>
                  <a:pt x="55093" y="59905"/>
                </a:lnTo>
                <a:lnTo>
                  <a:pt x="54810" y="60376"/>
                </a:lnTo>
                <a:lnTo>
                  <a:pt x="54339" y="60754"/>
                </a:lnTo>
                <a:lnTo>
                  <a:pt x="55376" y="59999"/>
                </a:lnTo>
                <a:lnTo>
                  <a:pt x="56320" y="59056"/>
                </a:lnTo>
                <a:lnTo>
                  <a:pt x="57075" y="58395"/>
                </a:lnTo>
                <a:lnTo>
                  <a:pt x="57169" y="58207"/>
                </a:lnTo>
                <a:lnTo>
                  <a:pt x="57075" y="58207"/>
                </a:lnTo>
                <a:lnTo>
                  <a:pt x="57924" y="57546"/>
                </a:lnTo>
                <a:lnTo>
                  <a:pt x="58678" y="56697"/>
                </a:lnTo>
                <a:lnTo>
                  <a:pt x="59339" y="55754"/>
                </a:lnTo>
                <a:lnTo>
                  <a:pt x="59905" y="54905"/>
                </a:lnTo>
                <a:lnTo>
                  <a:pt x="59716" y="54999"/>
                </a:lnTo>
                <a:lnTo>
                  <a:pt x="59622" y="54999"/>
                </a:lnTo>
                <a:lnTo>
                  <a:pt x="59810" y="54622"/>
                </a:lnTo>
                <a:lnTo>
                  <a:pt x="59150" y="55565"/>
                </a:lnTo>
                <a:lnTo>
                  <a:pt x="59527" y="55094"/>
                </a:lnTo>
                <a:lnTo>
                  <a:pt x="59433" y="55377"/>
                </a:lnTo>
                <a:lnTo>
                  <a:pt x="58867" y="56037"/>
                </a:lnTo>
                <a:lnTo>
                  <a:pt x="59056" y="55660"/>
                </a:lnTo>
                <a:lnTo>
                  <a:pt x="59056" y="55660"/>
                </a:lnTo>
                <a:lnTo>
                  <a:pt x="58678" y="56037"/>
                </a:lnTo>
                <a:lnTo>
                  <a:pt x="59810" y="54339"/>
                </a:lnTo>
                <a:lnTo>
                  <a:pt x="60282" y="53490"/>
                </a:lnTo>
                <a:lnTo>
                  <a:pt x="60282" y="53301"/>
                </a:lnTo>
                <a:lnTo>
                  <a:pt x="60188" y="53395"/>
                </a:lnTo>
                <a:lnTo>
                  <a:pt x="60188" y="53395"/>
                </a:lnTo>
                <a:lnTo>
                  <a:pt x="60565" y="52924"/>
                </a:lnTo>
                <a:lnTo>
                  <a:pt x="61037" y="52452"/>
                </a:lnTo>
                <a:lnTo>
                  <a:pt x="61886" y="51509"/>
                </a:lnTo>
                <a:lnTo>
                  <a:pt x="61508" y="52452"/>
                </a:lnTo>
                <a:lnTo>
                  <a:pt x="60848" y="53584"/>
                </a:lnTo>
                <a:lnTo>
                  <a:pt x="59622" y="55565"/>
                </a:lnTo>
                <a:lnTo>
                  <a:pt x="60376" y="54528"/>
                </a:lnTo>
                <a:lnTo>
                  <a:pt x="60942" y="53678"/>
                </a:lnTo>
                <a:lnTo>
                  <a:pt x="61980" y="51792"/>
                </a:lnTo>
                <a:lnTo>
                  <a:pt x="61886" y="51886"/>
                </a:lnTo>
                <a:lnTo>
                  <a:pt x="61886" y="51697"/>
                </a:lnTo>
                <a:lnTo>
                  <a:pt x="62169" y="51037"/>
                </a:lnTo>
                <a:lnTo>
                  <a:pt x="62735" y="49999"/>
                </a:lnTo>
                <a:lnTo>
                  <a:pt x="61508" y="51603"/>
                </a:lnTo>
                <a:lnTo>
                  <a:pt x="61603" y="51037"/>
                </a:lnTo>
                <a:lnTo>
                  <a:pt x="61697" y="50377"/>
                </a:lnTo>
                <a:lnTo>
                  <a:pt x="62169" y="48962"/>
                </a:lnTo>
                <a:lnTo>
                  <a:pt x="62829" y="47358"/>
                </a:lnTo>
                <a:lnTo>
                  <a:pt x="63678" y="45565"/>
                </a:lnTo>
                <a:lnTo>
                  <a:pt x="65376" y="42169"/>
                </a:lnTo>
                <a:lnTo>
                  <a:pt x="66131" y="40660"/>
                </a:lnTo>
                <a:lnTo>
                  <a:pt x="66697" y="39339"/>
                </a:lnTo>
                <a:lnTo>
                  <a:pt x="66603" y="39528"/>
                </a:lnTo>
                <a:lnTo>
                  <a:pt x="66697" y="39056"/>
                </a:lnTo>
                <a:lnTo>
                  <a:pt x="66791" y="38962"/>
                </a:lnTo>
                <a:lnTo>
                  <a:pt x="66791" y="39056"/>
                </a:lnTo>
                <a:lnTo>
                  <a:pt x="66886" y="38584"/>
                </a:lnTo>
                <a:lnTo>
                  <a:pt x="66791" y="38867"/>
                </a:lnTo>
                <a:lnTo>
                  <a:pt x="66980" y="38207"/>
                </a:lnTo>
                <a:lnTo>
                  <a:pt x="67169" y="37264"/>
                </a:lnTo>
                <a:lnTo>
                  <a:pt x="67263" y="36415"/>
                </a:lnTo>
                <a:lnTo>
                  <a:pt x="67357" y="36509"/>
                </a:lnTo>
                <a:lnTo>
                  <a:pt x="67452" y="36509"/>
                </a:lnTo>
                <a:lnTo>
                  <a:pt x="67546" y="35943"/>
                </a:lnTo>
                <a:lnTo>
                  <a:pt x="67546" y="34811"/>
                </a:lnTo>
                <a:lnTo>
                  <a:pt x="67640" y="31037"/>
                </a:lnTo>
                <a:lnTo>
                  <a:pt x="67640" y="28490"/>
                </a:lnTo>
                <a:lnTo>
                  <a:pt x="67546" y="27736"/>
                </a:lnTo>
                <a:lnTo>
                  <a:pt x="67546" y="27547"/>
                </a:lnTo>
                <a:lnTo>
                  <a:pt x="67452" y="27547"/>
                </a:lnTo>
                <a:lnTo>
                  <a:pt x="67074" y="26792"/>
                </a:lnTo>
                <a:lnTo>
                  <a:pt x="66791" y="25660"/>
                </a:lnTo>
                <a:lnTo>
                  <a:pt x="66508" y="24528"/>
                </a:lnTo>
                <a:lnTo>
                  <a:pt x="66414" y="23585"/>
                </a:lnTo>
                <a:lnTo>
                  <a:pt x="66320" y="23679"/>
                </a:lnTo>
                <a:lnTo>
                  <a:pt x="66320" y="23490"/>
                </a:lnTo>
                <a:lnTo>
                  <a:pt x="65942" y="22924"/>
                </a:lnTo>
                <a:lnTo>
                  <a:pt x="65565" y="22358"/>
                </a:lnTo>
                <a:lnTo>
                  <a:pt x="64527" y="21132"/>
                </a:lnTo>
                <a:lnTo>
                  <a:pt x="63584" y="19906"/>
                </a:lnTo>
                <a:lnTo>
                  <a:pt x="63207" y="19340"/>
                </a:lnTo>
                <a:lnTo>
                  <a:pt x="63018" y="18774"/>
                </a:lnTo>
                <a:lnTo>
                  <a:pt x="63112" y="18962"/>
                </a:lnTo>
                <a:lnTo>
                  <a:pt x="63301" y="19057"/>
                </a:lnTo>
                <a:lnTo>
                  <a:pt x="63301" y="19057"/>
                </a:lnTo>
                <a:lnTo>
                  <a:pt x="63207" y="18868"/>
                </a:lnTo>
                <a:lnTo>
                  <a:pt x="62923" y="18491"/>
                </a:lnTo>
                <a:lnTo>
                  <a:pt x="61980" y="17453"/>
                </a:lnTo>
                <a:lnTo>
                  <a:pt x="61037" y="16509"/>
                </a:lnTo>
                <a:lnTo>
                  <a:pt x="61037" y="16698"/>
                </a:lnTo>
                <a:lnTo>
                  <a:pt x="61037" y="16887"/>
                </a:lnTo>
                <a:lnTo>
                  <a:pt x="60093" y="15943"/>
                </a:lnTo>
                <a:lnTo>
                  <a:pt x="60376" y="16321"/>
                </a:lnTo>
                <a:lnTo>
                  <a:pt x="59527" y="15377"/>
                </a:lnTo>
                <a:lnTo>
                  <a:pt x="59056" y="14906"/>
                </a:lnTo>
                <a:lnTo>
                  <a:pt x="59244" y="14906"/>
                </a:lnTo>
                <a:lnTo>
                  <a:pt x="59905" y="15472"/>
                </a:lnTo>
                <a:lnTo>
                  <a:pt x="59905" y="15472"/>
                </a:lnTo>
                <a:lnTo>
                  <a:pt x="57641" y="13396"/>
                </a:lnTo>
                <a:lnTo>
                  <a:pt x="58112" y="13868"/>
                </a:lnTo>
                <a:lnTo>
                  <a:pt x="56886" y="13019"/>
                </a:lnTo>
                <a:lnTo>
                  <a:pt x="55754" y="12453"/>
                </a:lnTo>
                <a:lnTo>
                  <a:pt x="56603" y="13113"/>
                </a:lnTo>
                <a:lnTo>
                  <a:pt x="57452" y="13774"/>
                </a:lnTo>
                <a:lnTo>
                  <a:pt x="58961" y="15283"/>
                </a:lnTo>
                <a:lnTo>
                  <a:pt x="60376" y="16604"/>
                </a:lnTo>
                <a:lnTo>
                  <a:pt x="61225" y="17264"/>
                </a:lnTo>
                <a:lnTo>
                  <a:pt x="62074" y="17925"/>
                </a:lnTo>
                <a:lnTo>
                  <a:pt x="62074" y="17925"/>
                </a:lnTo>
                <a:lnTo>
                  <a:pt x="61414" y="17547"/>
                </a:lnTo>
                <a:lnTo>
                  <a:pt x="60659" y="16981"/>
                </a:lnTo>
                <a:lnTo>
                  <a:pt x="60754" y="17264"/>
                </a:lnTo>
                <a:lnTo>
                  <a:pt x="60942" y="17642"/>
                </a:lnTo>
                <a:lnTo>
                  <a:pt x="61980" y="19151"/>
                </a:lnTo>
                <a:lnTo>
                  <a:pt x="63301" y="20943"/>
                </a:lnTo>
                <a:lnTo>
                  <a:pt x="63207" y="20943"/>
                </a:lnTo>
                <a:lnTo>
                  <a:pt x="63395" y="21038"/>
                </a:lnTo>
                <a:lnTo>
                  <a:pt x="63490" y="21321"/>
                </a:lnTo>
                <a:lnTo>
                  <a:pt x="63678" y="21604"/>
                </a:lnTo>
                <a:lnTo>
                  <a:pt x="63773" y="21698"/>
                </a:lnTo>
                <a:lnTo>
                  <a:pt x="63584" y="21321"/>
                </a:lnTo>
                <a:lnTo>
                  <a:pt x="63584" y="21321"/>
                </a:lnTo>
                <a:lnTo>
                  <a:pt x="64244" y="22170"/>
                </a:lnTo>
                <a:lnTo>
                  <a:pt x="64716" y="22641"/>
                </a:lnTo>
                <a:lnTo>
                  <a:pt x="64905" y="22830"/>
                </a:lnTo>
                <a:lnTo>
                  <a:pt x="64999" y="22830"/>
                </a:lnTo>
                <a:lnTo>
                  <a:pt x="64999" y="22641"/>
                </a:lnTo>
                <a:lnTo>
                  <a:pt x="64905" y="22358"/>
                </a:lnTo>
                <a:lnTo>
                  <a:pt x="65282" y="23207"/>
                </a:lnTo>
                <a:lnTo>
                  <a:pt x="65565" y="24056"/>
                </a:lnTo>
                <a:lnTo>
                  <a:pt x="66225" y="25943"/>
                </a:lnTo>
                <a:lnTo>
                  <a:pt x="66697" y="27830"/>
                </a:lnTo>
                <a:lnTo>
                  <a:pt x="66886" y="28490"/>
                </a:lnTo>
                <a:lnTo>
                  <a:pt x="66980" y="28868"/>
                </a:lnTo>
                <a:lnTo>
                  <a:pt x="66886" y="28962"/>
                </a:lnTo>
                <a:lnTo>
                  <a:pt x="66697" y="28679"/>
                </a:lnTo>
                <a:lnTo>
                  <a:pt x="66697" y="29245"/>
                </a:lnTo>
                <a:lnTo>
                  <a:pt x="66791" y="29905"/>
                </a:lnTo>
                <a:lnTo>
                  <a:pt x="66886" y="29905"/>
                </a:lnTo>
                <a:lnTo>
                  <a:pt x="66886" y="30094"/>
                </a:lnTo>
                <a:lnTo>
                  <a:pt x="66886" y="30566"/>
                </a:lnTo>
                <a:lnTo>
                  <a:pt x="66697" y="30377"/>
                </a:lnTo>
                <a:lnTo>
                  <a:pt x="66603" y="30188"/>
                </a:lnTo>
                <a:lnTo>
                  <a:pt x="66603" y="30094"/>
                </a:lnTo>
                <a:lnTo>
                  <a:pt x="66697" y="29905"/>
                </a:lnTo>
                <a:lnTo>
                  <a:pt x="66508" y="28679"/>
                </a:lnTo>
                <a:lnTo>
                  <a:pt x="66225" y="27358"/>
                </a:lnTo>
                <a:lnTo>
                  <a:pt x="66603" y="30283"/>
                </a:lnTo>
                <a:lnTo>
                  <a:pt x="66697" y="31792"/>
                </a:lnTo>
                <a:lnTo>
                  <a:pt x="66697" y="33302"/>
                </a:lnTo>
                <a:lnTo>
                  <a:pt x="66603" y="34717"/>
                </a:lnTo>
                <a:lnTo>
                  <a:pt x="66414" y="36226"/>
                </a:lnTo>
                <a:lnTo>
                  <a:pt x="66131" y="37547"/>
                </a:lnTo>
                <a:lnTo>
                  <a:pt x="65659" y="38962"/>
                </a:lnTo>
                <a:lnTo>
                  <a:pt x="65848" y="38584"/>
                </a:lnTo>
                <a:lnTo>
                  <a:pt x="65942" y="38584"/>
                </a:lnTo>
                <a:lnTo>
                  <a:pt x="65848" y="39245"/>
                </a:lnTo>
                <a:lnTo>
                  <a:pt x="65565" y="40188"/>
                </a:lnTo>
                <a:lnTo>
                  <a:pt x="65471" y="40471"/>
                </a:lnTo>
                <a:lnTo>
                  <a:pt x="65282" y="40660"/>
                </a:lnTo>
                <a:lnTo>
                  <a:pt x="65282" y="40566"/>
                </a:lnTo>
                <a:lnTo>
                  <a:pt x="65093" y="41132"/>
                </a:lnTo>
                <a:lnTo>
                  <a:pt x="64433" y="43018"/>
                </a:lnTo>
                <a:lnTo>
                  <a:pt x="63678" y="45282"/>
                </a:lnTo>
                <a:lnTo>
                  <a:pt x="62735" y="47264"/>
                </a:lnTo>
                <a:lnTo>
                  <a:pt x="61697" y="49056"/>
                </a:lnTo>
                <a:lnTo>
                  <a:pt x="60659" y="50943"/>
                </a:lnTo>
                <a:lnTo>
                  <a:pt x="59433" y="52735"/>
                </a:lnTo>
                <a:lnTo>
                  <a:pt x="58207" y="54433"/>
                </a:lnTo>
                <a:lnTo>
                  <a:pt x="56886" y="56037"/>
                </a:lnTo>
                <a:lnTo>
                  <a:pt x="55376" y="57641"/>
                </a:lnTo>
                <a:lnTo>
                  <a:pt x="53867" y="59150"/>
                </a:lnTo>
                <a:lnTo>
                  <a:pt x="52169" y="60376"/>
                </a:lnTo>
                <a:lnTo>
                  <a:pt x="48961" y="62452"/>
                </a:lnTo>
                <a:lnTo>
                  <a:pt x="44528" y="65282"/>
                </a:lnTo>
                <a:lnTo>
                  <a:pt x="44622" y="65188"/>
                </a:lnTo>
                <a:lnTo>
                  <a:pt x="44716" y="65093"/>
                </a:lnTo>
                <a:lnTo>
                  <a:pt x="45094" y="64810"/>
                </a:lnTo>
                <a:lnTo>
                  <a:pt x="45660" y="64527"/>
                </a:lnTo>
                <a:lnTo>
                  <a:pt x="43867" y="65376"/>
                </a:lnTo>
                <a:lnTo>
                  <a:pt x="43113" y="65754"/>
                </a:lnTo>
                <a:lnTo>
                  <a:pt x="42924" y="65754"/>
                </a:lnTo>
                <a:lnTo>
                  <a:pt x="43113" y="65659"/>
                </a:lnTo>
                <a:lnTo>
                  <a:pt x="41603" y="66037"/>
                </a:lnTo>
                <a:lnTo>
                  <a:pt x="39999" y="66320"/>
                </a:lnTo>
                <a:lnTo>
                  <a:pt x="38396" y="66508"/>
                </a:lnTo>
                <a:lnTo>
                  <a:pt x="36792" y="66697"/>
                </a:lnTo>
                <a:lnTo>
                  <a:pt x="33584" y="66980"/>
                </a:lnTo>
                <a:lnTo>
                  <a:pt x="32169" y="67169"/>
                </a:lnTo>
                <a:lnTo>
                  <a:pt x="30754" y="67357"/>
                </a:lnTo>
                <a:lnTo>
                  <a:pt x="30094" y="67357"/>
                </a:lnTo>
                <a:lnTo>
                  <a:pt x="29339" y="67263"/>
                </a:lnTo>
                <a:lnTo>
                  <a:pt x="27830" y="66886"/>
                </a:lnTo>
                <a:lnTo>
                  <a:pt x="26415" y="66508"/>
                </a:lnTo>
                <a:lnTo>
                  <a:pt x="25754" y="66414"/>
                </a:lnTo>
                <a:lnTo>
                  <a:pt x="25094" y="66414"/>
                </a:lnTo>
                <a:lnTo>
                  <a:pt x="25566" y="66980"/>
                </a:lnTo>
                <a:lnTo>
                  <a:pt x="25471" y="67074"/>
                </a:lnTo>
                <a:lnTo>
                  <a:pt x="25188" y="66980"/>
                </a:lnTo>
                <a:lnTo>
                  <a:pt x="24339" y="66791"/>
                </a:lnTo>
                <a:lnTo>
                  <a:pt x="23773" y="66508"/>
                </a:lnTo>
                <a:lnTo>
                  <a:pt x="24245" y="66414"/>
                </a:lnTo>
                <a:lnTo>
                  <a:pt x="24717" y="66603"/>
                </a:lnTo>
                <a:lnTo>
                  <a:pt x="24811" y="66414"/>
                </a:lnTo>
                <a:lnTo>
                  <a:pt x="24811" y="66320"/>
                </a:lnTo>
                <a:lnTo>
                  <a:pt x="24717" y="66225"/>
                </a:lnTo>
                <a:lnTo>
                  <a:pt x="24528" y="66131"/>
                </a:lnTo>
                <a:lnTo>
                  <a:pt x="24151" y="66225"/>
                </a:lnTo>
                <a:lnTo>
                  <a:pt x="23679" y="66320"/>
                </a:lnTo>
                <a:lnTo>
                  <a:pt x="23018" y="66414"/>
                </a:lnTo>
                <a:lnTo>
                  <a:pt x="23490" y="66225"/>
                </a:lnTo>
                <a:lnTo>
                  <a:pt x="22075" y="65942"/>
                </a:lnTo>
                <a:lnTo>
                  <a:pt x="20943" y="65659"/>
                </a:lnTo>
                <a:lnTo>
                  <a:pt x="20000" y="65282"/>
                </a:lnTo>
                <a:lnTo>
                  <a:pt x="19056" y="64810"/>
                </a:lnTo>
                <a:lnTo>
                  <a:pt x="19056" y="64810"/>
                </a:lnTo>
                <a:lnTo>
                  <a:pt x="19717" y="64999"/>
                </a:lnTo>
                <a:lnTo>
                  <a:pt x="19151" y="64716"/>
                </a:lnTo>
                <a:lnTo>
                  <a:pt x="18962" y="64810"/>
                </a:lnTo>
                <a:lnTo>
                  <a:pt x="19151" y="64905"/>
                </a:lnTo>
                <a:lnTo>
                  <a:pt x="18490" y="64905"/>
                </a:lnTo>
                <a:lnTo>
                  <a:pt x="17830" y="64716"/>
                </a:lnTo>
                <a:lnTo>
                  <a:pt x="17264" y="64527"/>
                </a:lnTo>
                <a:lnTo>
                  <a:pt x="16698" y="64150"/>
                </a:lnTo>
                <a:lnTo>
                  <a:pt x="16981" y="64056"/>
                </a:lnTo>
                <a:lnTo>
                  <a:pt x="17264" y="64150"/>
                </a:lnTo>
                <a:lnTo>
                  <a:pt x="17264" y="64150"/>
                </a:lnTo>
                <a:lnTo>
                  <a:pt x="15188" y="63207"/>
                </a:lnTo>
                <a:lnTo>
                  <a:pt x="14622" y="62829"/>
                </a:lnTo>
                <a:lnTo>
                  <a:pt x="14717" y="62924"/>
                </a:lnTo>
                <a:lnTo>
                  <a:pt x="13773" y="62546"/>
                </a:lnTo>
                <a:lnTo>
                  <a:pt x="12924" y="62075"/>
                </a:lnTo>
                <a:lnTo>
                  <a:pt x="12358" y="61697"/>
                </a:lnTo>
                <a:lnTo>
                  <a:pt x="12264" y="61508"/>
                </a:lnTo>
                <a:lnTo>
                  <a:pt x="12170" y="61320"/>
                </a:lnTo>
                <a:lnTo>
                  <a:pt x="11698" y="60942"/>
                </a:lnTo>
                <a:lnTo>
                  <a:pt x="11132" y="60471"/>
                </a:lnTo>
                <a:lnTo>
                  <a:pt x="9906" y="59244"/>
                </a:lnTo>
                <a:lnTo>
                  <a:pt x="9906" y="59244"/>
                </a:lnTo>
                <a:lnTo>
                  <a:pt x="10566" y="59527"/>
                </a:lnTo>
                <a:lnTo>
                  <a:pt x="9434" y="58584"/>
                </a:lnTo>
                <a:lnTo>
                  <a:pt x="8207" y="57546"/>
                </a:lnTo>
                <a:lnTo>
                  <a:pt x="7547" y="56886"/>
                </a:lnTo>
                <a:lnTo>
                  <a:pt x="6981" y="56131"/>
                </a:lnTo>
                <a:lnTo>
                  <a:pt x="6226" y="55094"/>
                </a:lnTo>
                <a:lnTo>
                  <a:pt x="6415" y="55377"/>
                </a:lnTo>
                <a:lnTo>
                  <a:pt x="6038" y="54905"/>
                </a:lnTo>
                <a:lnTo>
                  <a:pt x="5472" y="54244"/>
                </a:lnTo>
                <a:lnTo>
                  <a:pt x="5283" y="53961"/>
                </a:lnTo>
                <a:lnTo>
                  <a:pt x="5094" y="53867"/>
                </a:lnTo>
                <a:lnTo>
                  <a:pt x="5377" y="54622"/>
                </a:lnTo>
                <a:lnTo>
                  <a:pt x="5849" y="55282"/>
                </a:lnTo>
                <a:lnTo>
                  <a:pt x="6321" y="55943"/>
                </a:lnTo>
                <a:lnTo>
                  <a:pt x="6698" y="56603"/>
                </a:lnTo>
                <a:lnTo>
                  <a:pt x="6226" y="56226"/>
                </a:lnTo>
                <a:lnTo>
                  <a:pt x="5943" y="55848"/>
                </a:lnTo>
                <a:lnTo>
                  <a:pt x="6038" y="56037"/>
                </a:lnTo>
                <a:lnTo>
                  <a:pt x="5943" y="55943"/>
                </a:lnTo>
                <a:lnTo>
                  <a:pt x="5377" y="55188"/>
                </a:lnTo>
                <a:lnTo>
                  <a:pt x="5000" y="54716"/>
                </a:lnTo>
                <a:lnTo>
                  <a:pt x="4717" y="54150"/>
                </a:lnTo>
                <a:lnTo>
                  <a:pt x="4528" y="53678"/>
                </a:lnTo>
                <a:lnTo>
                  <a:pt x="4528" y="53584"/>
                </a:lnTo>
                <a:lnTo>
                  <a:pt x="4623" y="53395"/>
                </a:lnTo>
                <a:lnTo>
                  <a:pt x="5094" y="54244"/>
                </a:lnTo>
                <a:lnTo>
                  <a:pt x="4717" y="53301"/>
                </a:lnTo>
                <a:lnTo>
                  <a:pt x="4528" y="53018"/>
                </a:lnTo>
                <a:lnTo>
                  <a:pt x="4151" y="52263"/>
                </a:lnTo>
                <a:lnTo>
                  <a:pt x="4151" y="52169"/>
                </a:lnTo>
                <a:lnTo>
                  <a:pt x="3774" y="51509"/>
                </a:lnTo>
                <a:lnTo>
                  <a:pt x="3396" y="50660"/>
                </a:lnTo>
                <a:lnTo>
                  <a:pt x="3585" y="51603"/>
                </a:lnTo>
                <a:lnTo>
                  <a:pt x="3396" y="51226"/>
                </a:lnTo>
                <a:lnTo>
                  <a:pt x="3208" y="50848"/>
                </a:lnTo>
                <a:lnTo>
                  <a:pt x="3208" y="50471"/>
                </a:lnTo>
                <a:lnTo>
                  <a:pt x="3208" y="50094"/>
                </a:lnTo>
                <a:lnTo>
                  <a:pt x="3585" y="50754"/>
                </a:lnTo>
                <a:lnTo>
                  <a:pt x="3868" y="51509"/>
                </a:lnTo>
                <a:lnTo>
                  <a:pt x="3868" y="51509"/>
                </a:lnTo>
                <a:lnTo>
                  <a:pt x="3208" y="49528"/>
                </a:lnTo>
                <a:lnTo>
                  <a:pt x="3208" y="49528"/>
                </a:lnTo>
                <a:lnTo>
                  <a:pt x="3868" y="50754"/>
                </a:lnTo>
                <a:lnTo>
                  <a:pt x="3208" y="48962"/>
                </a:lnTo>
                <a:lnTo>
                  <a:pt x="3585" y="49339"/>
                </a:lnTo>
                <a:lnTo>
                  <a:pt x="3774" y="49433"/>
                </a:lnTo>
                <a:lnTo>
                  <a:pt x="3962" y="49528"/>
                </a:lnTo>
                <a:lnTo>
                  <a:pt x="4057" y="49905"/>
                </a:lnTo>
                <a:lnTo>
                  <a:pt x="3868" y="48962"/>
                </a:lnTo>
                <a:lnTo>
                  <a:pt x="3491" y="47924"/>
                </a:lnTo>
                <a:lnTo>
                  <a:pt x="2641" y="45565"/>
                </a:lnTo>
                <a:lnTo>
                  <a:pt x="2170" y="43867"/>
                </a:lnTo>
                <a:lnTo>
                  <a:pt x="1698" y="41886"/>
                </a:lnTo>
                <a:lnTo>
                  <a:pt x="1698" y="41886"/>
                </a:lnTo>
                <a:lnTo>
                  <a:pt x="1887" y="42075"/>
                </a:lnTo>
                <a:lnTo>
                  <a:pt x="1981" y="41981"/>
                </a:lnTo>
                <a:lnTo>
                  <a:pt x="2075" y="42075"/>
                </a:lnTo>
                <a:lnTo>
                  <a:pt x="2264" y="42169"/>
                </a:lnTo>
                <a:lnTo>
                  <a:pt x="2170" y="40283"/>
                </a:lnTo>
                <a:lnTo>
                  <a:pt x="2075" y="38301"/>
                </a:lnTo>
                <a:lnTo>
                  <a:pt x="2170" y="36415"/>
                </a:lnTo>
                <a:lnTo>
                  <a:pt x="2358" y="35566"/>
                </a:lnTo>
                <a:lnTo>
                  <a:pt x="2453" y="34811"/>
                </a:lnTo>
                <a:lnTo>
                  <a:pt x="2830" y="32830"/>
                </a:lnTo>
                <a:lnTo>
                  <a:pt x="2830" y="33207"/>
                </a:lnTo>
                <a:lnTo>
                  <a:pt x="2924" y="33490"/>
                </a:lnTo>
                <a:lnTo>
                  <a:pt x="2924" y="32453"/>
                </a:lnTo>
                <a:lnTo>
                  <a:pt x="3019" y="31415"/>
                </a:lnTo>
                <a:lnTo>
                  <a:pt x="3396" y="29245"/>
                </a:lnTo>
                <a:lnTo>
                  <a:pt x="3868" y="27075"/>
                </a:lnTo>
                <a:lnTo>
                  <a:pt x="4623" y="25000"/>
                </a:lnTo>
                <a:lnTo>
                  <a:pt x="5566" y="22830"/>
                </a:lnTo>
                <a:lnTo>
                  <a:pt x="6604" y="20849"/>
                </a:lnTo>
                <a:lnTo>
                  <a:pt x="7830" y="18868"/>
                </a:lnTo>
                <a:lnTo>
                  <a:pt x="9151" y="16887"/>
                </a:lnTo>
                <a:lnTo>
                  <a:pt x="10566" y="15094"/>
                </a:lnTo>
                <a:lnTo>
                  <a:pt x="12075" y="13302"/>
                </a:lnTo>
                <a:lnTo>
                  <a:pt x="13773" y="11698"/>
                </a:lnTo>
                <a:lnTo>
                  <a:pt x="15377" y="10095"/>
                </a:lnTo>
                <a:lnTo>
                  <a:pt x="17170" y="8679"/>
                </a:lnTo>
                <a:lnTo>
                  <a:pt x="18962" y="7453"/>
                </a:lnTo>
                <a:lnTo>
                  <a:pt x="20754" y="6321"/>
                </a:lnTo>
                <a:lnTo>
                  <a:pt x="22547" y="5378"/>
                </a:lnTo>
                <a:lnTo>
                  <a:pt x="21603" y="6227"/>
                </a:lnTo>
                <a:lnTo>
                  <a:pt x="22641" y="5472"/>
                </a:lnTo>
                <a:lnTo>
                  <a:pt x="23302" y="5095"/>
                </a:lnTo>
                <a:lnTo>
                  <a:pt x="25377" y="4151"/>
                </a:lnTo>
                <a:lnTo>
                  <a:pt x="24811" y="4151"/>
                </a:lnTo>
                <a:lnTo>
                  <a:pt x="25660" y="3774"/>
                </a:lnTo>
                <a:lnTo>
                  <a:pt x="26886" y="3208"/>
                </a:lnTo>
                <a:lnTo>
                  <a:pt x="26603" y="3585"/>
                </a:lnTo>
                <a:lnTo>
                  <a:pt x="26886" y="3585"/>
                </a:lnTo>
                <a:lnTo>
                  <a:pt x="26886" y="3680"/>
                </a:lnTo>
                <a:lnTo>
                  <a:pt x="26792" y="3774"/>
                </a:lnTo>
                <a:lnTo>
                  <a:pt x="28301" y="3302"/>
                </a:lnTo>
                <a:lnTo>
                  <a:pt x="29622" y="2736"/>
                </a:lnTo>
                <a:lnTo>
                  <a:pt x="31037" y="2264"/>
                </a:lnTo>
                <a:lnTo>
                  <a:pt x="31792" y="2076"/>
                </a:lnTo>
                <a:lnTo>
                  <a:pt x="32641" y="1981"/>
                </a:lnTo>
                <a:lnTo>
                  <a:pt x="32547" y="2076"/>
                </a:lnTo>
                <a:lnTo>
                  <a:pt x="32924" y="1981"/>
                </a:lnTo>
                <a:lnTo>
                  <a:pt x="34245" y="1793"/>
                </a:lnTo>
                <a:lnTo>
                  <a:pt x="35848" y="1415"/>
                </a:lnTo>
                <a:lnTo>
                  <a:pt x="36981" y="1132"/>
                </a:lnTo>
                <a:lnTo>
                  <a:pt x="36981" y="1415"/>
                </a:lnTo>
                <a:lnTo>
                  <a:pt x="40943" y="1227"/>
                </a:lnTo>
                <a:lnTo>
                  <a:pt x="41509" y="1038"/>
                </a:lnTo>
                <a:lnTo>
                  <a:pt x="41697" y="1132"/>
                </a:lnTo>
                <a:lnTo>
                  <a:pt x="41509" y="1227"/>
                </a:lnTo>
                <a:lnTo>
                  <a:pt x="41320" y="1321"/>
                </a:lnTo>
                <a:lnTo>
                  <a:pt x="42263" y="1321"/>
                </a:lnTo>
                <a:lnTo>
                  <a:pt x="43113" y="1227"/>
                </a:lnTo>
                <a:lnTo>
                  <a:pt x="43396" y="1415"/>
                </a:lnTo>
                <a:lnTo>
                  <a:pt x="44056" y="1604"/>
                </a:lnTo>
                <a:lnTo>
                  <a:pt x="45943" y="2076"/>
                </a:lnTo>
                <a:lnTo>
                  <a:pt x="48018" y="2359"/>
                </a:lnTo>
                <a:lnTo>
                  <a:pt x="49622" y="2736"/>
                </a:lnTo>
                <a:lnTo>
                  <a:pt x="47641" y="1981"/>
                </a:lnTo>
                <a:lnTo>
                  <a:pt x="45282" y="1321"/>
                </a:lnTo>
                <a:lnTo>
                  <a:pt x="42735" y="755"/>
                </a:lnTo>
                <a:lnTo>
                  <a:pt x="40188" y="283"/>
                </a:lnTo>
                <a:lnTo>
                  <a:pt x="37735" y="95"/>
                </a:lnTo>
                <a:lnTo>
                  <a:pt x="35471" y="0"/>
                </a:lnTo>
                <a:close/>
              </a:path>
            </a:pathLst>
          </a:custGeom>
          <a:solidFill>
            <a:schemeClr val="bg2">
              <a:lumMod val="75000"/>
            </a:schemeClr>
          </a:solidFill>
          <a:ln>
            <a:noFill/>
          </a:ln>
        </p:spPr>
        <p:txBody>
          <a:bodyPr spcFirstLastPara="1" wrap="square" lIns="91425" tIns="91425" rIns="91425" bIns="91425" anchor="ctr" anchorCtr="0">
            <a:noAutofit/>
          </a:bodyPr>
          <a:lstStyle/>
          <a:p>
            <a:pPr marL="0" lvl="0" indent="0">
              <a:spcBef>
                <a:spcPts val="0"/>
              </a:spcBef>
              <a:spcAft>
                <a:spcPts val="0"/>
              </a:spcAft>
              <a:buNone/>
            </a:pPr>
            <a:endParaRPr sz="1200" dirty="0">
              <a:latin typeface="Comic Sans MS" panose="030F0902030302020204" pitchFamily="66" charset="0"/>
            </a:endParaRPr>
          </a:p>
        </p:txBody>
      </p:sp>
      <p:sp>
        <p:nvSpPr>
          <p:cNvPr id="99" name="Google Shape;431;p39">
            <a:extLst>
              <a:ext uri="{FF2B5EF4-FFF2-40B4-BE49-F238E27FC236}">
                <a16:creationId xmlns:a16="http://schemas.microsoft.com/office/drawing/2014/main" id="{6CFC5C8E-8C6F-B840-9EFF-67EC55CBD349}"/>
              </a:ext>
            </a:extLst>
          </p:cNvPr>
          <p:cNvSpPr/>
          <p:nvPr/>
        </p:nvSpPr>
        <p:spPr>
          <a:xfrm rot="21011211">
            <a:off x="6748920" y="2677852"/>
            <a:ext cx="118019" cy="139785"/>
          </a:xfrm>
          <a:custGeom>
            <a:avLst/>
            <a:gdLst/>
            <a:ahLst/>
            <a:cxnLst/>
            <a:rect l="0" t="0" r="0" b="0"/>
            <a:pathLst>
              <a:path w="67641" h="69056" extrusionOk="0">
                <a:moveTo>
                  <a:pt x="49622" y="2736"/>
                </a:moveTo>
                <a:lnTo>
                  <a:pt x="49622" y="2736"/>
                </a:lnTo>
                <a:lnTo>
                  <a:pt x="49622" y="2736"/>
                </a:lnTo>
                <a:close/>
                <a:moveTo>
                  <a:pt x="59622" y="55565"/>
                </a:moveTo>
                <a:lnTo>
                  <a:pt x="59622" y="55565"/>
                </a:lnTo>
                <a:lnTo>
                  <a:pt x="59622" y="55565"/>
                </a:lnTo>
                <a:close/>
                <a:moveTo>
                  <a:pt x="35471" y="0"/>
                </a:moveTo>
                <a:lnTo>
                  <a:pt x="34433" y="95"/>
                </a:lnTo>
                <a:lnTo>
                  <a:pt x="33584" y="189"/>
                </a:lnTo>
                <a:lnTo>
                  <a:pt x="32735" y="378"/>
                </a:lnTo>
                <a:lnTo>
                  <a:pt x="32169" y="566"/>
                </a:lnTo>
                <a:lnTo>
                  <a:pt x="31509" y="472"/>
                </a:lnTo>
                <a:lnTo>
                  <a:pt x="30754" y="472"/>
                </a:lnTo>
                <a:lnTo>
                  <a:pt x="29339" y="566"/>
                </a:lnTo>
                <a:lnTo>
                  <a:pt x="27830" y="849"/>
                </a:lnTo>
                <a:lnTo>
                  <a:pt x="26320" y="1321"/>
                </a:lnTo>
                <a:lnTo>
                  <a:pt x="24811" y="1981"/>
                </a:lnTo>
                <a:lnTo>
                  <a:pt x="23207" y="2736"/>
                </a:lnTo>
                <a:lnTo>
                  <a:pt x="21698" y="3585"/>
                </a:lnTo>
                <a:lnTo>
                  <a:pt x="20188" y="4623"/>
                </a:lnTo>
                <a:lnTo>
                  <a:pt x="18679" y="5661"/>
                </a:lnTo>
                <a:lnTo>
                  <a:pt x="17170" y="6793"/>
                </a:lnTo>
                <a:lnTo>
                  <a:pt x="15754" y="8019"/>
                </a:lnTo>
                <a:lnTo>
                  <a:pt x="14434" y="9151"/>
                </a:lnTo>
                <a:lnTo>
                  <a:pt x="11981" y="11510"/>
                </a:lnTo>
                <a:lnTo>
                  <a:pt x="10000" y="13774"/>
                </a:lnTo>
                <a:lnTo>
                  <a:pt x="7736" y="16981"/>
                </a:lnTo>
                <a:lnTo>
                  <a:pt x="8019" y="16321"/>
                </a:lnTo>
                <a:lnTo>
                  <a:pt x="8302" y="15660"/>
                </a:lnTo>
                <a:lnTo>
                  <a:pt x="7736" y="16604"/>
                </a:lnTo>
                <a:lnTo>
                  <a:pt x="7075" y="17642"/>
                </a:lnTo>
                <a:lnTo>
                  <a:pt x="7170" y="17830"/>
                </a:lnTo>
                <a:lnTo>
                  <a:pt x="6509" y="18868"/>
                </a:lnTo>
                <a:lnTo>
                  <a:pt x="7075" y="17359"/>
                </a:lnTo>
                <a:lnTo>
                  <a:pt x="6132" y="19057"/>
                </a:lnTo>
                <a:lnTo>
                  <a:pt x="5189" y="20849"/>
                </a:lnTo>
                <a:lnTo>
                  <a:pt x="4434" y="22736"/>
                </a:lnTo>
                <a:lnTo>
                  <a:pt x="3679" y="24622"/>
                </a:lnTo>
                <a:lnTo>
                  <a:pt x="2453" y="28490"/>
                </a:lnTo>
                <a:lnTo>
                  <a:pt x="1321" y="32169"/>
                </a:lnTo>
                <a:lnTo>
                  <a:pt x="1509" y="32264"/>
                </a:lnTo>
                <a:lnTo>
                  <a:pt x="1604" y="32453"/>
                </a:lnTo>
                <a:lnTo>
                  <a:pt x="1604" y="32641"/>
                </a:lnTo>
                <a:lnTo>
                  <a:pt x="1509" y="32924"/>
                </a:lnTo>
                <a:lnTo>
                  <a:pt x="1226" y="33396"/>
                </a:lnTo>
                <a:lnTo>
                  <a:pt x="1038" y="33585"/>
                </a:lnTo>
                <a:lnTo>
                  <a:pt x="1038" y="33773"/>
                </a:lnTo>
                <a:lnTo>
                  <a:pt x="1038" y="35000"/>
                </a:lnTo>
                <a:lnTo>
                  <a:pt x="849" y="36132"/>
                </a:lnTo>
                <a:lnTo>
                  <a:pt x="660" y="37358"/>
                </a:lnTo>
                <a:lnTo>
                  <a:pt x="472" y="38867"/>
                </a:lnTo>
                <a:lnTo>
                  <a:pt x="283" y="38301"/>
                </a:lnTo>
                <a:lnTo>
                  <a:pt x="94" y="39811"/>
                </a:lnTo>
                <a:lnTo>
                  <a:pt x="0" y="41509"/>
                </a:lnTo>
                <a:lnTo>
                  <a:pt x="94" y="43301"/>
                </a:lnTo>
                <a:lnTo>
                  <a:pt x="283" y="44056"/>
                </a:lnTo>
                <a:lnTo>
                  <a:pt x="472" y="44622"/>
                </a:lnTo>
                <a:lnTo>
                  <a:pt x="566" y="45660"/>
                </a:lnTo>
                <a:lnTo>
                  <a:pt x="755" y="46792"/>
                </a:lnTo>
                <a:lnTo>
                  <a:pt x="1226" y="48962"/>
                </a:lnTo>
                <a:lnTo>
                  <a:pt x="1981" y="51037"/>
                </a:lnTo>
                <a:lnTo>
                  <a:pt x="2924" y="53112"/>
                </a:lnTo>
                <a:lnTo>
                  <a:pt x="4057" y="55094"/>
                </a:lnTo>
                <a:lnTo>
                  <a:pt x="5283" y="56980"/>
                </a:lnTo>
                <a:lnTo>
                  <a:pt x="6698" y="58678"/>
                </a:lnTo>
                <a:lnTo>
                  <a:pt x="8113" y="60282"/>
                </a:lnTo>
                <a:lnTo>
                  <a:pt x="9056" y="61131"/>
                </a:lnTo>
                <a:lnTo>
                  <a:pt x="10000" y="61980"/>
                </a:lnTo>
                <a:lnTo>
                  <a:pt x="11038" y="62829"/>
                </a:lnTo>
                <a:lnTo>
                  <a:pt x="12075" y="63584"/>
                </a:lnTo>
                <a:lnTo>
                  <a:pt x="14339" y="64905"/>
                </a:lnTo>
                <a:lnTo>
                  <a:pt x="16604" y="66131"/>
                </a:lnTo>
                <a:lnTo>
                  <a:pt x="19056" y="67169"/>
                </a:lnTo>
                <a:lnTo>
                  <a:pt x="21509" y="67923"/>
                </a:lnTo>
                <a:lnTo>
                  <a:pt x="24056" y="68584"/>
                </a:lnTo>
                <a:lnTo>
                  <a:pt x="26603" y="69055"/>
                </a:lnTo>
                <a:lnTo>
                  <a:pt x="27830" y="69055"/>
                </a:lnTo>
                <a:lnTo>
                  <a:pt x="30188" y="68867"/>
                </a:lnTo>
                <a:lnTo>
                  <a:pt x="33113" y="68678"/>
                </a:lnTo>
                <a:lnTo>
                  <a:pt x="36509" y="68301"/>
                </a:lnTo>
                <a:lnTo>
                  <a:pt x="39811" y="67923"/>
                </a:lnTo>
                <a:lnTo>
                  <a:pt x="42735" y="67452"/>
                </a:lnTo>
                <a:lnTo>
                  <a:pt x="44905" y="66980"/>
                </a:lnTo>
                <a:lnTo>
                  <a:pt x="45565" y="66791"/>
                </a:lnTo>
                <a:lnTo>
                  <a:pt x="45943" y="66508"/>
                </a:lnTo>
                <a:lnTo>
                  <a:pt x="47358" y="65942"/>
                </a:lnTo>
                <a:lnTo>
                  <a:pt x="48018" y="65565"/>
                </a:lnTo>
                <a:lnTo>
                  <a:pt x="48678" y="65188"/>
                </a:lnTo>
                <a:lnTo>
                  <a:pt x="47924" y="65471"/>
                </a:lnTo>
                <a:lnTo>
                  <a:pt x="51509" y="62924"/>
                </a:lnTo>
                <a:lnTo>
                  <a:pt x="53301" y="61508"/>
                </a:lnTo>
                <a:lnTo>
                  <a:pt x="55093" y="59905"/>
                </a:lnTo>
                <a:lnTo>
                  <a:pt x="55093" y="59905"/>
                </a:lnTo>
                <a:lnTo>
                  <a:pt x="54810" y="60376"/>
                </a:lnTo>
                <a:lnTo>
                  <a:pt x="54339" y="60754"/>
                </a:lnTo>
                <a:lnTo>
                  <a:pt x="55376" y="59999"/>
                </a:lnTo>
                <a:lnTo>
                  <a:pt x="56320" y="59056"/>
                </a:lnTo>
                <a:lnTo>
                  <a:pt x="57075" y="58395"/>
                </a:lnTo>
                <a:lnTo>
                  <a:pt x="57169" y="58207"/>
                </a:lnTo>
                <a:lnTo>
                  <a:pt x="57075" y="58207"/>
                </a:lnTo>
                <a:lnTo>
                  <a:pt x="57924" y="57546"/>
                </a:lnTo>
                <a:lnTo>
                  <a:pt x="58678" y="56697"/>
                </a:lnTo>
                <a:lnTo>
                  <a:pt x="59339" y="55754"/>
                </a:lnTo>
                <a:lnTo>
                  <a:pt x="59905" y="54905"/>
                </a:lnTo>
                <a:lnTo>
                  <a:pt x="59716" y="54999"/>
                </a:lnTo>
                <a:lnTo>
                  <a:pt x="59622" y="54999"/>
                </a:lnTo>
                <a:lnTo>
                  <a:pt x="59810" y="54622"/>
                </a:lnTo>
                <a:lnTo>
                  <a:pt x="59150" y="55565"/>
                </a:lnTo>
                <a:lnTo>
                  <a:pt x="59527" y="55094"/>
                </a:lnTo>
                <a:lnTo>
                  <a:pt x="59433" y="55377"/>
                </a:lnTo>
                <a:lnTo>
                  <a:pt x="58867" y="56037"/>
                </a:lnTo>
                <a:lnTo>
                  <a:pt x="59056" y="55660"/>
                </a:lnTo>
                <a:lnTo>
                  <a:pt x="59056" y="55660"/>
                </a:lnTo>
                <a:lnTo>
                  <a:pt x="58678" y="56037"/>
                </a:lnTo>
                <a:lnTo>
                  <a:pt x="59810" y="54339"/>
                </a:lnTo>
                <a:lnTo>
                  <a:pt x="60282" y="53490"/>
                </a:lnTo>
                <a:lnTo>
                  <a:pt x="60282" y="53301"/>
                </a:lnTo>
                <a:lnTo>
                  <a:pt x="60188" y="53395"/>
                </a:lnTo>
                <a:lnTo>
                  <a:pt x="60188" y="53395"/>
                </a:lnTo>
                <a:lnTo>
                  <a:pt x="60565" y="52924"/>
                </a:lnTo>
                <a:lnTo>
                  <a:pt x="61037" y="52452"/>
                </a:lnTo>
                <a:lnTo>
                  <a:pt x="61886" y="51509"/>
                </a:lnTo>
                <a:lnTo>
                  <a:pt x="61508" y="52452"/>
                </a:lnTo>
                <a:lnTo>
                  <a:pt x="60848" y="53584"/>
                </a:lnTo>
                <a:lnTo>
                  <a:pt x="59622" y="55565"/>
                </a:lnTo>
                <a:lnTo>
                  <a:pt x="60376" y="54528"/>
                </a:lnTo>
                <a:lnTo>
                  <a:pt x="60942" y="53678"/>
                </a:lnTo>
                <a:lnTo>
                  <a:pt x="61980" y="51792"/>
                </a:lnTo>
                <a:lnTo>
                  <a:pt x="61886" y="51886"/>
                </a:lnTo>
                <a:lnTo>
                  <a:pt x="61886" y="51697"/>
                </a:lnTo>
                <a:lnTo>
                  <a:pt x="62169" y="51037"/>
                </a:lnTo>
                <a:lnTo>
                  <a:pt x="62735" y="49999"/>
                </a:lnTo>
                <a:lnTo>
                  <a:pt x="61508" y="51603"/>
                </a:lnTo>
                <a:lnTo>
                  <a:pt x="61603" y="51037"/>
                </a:lnTo>
                <a:lnTo>
                  <a:pt x="61697" y="50377"/>
                </a:lnTo>
                <a:lnTo>
                  <a:pt x="62169" y="48962"/>
                </a:lnTo>
                <a:lnTo>
                  <a:pt x="62829" y="47358"/>
                </a:lnTo>
                <a:lnTo>
                  <a:pt x="63678" y="45565"/>
                </a:lnTo>
                <a:lnTo>
                  <a:pt x="65376" y="42169"/>
                </a:lnTo>
                <a:lnTo>
                  <a:pt x="66131" y="40660"/>
                </a:lnTo>
                <a:lnTo>
                  <a:pt x="66697" y="39339"/>
                </a:lnTo>
                <a:lnTo>
                  <a:pt x="66603" y="39528"/>
                </a:lnTo>
                <a:lnTo>
                  <a:pt x="66697" y="39056"/>
                </a:lnTo>
                <a:lnTo>
                  <a:pt x="66791" y="38962"/>
                </a:lnTo>
                <a:lnTo>
                  <a:pt x="66791" y="39056"/>
                </a:lnTo>
                <a:lnTo>
                  <a:pt x="66886" y="38584"/>
                </a:lnTo>
                <a:lnTo>
                  <a:pt x="66791" y="38867"/>
                </a:lnTo>
                <a:lnTo>
                  <a:pt x="66980" y="38207"/>
                </a:lnTo>
                <a:lnTo>
                  <a:pt x="67169" y="37264"/>
                </a:lnTo>
                <a:lnTo>
                  <a:pt x="67263" y="36415"/>
                </a:lnTo>
                <a:lnTo>
                  <a:pt x="67357" y="36509"/>
                </a:lnTo>
                <a:lnTo>
                  <a:pt x="67452" y="36509"/>
                </a:lnTo>
                <a:lnTo>
                  <a:pt x="67546" y="35943"/>
                </a:lnTo>
                <a:lnTo>
                  <a:pt x="67546" y="34811"/>
                </a:lnTo>
                <a:lnTo>
                  <a:pt x="67640" y="31037"/>
                </a:lnTo>
                <a:lnTo>
                  <a:pt x="67640" y="28490"/>
                </a:lnTo>
                <a:lnTo>
                  <a:pt x="67546" y="27736"/>
                </a:lnTo>
                <a:lnTo>
                  <a:pt x="67546" y="27547"/>
                </a:lnTo>
                <a:lnTo>
                  <a:pt x="67452" y="27547"/>
                </a:lnTo>
                <a:lnTo>
                  <a:pt x="67074" y="26792"/>
                </a:lnTo>
                <a:lnTo>
                  <a:pt x="66791" y="25660"/>
                </a:lnTo>
                <a:lnTo>
                  <a:pt x="66508" y="24528"/>
                </a:lnTo>
                <a:lnTo>
                  <a:pt x="66414" y="23585"/>
                </a:lnTo>
                <a:lnTo>
                  <a:pt x="66320" y="23679"/>
                </a:lnTo>
                <a:lnTo>
                  <a:pt x="66320" y="23490"/>
                </a:lnTo>
                <a:lnTo>
                  <a:pt x="65942" y="22924"/>
                </a:lnTo>
                <a:lnTo>
                  <a:pt x="65565" y="22358"/>
                </a:lnTo>
                <a:lnTo>
                  <a:pt x="64527" y="21132"/>
                </a:lnTo>
                <a:lnTo>
                  <a:pt x="63584" y="19906"/>
                </a:lnTo>
                <a:lnTo>
                  <a:pt x="63207" y="19340"/>
                </a:lnTo>
                <a:lnTo>
                  <a:pt x="63018" y="18774"/>
                </a:lnTo>
                <a:lnTo>
                  <a:pt x="63112" y="18962"/>
                </a:lnTo>
                <a:lnTo>
                  <a:pt x="63301" y="19057"/>
                </a:lnTo>
                <a:lnTo>
                  <a:pt x="63301" y="19057"/>
                </a:lnTo>
                <a:lnTo>
                  <a:pt x="63207" y="18868"/>
                </a:lnTo>
                <a:lnTo>
                  <a:pt x="62923" y="18491"/>
                </a:lnTo>
                <a:lnTo>
                  <a:pt x="61980" y="17453"/>
                </a:lnTo>
                <a:lnTo>
                  <a:pt x="61037" y="16509"/>
                </a:lnTo>
                <a:lnTo>
                  <a:pt x="61037" y="16698"/>
                </a:lnTo>
                <a:lnTo>
                  <a:pt x="61037" y="16887"/>
                </a:lnTo>
                <a:lnTo>
                  <a:pt x="60093" y="15943"/>
                </a:lnTo>
                <a:lnTo>
                  <a:pt x="60376" y="16321"/>
                </a:lnTo>
                <a:lnTo>
                  <a:pt x="59527" y="15377"/>
                </a:lnTo>
                <a:lnTo>
                  <a:pt x="59056" y="14906"/>
                </a:lnTo>
                <a:lnTo>
                  <a:pt x="59244" y="14906"/>
                </a:lnTo>
                <a:lnTo>
                  <a:pt x="59905" y="15472"/>
                </a:lnTo>
                <a:lnTo>
                  <a:pt x="59905" y="15472"/>
                </a:lnTo>
                <a:lnTo>
                  <a:pt x="57641" y="13396"/>
                </a:lnTo>
                <a:lnTo>
                  <a:pt x="58112" y="13868"/>
                </a:lnTo>
                <a:lnTo>
                  <a:pt x="56886" y="13019"/>
                </a:lnTo>
                <a:lnTo>
                  <a:pt x="55754" y="12453"/>
                </a:lnTo>
                <a:lnTo>
                  <a:pt x="56603" y="13113"/>
                </a:lnTo>
                <a:lnTo>
                  <a:pt x="57452" y="13774"/>
                </a:lnTo>
                <a:lnTo>
                  <a:pt x="58961" y="15283"/>
                </a:lnTo>
                <a:lnTo>
                  <a:pt x="60376" y="16604"/>
                </a:lnTo>
                <a:lnTo>
                  <a:pt x="61225" y="17264"/>
                </a:lnTo>
                <a:lnTo>
                  <a:pt x="62074" y="17925"/>
                </a:lnTo>
                <a:lnTo>
                  <a:pt x="62074" y="17925"/>
                </a:lnTo>
                <a:lnTo>
                  <a:pt x="61414" y="17547"/>
                </a:lnTo>
                <a:lnTo>
                  <a:pt x="60659" y="16981"/>
                </a:lnTo>
                <a:lnTo>
                  <a:pt x="60754" y="17264"/>
                </a:lnTo>
                <a:lnTo>
                  <a:pt x="60942" y="17642"/>
                </a:lnTo>
                <a:lnTo>
                  <a:pt x="61980" y="19151"/>
                </a:lnTo>
                <a:lnTo>
                  <a:pt x="63301" y="20943"/>
                </a:lnTo>
                <a:lnTo>
                  <a:pt x="63207" y="20943"/>
                </a:lnTo>
                <a:lnTo>
                  <a:pt x="63395" y="21038"/>
                </a:lnTo>
                <a:lnTo>
                  <a:pt x="63490" y="21321"/>
                </a:lnTo>
                <a:lnTo>
                  <a:pt x="63678" y="21604"/>
                </a:lnTo>
                <a:lnTo>
                  <a:pt x="63773" y="21698"/>
                </a:lnTo>
                <a:lnTo>
                  <a:pt x="63584" y="21321"/>
                </a:lnTo>
                <a:lnTo>
                  <a:pt x="63584" y="21321"/>
                </a:lnTo>
                <a:lnTo>
                  <a:pt x="64244" y="22170"/>
                </a:lnTo>
                <a:lnTo>
                  <a:pt x="64716" y="22641"/>
                </a:lnTo>
                <a:lnTo>
                  <a:pt x="64905" y="22830"/>
                </a:lnTo>
                <a:lnTo>
                  <a:pt x="64999" y="22830"/>
                </a:lnTo>
                <a:lnTo>
                  <a:pt x="64999" y="22641"/>
                </a:lnTo>
                <a:lnTo>
                  <a:pt x="64905" y="22358"/>
                </a:lnTo>
                <a:lnTo>
                  <a:pt x="65282" y="23207"/>
                </a:lnTo>
                <a:lnTo>
                  <a:pt x="65565" y="24056"/>
                </a:lnTo>
                <a:lnTo>
                  <a:pt x="66225" y="25943"/>
                </a:lnTo>
                <a:lnTo>
                  <a:pt x="66697" y="27830"/>
                </a:lnTo>
                <a:lnTo>
                  <a:pt x="66886" y="28490"/>
                </a:lnTo>
                <a:lnTo>
                  <a:pt x="66980" y="28868"/>
                </a:lnTo>
                <a:lnTo>
                  <a:pt x="66886" y="28962"/>
                </a:lnTo>
                <a:lnTo>
                  <a:pt x="66697" y="28679"/>
                </a:lnTo>
                <a:lnTo>
                  <a:pt x="66697" y="29245"/>
                </a:lnTo>
                <a:lnTo>
                  <a:pt x="66791" y="29905"/>
                </a:lnTo>
                <a:lnTo>
                  <a:pt x="66886" y="29905"/>
                </a:lnTo>
                <a:lnTo>
                  <a:pt x="66886" y="30094"/>
                </a:lnTo>
                <a:lnTo>
                  <a:pt x="66886" y="30566"/>
                </a:lnTo>
                <a:lnTo>
                  <a:pt x="66697" y="30377"/>
                </a:lnTo>
                <a:lnTo>
                  <a:pt x="66603" y="30188"/>
                </a:lnTo>
                <a:lnTo>
                  <a:pt x="66603" y="30094"/>
                </a:lnTo>
                <a:lnTo>
                  <a:pt x="66697" y="29905"/>
                </a:lnTo>
                <a:lnTo>
                  <a:pt x="66508" y="28679"/>
                </a:lnTo>
                <a:lnTo>
                  <a:pt x="66225" y="27358"/>
                </a:lnTo>
                <a:lnTo>
                  <a:pt x="66603" y="30283"/>
                </a:lnTo>
                <a:lnTo>
                  <a:pt x="66697" y="31792"/>
                </a:lnTo>
                <a:lnTo>
                  <a:pt x="66697" y="33302"/>
                </a:lnTo>
                <a:lnTo>
                  <a:pt x="66603" y="34717"/>
                </a:lnTo>
                <a:lnTo>
                  <a:pt x="66414" y="36226"/>
                </a:lnTo>
                <a:lnTo>
                  <a:pt x="66131" y="37547"/>
                </a:lnTo>
                <a:lnTo>
                  <a:pt x="65659" y="38962"/>
                </a:lnTo>
                <a:lnTo>
                  <a:pt x="65848" y="38584"/>
                </a:lnTo>
                <a:lnTo>
                  <a:pt x="65942" y="38584"/>
                </a:lnTo>
                <a:lnTo>
                  <a:pt x="65848" y="39245"/>
                </a:lnTo>
                <a:lnTo>
                  <a:pt x="65565" y="40188"/>
                </a:lnTo>
                <a:lnTo>
                  <a:pt x="65471" y="40471"/>
                </a:lnTo>
                <a:lnTo>
                  <a:pt x="65282" y="40660"/>
                </a:lnTo>
                <a:lnTo>
                  <a:pt x="65282" y="40566"/>
                </a:lnTo>
                <a:lnTo>
                  <a:pt x="65093" y="41132"/>
                </a:lnTo>
                <a:lnTo>
                  <a:pt x="64433" y="43018"/>
                </a:lnTo>
                <a:lnTo>
                  <a:pt x="63678" y="45282"/>
                </a:lnTo>
                <a:lnTo>
                  <a:pt x="62735" y="47264"/>
                </a:lnTo>
                <a:lnTo>
                  <a:pt x="61697" y="49056"/>
                </a:lnTo>
                <a:lnTo>
                  <a:pt x="60659" y="50943"/>
                </a:lnTo>
                <a:lnTo>
                  <a:pt x="59433" y="52735"/>
                </a:lnTo>
                <a:lnTo>
                  <a:pt x="58207" y="54433"/>
                </a:lnTo>
                <a:lnTo>
                  <a:pt x="56886" y="56037"/>
                </a:lnTo>
                <a:lnTo>
                  <a:pt x="55376" y="57641"/>
                </a:lnTo>
                <a:lnTo>
                  <a:pt x="53867" y="59150"/>
                </a:lnTo>
                <a:lnTo>
                  <a:pt x="52169" y="60376"/>
                </a:lnTo>
                <a:lnTo>
                  <a:pt x="48961" y="62452"/>
                </a:lnTo>
                <a:lnTo>
                  <a:pt x="44528" y="65282"/>
                </a:lnTo>
                <a:lnTo>
                  <a:pt x="44622" y="65188"/>
                </a:lnTo>
                <a:lnTo>
                  <a:pt x="44716" y="65093"/>
                </a:lnTo>
                <a:lnTo>
                  <a:pt x="45094" y="64810"/>
                </a:lnTo>
                <a:lnTo>
                  <a:pt x="45660" y="64527"/>
                </a:lnTo>
                <a:lnTo>
                  <a:pt x="43867" y="65376"/>
                </a:lnTo>
                <a:lnTo>
                  <a:pt x="43113" y="65754"/>
                </a:lnTo>
                <a:lnTo>
                  <a:pt x="42924" y="65754"/>
                </a:lnTo>
                <a:lnTo>
                  <a:pt x="43113" y="65659"/>
                </a:lnTo>
                <a:lnTo>
                  <a:pt x="41603" y="66037"/>
                </a:lnTo>
                <a:lnTo>
                  <a:pt x="39999" y="66320"/>
                </a:lnTo>
                <a:lnTo>
                  <a:pt x="38396" y="66508"/>
                </a:lnTo>
                <a:lnTo>
                  <a:pt x="36792" y="66697"/>
                </a:lnTo>
                <a:lnTo>
                  <a:pt x="33584" y="66980"/>
                </a:lnTo>
                <a:lnTo>
                  <a:pt x="32169" y="67169"/>
                </a:lnTo>
                <a:lnTo>
                  <a:pt x="30754" y="67357"/>
                </a:lnTo>
                <a:lnTo>
                  <a:pt x="30094" y="67357"/>
                </a:lnTo>
                <a:lnTo>
                  <a:pt x="29339" y="67263"/>
                </a:lnTo>
                <a:lnTo>
                  <a:pt x="27830" y="66886"/>
                </a:lnTo>
                <a:lnTo>
                  <a:pt x="26415" y="66508"/>
                </a:lnTo>
                <a:lnTo>
                  <a:pt x="25754" y="66414"/>
                </a:lnTo>
                <a:lnTo>
                  <a:pt x="25094" y="66414"/>
                </a:lnTo>
                <a:lnTo>
                  <a:pt x="25566" y="66980"/>
                </a:lnTo>
                <a:lnTo>
                  <a:pt x="25471" y="67074"/>
                </a:lnTo>
                <a:lnTo>
                  <a:pt x="25188" y="66980"/>
                </a:lnTo>
                <a:lnTo>
                  <a:pt x="24339" y="66791"/>
                </a:lnTo>
                <a:lnTo>
                  <a:pt x="23773" y="66508"/>
                </a:lnTo>
                <a:lnTo>
                  <a:pt x="24245" y="66414"/>
                </a:lnTo>
                <a:lnTo>
                  <a:pt x="24717" y="66603"/>
                </a:lnTo>
                <a:lnTo>
                  <a:pt x="24811" y="66414"/>
                </a:lnTo>
                <a:lnTo>
                  <a:pt x="24811" y="66320"/>
                </a:lnTo>
                <a:lnTo>
                  <a:pt x="24717" y="66225"/>
                </a:lnTo>
                <a:lnTo>
                  <a:pt x="24528" y="66131"/>
                </a:lnTo>
                <a:lnTo>
                  <a:pt x="24151" y="66225"/>
                </a:lnTo>
                <a:lnTo>
                  <a:pt x="23679" y="66320"/>
                </a:lnTo>
                <a:lnTo>
                  <a:pt x="23018" y="66414"/>
                </a:lnTo>
                <a:lnTo>
                  <a:pt x="23490" y="66225"/>
                </a:lnTo>
                <a:lnTo>
                  <a:pt x="22075" y="65942"/>
                </a:lnTo>
                <a:lnTo>
                  <a:pt x="20943" y="65659"/>
                </a:lnTo>
                <a:lnTo>
                  <a:pt x="20000" y="65282"/>
                </a:lnTo>
                <a:lnTo>
                  <a:pt x="19056" y="64810"/>
                </a:lnTo>
                <a:lnTo>
                  <a:pt x="19056" y="64810"/>
                </a:lnTo>
                <a:lnTo>
                  <a:pt x="19717" y="64999"/>
                </a:lnTo>
                <a:lnTo>
                  <a:pt x="19151" y="64716"/>
                </a:lnTo>
                <a:lnTo>
                  <a:pt x="18962" y="64810"/>
                </a:lnTo>
                <a:lnTo>
                  <a:pt x="19151" y="64905"/>
                </a:lnTo>
                <a:lnTo>
                  <a:pt x="18490" y="64905"/>
                </a:lnTo>
                <a:lnTo>
                  <a:pt x="17830" y="64716"/>
                </a:lnTo>
                <a:lnTo>
                  <a:pt x="17264" y="64527"/>
                </a:lnTo>
                <a:lnTo>
                  <a:pt x="16698" y="64150"/>
                </a:lnTo>
                <a:lnTo>
                  <a:pt x="16981" y="64056"/>
                </a:lnTo>
                <a:lnTo>
                  <a:pt x="17264" y="64150"/>
                </a:lnTo>
                <a:lnTo>
                  <a:pt x="17264" y="64150"/>
                </a:lnTo>
                <a:lnTo>
                  <a:pt x="15188" y="63207"/>
                </a:lnTo>
                <a:lnTo>
                  <a:pt x="14622" y="62829"/>
                </a:lnTo>
                <a:lnTo>
                  <a:pt x="14717" y="62924"/>
                </a:lnTo>
                <a:lnTo>
                  <a:pt x="13773" y="62546"/>
                </a:lnTo>
                <a:lnTo>
                  <a:pt x="12924" y="62075"/>
                </a:lnTo>
                <a:lnTo>
                  <a:pt x="12358" y="61697"/>
                </a:lnTo>
                <a:lnTo>
                  <a:pt x="12264" y="61508"/>
                </a:lnTo>
                <a:lnTo>
                  <a:pt x="12170" y="61320"/>
                </a:lnTo>
                <a:lnTo>
                  <a:pt x="11698" y="60942"/>
                </a:lnTo>
                <a:lnTo>
                  <a:pt x="11132" y="60471"/>
                </a:lnTo>
                <a:lnTo>
                  <a:pt x="9906" y="59244"/>
                </a:lnTo>
                <a:lnTo>
                  <a:pt x="9906" y="59244"/>
                </a:lnTo>
                <a:lnTo>
                  <a:pt x="10566" y="59527"/>
                </a:lnTo>
                <a:lnTo>
                  <a:pt x="9434" y="58584"/>
                </a:lnTo>
                <a:lnTo>
                  <a:pt x="8207" y="57546"/>
                </a:lnTo>
                <a:lnTo>
                  <a:pt x="7547" y="56886"/>
                </a:lnTo>
                <a:lnTo>
                  <a:pt x="6981" y="56131"/>
                </a:lnTo>
                <a:lnTo>
                  <a:pt x="6226" y="55094"/>
                </a:lnTo>
                <a:lnTo>
                  <a:pt x="6415" y="55377"/>
                </a:lnTo>
                <a:lnTo>
                  <a:pt x="6038" y="54905"/>
                </a:lnTo>
                <a:lnTo>
                  <a:pt x="5472" y="54244"/>
                </a:lnTo>
                <a:lnTo>
                  <a:pt x="5283" y="53961"/>
                </a:lnTo>
                <a:lnTo>
                  <a:pt x="5094" y="53867"/>
                </a:lnTo>
                <a:lnTo>
                  <a:pt x="5377" y="54622"/>
                </a:lnTo>
                <a:lnTo>
                  <a:pt x="5849" y="55282"/>
                </a:lnTo>
                <a:lnTo>
                  <a:pt x="6321" y="55943"/>
                </a:lnTo>
                <a:lnTo>
                  <a:pt x="6698" y="56603"/>
                </a:lnTo>
                <a:lnTo>
                  <a:pt x="6226" y="56226"/>
                </a:lnTo>
                <a:lnTo>
                  <a:pt x="5943" y="55848"/>
                </a:lnTo>
                <a:lnTo>
                  <a:pt x="6038" y="56037"/>
                </a:lnTo>
                <a:lnTo>
                  <a:pt x="5943" y="55943"/>
                </a:lnTo>
                <a:lnTo>
                  <a:pt x="5377" y="55188"/>
                </a:lnTo>
                <a:lnTo>
                  <a:pt x="5000" y="54716"/>
                </a:lnTo>
                <a:lnTo>
                  <a:pt x="4717" y="54150"/>
                </a:lnTo>
                <a:lnTo>
                  <a:pt x="4528" y="53678"/>
                </a:lnTo>
                <a:lnTo>
                  <a:pt x="4528" y="53584"/>
                </a:lnTo>
                <a:lnTo>
                  <a:pt x="4623" y="53395"/>
                </a:lnTo>
                <a:lnTo>
                  <a:pt x="5094" y="54244"/>
                </a:lnTo>
                <a:lnTo>
                  <a:pt x="4717" y="53301"/>
                </a:lnTo>
                <a:lnTo>
                  <a:pt x="4528" y="53018"/>
                </a:lnTo>
                <a:lnTo>
                  <a:pt x="4151" y="52263"/>
                </a:lnTo>
                <a:lnTo>
                  <a:pt x="4151" y="52169"/>
                </a:lnTo>
                <a:lnTo>
                  <a:pt x="3774" y="51509"/>
                </a:lnTo>
                <a:lnTo>
                  <a:pt x="3396" y="50660"/>
                </a:lnTo>
                <a:lnTo>
                  <a:pt x="3585" y="51603"/>
                </a:lnTo>
                <a:lnTo>
                  <a:pt x="3396" y="51226"/>
                </a:lnTo>
                <a:lnTo>
                  <a:pt x="3208" y="50848"/>
                </a:lnTo>
                <a:lnTo>
                  <a:pt x="3208" y="50471"/>
                </a:lnTo>
                <a:lnTo>
                  <a:pt x="3208" y="50094"/>
                </a:lnTo>
                <a:lnTo>
                  <a:pt x="3585" y="50754"/>
                </a:lnTo>
                <a:lnTo>
                  <a:pt x="3868" y="51509"/>
                </a:lnTo>
                <a:lnTo>
                  <a:pt x="3868" y="51509"/>
                </a:lnTo>
                <a:lnTo>
                  <a:pt x="3208" y="49528"/>
                </a:lnTo>
                <a:lnTo>
                  <a:pt x="3208" y="49528"/>
                </a:lnTo>
                <a:lnTo>
                  <a:pt x="3868" y="50754"/>
                </a:lnTo>
                <a:lnTo>
                  <a:pt x="3208" y="48962"/>
                </a:lnTo>
                <a:lnTo>
                  <a:pt x="3585" y="49339"/>
                </a:lnTo>
                <a:lnTo>
                  <a:pt x="3774" y="49433"/>
                </a:lnTo>
                <a:lnTo>
                  <a:pt x="3962" y="49528"/>
                </a:lnTo>
                <a:lnTo>
                  <a:pt x="4057" y="49905"/>
                </a:lnTo>
                <a:lnTo>
                  <a:pt x="3868" y="48962"/>
                </a:lnTo>
                <a:lnTo>
                  <a:pt x="3491" y="47924"/>
                </a:lnTo>
                <a:lnTo>
                  <a:pt x="2641" y="45565"/>
                </a:lnTo>
                <a:lnTo>
                  <a:pt x="2170" y="43867"/>
                </a:lnTo>
                <a:lnTo>
                  <a:pt x="1698" y="41886"/>
                </a:lnTo>
                <a:lnTo>
                  <a:pt x="1698" y="41886"/>
                </a:lnTo>
                <a:lnTo>
                  <a:pt x="1887" y="42075"/>
                </a:lnTo>
                <a:lnTo>
                  <a:pt x="1981" y="41981"/>
                </a:lnTo>
                <a:lnTo>
                  <a:pt x="2075" y="42075"/>
                </a:lnTo>
                <a:lnTo>
                  <a:pt x="2264" y="42169"/>
                </a:lnTo>
                <a:lnTo>
                  <a:pt x="2170" y="40283"/>
                </a:lnTo>
                <a:lnTo>
                  <a:pt x="2075" y="38301"/>
                </a:lnTo>
                <a:lnTo>
                  <a:pt x="2170" y="36415"/>
                </a:lnTo>
                <a:lnTo>
                  <a:pt x="2358" y="35566"/>
                </a:lnTo>
                <a:lnTo>
                  <a:pt x="2453" y="34811"/>
                </a:lnTo>
                <a:lnTo>
                  <a:pt x="2830" y="32830"/>
                </a:lnTo>
                <a:lnTo>
                  <a:pt x="2830" y="33207"/>
                </a:lnTo>
                <a:lnTo>
                  <a:pt x="2924" y="33490"/>
                </a:lnTo>
                <a:lnTo>
                  <a:pt x="2924" y="32453"/>
                </a:lnTo>
                <a:lnTo>
                  <a:pt x="3019" y="31415"/>
                </a:lnTo>
                <a:lnTo>
                  <a:pt x="3396" y="29245"/>
                </a:lnTo>
                <a:lnTo>
                  <a:pt x="3868" y="27075"/>
                </a:lnTo>
                <a:lnTo>
                  <a:pt x="4623" y="25000"/>
                </a:lnTo>
                <a:lnTo>
                  <a:pt x="5566" y="22830"/>
                </a:lnTo>
                <a:lnTo>
                  <a:pt x="6604" y="20849"/>
                </a:lnTo>
                <a:lnTo>
                  <a:pt x="7830" y="18868"/>
                </a:lnTo>
                <a:lnTo>
                  <a:pt x="9151" y="16887"/>
                </a:lnTo>
                <a:lnTo>
                  <a:pt x="10566" y="15094"/>
                </a:lnTo>
                <a:lnTo>
                  <a:pt x="12075" y="13302"/>
                </a:lnTo>
                <a:lnTo>
                  <a:pt x="13773" y="11698"/>
                </a:lnTo>
                <a:lnTo>
                  <a:pt x="15377" y="10095"/>
                </a:lnTo>
                <a:lnTo>
                  <a:pt x="17170" y="8679"/>
                </a:lnTo>
                <a:lnTo>
                  <a:pt x="18962" y="7453"/>
                </a:lnTo>
                <a:lnTo>
                  <a:pt x="20754" y="6321"/>
                </a:lnTo>
                <a:lnTo>
                  <a:pt x="22547" y="5378"/>
                </a:lnTo>
                <a:lnTo>
                  <a:pt x="21603" y="6227"/>
                </a:lnTo>
                <a:lnTo>
                  <a:pt x="22641" y="5472"/>
                </a:lnTo>
                <a:lnTo>
                  <a:pt x="23302" y="5095"/>
                </a:lnTo>
                <a:lnTo>
                  <a:pt x="25377" y="4151"/>
                </a:lnTo>
                <a:lnTo>
                  <a:pt x="24811" y="4151"/>
                </a:lnTo>
                <a:lnTo>
                  <a:pt x="25660" y="3774"/>
                </a:lnTo>
                <a:lnTo>
                  <a:pt x="26886" y="3208"/>
                </a:lnTo>
                <a:lnTo>
                  <a:pt x="26603" y="3585"/>
                </a:lnTo>
                <a:lnTo>
                  <a:pt x="26886" y="3585"/>
                </a:lnTo>
                <a:lnTo>
                  <a:pt x="26886" y="3680"/>
                </a:lnTo>
                <a:lnTo>
                  <a:pt x="26792" y="3774"/>
                </a:lnTo>
                <a:lnTo>
                  <a:pt x="28301" y="3302"/>
                </a:lnTo>
                <a:lnTo>
                  <a:pt x="29622" y="2736"/>
                </a:lnTo>
                <a:lnTo>
                  <a:pt x="31037" y="2264"/>
                </a:lnTo>
                <a:lnTo>
                  <a:pt x="31792" y="2076"/>
                </a:lnTo>
                <a:lnTo>
                  <a:pt x="32641" y="1981"/>
                </a:lnTo>
                <a:lnTo>
                  <a:pt x="32547" y="2076"/>
                </a:lnTo>
                <a:lnTo>
                  <a:pt x="32924" y="1981"/>
                </a:lnTo>
                <a:lnTo>
                  <a:pt x="34245" y="1793"/>
                </a:lnTo>
                <a:lnTo>
                  <a:pt x="35848" y="1415"/>
                </a:lnTo>
                <a:lnTo>
                  <a:pt x="36981" y="1132"/>
                </a:lnTo>
                <a:lnTo>
                  <a:pt x="36981" y="1415"/>
                </a:lnTo>
                <a:lnTo>
                  <a:pt x="40943" y="1227"/>
                </a:lnTo>
                <a:lnTo>
                  <a:pt x="41509" y="1038"/>
                </a:lnTo>
                <a:lnTo>
                  <a:pt x="41697" y="1132"/>
                </a:lnTo>
                <a:lnTo>
                  <a:pt x="41509" y="1227"/>
                </a:lnTo>
                <a:lnTo>
                  <a:pt x="41320" y="1321"/>
                </a:lnTo>
                <a:lnTo>
                  <a:pt x="42263" y="1321"/>
                </a:lnTo>
                <a:lnTo>
                  <a:pt x="43113" y="1227"/>
                </a:lnTo>
                <a:lnTo>
                  <a:pt x="43396" y="1415"/>
                </a:lnTo>
                <a:lnTo>
                  <a:pt x="44056" y="1604"/>
                </a:lnTo>
                <a:lnTo>
                  <a:pt x="45943" y="2076"/>
                </a:lnTo>
                <a:lnTo>
                  <a:pt x="48018" y="2359"/>
                </a:lnTo>
                <a:lnTo>
                  <a:pt x="49622" y="2736"/>
                </a:lnTo>
                <a:lnTo>
                  <a:pt x="47641" y="1981"/>
                </a:lnTo>
                <a:lnTo>
                  <a:pt x="45282" y="1321"/>
                </a:lnTo>
                <a:lnTo>
                  <a:pt x="42735" y="755"/>
                </a:lnTo>
                <a:lnTo>
                  <a:pt x="40188" y="283"/>
                </a:lnTo>
                <a:lnTo>
                  <a:pt x="37735" y="95"/>
                </a:lnTo>
                <a:lnTo>
                  <a:pt x="35471" y="0"/>
                </a:lnTo>
                <a:close/>
              </a:path>
            </a:pathLst>
          </a:custGeom>
          <a:solidFill>
            <a:schemeClr val="bg2">
              <a:lumMod val="75000"/>
            </a:schemeClr>
          </a:solidFill>
          <a:ln>
            <a:noFill/>
          </a:ln>
        </p:spPr>
        <p:txBody>
          <a:bodyPr spcFirstLastPara="1" wrap="square" lIns="91425" tIns="91425" rIns="91425" bIns="91425" anchor="ctr" anchorCtr="0">
            <a:noAutofit/>
          </a:bodyPr>
          <a:lstStyle/>
          <a:p>
            <a:pPr marL="0" lvl="0" indent="0">
              <a:spcBef>
                <a:spcPts val="0"/>
              </a:spcBef>
              <a:spcAft>
                <a:spcPts val="0"/>
              </a:spcAft>
              <a:buNone/>
            </a:pPr>
            <a:endParaRPr sz="1200" dirty="0">
              <a:latin typeface="Comic Sans MS" panose="030F0902030302020204" pitchFamily="66" charset="0"/>
            </a:endParaRPr>
          </a:p>
        </p:txBody>
      </p:sp>
      <p:sp>
        <p:nvSpPr>
          <p:cNvPr id="100" name="Google Shape;431;p39">
            <a:extLst>
              <a:ext uri="{FF2B5EF4-FFF2-40B4-BE49-F238E27FC236}">
                <a16:creationId xmlns:a16="http://schemas.microsoft.com/office/drawing/2014/main" id="{D745A9FB-6338-6142-98C4-CA63D756577F}"/>
              </a:ext>
            </a:extLst>
          </p:cNvPr>
          <p:cNvSpPr/>
          <p:nvPr/>
        </p:nvSpPr>
        <p:spPr>
          <a:xfrm rot="21011211">
            <a:off x="7024295" y="2988514"/>
            <a:ext cx="118019" cy="139785"/>
          </a:xfrm>
          <a:custGeom>
            <a:avLst/>
            <a:gdLst/>
            <a:ahLst/>
            <a:cxnLst/>
            <a:rect l="0" t="0" r="0" b="0"/>
            <a:pathLst>
              <a:path w="67641" h="69056" extrusionOk="0">
                <a:moveTo>
                  <a:pt x="49622" y="2736"/>
                </a:moveTo>
                <a:lnTo>
                  <a:pt x="49622" y="2736"/>
                </a:lnTo>
                <a:lnTo>
                  <a:pt x="49622" y="2736"/>
                </a:lnTo>
                <a:close/>
                <a:moveTo>
                  <a:pt x="59622" y="55565"/>
                </a:moveTo>
                <a:lnTo>
                  <a:pt x="59622" y="55565"/>
                </a:lnTo>
                <a:lnTo>
                  <a:pt x="59622" y="55565"/>
                </a:lnTo>
                <a:close/>
                <a:moveTo>
                  <a:pt x="35471" y="0"/>
                </a:moveTo>
                <a:lnTo>
                  <a:pt x="34433" y="95"/>
                </a:lnTo>
                <a:lnTo>
                  <a:pt x="33584" y="189"/>
                </a:lnTo>
                <a:lnTo>
                  <a:pt x="32735" y="378"/>
                </a:lnTo>
                <a:lnTo>
                  <a:pt x="32169" y="566"/>
                </a:lnTo>
                <a:lnTo>
                  <a:pt x="31509" y="472"/>
                </a:lnTo>
                <a:lnTo>
                  <a:pt x="30754" y="472"/>
                </a:lnTo>
                <a:lnTo>
                  <a:pt x="29339" y="566"/>
                </a:lnTo>
                <a:lnTo>
                  <a:pt x="27830" y="849"/>
                </a:lnTo>
                <a:lnTo>
                  <a:pt x="26320" y="1321"/>
                </a:lnTo>
                <a:lnTo>
                  <a:pt x="24811" y="1981"/>
                </a:lnTo>
                <a:lnTo>
                  <a:pt x="23207" y="2736"/>
                </a:lnTo>
                <a:lnTo>
                  <a:pt x="21698" y="3585"/>
                </a:lnTo>
                <a:lnTo>
                  <a:pt x="20188" y="4623"/>
                </a:lnTo>
                <a:lnTo>
                  <a:pt x="18679" y="5661"/>
                </a:lnTo>
                <a:lnTo>
                  <a:pt x="17170" y="6793"/>
                </a:lnTo>
                <a:lnTo>
                  <a:pt x="15754" y="8019"/>
                </a:lnTo>
                <a:lnTo>
                  <a:pt x="14434" y="9151"/>
                </a:lnTo>
                <a:lnTo>
                  <a:pt x="11981" y="11510"/>
                </a:lnTo>
                <a:lnTo>
                  <a:pt x="10000" y="13774"/>
                </a:lnTo>
                <a:lnTo>
                  <a:pt x="7736" y="16981"/>
                </a:lnTo>
                <a:lnTo>
                  <a:pt x="8019" y="16321"/>
                </a:lnTo>
                <a:lnTo>
                  <a:pt x="8302" y="15660"/>
                </a:lnTo>
                <a:lnTo>
                  <a:pt x="7736" y="16604"/>
                </a:lnTo>
                <a:lnTo>
                  <a:pt x="7075" y="17642"/>
                </a:lnTo>
                <a:lnTo>
                  <a:pt x="7170" y="17830"/>
                </a:lnTo>
                <a:lnTo>
                  <a:pt x="6509" y="18868"/>
                </a:lnTo>
                <a:lnTo>
                  <a:pt x="7075" y="17359"/>
                </a:lnTo>
                <a:lnTo>
                  <a:pt x="6132" y="19057"/>
                </a:lnTo>
                <a:lnTo>
                  <a:pt x="5189" y="20849"/>
                </a:lnTo>
                <a:lnTo>
                  <a:pt x="4434" y="22736"/>
                </a:lnTo>
                <a:lnTo>
                  <a:pt x="3679" y="24622"/>
                </a:lnTo>
                <a:lnTo>
                  <a:pt x="2453" y="28490"/>
                </a:lnTo>
                <a:lnTo>
                  <a:pt x="1321" y="32169"/>
                </a:lnTo>
                <a:lnTo>
                  <a:pt x="1509" y="32264"/>
                </a:lnTo>
                <a:lnTo>
                  <a:pt x="1604" y="32453"/>
                </a:lnTo>
                <a:lnTo>
                  <a:pt x="1604" y="32641"/>
                </a:lnTo>
                <a:lnTo>
                  <a:pt x="1509" y="32924"/>
                </a:lnTo>
                <a:lnTo>
                  <a:pt x="1226" y="33396"/>
                </a:lnTo>
                <a:lnTo>
                  <a:pt x="1038" y="33585"/>
                </a:lnTo>
                <a:lnTo>
                  <a:pt x="1038" y="33773"/>
                </a:lnTo>
                <a:lnTo>
                  <a:pt x="1038" y="35000"/>
                </a:lnTo>
                <a:lnTo>
                  <a:pt x="849" y="36132"/>
                </a:lnTo>
                <a:lnTo>
                  <a:pt x="660" y="37358"/>
                </a:lnTo>
                <a:lnTo>
                  <a:pt x="472" y="38867"/>
                </a:lnTo>
                <a:lnTo>
                  <a:pt x="283" y="38301"/>
                </a:lnTo>
                <a:lnTo>
                  <a:pt x="94" y="39811"/>
                </a:lnTo>
                <a:lnTo>
                  <a:pt x="0" y="41509"/>
                </a:lnTo>
                <a:lnTo>
                  <a:pt x="94" y="43301"/>
                </a:lnTo>
                <a:lnTo>
                  <a:pt x="283" y="44056"/>
                </a:lnTo>
                <a:lnTo>
                  <a:pt x="472" y="44622"/>
                </a:lnTo>
                <a:lnTo>
                  <a:pt x="566" y="45660"/>
                </a:lnTo>
                <a:lnTo>
                  <a:pt x="755" y="46792"/>
                </a:lnTo>
                <a:lnTo>
                  <a:pt x="1226" y="48962"/>
                </a:lnTo>
                <a:lnTo>
                  <a:pt x="1981" y="51037"/>
                </a:lnTo>
                <a:lnTo>
                  <a:pt x="2924" y="53112"/>
                </a:lnTo>
                <a:lnTo>
                  <a:pt x="4057" y="55094"/>
                </a:lnTo>
                <a:lnTo>
                  <a:pt x="5283" y="56980"/>
                </a:lnTo>
                <a:lnTo>
                  <a:pt x="6698" y="58678"/>
                </a:lnTo>
                <a:lnTo>
                  <a:pt x="8113" y="60282"/>
                </a:lnTo>
                <a:lnTo>
                  <a:pt x="9056" y="61131"/>
                </a:lnTo>
                <a:lnTo>
                  <a:pt x="10000" y="61980"/>
                </a:lnTo>
                <a:lnTo>
                  <a:pt x="11038" y="62829"/>
                </a:lnTo>
                <a:lnTo>
                  <a:pt x="12075" y="63584"/>
                </a:lnTo>
                <a:lnTo>
                  <a:pt x="14339" y="64905"/>
                </a:lnTo>
                <a:lnTo>
                  <a:pt x="16604" y="66131"/>
                </a:lnTo>
                <a:lnTo>
                  <a:pt x="19056" y="67169"/>
                </a:lnTo>
                <a:lnTo>
                  <a:pt x="21509" y="67923"/>
                </a:lnTo>
                <a:lnTo>
                  <a:pt x="24056" y="68584"/>
                </a:lnTo>
                <a:lnTo>
                  <a:pt x="26603" y="69055"/>
                </a:lnTo>
                <a:lnTo>
                  <a:pt x="27830" y="69055"/>
                </a:lnTo>
                <a:lnTo>
                  <a:pt x="30188" y="68867"/>
                </a:lnTo>
                <a:lnTo>
                  <a:pt x="33113" y="68678"/>
                </a:lnTo>
                <a:lnTo>
                  <a:pt x="36509" y="68301"/>
                </a:lnTo>
                <a:lnTo>
                  <a:pt x="39811" y="67923"/>
                </a:lnTo>
                <a:lnTo>
                  <a:pt x="42735" y="67452"/>
                </a:lnTo>
                <a:lnTo>
                  <a:pt x="44905" y="66980"/>
                </a:lnTo>
                <a:lnTo>
                  <a:pt x="45565" y="66791"/>
                </a:lnTo>
                <a:lnTo>
                  <a:pt x="45943" y="66508"/>
                </a:lnTo>
                <a:lnTo>
                  <a:pt x="47358" y="65942"/>
                </a:lnTo>
                <a:lnTo>
                  <a:pt x="48018" y="65565"/>
                </a:lnTo>
                <a:lnTo>
                  <a:pt x="48678" y="65188"/>
                </a:lnTo>
                <a:lnTo>
                  <a:pt x="47924" y="65471"/>
                </a:lnTo>
                <a:lnTo>
                  <a:pt x="51509" y="62924"/>
                </a:lnTo>
                <a:lnTo>
                  <a:pt x="53301" y="61508"/>
                </a:lnTo>
                <a:lnTo>
                  <a:pt x="55093" y="59905"/>
                </a:lnTo>
                <a:lnTo>
                  <a:pt x="55093" y="59905"/>
                </a:lnTo>
                <a:lnTo>
                  <a:pt x="54810" y="60376"/>
                </a:lnTo>
                <a:lnTo>
                  <a:pt x="54339" y="60754"/>
                </a:lnTo>
                <a:lnTo>
                  <a:pt x="55376" y="59999"/>
                </a:lnTo>
                <a:lnTo>
                  <a:pt x="56320" y="59056"/>
                </a:lnTo>
                <a:lnTo>
                  <a:pt x="57075" y="58395"/>
                </a:lnTo>
                <a:lnTo>
                  <a:pt x="57169" y="58207"/>
                </a:lnTo>
                <a:lnTo>
                  <a:pt x="57075" y="58207"/>
                </a:lnTo>
                <a:lnTo>
                  <a:pt x="57924" y="57546"/>
                </a:lnTo>
                <a:lnTo>
                  <a:pt x="58678" y="56697"/>
                </a:lnTo>
                <a:lnTo>
                  <a:pt x="59339" y="55754"/>
                </a:lnTo>
                <a:lnTo>
                  <a:pt x="59905" y="54905"/>
                </a:lnTo>
                <a:lnTo>
                  <a:pt x="59716" y="54999"/>
                </a:lnTo>
                <a:lnTo>
                  <a:pt x="59622" y="54999"/>
                </a:lnTo>
                <a:lnTo>
                  <a:pt x="59810" y="54622"/>
                </a:lnTo>
                <a:lnTo>
                  <a:pt x="59150" y="55565"/>
                </a:lnTo>
                <a:lnTo>
                  <a:pt x="59527" y="55094"/>
                </a:lnTo>
                <a:lnTo>
                  <a:pt x="59433" y="55377"/>
                </a:lnTo>
                <a:lnTo>
                  <a:pt x="58867" y="56037"/>
                </a:lnTo>
                <a:lnTo>
                  <a:pt x="59056" y="55660"/>
                </a:lnTo>
                <a:lnTo>
                  <a:pt x="59056" y="55660"/>
                </a:lnTo>
                <a:lnTo>
                  <a:pt x="58678" y="56037"/>
                </a:lnTo>
                <a:lnTo>
                  <a:pt x="59810" y="54339"/>
                </a:lnTo>
                <a:lnTo>
                  <a:pt x="60282" y="53490"/>
                </a:lnTo>
                <a:lnTo>
                  <a:pt x="60282" y="53301"/>
                </a:lnTo>
                <a:lnTo>
                  <a:pt x="60188" y="53395"/>
                </a:lnTo>
                <a:lnTo>
                  <a:pt x="60188" y="53395"/>
                </a:lnTo>
                <a:lnTo>
                  <a:pt x="60565" y="52924"/>
                </a:lnTo>
                <a:lnTo>
                  <a:pt x="61037" y="52452"/>
                </a:lnTo>
                <a:lnTo>
                  <a:pt x="61886" y="51509"/>
                </a:lnTo>
                <a:lnTo>
                  <a:pt x="61508" y="52452"/>
                </a:lnTo>
                <a:lnTo>
                  <a:pt x="60848" y="53584"/>
                </a:lnTo>
                <a:lnTo>
                  <a:pt x="59622" y="55565"/>
                </a:lnTo>
                <a:lnTo>
                  <a:pt x="60376" y="54528"/>
                </a:lnTo>
                <a:lnTo>
                  <a:pt x="60942" y="53678"/>
                </a:lnTo>
                <a:lnTo>
                  <a:pt x="61980" y="51792"/>
                </a:lnTo>
                <a:lnTo>
                  <a:pt x="61886" y="51886"/>
                </a:lnTo>
                <a:lnTo>
                  <a:pt x="61886" y="51697"/>
                </a:lnTo>
                <a:lnTo>
                  <a:pt x="62169" y="51037"/>
                </a:lnTo>
                <a:lnTo>
                  <a:pt x="62735" y="49999"/>
                </a:lnTo>
                <a:lnTo>
                  <a:pt x="61508" y="51603"/>
                </a:lnTo>
                <a:lnTo>
                  <a:pt x="61603" y="51037"/>
                </a:lnTo>
                <a:lnTo>
                  <a:pt x="61697" y="50377"/>
                </a:lnTo>
                <a:lnTo>
                  <a:pt x="62169" y="48962"/>
                </a:lnTo>
                <a:lnTo>
                  <a:pt x="62829" y="47358"/>
                </a:lnTo>
                <a:lnTo>
                  <a:pt x="63678" y="45565"/>
                </a:lnTo>
                <a:lnTo>
                  <a:pt x="65376" y="42169"/>
                </a:lnTo>
                <a:lnTo>
                  <a:pt x="66131" y="40660"/>
                </a:lnTo>
                <a:lnTo>
                  <a:pt x="66697" y="39339"/>
                </a:lnTo>
                <a:lnTo>
                  <a:pt x="66603" y="39528"/>
                </a:lnTo>
                <a:lnTo>
                  <a:pt x="66697" y="39056"/>
                </a:lnTo>
                <a:lnTo>
                  <a:pt x="66791" y="38962"/>
                </a:lnTo>
                <a:lnTo>
                  <a:pt x="66791" y="39056"/>
                </a:lnTo>
                <a:lnTo>
                  <a:pt x="66886" y="38584"/>
                </a:lnTo>
                <a:lnTo>
                  <a:pt x="66791" y="38867"/>
                </a:lnTo>
                <a:lnTo>
                  <a:pt x="66980" y="38207"/>
                </a:lnTo>
                <a:lnTo>
                  <a:pt x="67169" y="37264"/>
                </a:lnTo>
                <a:lnTo>
                  <a:pt x="67263" y="36415"/>
                </a:lnTo>
                <a:lnTo>
                  <a:pt x="67357" y="36509"/>
                </a:lnTo>
                <a:lnTo>
                  <a:pt x="67452" y="36509"/>
                </a:lnTo>
                <a:lnTo>
                  <a:pt x="67546" y="35943"/>
                </a:lnTo>
                <a:lnTo>
                  <a:pt x="67546" y="34811"/>
                </a:lnTo>
                <a:lnTo>
                  <a:pt x="67640" y="31037"/>
                </a:lnTo>
                <a:lnTo>
                  <a:pt x="67640" y="28490"/>
                </a:lnTo>
                <a:lnTo>
                  <a:pt x="67546" y="27736"/>
                </a:lnTo>
                <a:lnTo>
                  <a:pt x="67546" y="27547"/>
                </a:lnTo>
                <a:lnTo>
                  <a:pt x="67452" y="27547"/>
                </a:lnTo>
                <a:lnTo>
                  <a:pt x="67074" y="26792"/>
                </a:lnTo>
                <a:lnTo>
                  <a:pt x="66791" y="25660"/>
                </a:lnTo>
                <a:lnTo>
                  <a:pt x="66508" y="24528"/>
                </a:lnTo>
                <a:lnTo>
                  <a:pt x="66414" y="23585"/>
                </a:lnTo>
                <a:lnTo>
                  <a:pt x="66320" y="23679"/>
                </a:lnTo>
                <a:lnTo>
                  <a:pt x="66320" y="23490"/>
                </a:lnTo>
                <a:lnTo>
                  <a:pt x="65942" y="22924"/>
                </a:lnTo>
                <a:lnTo>
                  <a:pt x="65565" y="22358"/>
                </a:lnTo>
                <a:lnTo>
                  <a:pt x="64527" y="21132"/>
                </a:lnTo>
                <a:lnTo>
                  <a:pt x="63584" y="19906"/>
                </a:lnTo>
                <a:lnTo>
                  <a:pt x="63207" y="19340"/>
                </a:lnTo>
                <a:lnTo>
                  <a:pt x="63018" y="18774"/>
                </a:lnTo>
                <a:lnTo>
                  <a:pt x="63112" y="18962"/>
                </a:lnTo>
                <a:lnTo>
                  <a:pt x="63301" y="19057"/>
                </a:lnTo>
                <a:lnTo>
                  <a:pt x="63301" y="19057"/>
                </a:lnTo>
                <a:lnTo>
                  <a:pt x="63207" y="18868"/>
                </a:lnTo>
                <a:lnTo>
                  <a:pt x="62923" y="18491"/>
                </a:lnTo>
                <a:lnTo>
                  <a:pt x="61980" y="17453"/>
                </a:lnTo>
                <a:lnTo>
                  <a:pt x="61037" y="16509"/>
                </a:lnTo>
                <a:lnTo>
                  <a:pt x="61037" y="16698"/>
                </a:lnTo>
                <a:lnTo>
                  <a:pt x="61037" y="16887"/>
                </a:lnTo>
                <a:lnTo>
                  <a:pt x="60093" y="15943"/>
                </a:lnTo>
                <a:lnTo>
                  <a:pt x="60376" y="16321"/>
                </a:lnTo>
                <a:lnTo>
                  <a:pt x="59527" y="15377"/>
                </a:lnTo>
                <a:lnTo>
                  <a:pt x="59056" y="14906"/>
                </a:lnTo>
                <a:lnTo>
                  <a:pt x="59244" y="14906"/>
                </a:lnTo>
                <a:lnTo>
                  <a:pt x="59905" y="15472"/>
                </a:lnTo>
                <a:lnTo>
                  <a:pt x="59905" y="15472"/>
                </a:lnTo>
                <a:lnTo>
                  <a:pt x="57641" y="13396"/>
                </a:lnTo>
                <a:lnTo>
                  <a:pt x="58112" y="13868"/>
                </a:lnTo>
                <a:lnTo>
                  <a:pt x="56886" y="13019"/>
                </a:lnTo>
                <a:lnTo>
                  <a:pt x="55754" y="12453"/>
                </a:lnTo>
                <a:lnTo>
                  <a:pt x="56603" y="13113"/>
                </a:lnTo>
                <a:lnTo>
                  <a:pt x="57452" y="13774"/>
                </a:lnTo>
                <a:lnTo>
                  <a:pt x="58961" y="15283"/>
                </a:lnTo>
                <a:lnTo>
                  <a:pt x="60376" y="16604"/>
                </a:lnTo>
                <a:lnTo>
                  <a:pt x="61225" y="17264"/>
                </a:lnTo>
                <a:lnTo>
                  <a:pt x="62074" y="17925"/>
                </a:lnTo>
                <a:lnTo>
                  <a:pt x="62074" y="17925"/>
                </a:lnTo>
                <a:lnTo>
                  <a:pt x="61414" y="17547"/>
                </a:lnTo>
                <a:lnTo>
                  <a:pt x="60659" y="16981"/>
                </a:lnTo>
                <a:lnTo>
                  <a:pt x="60754" y="17264"/>
                </a:lnTo>
                <a:lnTo>
                  <a:pt x="60942" y="17642"/>
                </a:lnTo>
                <a:lnTo>
                  <a:pt x="61980" y="19151"/>
                </a:lnTo>
                <a:lnTo>
                  <a:pt x="63301" y="20943"/>
                </a:lnTo>
                <a:lnTo>
                  <a:pt x="63207" y="20943"/>
                </a:lnTo>
                <a:lnTo>
                  <a:pt x="63395" y="21038"/>
                </a:lnTo>
                <a:lnTo>
                  <a:pt x="63490" y="21321"/>
                </a:lnTo>
                <a:lnTo>
                  <a:pt x="63678" y="21604"/>
                </a:lnTo>
                <a:lnTo>
                  <a:pt x="63773" y="21698"/>
                </a:lnTo>
                <a:lnTo>
                  <a:pt x="63584" y="21321"/>
                </a:lnTo>
                <a:lnTo>
                  <a:pt x="63584" y="21321"/>
                </a:lnTo>
                <a:lnTo>
                  <a:pt x="64244" y="22170"/>
                </a:lnTo>
                <a:lnTo>
                  <a:pt x="64716" y="22641"/>
                </a:lnTo>
                <a:lnTo>
                  <a:pt x="64905" y="22830"/>
                </a:lnTo>
                <a:lnTo>
                  <a:pt x="64999" y="22830"/>
                </a:lnTo>
                <a:lnTo>
                  <a:pt x="64999" y="22641"/>
                </a:lnTo>
                <a:lnTo>
                  <a:pt x="64905" y="22358"/>
                </a:lnTo>
                <a:lnTo>
                  <a:pt x="65282" y="23207"/>
                </a:lnTo>
                <a:lnTo>
                  <a:pt x="65565" y="24056"/>
                </a:lnTo>
                <a:lnTo>
                  <a:pt x="66225" y="25943"/>
                </a:lnTo>
                <a:lnTo>
                  <a:pt x="66697" y="27830"/>
                </a:lnTo>
                <a:lnTo>
                  <a:pt x="66886" y="28490"/>
                </a:lnTo>
                <a:lnTo>
                  <a:pt x="66980" y="28868"/>
                </a:lnTo>
                <a:lnTo>
                  <a:pt x="66886" y="28962"/>
                </a:lnTo>
                <a:lnTo>
                  <a:pt x="66697" y="28679"/>
                </a:lnTo>
                <a:lnTo>
                  <a:pt x="66697" y="29245"/>
                </a:lnTo>
                <a:lnTo>
                  <a:pt x="66791" y="29905"/>
                </a:lnTo>
                <a:lnTo>
                  <a:pt x="66886" y="29905"/>
                </a:lnTo>
                <a:lnTo>
                  <a:pt x="66886" y="30094"/>
                </a:lnTo>
                <a:lnTo>
                  <a:pt x="66886" y="30566"/>
                </a:lnTo>
                <a:lnTo>
                  <a:pt x="66697" y="30377"/>
                </a:lnTo>
                <a:lnTo>
                  <a:pt x="66603" y="30188"/>
                </a:lnTo>
                <a:lnTo>
                  <a:pt x="66603" y="30094"/>
                </a:lnTo>
                <a:lnTo>
                  <a:pt x="66697" y="29905"/>
                </a:lnTo>
                <a:lnTo>
                  <a:pt x="66508" y="28679"/>
                </a:lnTo>
                <a:lnTo>
                  <a:pt x="66225" y="27358"/>
                </a:lnTo>
                <a:lnTo>
                  <a:pt x="66603" y="30283"/>
                </a:lnTo>
                <a:lnTo>
                  <a:pt x="66697" y="31792"/>
                </a:lnTo>
                <a:lnTo>
                  <a:pt x="66697" y="33302"/>
                </a:lnTo>
                <a:lnTo>
                  <a:pt x="66603" y="34717"/>
                </a:lnTo>
                <a:lnTo>
                  <a:pt x="66414" y="36226"/>
                </a:lnTo>
                <a:lnTo>
                  <a:pt x="66131" y="37547"/>
                </a:lnTo>
                <a:lnTo>
                  <a:pt x="65659" y="38962"/>
                </a:lnTo>
                <a:lnTo>
                  <a:pt x="65848" y="38584"/>
                </a:lnTo>
                <a:lnTo>
                  <a:pt x="65942" y="38584"/>
                </a:lnTo>
                <a:lnTo>
                  <a:pt x="65848" y="39245"/>
                </a:lnTo>
                <a:lnTo>
                  <a:pt x="65565" y="40188"/>
                </a:lnTo>
                <a:lnTo>
                  <a:pt x="65471" y="40471"/>
                </a:lnTo>
                <a:lnTo>
                  <a:pt x="65282" y="40660"/>
                </a:lnTo>
                <a:lnTo>
                  <a:pt x="65282" y="40566"/>
                </a:lnTo>
                <a:lnTo>
                  <a:pt x="65093" y="41132"/>
                </a:lnTo>
                <a:lnTo>
                  <a:pt x="64433" y="43018"/>
                </a:lnTo>
                <a:lnTo>
                  <a:pt x="63678" y="45282"/>
                </a:lnTo>
                <a:lnTo>
                  <a:pt x="62735" y="47264"/>
                </a:lnTo>
                <a:lnTo>
                  <a:pt x="61697" y="49056"/>
                </a:lnTo>
                <a:lnTo>
                  <a:pt x="60659" y="50943"/>
                </a:lnTo>
                <a:lnTo>
                  <a:pt x="59433" y="52735"/>
                </a:lnTo>
                <a:lnTo>
                  <a:pt x="58207" y="54433"/>
                </a:lnTo>
                <a:lnTo>
                  <a:pt x="56886" y="56037"/>
                </a:lnTo>
                <a:lnTo>
                  <a:pt x="55376" y="57641"/>
                </a:lnTo>
                <a:lnTo>
                  <a:pt x="53867" y="59150"/>
                </a:lnTo>
                <a:lnTo>
                  <a:pt x="52169" y="60376"/>
                </a:lnTo>
                <a:lnTo>
                  <a:pt x="48961" y="62452"/>
                </a:lnTo>
                <a:lnTo>
                  <a:pt x="44528" y="65282"/>
                </a:lnTo>
                <a:lnTo>
                  <a:pt x="44622" y="65188"/>
                </a:lnTo>
                <a:lnTo>
                  <a:pt x="44716" y="65093"/>
                </a:lnTo>
                <a:lnTo>
                  <a:pt x="45094" y="64810"/>
                </a:lnTo>
                <a:lnTo>
                  <a:pt x="45660" y="64527"/>
                </a:lnTo>
                <a:lnTo>
                  <a:pt x="43867" y="65376"/>
                </a:lnTo>
                <a:lnTo>
                  <a:pt x="43113" y="65754"/>
                </a:lnTo>
                <a:lnTo>
                  <a:pt x="42924" y="65754"/>
                </a:lnTo>
                <a:lnTo>
                  <a:pt x="43113" y="65659"/>
                </a:lnTo>
                <a:lnTo>
                  <a:pt x="41603" y="66037"/>
                </a:lnTo>
                <a:lnTo>
                  <a:pt x="39999" y="66320"/>
                </a:lnTo>
                <a:lnTo>
                  <a:pt x="38396" y="66508"/>
                </a:lnTo>
                <a:lnTo>
                  <a:pt x="36792" y="66697"/>
                </a:lnTo>
                <a:lnTo>
                  <a:pt x="33584" y="66980"/>
                </a:lnTo>
                <a:lnTo>
                  <a:pt x="32169" y="67169"/>
                </a:lnTo>
                <a:lnTo>
                  <a:pt x="30754" y="67357"/>
                </a:lnTo>
                <a:lnTo>
                  <a:pt x="30094" y="67357"/>
                </a:lnTo>
                <a:lnTo>
                  <a:pt x="29339" y="67263"/>
                </a:lnTo>
                <a:lnTo>
                  <a:pt x="27830" y="66886"/>
                </a:lnTo>
                <a:lnTo>
                  <a:pt x="26415" y="66508"/>
                </a:lnTo>
                <a:lnTo>
                  <a:pt x="25754" y="66414"/>
                </a:lnTo>
                <a:lnTo>
                  <a:pt x="25094" y="66414"/>
                </a:lnTo>
                <a:lnTo>
                  <a:pt x="25566" y="66980"/>
                </a:lnTo>
                <a:lnTo>
                  <a:pt x="25471" y="67074"/>
                </a:lnTo>
                <a:lnTo>
                  <a:pt x="25188" y="66980"/>
                </a:lnTo>
                <a:lnTo>
                  <a:pt x="24339" y="66791"/>
                </a:lnTo>
                <a:lnTo>
                  <a:pt x="23773" y="66508"/>
                </a:lnTo>
                <a:lnTo>
                  <a:pt x="24245" y="66414"/>
                </a:lnTo>
                <a:lnTo>
                  <a:pt x="24717" y="66603"/>
                </a:lnTo>
                <a:lnTo>
                  <a:pt x="24811" y="66414"/>
                </a:lnTo>
                <a:lnTo>
                  <a:pt x="24811" y="66320"/>
                </a:lnTo>
                <a:lnTo>
                  <a:pt x="24717" y="66225"/>
                </a:lnTo>
                <a:lnTo>
                  <a:pt x="24528" y="66131"/>
                </a:lnTo>
                <a:lnTo>
                  <a:pt x="24151" y="66225"/>
                </a:lnTo>
                <a:lnTo>
                  <a:pt x="23679" y="66320"/>
                </a:lnTo>
                <a:lnTo>
                  <a:pt x="23018" y="66414"/>
                </a:lnTo>
                <a:lnTo>
                  <a:pt x="23490" y="66225"/>
                </a:lnTo>
                <a:lnTo>
                  <a:pt x="22075" y="65942"/>
                </a:lnTo>
                <a:lnTo>
                  <a:pt x="20943" y="65659"/>
                </a:lnTo>
                <a:lnTo>
                  <a:pt x="20000" y="65282"/>
                </a:lnTo>
                <a:lnTo>
                  <a:pt x="19056" y="64810"/>
                </a:lnTo>
                <a:lnTo>
                  <a:pt x="19056" y="64810"/>
                </a:lnTo>
                <a:lnTo>
                  <a:pt x="19717" y="64999"/>
                </a:lnTo>
                <a:lnTo>
                  <a:pt x="19151" y="64716"/>
                </a:lnTo>
                <a:lnTo>
                  <a:pt x="18962" y="64810"/>
                </a:lnTo>
                <a:lnTo>
                  <a:pt x="19151" y="64905"/>
                </a:lnTo>
                <a:lnTo>
                  <a:pt x="18490" y="64905"/>
                </a:lnTo>
                <a:lnTo>
                  <a:pt x="17830" y="64716"/>
                </a:lnTo>
                <a:lnTo>
                  <a:pt x="17264" y="64527"/>
                </a:lnTo>
                <a:lnTo>
                  <a:pt x="16698" y="64150"/>
                </a:lnTo>
                <a:lnTo>
                  <a:pt x="16981" y="64056"/>
                </a:lnTo>
                <a:lnTo>
                  <a:pt x="17264" y="64150"/>
                </a:lnTo>
                <a:lnTo>
                  <a:pt x="17264" y="64150"/>
                </a:lnTo>
                <a:lnTo>
                  <a:pt x="15188" y="63207"/>
                </a:lnTo>
                <a:lnTo>
                  <a:pt x="14622" y="62829"/>
                </a:lnTo>
                <a:lnTo>
                  <a:pt x="14717" y="62924"/>
                </a:lnTo>
                <a:lnTo>
                  <a:pt x="13773" y="62546"/>
                </a:lnTo>
                <a:lnTo>
                  <a:pt x="12924" y="62075"/>
                </a:lnTo>
                <a:lnTo>
                  <a:pt x="12358" y="61697"/>
                </a:lnTo>
                <a:lnTo>
                  <a:pt x="12264" y="61508"/>
                </a:lnTo>
                <a:lnTo>
                  <a:pt x="12170" y="61320"/>
                </a:lnTo>
                <a:lnTo>
                  <a:pt x="11698" y="60942"/>
                </a:lnTo>
                <a:lnTo>
                  <a:pt x="11132" y="60471"/>
                </a:lnTo>
                <a:lnTo>
                  <a:pt x="9906" y="59244"/>
                </a:lnTo>
                <a:lnTo>
                  <a:pt x="9906" y="59244"/>
                </a:lnTo>
                <a:lnTo>
                  <a:pt x="10566" y="59527"/>
                </a:lnTo>
                <a:lnTo>
                  <a:pt x="9434" y="58584"/>
                </a:lnTo>
                <a:lnTo>
                  <a:pt x="8207" y="57546"/>
                </a:lnTo>
                <a:lnTo>
                  <a:pt x="7547" y="56886"/>
                </a:lnTo>
                <a:lnTo>
                  <a:pt x="6981" y="56131"/>
                </a:lnTo>
                <a:lnTo>
                  <a:pt x="6226" y="55094"/>
                </a:lnTo>
                <a:lnTo>
                  <a:pt x="6415" y="55377"/>
                </a:lnTo>
                <a:lnTo>
                  <a:pt x="6038" y="54905"/>
                </a:lnTo>
                <a:lnTo>
                  <a:pt x="5472" y="54244"/>
                </a:lnTo>
                <a:lnTo>
                  <a:pt x="5283" y="53961"/>
                </a:lnTo>
                <a:lnTo>
                  <a:pt x="5094" y="53867"/>
                </a:lnTo>
                <a:lnTo>
                  <a:pt x="5377" y="54622"/>
                </a:lnTo>
                <a:lnTo>
                  <a:pt x="5849" y="55282"/>
                </a:lnTo>
                <a:lnTo>
                  <a:pt x="6321" y="55943"/>
                </a:lnTo>
                <a:lnTo>
                  <a:pt x="6698" y="56603"/>
                </a:lnTo>
                <a:lnTo>
                  <a:pt x="6226" y="56226"/>
                </a:lnTo>
                <a:lnTo>
                  <a:pt x="5943" y="55848"/>
                </a:lnTo>
                <a:lnTo>
                  <a:pt x="6038" y="56037"/>
                </a:lnTo>
                <a:lnTo>
                  <a:pt x="5943" y="55943"/>
                </a:lnTo>
                <a:lnTo>
                  <a:pt x="5377" y="55188"/>
                </a:lnTo>
                <a:lnTo>
                  <a:pt x="5000" y="54716"/>
                </a:lnTo>
                <a:lnTo>
                  <a:pt x="4717" y="54150"/>
                </a:lnTo>
                <a:lnTo>
                  <a:pt x="4528" y="53678"/>
                </a:lnTo>
                <a:lnTo>
                  <a:pt x="4528" y="53584"/>
                </a:lnTo>
                <a:lnTo>
                  <a:pt x="4623" y="53395"/>
                </a:lnTo>
                <a:lnTo>
                  <a:pt x="5094" y="54244"/>
                </a:lnTo>
                <a:lnTo>
                  <a:pt x="4717" y="53301"/>
                </a:lnTo>
                <a:lnTo>
                  <a:pt x="4528" y="53018"/>
                </a:lnTo>
                <a:lnTo>
                  <a:pt x="4151" y="52263"/>
                </a:lnTo>
                <a:lnTo>
                  <a:pt x="4151" y="52169"/>
                </a:lnTo>
                <a:lnTo>
                  <a:pt x="3774" y="51509"/>
                </a:lnTo>
                <a:lnTo>
                  <a:pt x="3396" y="50660"/>
                </a:lnTo>
                <a:lnTo>
                  <a:pt x="3585" y="51603"/>
                </a:lnTo>
                <a:lnTo>
                  <a:pt x="3396" y="51226"/>
                </a:lnTo>
                <a:lnTo>
                  <a:pt x="3208" y="50848"/>
                </a:lnTo>
                <a:lnTo>
                  <a:pt x="3208" y="50471"/>
                </a:lnTo>
                <a:lnTo>
                  <a:pt x="3208" y="50094"/>
                </a:lnTo>
                <a:lnTo>
                  <a:pt x="3585" y="50754"/>
                </a:lnTo>
                <a:lnTo>
                  <a:pt x="3868" y="51509"/>
                </a:lnTo>
                <a:lnTo>
                  <a:pt x="3868" y="51509"/>
                </a:lnTo>
                <a:lnTo>
                  <a:pt x="3208" y="49528"/>
                </a:lnTo>
                <a:lnTo>
                  <a:pt x="3208" y="49528"/>
                </a:lnTo>
                <a:lnTo>
                  <a:pt x="3868" y="50754"/>
                </a:lnTo>
                <a:lnTo>
                  <a:pt x="3208" y="48962"/>
                </a:lnTo>
                <a:lnTo>
                  <a:pt x="3585" y="49339"/>
                </a:lnTo>
                <a:lnTo>
                  <a:pt x="3774" y="49433"/>
                </a:lnTo>
                <a:lnTo>
                  <a:pt x="3962" y="49528"/>
                </a:lnTo>
                <a:lnTo>
                  <a:pt x="4057" y="49905"/>
                </a:lnTo>
                <a:lnTo>
                  <a:pt x="3868" y="48962"/>
                </a:lnTo>
                <a:lnTo>
                  <a:pt x="3491" y="47924"/>
                </a:lnTo>
                <a:lnTo>
                  <a:pt x="2641" y="45565"/>
                </a:lnTo>
                <a:lnTo>
                  <a:pt x="2170" y="43867"/>
                </a:lnTo>
                <a:lnTo>
                  <a:pt x="1698" y="41886"/>
                </a:lnTo>
                <a:lnTo>
                  <a:pt x="1698" y="41886"/>
                </a:lnTo>
                <a:lnTo>
                  <a:pt x="1887" y="42075"/>
                </a:lnTo>
                <a:lnTo>
                  <a:pt x="1981" y="41981"/>
                </a:lnTo>
                <a:lnTo>
                  <a:pt x="2075" y="42075"/>
                </a:lnTo>
                <a:lnTo>
                  <a:pt x="2264" y="42169"/>
                </a:lnTo>
                <a:lnTo>
                  <a:pt x="2170" y="40283"/>
                </a:lnTo>
                <a:lnTo>
                  <a:pt x="2075" y="38301"/>
                </a:lnTo>
                <a:lnTo>
                  <a:pt x="2170" y="36415"/>
                </a:lnTo>
                <a:lnTo>
                  <a:pt x="2358" y="35566"/>
                </a:lnTo>
                <a:lnTo>
                  <a:pt x="2453" y="34811"/>
                </a:lnTo>
                <a:lnTo>
                  <a:pt x="2830" y="32830"/>
                </a:lnTo>
                <a:lnTo>
                  <a:pt x="2830" y="33207"/>
                </a:lnTo>
                <a:lnTo>
                  <a:pt x="2924" y="33490"/>
                </a:lnTo>
                <a:lnTo>
                  <a:pt x="2924" y="32453"/>
                </a:lnTo>
                <a:lnTo>
                  <a:pt x="3019" y="31415"/>
                </a:lnTo>
                <a:lnTo>
                  <a:pt x="3396" y="29245"/>
                </a:lnTo>
                <a:lnTo>
                  <a:pt x="3868" y="27075"/>
                </a:lnTo>
                <a:lnTo>
                  <a:pt x="4623" y="25000"/>
                </a:lnTo>
                <a:lnTo>
                  <a:pt x="5566" y="22830"/>
                </a:lnTo>
                <a:lnTo>
                  <a:pt x="6604" y="20849"/>
                </a:lnTo>
                <a:lnTo>
                  <a:pt x="7830" y="18868"/>
                </a:lnTo>
                <a:lnTo>
                  <a:pt x="9151" y="16887"/>
                </a:lnTo>
                <a:lnTo>
                  <a:pt x="10566" y="15094"/>
                </a:lnTo>
                <a:lnTo>
                  <a:pt x="12075" y="13302"/>
                </a:lnTo>
                <a:lnTo>
                  <a:pt x="13773" y="11698"/>
                </a:lnTo>
                <a:lnTo>
                  <a:pt x="15377" y="10095"/>
                </a:lnTo>
                <a:lnTo>
                  <a:pt x="17170" y="8679"/>
                </a:lnTo>
                <a:lnTo>
                  <a:pt x="18962" y="7453"/>
                </a:lnTo>
                <a:lnTo>
                  <a:pt x="20754" y="6321"/>
                </a:lnTo>
                <a:lnTo>
                  <a:pt x="22547" y="5378"/>
                </a:lnTo>
                <a:lnTo>
                  <a:pt x="21603" y="6227"/>
                </a:lnTo>
                <a:lnTo>
                  <a:pt x="22641" y="5472"/>
                </a:lnTo>
                <a:lnTo>
                  <a:pt x="23302" y="5095"/>
                </a:lnTo>
                <a:lnTo>
                  <a:pt x="25377" y="4151"/>
                </a:lnTo>
                <a:lnTo>
                  <a:pt x="24811" y="4151"/>
                </a:lnTo>
                <a:lnTo>
                  <a:pt x="25660" y="3774"/>
                </a:lnTo>
                <a:lnTo>
                  <a:pt x="26886" y="3208"/>
                </a:lnTo>
                <a:lnTo>
                  <a:pt x="26603" y="3585"/>
                </a:lnTo>
                <a:lnTo>
                  <a:pt x="26886" y="3585"/>
                </a:lnTo>
                <a:lnTo>
                  <a:pt x="26886" y="3680"/>
                </a:lnTo>
                <a:lnTo>
                  <a:pt x="26792" y="3774"/>
                </a:lnTo>
                <a:lnTo>
                  <a:pt x="28301" y="3302"/>
                </a:lnTo>
                <a:lnTo>
                  <a:pt x="29622" y="2736"/>
                </a:lnTo>
                <a:lnTo>
                  <a:pt x="31037" y="2264"/>
                </a:lnTo>
                <a:lnTo>
                  <a:pt x="31792" y="2076"/>
                </a:lnTo>
                <a:lnTo>
                  <a:pt x="32641" y="1981"/>
                </a:lnTo>
                <a:lnTo>
                  <a:pt x="32547" y="2076"/>
                </a:lnTo>
                <a:lnTo>
                  <a:pt x="32924" y="1981"/>
                </a:lnTo>
                <a:lnTo>
                  <a:pt x="34245" y="1793"/>
                </a:lnTo>
                <a:lnTo>
                  <a:pt x="35848" y="1415"/>
                </a:lnTo>
                <a:lnTo>
                  <a:pt x="36981" y="1132"/>
                </a:lnTo>
                <a:lnTo>
                  <a:pt x="36981" y="1415"/>
                </a:lnTo>
                <a:lnTo>
                  <a:pt x="40943" y="1227"/>
                </a:lnTo>
                <a:lnTo>
                  <a:pt x="41509" y="1038"/>
                </a:lnTo>
                <a:lnTo>
                  <a:pt x="41697" y="1132"/>
                </a:lnTo>
                <a:lnTo>
                  <a:pt x="41509" y="1227"/>
                </a:lnTo>
                <a:lnTo>
                  <a:pt x="41320" y="1321"/>
                </a:lnTo>
                <a:lnTo>
                  <a:pt x="42263" y="1321"/>
                </a:lnTo>
                <a:lnTo>
                  <a:pt x="43113" y="1227"/>
                </a:lnTo>
                <a:lnTo>
                  <a:pt x="43396" y="1415"/>
                </a:lnTo>
                <a:lnTo>
                  <a:pt x="44056" y="1604"/>
                </a:lnTo>
                <a:lnTo>
                  <a:pt x="45943" y="2076"/>
                </a:lnTo>
                <a:lnTo>
                  <a:pt x="48018" y="2359"/>
                </a:lnTo>
                <a:lnTo>
                  <a:pt x="49622" y="2736"/>
                </a:lnTo>
                <a:lnTo>
                  <a:pt x="47641" y="1981"/>
                </a:lnTo>
                <a:lnTo>
                  <a:pt x="45282" y="1321"/>
                </a:lnTo>
                <a:lnTo>
                  <a:pt x="42735" y="755"/>
                </a:lnTo>
                <a:lnTo>
                  <a:pt x="40188" y="283"/>
                </a:lnTo>
                <a:lnTo>
                  <a:pt x="37735" y="95"/>
                </a:lnTo>
                <a:lnTo>
                  <a:pt x="35471" y="0"/>
                </a:lnTo>
                <a:close/>
              </a:path>
            </a:pathLst>
          </a:custGeom>
          <a:solidFill>
            <a:schemeClr val="bg2">
              <a:lumMod val="75000"/>
            </a:schemeClr>
          </a:solidFill>
          <a:ln>
            <a:noFill/>
          </a:ln>
        </p:spPr>
        <p:txBody>
          <a:bodyPr spcFirstLastPara="1" wrap="square" lIns="91425" tIns="91425" rIns="91425" bIns="91425" anchor="ctr" anchorCtr="0">
            <a:noAutofit/>
          </a:bodyPr>
          <a:lstStyle/>
          <a:p>
            <a:pPr marL="0" lvl="0" indent="0">
              <a:spcBef>
                <a:spcPts val="0"/>
              </a:spcBef>
              <a:spcAft>
                <a:spcPts val="0"/>
              </a:spcAft>
              <a:buNone/>
            </a:pPr>
            <a:endParaRPr sz="1200" dirty="0">
              <a:latin typeface="Comic Sans MS" panose="030F0902030302020204" pitchFamily="66" charset="0"/>
            </a:endParaRPr>
          </a:p>
        </p:txBody>
      </p:sp>
      <p:sp>
        <p:nvSpPr>
          <p:cNvPr id="105" name="Google Shape;431;p39">
            <a:extLst>
              <a:ext uri="{FF2B5EF4-FFF2-40B4-BE49-F238E27FC236}">
                <a16:creationId xmlns:a16="http://schemas.microsoft.com/office/drawing/2014/main" id="{D6AAEA05-2DC0-AD45-AFB0-4EBE013955A1}"/>
              </a:ext>
            </a:extLst>
          </p:cNvPr>
          <p:cNvSpPr/>
          <p:nvPr/>
        </p:nvSpPr>
        <p:spPr>
          <a:xfrm rot="21011211">
            <a:off x="6356691" y="2409226"/>
            <a:ext cx="118019" cy="139785"/>
          </a:xfrm>
          <a:custGeom>
            <a:avLst/>
            <a:gdLst/>
            <a:ahLst/>
            <a:cxnLst/>
            <a:rect l="0" t="0" r="0" b="0"/>
            <a:pathLst>
              <a:path w="67641" h="69056" extrusionOk="0">
                <a:moveTo>
                  <a:pt x="49622" y="2736"/>
                </a:moveTo>
                <a:lnTo>
                  <a:pt x="49622" y="2736"/>
                </a:lnTo>
                <a:lnTo>
                  <a:pt x="49622" y="2736"/>
                </a:lnTo>
                <a:close/>
                <a:moveTo>
                  <a:pt x="59622" y="55565"/>
                </a:moveTo>
                <a:lnTo>
                  <a:pt x="59622" y="55565"/>
                </a:lnTo>
                <a:lnTo>
                  <a:pt x="59622" y="55565"/>
                </a:lnTo>
                <a:close/>
                <a:moveTo>
                  <a:pt x="35471" y="0"/>
                </a:moveTo>
                <a:lnTo>
                  <a:pt x="34433" y="95"/>
                </a:lnTo>
                <a:lnTo>
                  <a:pt x="33584" y="189"/>
                </a:lnTo>
                <a:lnTo>
                  <a:pt x="32735" y="378"/>
                </a:lnTo>
                <a:lnTo>
                  <a:pt x="32169" y="566"/>
                </a:lnTo>
                <a:lnTo>
                  <a:pt x="31509" y="472"/>
                </a:lnTo>
                <a:lnTo>
                  <a:pt x="30754" y="472"/>
                </a:lnTo>
                <a:lnTo>
                  <a:pt x="29339" y="566"/>
                </a:lnTo>
                <a:lnTo>
                  <a:pt x="27830" y="849"/>
                </a:lnTo>
                <a:lnTo>
                  <a:pt x="26320" y="1321"/>
                </a:lnTo>
                <a:lnTo>
                  <a:pt x="24811" y="1981"/>
                </a:lnTo>
                <a:lnTo>
                  <a:pt x="23207" y="2736"/>
                </a:lnTo>
                <a:lnTo>
                  <a:pt x="21698" y="3585"/>
                </a:lnTo>
                <a:lnTo>
                  <a:pt x="20188" y="4623"/>
                </a:lnTo>
                <a:lnTo>
                  <a:pt x="18679" y="5661"/>
                </a:lnTo>
                <a:lnTo>
                  <a:pt x="17170" y="6793"/>
                </a:lnTo>
                <a:lnTo>
                  <a:pt x="15754" y="8019"/>
                </a:lnTo>
                <a:lnTo>
                  <a:pt x="14434" y="9151"/>
                </a:lnTo>
                <a:lnTo>
                  <a:pt x="11981" y="11510"/>
                </a:lnTo>
                <a:lnTo>
                  <a:pt x="10000" y="13774"/>
                </a:lnTo>
                <a:lnTo>
                  <a:pt x="7736" y="16981"/>
                </a:lnTo>
                <a:lnTo>
                  <a:pt x="8019" y="16321"/>
                </a:lnTo>
                <a:lnTo>
                  <a:pt x="8302" y="15660"/>
                </a:lnTo>
                <a:lnTo>
                  <a:pt x="7736" y="16604"/>
                </a:lnTo>
                <a:lnTo>
                  <a:pt x="7075" y="17642"/>
                </a:lnTo>
                <a:lnTo>
                  <a:pt x="7170" y="17830"/>
                </a:lnTo>
                <a:lnTo>
                  <a:pt x="6509" y="18868"/>
                </a:lnTo>
                <a:lnTo>
                  <a:pt x="7075" y="17359"/>
                </a:lnTo>
                <a:lnTo>
                  <a:pt x="6132" y="19057"/>
                </a:lnTo>
                <a:lnTo>
                  <a:pt x="5189" y="20849"/>
                </a:lnTo>
                <a:lnTo>
                  <a:pt x="4434" y="22736"/>
                </a:lnTo>
                <a:lnTo>
                  <a:pt x="3679" y="24622"/>
                </a:lnTo>
                <a:lnTo>
                  <a:pt x="2453" y="28490"/>
                </a:lnTo>
                <a:lnTo>
                  <a:pt x="1321" y="32169"/>
                </a:lnTo>
                <a:lnTo>
                  <a:pt x="1509" y="32264"/>
                </a:lnTo>
                <a:lnTo>
                  <a:pt x="1604" y="32453"/>
                </a:lnTo>
                <a:lnTo>
                  <a:pt x="1604" y="32641"/>
                </a:lnTo>
                <a:lnTo>
                  <a:pt x="1509" y="32924"/>
                </a:lnTo>
                <a:lnTo>
                  <a:pt x="1226" y="33396"/>
                </a:lnTo>
                <a:lnTo>
                  <a:pt x="1038" y="33585"/>
                </a:lnTo>
                <a:lnTo>
                  <a:pt x="1038" y="33773"/>
                </a:lnTo>
                <a:lnTo>
                  <a:pt x="1038" y="35000"/>
                </a:lnTo>
                <a:lnTo>
                  <a:pt x="849" y="36132"/>
                </a:lnTo>
                <a:lnTo>
                  <a:pt x="660" y="37358"/>
                </a:lnTo>
                <a:lnTo>
                  <a:pt x="472" y="38867"/>
                </a:lnTo>
                <a:lnTo>
                  <a:pt x="283" y="38301"/>
                </a:lnTo>
                <a:lnTo>
                  <a:pt x="94" y="39811"/>
                </a:lnTo>
                <a:lnTo>
                  <a:pt x="0" y="41509"/>
                </a:lnTo>
                <a:lnTo>
                  <a:pt x="94" y="43301"/>
                </a:lnTo>
                <a:lnTo>
                  <a:pt x="283" y="44056"/>
                </a:lnTo>
                <a:lnTo>
                  <a:pt x="472" y="44622"/>
                </a:lnTo>
                <a:lnTo>
                  <a:pt x="566" y="45660"/>
                </a:lnTo>
                <a:lnTo>
                  <a:pt x="755" y="46792"/>
                </a:lnTo>
                <a:lnTo>
                  <a:pt x="1226" y="48962"/>
                </a:lnTo>
                <a:lnTo>
                  <a:pt x="1981" y="51037"/>
                </a:lnTo>
                <a:lnTo>
                  <a:pt x="2924" y="53112"/>
                </a:lnTo>
                <a:lnTo>
                  <a:pt x="4057" y="55094"/>
                </a:lnTo>
                <a:lnTo>
                  <a:pt x="5283" y="56980"/>
                </a:lnTo>
                <a:lnTo>
                  <a:pt x="6698" y="58678"/>
                </a:lnTo>
                <a:lnTo>
                  <a:pt x="8113" y="60282"/>
                </a:lnTo>
                <a:lnTo>
                  <a:pt x="9056" y="61131"/>
                </a:lnTo>
                <a:lnTo>
                  <a:pt x="10000" y="61980"/>
                </a:lnTo>
                <a:lnTo>
                  <a:pt x="11038" y="62829"/>
                </a:lnTo>
                <a:lnTo>
                  <a:pt x="12075" y="63584"/>
                </a:lnTo>
                <a:lnTo>
                  <a:pt x="14339" y="64905"/>
                </a:lnTo>
                <a:lnTo>
                  <a:pt x="16604" y="66131"/>
                </a:lnTo>
                <a:lnTo>
                  <a:pt x="19056" y="67169"/>
                </a:lnTo>
                <a:lnTo>
                  <a:pt x="21509" y="67923"/>
                </a:lnTo>
                <a:lnTo>
                  <a:pt x="24056" y="68584"/>
                </a:lnTo>
                <a:lnTo>
                  <a:pt x="26603" y="69055"/>
                </a:lnTo>
                <a:lnTo>
                  <a:pt x="27830" y="69055"/>
                </a:lnTo>
                <a:lnTo>
                  <a:pt x="30188" y="68867"/>
                </a:lnTo>
                <a:lnTo>
                  <a:pt x="33113" y="68678"/>
                </a:lnTo>
                <a:lnTo>
                  <a:pt x="36509" y="68301"/>
                </a:lnTo>
                <a:lnTo>
                  <a:pt x="39811" y="67923"/>
                </a:lnTo>
                <a:lnTo>
                  <a:pt x="42735" y="67452"/>
                </a:lnTo>
                <a:lnTo>
                  <a:pt x="44905" y="66980"/>
                </a:lnTo>
                <a:lnTo>
                  <a:pt x="45565" y="66791"/>
                </a:lnTo>
                <a:lnTo>
                  <a:pt x="45943" y="66508"/>
                </a:lnTo>
                <a:lnTo>
                  <a:pt x="47358" y="65942"/>
                </a:lnTo>
                <a:lnTo>
                  <a:pt x="48018" y="65565"/>
                </a:lnTo>
                <a:lnTo>
                  <a:pt x="48678" y="65188"/>
                </a:lnTo>
                <a:lnTo>
                  <a:pt x="47924" y="65471"/>
                </a:lnTo>
                <a:lnTo>
                  <a:pt x="51509" y="62924"/>
                </a:lnTo>
                <a:lnTo>
                  <a:pt x="53301" y="61508"/>
                </a:lnTo>
                <a:lnTo>
                  <a:pt x="55093" y="59905"/>
                </a:lnTo>
                <a:lnTo>
                  <a:pt x="55093" y="59905"/>
                </a:lnTo>
                <a:lnTo>
                  <a:pt x="54810" y="60376"/>
                </a:lnTo>
                <a:lnTo>
                  <a:pt x="54339" y="60754"/>
                </a:lnTo>
                <a:lnTo>
                  <a:pt x="55376" y="59999"/>
                </a:lnTo>
                <a:lnTo>
                  <a:pt x="56320" y="59056"/>
                </a:lnTo>
                <a:lnTo>
                  <a:pt x="57075" y="58395"/>
                </a:lnTo>
                <a:lnTo>
                  <a:pt x="57169" y="58207"/>
                </a:lnTo>
                <a:lnTo>
                  <a:pt x="57075" y="58207"/>
                </a:lnTo>
                <a:lnTo>
                  <a:pt x="57924" y="57546"/>
                </a:lnTo>
                <a:lnTo>
                  <a:pt x="58678" y="56697"/>
                </a:lnTo>
                <a:lnTo>
                  <a:pt x="59339" y="55754"/>
                </a:lnTo>
                <a:lnTo>
                  <a:pt x="59905" y="54905"/>
                </a:lnTo>
                <a:lnTo>
                  <a:pt x="59716" y="54999"/>
                </a:lnTo>
                <a:lnTo>
                  <a:pt x="59622" y="54999"/>
                </a:lnTo>
                <a:lnTo>
                  <a:pt x="59810" y="54622"/>
                </a:lnTo>
                <a:lnTo>
                  <a:pt x="59150" y="55565"/>
                </a:lnTo>
                <a:lnTo>
                  <a:pt x="59527" y="55094"/>
                </a:lnTo>
                <a:lnTo>
                  <a:pt x="59433" y="55377"/>
                </a:lnTo>
                <a:lnTo>
                  <a:pt x="58867" y="56037"/>
                </a:lnTo>
                <a:lnTo>
                  <a:pt x="59056" y="55660"/>
                </a:lnTo>
                <a:lnTo>
                  <a:pt x="59056" y="55660"/>
                </a:lnTo>
                <a:lnTo>
                  <a:pt x="58678" y="56037"/>
                </a:lnTo>
                <a:lnTo>
                  <a:pt x="59810" y="54339"/>
                </a:lnTo>
                <a:lnTo>
                  <a:pt x="60282" y="53490"/>
                </a:lnTo>
                <a:lnTo>
                  <a:pt x="60282" y="53301"/>
                </a:lnTo>
                <a:lnTo>
                  <a:pt x="60188" y="53395"/>
                </a:lnTo>
                <a:lnTo>
                  <a:pt x="60188" y="53395"/>
                </a:lnTo>
                <a:lnTo>
                  <a:pt x="60565" y="52924"/>
                </a:lnTo>
                <a:lnTo>
                  <a:pt x="61037" y="52452"/>
                </a:lnTo>
                <a:lnTo>
                  <a:pt x="61886" y="51509"/>
                </a:lnTo>
                <a:lnTo>
                  <a:pt x="61508" y="52452"/>
                </a:lnTo>
                <a:lnTo>
                  <a:pt x="60848" y="53584"/>
                </a:lnTo>
                <a:lnTo>
                  <a:pt x="59622" y="55565"/>
                </a:lnTo>
                <a:lnTo>
                  <a:pt x="60376" y="54528"/>
                </a:lnTo>
                <a:lnTo>
                  <a:pt x="60942" y="53678"/>
                </a:lnTo>
                <a:lnTo>
                  <a:pt x="61980" y="51792"/>
                </a:lnTo>
                <a:lnTo>
                  <a:pt x="61886" y="51886"/>
                </a:lnTo>
                <a:lnTo>
                  <a:pt x="61886" y="51697"/>
                </a:lnTo>
                <a:lnTo>
                  <a:pt x="62169" y="51037"/>
                </a:lnTo>
                <a:lnTo>
                  <a:pt x="62735" y="49999"/>
                </a:lnTo>
                <a:lnTo>
                  <a:pt x="61508" y="51603"/>
                </a:lnTo>
                <a:lnTo>
                  <a:pt x="61603" y="51037"/>
                </a:lnTo>
                <a:lnTo>
                  <a:pt x="61697" y="50377"/>
                </a:lnTo>
                <a:lnTo>
                  <a:pt x="62169" y="48962"/>
                </a:lnTo>
                <a:lnTo>
                  <a:pt x="62829" y="47358"/>
                </a:lnTo>
                <a:lnTo>
                  <a:pt x="63678" y="45565"/>
                </a:lnTo>
                <a:lnTo>
                  <a:pt x="65376" y="42169"/>
                </a:lnTo>
                <a:lnTo>
                  <a:pt x="66131" y="40660"/>
                </a:lnTo>
                <a:lnTo>
                  <a:pt x="66697" y="39339"/>
                </a:lnTo>
                <a:lnTo>
                  <a:pt x="66603" y="39528"/>
                </a:lnTo>
                <a:lnTo>
                  <a:pt x="66697" y="39056"/>
                </a:lnTo>
                <a:lnTo>
                  <a:pt x="66791" y="38962"/>
                </a:lnTo>
                <a:lnTo>
                  <a:pt x="66791" y="39056"/>
                </a:lnTo>
                <a:lnTo>
                  <a:pt x="66886" y="38584"/>
                </a:lnTo>
                <a:lnTo>
                  <a:pt x="66791" y="38867"/>
                </a:lnTo>
                <a:lnTo>
                  <a:pt x="66980" y="38207"/>
                </a:lnTo>
                <a:lnTo>
                  <a:pt x="67169" y="37264"/>
                </a:lnTo>
                <a:lnTo>
                  <a:pt x="67263" y="36415"/>
                </a:lnTo>
                <a:lnTo>
                  <a:pt x="67357" y="36509"/>
                </a:lnTo>
                <a:lnTo>
                  <a:pt x="67452" y="36509"/>
                </a:lnTo>
                <a:lnTo>
                  <a:pt x="67546" y="35943"/>
                </a:lnTo>
                <a:lnTo>
                  <a:pt x="67546" y="34811"/>
                </a:lnTo>
                <a:lnTo>
                  <a:pt x="67640" y="31037"/>
                </a:lnTo>
                <a:lnTo>
                  <a:pt x="67640" y="28490"/>
                </a:lnTo>
                <a:lnTo>
                  <a:pt x="67546" y="27736"/>
                </a:lnTo>
                <a:lnTo>
                  <a:pt x="67546" y="27547"/>
                </a:lnTo>
                <a:lnTo>
                  <a:pt x="67452" y="27547"/>
                </a:lnTo>
                <a:lnTo>
                  <a:pt x="67074" y="26792"/>
                </a:lnTo>
                <a:lnTo>
                  <a:pt x="66791" y="25660"/>
                </a:lnTo>
                <a:lnTo>
                  <a:pt x="66508" y="24528"/>
                </a:lnTo>
                <a:lnTo>
                  <a:pt x="66414" y="23585"/>
                </a:lnTo>
                <a:lnTo>
                  <a:pt x="66320" y="23679"/>
                </a:lnTo>
                <a:lnTo>
                  <a:pt x="66320" y="23490"/>
                </a:lnTo>
                <a:lnTo>
                  <a:pt x="65942" y="22924"/>
                </a:lnTo>
                <a:lnTo>
                  <a:pt x="65565" y="22358"/>
                </a:lnTo>
                <a:lnTo>
                  <a:pt x="64527" y="21132"/>
                </a:lnTo>
                <a:lnTo>
                  <a:pt x="63584" y="19906"/>
                </a:lnTo>
                <a:lnTo>
                  <a:pt x="63207" y="19340"/>
                </a:lnTo>
                <a:lnTo>
                  <a:pt x="63018" y="18774"/>
                </a:lnTo>
                <a:lnTo>
                  <a:pt x="63112" y="18962"/>
                </a:lnTo>
                <a:lnTo>
                  <a:pt x="63301" y="19057"/>
                </a:lnTo>
                <a:lnTo>
                  <a:pt x="63301" y="19057"/>
                </a:lnTo>
                <a:lnTo>
                  <a:pt x="63207" y="18868"/>
                </a:lnTo>
                <a:lnTo>
                  <a:pt x="62923" y="18491"/>
                </a:lnTo>
                <a:lnTo>
                  <a:pt x="61980" y="17453"/>
                </a:lnTo>
                <a:lnTo>
                  <a:pt x="61037" y="16509"/>
                </a:lnTo>
                <a:lnTo>
                  <a:pt x="61037" y="16698"/>
                </a:lnTo>
                <a:lnTo>
                  <a:pt x="61037" y="16887"/>
                </a:lnTo>
                <a:lnTo>
                  <a:pt x="60093" y="15943"/>
                </a:lnTo>
                <a:lnTo>
                  <a:pt x="60376" y="16321"/>
                </a:lnTo>
                <a:lnTo>
                  <a:pt x="59527" y="15377"/>
                </a:lnTo>
                <a:lnTo>
                  <a:pt x="59056" y="14906"/>
                </a:lnTo>
                <a:lnTo>
                  <a:pt x="59244" y="14906"/>
                </a:lnTo>
                <a:lnTo>
                  <a:pt x="59905" y="15472"/>
                </a:lnTo>
                <a:lnTo>
                  <a:pt x="59905" y="15472"/>
                </a:lnTo>
                <a:lnTo>
                  <a:pt x="57641" y="13396"/>
                </a:lnTo>
                <a:lnTo>
                  <a:pt x="58112" y="13868"/>
                </a:lnTo>
                <a:lnTo>
                  <a:pt x="56886" y="13019"/>
                </a:lnTo>
                <a:lnTo>
                  <a:pt x="55754" y="12453"/>
                </a:lnTo>
                <a:lnTo>
                  <a:pt x="56603" y="13113"/>
                </a:lnTo>
                <a:lnTo>
                  <a:pt x="57452" y="13774"/>
                </a:lnTo>
                <a:lnTo>
                  <a:pt x="58961" y="15283"/>
                </a:lnTo>
                <a:lnTo>
                  <a:pt x="60376" y="16604"/>
                </a:lnTo>
                <a:lnTo>
                  <a:pt x="61225" y="17264"/>
                </a:lnTo>
                <a:lnTo>
                  <a:pt x="62074" y="17925"/>
                </a:lnTo>
                <a:lnTo>
                  <a:pt x="62074" y="17925"/>
                </a:lnTo>
                <a:lnTo>
                  <a:pt x="61414" y="17547"/>
                </a:lnTo>
                <a:lnTo>
                  <a:pt x="60659" y="16981"/>
                </a:lnTo>
                <a:lnTo>
                  <a:pt x="60754" y="17264"/>
                </a:lnTo>
                <a:lnTo>
                  <a:pt x="60942" y="17642"/>
                </a:lnTo>
                <a:lnTo>
                  <a:pt x="61980" y="19151"/>
                </a:lnTo>
                <a:lnTo>
                  <a:pt x="63301" y="20943"/>
                </a:lnTo>
                <a:lnTo>
                  <a:pt x="63207" y="20943"/>
                </a:lnTo>
                <a:lnTo>
                  <a:pt x="63395" y="21038"/>
                </a:lnTo>
                <a:lnTo>
                  <a:pt x="63490" y="21321"/>
                </a:lnTo>
                <a:lnTo>
                  <a:pt x="63678" y="21604"/>
                </a:lnTo>
                <a:lnTo>
                  <a:pt x="63773" y="21698"/>
                </a:lnTo>
                <a:lnTo>
                  <a:pt x="63584" y="21321"/>
                </a:lnTo>
                <a:lnTo>
                  <a:pt x="63584" y="21321"/>
                </a:lnTo>
                <a:lnTo>
                  <a:pt x="64244" y="22170"/>
                </a:lnTo>
                <a:lnTo>
                  <a:pt x="64716" y="22641"/>
                </a:lnTo>
                <a:lnTo>
                  <a:pt x="64905" y="22830"/>
                </a:lnTo>
                <a:lnTo>
                  <a:pt x="64999" y="22830"/>
                </a:lnTo>
                <a:lnTo>
                  <a:pt x="64999" y="22641"/>
                </a:lnTo>
                <a:lnTo>
                  <a:pt x="64905" y="22358"/>
                </a:lnTo>
                <a:lnTo>
                  <a:pt x="65282" y="23207"/>
                </a:lnTo>
                <a:lnTo>
                  <a:pt x="65565" y="24056"/>
                </a:lnTo>
                <a:lnTo>
                  <a:pt x="66225" y="25943"/>
                </a:lnTo>
                <a:lnTo>
                  <a:pt x="66697" y="27830"/>
                </a:lnTo>
                <a:lnTo>
                  <a:pt x="66886" y="28490"/>
                </a:lnTo>
                <a:lnTo>
                  <a:pt x="66980" y="28868"/>
                </a:lnTo>
                <a:lnTo>
                  <a:pt x="66886" y="28962"/>
                </a:lnTo>
                <a:lnTo>
                  <a:pt x="66697" y="28679"/>
                </a:lnTo>
                <a:lnTo>
                  <a:pt x="66697" y="29245"/>
                </a:lnTo>
                <a:lnTo>
                  <a:pt x="66791" y="29905"/>
                </a:lnTo>
                <a:lnTo>
                  <a:pt x="66886" y="29905"/>
                </a:lnTo>
                <a:lnTo>
                  <a:pt x="66886" y="30094"/>
                </a:lnTo>
                <a:lnTo>
                  <a:pt x="66886" y="30566"/>
                </a:lnTo>
                <a:lnTo>
                  <a:pt x="66697" y="30377"/>
                </a:lnTo>
                <a:lnTo>
                  <a:pt x="66603" y="30188"/>
                </a:lnTo>
                <a:lnTo>
                  <a:pt x="66603" y="30094"/>
                </a:lnTo>
                <a:lnTo>
                  <a:pt x="66697" y="29905"/>
                </a:lnTo>
                <a:lnTo>
                  <a:pt x="66508" y="28679"/>
                </a:lnTo>
                <a:lnTo>
                  <a:pt x="66225" y="27358"/>
                </a:lnTo>
                <a:lnTo>
                  <a:pt x="66603" y="30283"/>
                </a:lnTo>
                <a:lnTo>
                  <a:pt x="66697" y="31792"/>
                </a:lnTo>
                <a:lnTo>
                  <a:pt x="66697" y="33302"/>
                </a:lnTo>
                <a:lnTo>
                  <a:pt x="66603" y="34717"/>
                </a:lnTo>
                <a:lnTo>
                  <a:pt x="66414" y="36226"/>
                </a:lnTo>
                <a:lnTo>
                  <a:pt x="66131" y="37547"/>
                </a:lnTo>
                <a:lnTo>
                  <a:pt x="65659" y="38962"/>
                </a:lnTo>
                <a:lnTo>
                  <a:pt x="65848" y="38584"/>
                </a:lnTo>
                <a:lnTo>
                  <a:pt x="65942" y="38584"/>
                </a:lnTo>
                <a:lnTo>
                  <a:pt x="65848" y="39245"/>
                </a:lnTo>
                <a:lnTo>
                  <a:pt x="65565" y="40188"/>
                </a:lnTo>
                <a:lnTo>
                  <a:pt x="65471" y="40471"/>
                </a:lnTo>
                <a:lnTo>
                  <a:pt x="65282" y="40660"/>
                </a:lnTo>
                <a:lnTo>
                  <a:pt x="65282" y="40566"/>
                </a:lnTo>
                <a:lnTo>
                  <a:pt x="65093" y="41132"/>
                </a:lnTo>
                <a:lnTo>
                  <a:pt x="64433" y="43018"/>
                </a:lnTo>
                <a:lnTo>
                  <a:pt x="63678" y="45282"/>
                </a:lnTo>
                <a:lnTo>
                  <a:pt x="62735" y="47264"/>
                </a:lnTo>
                <a:lnTo>
                  <a:pt x="61697" y="49056"/>
                </a:lnTo>
                <a:lnTo>
                  <a:pt x="60659" y="50943"/>
                </a:lnTo>
                <a:lnTo>
                  <a:pt x="59433" y="52735"/>
                </a:lnTo>
                <a:lnTo>
                  <a:pt x="58207" y="54433"/>
                </a:lnTo>
                <a:lnTo>
                  <a:pt x="56886" y="56037"/>
                </a:lnTo>
                <a:lnTo>
                  <a:pt x="55376" y="57641"/>
                </a:lnTo>
                <a:lnTo>
                  <a:pt x="53867" y="59150"/>
                </a:lnTo>
                <a:lnTo>
                  <a:pt x="52169" y="60376"/>
                </a:lnTo>
                <a:lnTo>
                  <a:pt x="48961" y="62452"/>
                </a:lnTo>
                <a:lnTo>
                  <a:pt x="44528" y="65282"/>
                </a:lnTo>
                <a:lnTo>
                  <a:pt x="44622" y="65188"/>
                </a:lnTo>
                <a:lnTo>
                  <a:pt x="44716" y="65093"/>
                </a:lnTo>
                <a:lnTo>
                  <a:pt x="45094" y="64810"/>
                </a:lnTo>
                <a:lnTo>
                  <a:pt x="45660" y="64527"/>
                </a:lnTo>
                <a:lnTo>
                  <a:pt x="43867" y="65376"/>
                </a:lnTo>
                <a:lnTo>
                  <a:pt x="43113" y="65754"/>
                </a:lnTo>
                <a:lnTo>
                  <a:pt x="42924" y="65754"/>
                </a:lnTo>
                <a:lnTo>
                  <a:pt x="43113" y="65659"/>
                </a:lnTo>
                <a:lnTo>
                  <a:pt x="41603" y="66037"/>
                </a:lnTo>
                <a:lnTo>
                  <a:pt x="39999" y="66320"/>
                </a:lnTo>
                <a:lnTo>
                  <a:pt x="38396" y="66508"/>
                </a:lnTo>
                <a:lnTo>
                  <a:pt x="36792" y="66697"/>
                </a:lnTo>
                <a:lnTo>
                  <a:pt x="33584" y="66980"/>
                </a:lnTo>
                <a:lnTo>
                  <a:pt x="32169" y="67169"/>
                </a:lnTo>
                <a:lnTo>
                  <a:pt x="30754" y="67357"/>
                </a:lnTo>
                <a:lnTo>
                  <a:pt x="30094" y="67357"/>
                </a:lnTo>
                <a:lnTo>
                  <a:pt x="29339" y="67263"/>
                </a:lnTo>
                <a:lnTo>
                  <a:pt x="27830" y="66886"/>
                </a:lnTo>
                <a:lnTo>
                  <a:pt x="26415" y="66508"/>
                </a:lnTo>
                <a:lnTo>
                  <a:pt x="25754" y="66414"/>
                </a:lnTo>
                <a:lnTo>
                  <a:pt x="25094" y="66414"/>
                </a:lnTo>
                <a:lnTo>
                  <a:pt x="25566" y="66980"/>
                </a:lnTo>
                <a:lnTo>
                  <a:pt x="25471" y="67074"/>
                </a:lnTo>
                <a:lnTo>
                  <a:pt x="25188" y="66980"/>
                </a:lnTo>
                <a:lnTo>
                  <a:pt x="24339" y="66791"/>
                </a:lnTo>
                <a:lnTo>
                  <a:pt x="23773" y="66508"/>
                </a:lnTo>
                <a:lnTo>
                  <a:pt x="24245" y="66414"/>
                </a:lnTo>
                <a:lnTo>
                  <a:pt x="24717" y="66603"/>
                </a:lnTo>
                <a:lnTo>
                  <a:pt x="24811" y="66414"/>
                </a:lnTo>
                <a:lnTo>
                  <a:pt x="24811" y="66320"/>
                </a:lnTo>
                <a:lnTo>
                  <a:pt x="24717" y="66225"/>
                </a:lnTo>
                <a:lnTo>
                  <a:pt x="24528" y="66131"/>
                </a:lnTo>
                <a:lnTo>
                  <a:pt x="24151" y="66225"/>
                </a:lnTo>
                <a:lnTo>
                  <a:pt x="23679" y="66320"/>
                </a:lnTo>
                <a:lnTo>
                  <a:pt x="23018" y="66414"/>
                </a:lnTo>
                <a:lnTo>
                  <a:pt x="23490" y="66225"/>
                </a:lnTo>
                <a:lnTo>
                  <a:pt x="22075" y="65942"/>
                </a:lnTo>
                <a:lnTo>
                  <a:pt x="20943" y="65659"/>
                </a:lnTo>
                <a:lnTo>
                  <a:pt x="20000" y="65282"/>
                </a:lnTo>
                <a:lnTo>
                  <a:pt x="19056" y="64810"/>
                </a:lnTo>
                <a:lnTo>
                  <a:pt x="19056" y="64810"/>
                </a:lnTo>
                <a:lnTo>
                  <a:pt x="19717" y="64999"/>
                </a:lnTo>
                <a:lnTo>
                  <a:pt x="19151" y="64716"/>
                </a:lnTo>
                <a:lnTo>
                  <a:pt x="18962" y="64810"/>
                </a:lnTo>
                <a:lnTo>
                  <a:pt x="19151" y="64905"/>
                </a:lnTo>
                <a:lnTo>
                  <a:pt x="18490" y="64905"/>
                </a:lnTo>
                <a:lnTo>
                  <a:pt x="17830" y="64716"/>
                </a:lnTo>
                <a:lnTo>
                  <a:pt x="17264" y="64527"/>
                </a:lnTo>
                <a:lnTo>
                  <a:pt x="16698" y="64150"/>
                </a:lnTo>
                <a:lnTo>
                  <a:pt x="16981" y="64056"/>
                </a:lnTo>
                <a:lnTo>
                  <a:pt x="17264" y="64150"/>
                </a:lnTo>
                <a:lnTo>
                  <a:pt x="17264" y="64150"/>
                </a:lnTo>
                <a:lnTo>
                  <a:pt x="15188" y="63207"/>
                </a:lnTo>
                <a:lnTo>
                  <a:pt x="14622" y="62829"/>
                </a:lnTo>
                <a:lnTo>
                  <a:pt x="14717" y="62924"/>
                </a:lnTo>
                <a:lnTo>
                  <a:pt x="13773" y="62546"/>
                </a:lnTo>
                <a:lnTo>
                  <a:pt x="12924" y="62075"/>
                </a:lnTo>
                <a:lnTo>
                  <a:pt x="12358" y="61697"/>
                </a:lnTo>
                <a:lnTo>
                  <a:pt x="12264" y="61508"/>
                </a:lnTo>
                <a:lnTo>
                  <a:pt x="12170" y="61320"/>
                </a:lnTo>
                <a:lnTo>
                  <a:pt x="11698" y="60942"/>
                </a:lnTo>
                <a:lnTo>
                  <a:pt x="11132" y="60471"/>
                </a:lnTo>
                <a:lnTo>
                  <a:pt x="9906" y="59244"/>
                </a:lnTo>
                <a:lnTo>
                  <a:pt x="9906" y="59244"/>
                </a:lnTo>
                <a:lnTo>
                  <a:pt x="10566" y="59527"/>
                </a:lnTo>
                <a:lnTo>
                  <a:pt x="9434" y="58584"/>
                </a:lnTo>
                <a:lnTo>
                  <a:pt x="8207" y="57546"/>
                </a:lnTo>
                <a:lnTo>
                  <a:pt x="7547" y="56886"/>
                </a:lnTo>
                <a:lnTo>
                  <a:pt x="6981" y="56131"/>
                </a:lnTo>
                <a:lnTo>
                  <a:pt x="6226" y="55094"/>
                </a:lnTo>
                <a:lnTo>
                  <a:pt x="6415" y="55377"/>
                </a:lnTo>
                <a:lnTo>
                  <a:pt x="6038" y="54905"/>
                </a:lnTo>
                <a:lnTo>
                  <a:pt x="5472" y="54244"/>
                </a:lnTo>
                <a:lnTo>
                  <a:pt x="5283" y="53961"/>
                </a:lnTo>
                <a:lnTo>
                  <a:pt x="5094" y="53867"/>
                </a:lnTo>
                <a:lnTo>
                  <a:pt x="5377" y="54622"/>
                </a:lnTo>
                <a:lnTo>
                  <a:pt x="5849" y="55282"/>
                </a:lnTo>
                <a:lnTo>
                  <a:pt x="6321" y="55943"/>
                </a:lnTo>
                <a:lnTo>
                  <a:pt x="6698" y="56603"/>
                </a:lnTo>
                <a:lnTo>
                  <a:pt x="6226" y="56226"/>
                </a:lnTo>
                <a:lnTo>
                  <a:pt x="5943" y="55848"/>
                </a:lnTo>
                <a:lnTo>
                  <a:pt x="6038" y="56037"/>
                </a:lnTo>
                <a:lnTo>
                  <a:pt x="5943" y="55943"/>
                </a:lnTo>
                <a:lnTo>
                  <a:pt x="5377" y="55188"/>
                </a:lnTo>
                <a:lnTo>
                  <a:pt x="5000" y="54716"/>
                </a:lnTo>
                <a:lnTo>
                  <a:pt x="4717" y="54150"/>
                </a:lnTo>
                <a:lnTo>
                  <a:pt x="4528" y="53678"/>
                </a:lnTo>
                <a:lnTo>
                  <a:pt x="4528" y="53584"/>
                </a:lnTo>
                <a:lnTo>
                  <a:pt x="4623" y="53395"/>
                </a:lnTo>
                <a:lnTo>
                  <a:pt x="5094" y="54244"/>
                </a:lnTo>
                <a:lnTo>
                  <a:pt x="4717" y="53301"/>
                </a:lnTo>
                <a:lnTo>
                  <a:pt x="4528" y="53018"/>
                </a:lnTo>
                <a:lnTo>
                  <a:pt x="4151" y="52263"/>
                </a:lnTo>
                <a:lnTo>
                  <a:pt x="4151" y="52169"/>
                </a:lnTo>
                <a:lnTo>
                  <a:pt x="3774" y="51509"/>
                </a:lnTo>
                <a:lnTo>
                  <a:pt x="3396" y="50660"/>
                </a:lnTo>
                <a:lnTo>
                  <a:pt x="3585" y="51603"/>
                </a:lnTo>
                <a:lnTo>
                  <a:pt x="3396" y="51226"/>
                </a:lnTo>
                <a:lnTo>
                  <a:pt x="3208" y="50848"/>
                </a:lnTo>
                <a:lnTo>
                  <a:pt x="3208" y="50471"/>
                </a:lnTo>
                <a:lnTo>
                  <a:pt x="3208" y="50094"/>
                </a:lnTo>
                <a:lnTo>
                  <a:pt x="3585" y="50754"/>
                </a:lnTo>
                <a:lnTo>
                  <a:pt x="3868" y="51509"/>
                </a:lnTo>
                <a:lnTo>
                  <a:pt x="3868" y="51509"/>
                </a:lnTo>
                <a:lnTo>
                  <a:pt x="3208" y="49528"/>
                </a:lnTo>
                <a:lnTo>
                  <a:pt x="3208" y="49528"/>
                </a:lnTo>
                <a:lnTo>
                  <a:pt x="3868" y="50754"/>
                </a:lnTo>
                <a:lnTo>
                  <a:pt x="3208" y="48962"/>
                </a:lnTo>
                <a:lnTo>
                  <a:pt x="3585" y="49339"/>
                </a:lnTo>
                <a:lnTo>
                  <a:pt x="3774" y="49433"/>
                </a:lnTo>
                <a:lnTo>
                  <a:pt x="3962" y="49528"/>
                </a:lnTo>
                <a:lnTo>
                  <a:pt x="4057" y="49905"/>
                </a:lnTo>
                <a:lnTo>
                  <a:pt x="3868" y="48962"/>
                </a:lnTo>
                <a:lnTo>
                  <a:pt x="3491" y="47924"/>
                </a:lnTo>
                <a:lnTo>
                  <a:pt x="2641" y="45565"/>
                </a:lnTo>
                <a:lnTo>
                  <a:pt x="2170" y="43867"/>
                </a:lnTo>
                <a:lnTo>
                  <a:pt x="1698" y="41886"/>
                </a:lnTo>
                <a:lnTo>
                  <a:pt x="1698" y="41886"/>
                </a:lnTo>
                <a:lnTo>
                  <a:pt x="1887" y="42075"/>
                </a:lnTo>
                <a:lnTo>
                  <a:pt x="1981" y="41981"/>
                </a:lnTo>
                <a:lnTo>
                  <a:pt x="2075" y="42075"/>
                </a:lnTo>
                <a:lnTo>
                  <a:pt x="2264" y="42169"/>
                </a:lnTo>
                <a:lnTo>
                  <a:pt x="2170" y="40283"/>
                </a:lnTo>
                <a:lnTo>
                  <a:pt x="2075" y="38301"/>
                </a:lnTo>
                <a:lnTo>
                  <a:pt x="2170" y="36415"/>
                </a:lnTo>
                <a:lnTo>
                  <a:pt x="2358" y="35566"/>
                </a:lnTo>
                <a:lnTo>
                  <a:pt x="2453" y="34811"/>
                </a:lnTo>
                <a:lnTo>
                  <a:pt x="2830" y="32830"/>
                </a:lnTo>
                <a:lnTo>
                  <a:pt x="2830" y="33207"/>
                </a:lnTo>
                <a:lnTo>
                  <a:pt x="2924" y="33490"/>
                </a:lnTo>
                <a:lnTo>
                  <a:pt x="2924" y="32453"/>
                </a:lnTo>
                <a:lnTo>
                  <a:pt x="3019" y="31415"/>
                </a:lnTo>
                <a:lnTo>
                  <a:pt x="3396" y="29245"/>
                </a:lnTo>
                <a:lnTo>
                  <a:pt x="3868" y="27075"/>
                </a:lnTo>
                <a:lnTo>
                  <a:pt x="4623" y="25000"/>
                </a:lnTo>
                <a:lnTo>
                  <a:pt x="5566" y="22830"/>
                </a:lnTo>
                <a:lnTo>
                  <a:pt x="6604" y="20849"/>
                </a:lnTo>
                <a:lnTo>
                  <a:pt x="7830" y="18868"/>
                </a:lnTo>
                <a:lnTo>
                  <a:pt x="9151" y="16887"/>
                </a:lnTo>
                <a:lnTo>
                  <a:pt x="10566" y="15094"/>
                </a:lnTo>
                <a:lnTo>
                  <a:pt x="12075" y="13302"/>
                </a:lnTo>
                <a:lnTo>
                  <a:pt x="13773" y="11698"/>
                </a:lnTo>
                <a:lnTo>
                  <a:pt x="15377" y="10095"/>
                </a:lnTo>
                <a:lnTo>
                  <a:pt x="17170" y="8679"/>
                </a:lnTo>
                <a:lnTo>
                  <a:pt x="18962" y="7453"/>
                </a:lnTo>
                <a:lnTo>
                  <a:pt x="20754" y="6321"/>
                </a:lnTo>
                <a:lnTo>
                  <a:pt x="22547" y="5378"/>
                </a:lnTo>
                <a:lnTo>
                  <a:pt x="21603" y="6227"/>
                </a:lnTo>
                <a:lnTo>
                  <a:pt x="22641" y="5472"/>
                </a:lnTo>
                <a:lnTo>
                  <a:pt x="23302" y="5095"/>
                </a:lnTo>
                <a:lnTo>
                  <a:pt x="25377" y="4151"/>
                </a:lnTo>
                <a:lnTo>
                  <a:pt x="24811" y="4151"/>
                </a:lnTo>
                <a:lnTo>
                  <a:pt x="25660" y="3774"/>
                </a:lnTo>
                <a:lnTo>
                  <a:pt x="26886" y="3208"/>
                </a:lnTo>
                <a:lnTo>
                  <a:pt x="26603" y="3585"/>
                </a:lnTo>
                <a:lnTo>
                  <a:pt x="26886" y="3585"/>
                </a:lnTo>
                <a:lnTo>
                  <a:pt x="26886" y="3680"/>
                </a:lnTo>
                <a:lnTo>
                  <a:pt x="26792" y="3774"/>
                </a:lnTo>
                <a:lnTo>
                  <a:pt x="28301" y="3302"/>
                </a:lnTo>
                <a:lnTo>
                  <a:pt x="29622" y="2736"/>
                </a:lnTo>
                <a:lnTo>
                  <a:pt x="31037" y="2264"/>
                </a:lnTo>
                <a:lnTo>
                  <a:pt x="31792" y="2076"/>
                </a:lnTo>
                <a:lnTo>
                  <a:pt x="32641" y="1981"/>
                </a:lnTo>
                <a:lnTo>
                  <a:pt x="32547" y="2076"/>
                </a:lnTo>
                <a:lnTo>
                  <a:pt x="32924" y="1981"/>
                </a:lnTo>
                <a:lnTo>
                  <a:pt x="34245" y="1793"/>
                </a:lnTo>
                <a:lnTo>
                  <a:pt x="35848" y="1415"/>
                </a:lnTo>
                <a:lnTo>
                  <a:pt x="36981" y="1132"/>
                </a:lnTo>
                <a:lnTo>
                  <a:pt x="36981" y="1415"/>
                </a:lnTo>
                <a:lnTo>
                  <a:pt x="40943" y="1227"/>
                </a:lnTo>
                <a:lnTo>
                  <a:pt x="41509" y="1038"/>
                </a:lnTo>
                <a:lnTo>
                  <a:pt x="41697" y="1132"/>
                </a:lnTo>
                <a:lnTo>
                  <a:pt x="41509" y="1227"/>
                </a:lnTo>
                <a:lnTo>
                  <a:pt x="41320" y="1321"/>
                </a:lnTo>
                <a:lnTo>
                  <a:pt x="42263" y="1321"/>
                </a:lnTo>
                <a:lnTo>
                  <a:pt x="43113" y="1227"/>
                </a:lnTo>
                <a:lnTo>
                  <a:pt x="43396" y="1415"/>
                </a:lnTo>
                <a:lnTo>
                  <a:pt x="44056" y="1604"/>
                </a:lnTo>
                <a:lnTo>
                  <a:pt x="45943" y="2076"/>
                </a:lnTo>
                <a:lnTo>
                  <a:pt x="48018" y="2359"/>
                </a:lnTo>
                <a:lnTo>
                  <a:pt x="49622" y="2736"/>
                </a:lnTo>
                <a:lnTo>
                  <a:pt x="47641" y="1981"/>
                </a:lnTo>
                <a:lnTo>
                  <a:pt x="45282" y="1321"/>
                </a:lnTo>
                <a:lnTo>
                  <a:pt x="42735" y="755"/>
                </a:lnTo>
                <a:lnTo>
                  <a:pt x="40188" y="283"/>
                </a:lnTo>
                <a:lnTo>
                  <a:pt x="37735" y="95"/>
                </a:lnTo>
                <a:lnTo>
                  <a:pt x="35471" y="0"/>
                </a:lnTo>
                <a:close/>
              </a:path>
            </a:pathLst>
          </a:custGeom>
          <a:solidFill>
            <a:schemeClr val="bg2">
              <a:lumMod val="75000"/>
            </a:schemeClr>
          </a:solidFill>
          <a:ln>
            <a:noFill/>
          </a:ln>
        </p:spPr>
        <p:txBody>
          <a:bodyPr spcFirstLastPara="1" wrap="square" lIns="91425" tIns="91425" rIns="91425" bIns="91425" anchor="ctr" anchorCtr="0">
            <a:noAutofit/>
          </a:bodyPr>
          <a:lstStyle/>
          <a:p>
            <a:pPr marL="0" lvl="0" indent="0">
              <a:spcBef>
                <a:spcPts val="0"/>
              </a:spcBef>
              <a:spcAft>
                <a:spcPts val="0"/>
              </a:spcAft>
              <a:buNone/>
            </a:pPr>
            <a:endParaRPr sz="1200" dirty="0">
              <a:latin typeface="Comic Sans MS" panose="030F0902030302020204" pitchFamily="66" charset="0"/>
            </a:endParaRPr>
          </a:p>
        </p:txBody>
      </p:sp>
      <p:sp>
        <p:nvSpPr>
          <p:cNvPr id="106" name="Google Shape;431;p39">
            <a:extLst>
              <a:ext uri="{FF2B5EF4-FFF2-40B4-BE49-F238E27FC236}">
                <a16:creationId xmlns:a16="http://schemas.microsoft.com/office/drawing/2014/main" id="{C1057616-F5A7-EB4C-B0D2-F17F852D5A84}"/>
              </a:ext>
            </a:extLst>
          </p:cNvPr>
          <p:cNvSpPr/>
          <p:nvPr/>
        </p:nvSpPr>
        <p:spPr>
          <a:xfrm rot="21011211">
            <a:off x="6779488" y="1899658"/>
            <a:ext cx="118019" cy="139785"/>
          </a:xfrm>
          <a:custGeom>
            <a:avLst/>
            <a:gdLst/>
            <a:ahLst/>
            <a:cxnLst/>
            <a:rect l="0" t="0" r="0" b="0"/>
            <a:pathLst>
              <a:path w="67641" h="69056" extrusionOk="0">
                <a:moveTo>
                  <a:pt x="49622" y="2736"/>
                </a:moveTo>
                <a:lnTo>
                  <a:pt x="49622" y="2736"/>
                </a:lnTo>
                <a:lnTo>
                  <a:pt x="49622" y="2736"/>
                </a:lnTo>
                <a:close/>
                <a:moveTo>
                  <a:pt x="59622" y="55565"/>
                </a:moveTo>
                <a:lnTo>
                  <a:pt x="59622" y="55565"/>
                </a:lnTo>
                <a:lnTo>
                  <a:pt x="59622" y="55565"/>
                </a:lnTo>
                <a:close/>
                <a:moveTo>
                  <a:pt x="35471" y="0"/>
                </a:moveTo>
                <a:lnTo>
                  <a:pt x="34433" y="95"/>
                </a:lnTo>
                <a:lnTo>
                  <a:pt x="33584" y="189"/>
                </a:lnTo>
                <a:lnTo>
                  <a:pt x="32735" y="378"/>
                </a:lnTo>
                <a:lnTo>
                  <a:pt x="32169" y="566"/>
                </a:lnTo>
                <a:lnTo>
                  <a:pt x="31509" y="472"/>
                </a:lnTo>
                <a:lnTo>
                  <a:pt x="30754" y="472"/>
                </a:lnTo>
                <a:lnTo>
                  <a:pt x="29339" y="566"/>
                </a:lnTo>
                <a:lnTo>
                  <a:pt x="27830" y="849"/>
                </a:lnTo>
                <a:lnTo>
                  <a:pt x="26320" y="1321"/>
                </a:lnTo>
                <a:lnTo>
                  <a:pt x="24811" y="1981"/>
                </a:lnTo>
                <a:lnTo>
                  <a:pt x="23207" y="2736"/>
                </a:lnTo>
                <a:lnTo>
                  <a:pt x="21698" y="3585"/>
                </a:lnTo>
                <a:lnTo>
                  <a:pt x="20188" y="4623"/>
                </a:lnTo>
                <a:lnTo>
                  <a:pt x="18679" y="5661"/>
                </a:lnTo>
                <a:lnTo>
                  <a:pt x="17170" y="6793"/>
                </a:lnTo>
                <a:lnTo>
                  <a:pt x="15754" y="8019"/>
                </a:lnTo>
                <a:lnTo>
                  <a:pt x="14434" y="9151"/>
                </a:lnTo>
                <a:lnTo>
                  <a:pt x="11981" y="11510"/>
                </a:lnTo>
                <a:lnTo>
                  <a:pt x="10000" y="13774"/>
                </a:lnTo>
                <a:lnTo>
                  <a:pt x="7736" y="16981"/>
                </a:lnTo>
                <a:lnTo>
                  <a:pt x="8019" y="16321"/>
                </a:lnTo>
                <a:lnTo>
                  <a:pt x="8302" y="15660"/>
                </a:lnTo>
                <a:lnTo>
                  <a:pt x="7736" y="16604"/>
                </a:lnTo>
                <a:lnTo>
                  <a:pt x="7075" y="17642"/>
                </a:lnTo>
                <a:lnTo>
                  <a:pt x="7170" y="17830"/>
                </a:lnTo>
                <a:lnTo>
                  <a:pt x="6509" y="18868"/>
                </a:lnTo>
                <a:lnTo>
                  <a:pt x="7075" y="17359"/>
                </a:lnTo>
                <a:lnTo>
                  <a:pt x="6132" y="19057"/>
                </a:lnTo>
                <a:lnTo>
                  <a:pt x="5189" y="20849"/>
                </a:lnTo>
                <a:lnTo>
                  <a:pt x="4434" y="22736"/>
                </a:lnTo>
                <a:lnTo>
                  <a:pt x="3679" y="24622"/>
                </a:lnTo>
                <a:lnTo>
                  <a:pt x="2453" y="28490"/>
                </a:lnTo>
                <a:lnTo>
                  <a:pt x="1321" y="32169"/>
                </a:lnTo>
                <a:lnTo>
                  <a:pt x="1509" y="32264"/>
                </a:lnTo>
                <a:lnTo>
                  <a:pt x="1604" y="32453"/>
                </a:lnTo>
                <a:lnTo>
                  <a:pt x="1604" y="32641"/>
                </a:lnTo>
                <a:lnTo>
                  <a:pt x="1509" y="32924"/>
                </a:lnTo>
                <a:lnTo>
                  <a:pt x="1226" y="33396"/>
                </a:lnTo>
                <a:lnTo>
                  <a:pt x="1038" y="33585"/>
                </a:lnTo>
                <a:lnTo>
                  <a:pt x="1038" y="33773"/>
                </a:lnTo>
                <a:lnTo>
                  <a:pt x="1038" y="35000"/>
                </a:lnTo>
                <a:lnTo>
                  <a:pt x="849" y="36132"/>
                </a:lnTo>
                <a:lnTo>
                  <a:pt x="660" y="37358"/>
                </a:lnTo>
                <a:lnTo>
                  <a:pt x="472" y="38867"/>
                </a:lnTo>
                <a:lnTo>
                  <a:pt x="283" y="38301"/>
                </a:lnTo>
                <a:lnTo>
                  <a:pt x="94" y="39811"/>
                </a:lnTo>
                <a:lnTo>
                  <a:pt x="0" y="41509"/>
                </a:lnTo>
                <a:lnTo>
                  <a:pt x="94" y="43301"/>
                </a:lnTo>
                <a:lnTo>
                  <a:pt x="283" y="44056"/>
                </a:lnTo>
                <a:lnTo>
                  <a:pt x="472" y="44622"/>
                </a:lnTo>
                <a:lnTo>
                  <a:pt x="566" y="45660"/>
                </a:lnTo>
                <a:lnTo>
                  <a:pt x="755" y="46792"/>
                </a:lnTo>
                <a:lnTo>
                  <a:pt x="1226" y="48962"/>
                </a:lnTo>
                <a:lnTo>
                  <a:pt x="1981" y="51037"/>
                </a:lnTo>
                <a:lnTo>
                  <a:pt x="2924" y="53112"/>
                </a:lnTo>
                <a:lnTo>
                  <a:pt x="4057" y="55094"/>
                </a:lnTo>
                <a:lnTo>
                  <a:pt x="5283" y="56980"/>
                </a:lnTo>
                <a:lnTo>
                  <a:pt x="6698" y="58678"/>
                </a:lnTo>
                <a:lnTo>
                  <a:pt x="8113" y="60282"/>
                </a:lnTo>
                <a:lnTo>
                  <a:pt x="9056" y="61131"/>
                </a:lnTo>
                <a:lnTo>
                  <a:pt x="10000" y="61980"/>
                </a:lnTo>
                <a:lnTo>
                  <a:pt x="11038" y="62829"/>
                </a:lnTo>
                <a:lnTo>
                  <a:pt x="12075" y="63584"/>
                </a:lnTo>
                <a:lnTo>
                  <a:pt x="14339" y="64905"/>
                </a:lnTo>
                <a:lnTo>
                  <a:pt x="16604" y="66131"/>
                </a:lnTo>
                <a:lnTo>
                  <a:pt x="19056" y="67169"/>
                </a:lnTo>
                <a:lnTo>
                  <a:pt x="21509" y="67923"/>
                </a:lnTo>
                <a:lnTo>
                  <a:pt x="24056" y="68584"/>
                </a:lnTo>
                <a:lnTo>
                  <a:pt x="26603" y="69055"/>
                </a:lnTo>
                <a:lnTo>
                  <a:pt x="27830" y="69055"/>
                </a:lnTo>
                <a:lnTo>
                  <a:pt x="30188" y="68867"/>
                </a:lnTo>
                <a:lnTo>
                  <a:pt x="33113" y="68678"/>
                </a:lnTo>
                <a:lnTo>
                  <a:pt x="36509" y="68301"/>
                </a:lnTo>
                <a:lnTo>
                  <a:pt x="39811" y="67923"/>
                </a:lnTo>
                <a:lnTo>
                  <a:pt x="42735" y="67452"/>
                </a:lnTo>
                <a:lnTo>
                  <a:pt x="44905" y="66980"/>
                </a:lnTo>
                <a:lnTo>
                  <a:pt x="45565" y="66791"/>
                </a:lnTo>
                <a:lnTo>
                  <a:pt x="45943" y="66508"/>
                </a:lnTo>
                <a:lnTo>
                  <a:pt x="47358" y="65942"/>
                </a:lnTo>
                <a:lnTo>
                  <a:pt x="48018" y="65565"/>
                </a:lnTo>
                <a:lnTo>
                  <a:pt x="48678" y="65188"/>
                </a:lnTo>
                <a:lnTo>
                  <a:pt x="47924" y="65471"/>
                </a:lnTo>
                <a:lnTo>
                  <a:pt x="51509" y="62924"/>
                </a:lnTo>
                <a:lnTo>
                  <a:pt x="53301" y="61508"/>
                </a:lnTo>
                <a:lnTo>
                  <a:pt x="55093" y="59905"/>
                </a:lnTo>
                <a:lnTo>
                  <a:pt x="55093" y="59905"/>
                </a:lnTo>
                <a:lnTo>
                  <a:pt x="54810" y="60376"/>
                </a:lnTo>
                <a:lnTo>
                  <a:pt x="54339" y="60754"/>
                </a:lnTo>
                <a:lnTo>
                  <a:pt x="55376" y="59999"/>
                </a:lnTo>
                <a:lnTo>
                  <a:pt x="56320" y="59056"/>
                </a:lnTo>
                <a:lnTo>
                  <a:pt x="57075" y="58395"/>
                </a:lnTo>
                <a:lnTo>
                  <a:pt x="57169" y="58207"/>
                </a:lnTo>
                <a:lnTo>
                  <a:pt x="57075" y="58207"/>
                </a:lnTo>
                <a:lnTo>
                  <a:pt x="57924" y="57546"/>
                </a:lnTo>
                <a:lnTo>
                  <a:pt x="58678" y="56697"/>
                </a:lnTo>
                <a:lnTo>
                  <a:pt x="59339" y="55754"/>
                </a:lnTo>
                <a:lnTo>
                  <a:pt x="59905" y="54905"/>
                </a:lnTo>
                <a:lnTo>
                  <a:pt x="59716" y="54999"/>
                </a:lnTo>
                <a:lnTo>
                  <a:pt x="59622" y="54999"/>
                </a:lnTo>
                <a:lnTo>
                  <a:pt x="59810" y="54622"/>
                </a:lnTo>
                <a:lnTo>
                  <a:pt x="59150" y="55565"/>
                </a:lnTo>
                <a:lnTo>
                  <a:pt x="59527" y="55094"/>
                </a:lnTo>
                <a:lnTo>
                  <a:pt x="59433" y="55377"/>
                </a:lnTo>
                <a:lnTo>
                  <a:pt x="58867" y="56037"/>
                </a:lnTo>
                <a:lnTo>
                  <a:pt x="59056" y="55660"/>
                </a:lnTo>
                <a:lnTo>
                  <a:pt x="59056" y="55660"/>
                </a:lnTo>
                <a:lnTo>
                  <a:pt x="58678" y="56037"/>
                </a:lnTo>
                <a:lnTo>
                  <a:pt x="59810" y="54339"/>
                </a:lnTo>
                <a:lnTo>
                  <a:pt x="60282" y="53490"/>
                </a:lnTo>
                <a:lnTo>
                  <a:pt x="60282" y="53301"/>
                </a:lnTo>
                <a:lnTo>
                  <a:pt x="60188" y="53395"/>
                </a:lnTo>
                <a:lnTo>
                  <a:pt x="60188" y="53395"/>
                </a:lnTo>
                <a:lnTo>
                  <a:pt x="60565" y="52924"/>
                </a:lnTo>
                <a:lnTo>
                  <a:pt x="61037" y="52452"/>
                </a:lnTo>
                <a:lnTo>
                  <a:pt x="61886" y="51509"/>
                </a:lnTo>
                <a:lnTo>
                  <a:pt x="61508" y="52452"/>
                </a:lnTo>
                <a:lnTo>
                  <a:pt x="60848" y="53584"/>
                </a:lnTo>
                <a:lnTo>
                  <a:pt x="59622" y="55565"/>
                </a:lnTo>
                <a:lnTo>
                  <a:pt x="60376" y="54528"/>
                </a:lnTo>
                <a:lnTo>
                  <a:pt x="60942" y="53678"/>
                </a:lnTo>
                <a:lnTo>
                  <a:pt x="61980" y="51792"/>
                </a:lnTo>
                <a:lnTo>
                  <a:pt x="61886" y="51886"/>
                </a:lnTo>
                <a:lnTo>
                  <a:pt x="61886" y="51697"/>
                </a:lnTo>
                <a:lnTo>
                  <a:pt x="62169" y="51037"/>
                </a:lnTo>
                <a:lnTo>
                  <a:pt x="62735" y="49999"/>
                </a:lnTo>
                <a:lnTo>
                  <a:pt x="61508" y="51603"/>
                </a:lnTo>
                <a:lnTo>
                  <a:pt x="61603" y="51037"/>
                </a:lnTo>
                <a:lnTo>
                  <a:pt x="61697" y="50377"/>
                </a:lnTo>
                <a:lnTo>
                  <a:pt x="62169" y="48962"/>
                </a:lnTo>
                <a:lnTo>
                  <a:pt x="62829" y="47358"/>
                </a:lnTo>
                <a:lnTo>
                  <a:pt x="63678" y="45565"/>
                </a:lnTo>
                <a:lnTo>
                  <a:pt x="65376" y="42169"/>
                </a:lnTo>
                <a:lnTo>
                  <a:pt x="66131" y="40660"/>
                </a:lnTo>
                <a:lnTo>
                  <a:pt x="66697" y="39339"/>
                </a:lnTo>
                <a:lnTo>
                  <a:pt x="66603" y="39528"/>
                </a:lnTo>
                <a:lnTo>
                  <a:pt x="66697" y="39056"/>
                </a:lnTo>
                <a:lnTo>
                  <a:pt x="66791" y="38962"/>
                </a:lnTo>
                <a:lnTo>
                  <a:pt x="66791" y="39056"/>
                </a:lnTo>
                <a:lnTo>
                  <a:pt x="66886" y="38584"/>
                </a:lnTo>
                <a:lnTo>
                  <a:pt x="66791" y="38867"/>
                </a:lnTo>
                <a:lnTo>
                  <a:pt x="66980" y="38207"/>
                </a:lnTo>
                <a:lnTo>
                  <a:pt x="67169" y="37264"/>
                </a:lnTo>
                <a:lnTo>
                  <a:pt x="67263" y="36415"/>
                </a:lnTo>
                <a:lnTo>
                  <a:pt x="67357" y="36509"/>
                </a:lnTo>
                <a:lnTo>
                  <a:pt x="67452" y="36509"/>
                </a:lnTo>
                <a:lnTo>
                  <a:pt x="67546" y="35943"/>
                </a:lnTo>
                <a:lnTo>
                  <a:pt x="67546" y="34811"/>
                </a:lnTo>
                <a:lnTo>
                  <a:pt x="67640" y="31037"/>
                </a:lnTo>
                <a:lnTo>
                  <a:pt x="67640" y="28490"/>
                </a:lnTo>
                <a:lnTo>
                  <a:pt x="67546" y="27736"/>
                </a:lnTo>
                <a:lnTo>
                  <a:pt x="67546" y="27547"/>
                </a:lnTo>
                <a:lnTo>
                  <a:pt x="67452" y="27547"/>
                </a:lnTo>
                <a:lnTo>
                  <a:pt x="67074" y="26792"/>
                </a:lnTo>
                <a:lnTo>
                  <a:pt x="66791" y="25660"/>
                </a:lnTo>
                <a:lnTo>
                  <a:pt x="66508" y="24528"/>
                </a:lnTo>
                <a:lnTo>
                  <a:pt x="66414" y="23585"/>
                </a:lnTo>
                <a:lnTo>
                  <a:pt x="66320" y="23679"/>
                </a:lnTo>
                <a:lnTo>
                  <a:pt x="66320" y="23490"/>
                </a:lnTo>
                <a:lnTo>
                  <a:pt x="65942" y="22924"/>
                </a:lnTo>
                <a:lnTo>
                  <a:pt x="65565" y="22358"/>
                </a:lnTo>
                <a:lnTo>
                  <a:pt x="64527" y="21132"/>
                </a:lnTo>
                <a:lnTo>
                  <a:pt x="63584" y="19906"/>
                </a:lnTo>
                <a:lnTo>
                  <a:pt x="63207" y="19340"/>
                </a:lnTo>
                <a:lnTo>
                  <a:pt x="63018" y="18774"/>
                </a:lnTo>
                <a:lnTo>
                  <a:pt x="63112" y="18962"/>
                </a:lnTo>
                <a:lnTo>
                  <a:pt x="63301" y="19057"/>
                </a:lnTo>
                <a:lnTo>
                  <a:pt x="63301" y="19057"/>
                </a:lnTo>
                <a:lnTo>
                  <a:pt x="63207" y="18868"/>
                </a:lnTo>
                <a:lnTo>
                  <a:pt x="62923" y="18491"/>
                </a:lnTo>
                <a:lnTo>
                  <a:pt x="61980" y="17453"/>
                </a:lnTo>
                <a:lnTo>
                  <a:pt x="61037" y="16509"/>
                </a:lnTo>
                <a:lnTo>
                  <a:pt x="61037" y="16698"/>
                </a:lnTo>
                <a:lnTo>
                  <a:pt x="61037" y="16887"/>
                </a:lnTo>
                <a:lnTo>
                  <a:pt x="60093" y="15943"/>
                </a:lnTo>
                <a:lnTo>
                  <a:pt x="60376" y="16321"/>
                </a:lnTo>
                <a:lnTo>
                  <a:pt x="59527" y="15377"/>
                </a:lnTo>
                <a:lnTo>
                  <a:pt x="59056" y="14906"/>
                </a:lnTo>
                <a:lnTo>
                  <a:pt x="59244" y="14906"/>
                </a:lnTo>
                <a:lnTo>
                  <a:pt x="59905" y="15472"/>
                </a:lnTo>
                <a:lnTo>
                  <a:pt x="59905" y="15472"/>
                </a:lnTo>
                <a:lnTo>
                  <a:pt x="57641" y="13396"/>
                </a:lnTo>
                <a:lnTo>
                  <a:pt x="58112" y="13868"/>
                </a:lnTo>
                <a:lnTo>
                  <a:pt x="56886" y="13019"/>
                </a:lnTo>
                <a:lnTo>
                  <a:pt x="55754" y="12453"/>
                </a:lnTo>
                <a:lnTo>
                  <a:pt x="56603" y="13113"/>
                </a:lnTo>
                <a:lnTo>
                  <a:pt x="57452" y="13774"/>
                </a:lnTo>
                <a:lnTo>
                  <a:pt x="58961" y="15283"/>
                </a:lnTo>
                <a:lnTo>
                  <a:pt x="60376" y="16604"/>
                </a:lnTo>
                <a:lnTo>
                  <a:pt x="61225" y="17264"/>
                </a:lnTo>
                <a:lnTo>
                  <a:pt x="62074" y="17925"/>
                </a:lnTo>
                <a:lnTo>
                  <a:pt x="62074" y="17925"/>
                </a:lnTo>
                <a:lnTo>
                  <a:pt x="61414" y="17547"/>
                </a:lnTo>
                <a:lnTo>
                  <a:pt x="60659" y="16981"/>
                </a:lnTo>
                <a:lnTo>
                  <a:pt x="60754" y="17264"/>
                </a:lnTo>
                <a:lnTo>
                  <a:pt x="60942" y="17642"/>
                </a:lnTo>
                <a:lnTo>
                  <a:pt x="61980" y="19151"/>
                </a:lnTo>
                <a:lnTo>
                  <a:pt x="63301" y="20943"/>
                </a:lnTo>
                <a:lnTo>
                  <a:pt x="63207" y="20943"/>
                </a:lnTo>
                <a:lnTo>
                  <a:pt x="63395" y="21038"/>
                </a:lnTo>
                <a:lnTo>
                  <a:pt x="63490" y="21321"/>
                </a:lnTo>
                <a:lnTo>
                  <a:pt x="63678" y="21604"/>
                </a:lnTo>
                <a:lnTo>
                  <a:pt x="63773" y="21698"/>
                </a:lnTo>
                <a:lnTo>
                  <a:pt x="63584" y="21321"/>
                </a:lnTo>
                <a:lnTo>
                  <a:pt x="63584" y="21321"/>
                </a:lnTo>
                <a:lnTo>
                  <a:pt x="64244" y="22170"/>
                </a:lnTo>
                <a:lnTo>
                  <a:pt x="64716" y="22641"/>
                </a:lnTo>
                <a:lnTo>
                  <a:pt x="64905" y="22830"/>
                </a:lnTo>
                <a:lnTo>
                  <a:pt x="64999" y="22830"/>
                </a:lnTo>
                <a:lnTo>
                  <a:pt x="64999" y="22641"/>
                </a:lnTo>
                <a:lnTo>
                  <a:pt x="64905" y="22358"/>
                </a:lnTo>
                <a:lnTo>
                  <a:pt x="65282" y="23207"/>
                </a:lnTo>
                <a:lnTo>
                  <a:pt x="65565" y="24056"/>
                </a:lnTo>
                <a:lnTo>
                  <a:pt x="66225" y="25943"/>
                </a:lnTo>
                <a:lnTo>
                  <a:pt x="66697" y="27830"/>
                </a:lnTo>
                <a:lnTo>
                  <a:pt x="66886" y="28490"/>
                </a:lnTo>
                <a:lnTo>
                  <a:pt x="66980" y="28868"/>
                </a:lnTo>
                <a:lnTo>
                  <a:pt x="66886" y="28962"/>
                </a:lnTo>
                <a:lnTo>
                  <a:pt x="66697" y="28679"/>
                </a:lnTo>
                <a:lnTo>
                  <a:pt x="66697" y="29245"/>
                </a:lnTo>
                <a:lnTo>
                  <a:pt x="66791" y="29905"/>
                </a:lnTo>
                <a:lnTo>
                  <a:pt x="66886" y="29905"/>
                </a:lnTo>
                <a:lnTo>
                  <a:pt x="66886" y="30094"/>
                </a:lnTo>
                <a:lnTo>
                  <a:pt x="66886" y="30566"/>
                </a:lnTo>
                <a:lnTo>
                  <a:pt x="66697" y="30377"/>
                </a:lnTo>
                <a:lnTo>
                  <a:pt x="66603" y="30188"/>
                </a:lnTo>
                <a:lnTo>
                  <a:pt x="66603" y="30094"/>
                </a:lnTo>
                <a:lnTo>
                  <a:pt x="66697" y="29905"/>
                </a:lnTo>
                <a:lnTo>
                  <a:pt x="66508" y="28679"/>
                </a:lnTo>
                <a:lnTo>
                  <a:pt x="66225" y="27358"/>
                </a:lnTo>
                <a:lnTo>
                  <a:pt x="66603" y="30283"/>
                </a:lnTo>
                <a:lnTo>
                  <a:pt x="66697" y="31792"/>
                </a:lnTo>
                <a:lnTo>
                  <a:pt x="66697" y="33302"/>
                </a:lnTo>
                <a:lnTo>
                  <a:pt x="66603" y="34717"/>
                </a:lnTo>
                <a:lnTo>
                  <a:pt x="66414" y="36226"/>
                </a:lnTo>
                <a:lnTo>
                  <a:pt x="66131" y="37547"/>
                </a:lnTo>
                <a:lnTo>
                  <a:pt x="65659" y="38962"/>
                </a:lnTo>
                <a:lnTo>
                  <a:pt x="65848" y="38584"/>
                </a:lnTo>
                <a:lnTo>
                  <a:pt x="65942" y="38584"/>
                </a:lnTo>
                <a:lnTo>
                  <a:pt x="65848" y="39245"/>
                </a:lnTo>
                <a:lnTo>
                  <a:pt x="65565" y="40188"/>
                </a:lnTo>
                <a:lnTo>
                  <a:pt x="65471" y="40471"/>
                </a:lnTo>
                <a:lnTo>
                  <a:pt x="65282" y="40660"/>
                </a:lnTo>
                <a:lnTo>
                  <a:pt x="65282" y="40566"/>
                </a:lnTo>
                <a:lnTo>
                  <a:pt x="65093" y="41132"/>
                </a:lnTo>
                <a:lnTo>
                  <a:pt x="64433" y="43018"/>
                </a:lnTo>
                <a:lnTo>
                  <a:pt x="63678" y="45282"/>
                </a:lnTo>
                <a:lnTo>
                  <a:pt x="62735" y="47264"/>
                </a:lnTo>
                <a:lnTo>
                  <a:pt x="61697" y="49056"/>
                </a:lnTo>
                <a:lnTo>
                  <a:pt x="60659" y="50943"/>
                </a:lnTo>
                <a:lnTo>
                  <a:pt x="59433" y="52735"/>
                </a:lnTo>
                <a:lnTo>
                  <a:pt x="58207" y="54433"/>
                </a:lnTo>
                <a:lnTo>
                  <a:pt x="56886" y="56037"/>
                </a:lnTo>
                <a:lnTo>
                  <a:pt x="55376" y="57641"/>
                </a:lnTo>
                <a:lnTo>
                  <a:pt x="53867" y="59150"/>
                </a:lnTo>
                <a:lnTo>
                  <a:pt x="52169" y="60376"/>
                </a:lnTo>
                <a:lnTo>
                  <a:pt x="48961" y="62452"/>
                </a:lnTo>
                <a:lnTo>
                  <a:pt x="44528" y="65282"/>
                </a:lnTo>
                <a:lnTo>
                  <a:pt x="44622" y="65188"/>
                </a:lnTo>
                <a:lnTo>
                  <a:pt x="44716" y="65093"/>
                </a:lnTo>
                <a:lnTo>
                  <a:pt x="45094" y="64810"/>
                </a:lnTo>
                <a:lnTo>
                  <a:pt x="45660" y="64527"/>
                </a:lnTo>
                <a:lnTo>
                  <a:pt x="43867" y="65376"/>
                </a:lnTo>
                <a:lnTo>
                  <a:pt x="43113" y="65754"/>
                </a:lnTo>
                <a:lnTo>
                  <a:pt x="42924" y="65754"/>
                </a:lnTo>
                <a:lnTo>
                  <a:pt x="43113" y="65659"/>
                </a:lnTo>
                <a:lnTo>
                  <a:pt x="41603" y="66037"/>
                </a:lnTo>
                <a:lnTo>
                  <a:pt x="39999" y="66320"/>
                </a:lnTo>
                <a:lnTo>
                  <a:pt x="38396" y="66508"/>
                </a:lnTo>
                <a:lnTo>
                  <a:pt x="36792" y="66697"/>
                </a:lnTo>
                <a:lnTo>
                  <a:pt x="33584" y="66980"/>
                </a:lnTo>
                <a:lnTo>
                  <a:pt x="32169" y="67169"/>
                </a:lnTo>
                <a:lnTo>
                  <a:pt x="30754" y="67357"/>
                </a:lnTo>
                <a:lnTo>
                  <a:pt x="30094" y="67357"/>
                </a:lnTo>
                <a:lnTo>
                  <a:pt x="29339" y="67263"/>
                </a:lnTo>
                <a:lnTo>
                  <a:pt x="27830" y="66886"/>
                </a:lnTo>
                <a:lnTo>
                  <a:pt x="26415" y="66508"/>
                </a:lnTo>
                <a:lnTo>
                  <a:pt x="25754" y="66414"/>
                </a:lnTo>
                <a:lnTo>
                  <a:pt x="25094" y="66414"/>
                </a:lnTo>
                <a:lnTo>
                  <a:pt x="25566" y="66980"/>
                </a:lnTo>
                <a:lnTo>
                  <a:pt x="25471" y="67074"/>
                </a:lnTo>
                <a:lnTo>
                  <a:pt x="25188" y="66980"/>
                </a:lnTo>
                <a:lnTo>
                  <a:pt x="24339" y="66791"/>
                </a:lnTo>
                <a:lnTo>
                  <a:pt x="23773" y="66508"/>
                </a:lnTo>
                <a:lnTo>
                  <a:pt x="24245" y="66414"/>
                </a:lnTo>
                <a:lnTo>
                  <a:pt x="24717" y="66603"/>
                </a:lnTo>
                <a:lnTo>
                  <a:pt x="24811" y="66414"/>
                </a:lnTo>
                <a:lnTo>
                  <a:pt x="24811" y="66320"/>
                </a:lnTo>
                <a:lnTo>
                  <a:pt x="24717" y="66225"/>
                </a:lnTo>
                <a:lnTo>
                  <a:pt x="24528" y="66131"/>
                </a:lnTo>
                <a:lnTo>
                  <a:pt x="24151" y="66225"/>
                </a:lnTo>
                <a:lnTo>
                  <a:pt x="23679" y="66320"/>
                </a:lnTo>
                <a:lnTo>
                  <a:pt x="23018" y="66414"/>
                </a:lnTo>
                <a:lnTo>
                  <a:pt x="23490" y="66225"/>
                </a:lnTo>
                <a:lnTo>
                  <a:pt x="22075" y="65942"/>
                </a:lnTo>
                <a:lnTo>
                  <a:pt x="20943" y="65659"/>
                </a:lnTo>
                <a:lnTo>
                  <a:pt x="20000" y="65282"/>
                </a:lnTo>
                <a:lnTo>
                  <a:pt x="19056" y="64810"/>
                </a:lnTo>
                <a:lnTo>
                  <a:pt x="19056" y="64810"/>
                </a:lnTo>
                <a:lnTo>
                  <a:pt x="19717" y="64999"/>
                </a:lnTo>
                <a:lnTo>
                  <a:pt x="19151" y="64716"/>
                </a:lnTo>
                <a:lnTo>
                  <a:pt x="18962" y="64810"/>
                </a:lnTo>
                <a:lnTo>
                  <a:pt x="19151" y="64905"/>
                </a:lnTo>
                <a:lnTo>
                  <a:pt x="18490" y="64905"/>
                </a:lnTo>
                <a:lnTo>
                  <a:pt x="17830" y="64716"/>
                </a:lnTo>
                <a:lnTo>
                  <a:pt x="17264" y="64527"/>
                </a:lnTo>
                <a:lnTo>
                  <a:pt x="16698" y="64150"/>
                </a:lnTo>
                <a:lnTo>
                  <a:pt x="16981" y="64056"/>
                </a:lnTo>
                <a:lnTo>
                  <a:pt x="17264" y="64150"/>
                </a:lnTo>
                <a:lnTo>
                  <a:pt x="17264" y="64150"/>
                </a:lnTo>
                <a:lnTo>
                  <a:pt x="15188" y="63207"/>
                </a:lnTo>
                <a:lnTo>
                  <a:pt x="14622" y="62829"/>
                </a:lnTo>
                <a:lnTo>
                  <a:pt x="14717" y="62924"/>
                </a:lnTo>
                <a:lnTo>
                  <a:pt x="13773" y="62546"/>
                </a:lnTo>
                <a:lnTo>
                  <a:pt x="12924" y="62075"/>
                </a:lnTo>
                <a:lnTo>
                  <a:pt x="12358" y="61697"/>
                </a:lnTo>
                <a:lnTo>
                  <a:pt x="12264" y="61508"/>
                </a:lnTo>
                <a:lnTo>
                  <a:pt x="12170" y="61320"/>
                </a:lnTo>
                <a:lnTo>
                  <a:pt x="11698" y="60942"/>
                </a:lnTo>
                <a:lnTo>
                  <a:pt x="11132" y="60471"/>
                </a:lnTo>
                <a:lnTo>
                  <a:pt x="9906" y="59244"/>
                </a:lnTo>
                <a:lnTo>
                  <a:pt x="9906" y="59244"/>
                </a:lnTo>
                <a:lnTo>
                  <a:pt x="10566" y="59527"/>
                </a:lnTo>
                <a:lnTo>
                  <a:pt x="9434" y="58584"/>
                </a:lnTo>
                <a:lnTo>
                  <a:pt x="8207" y="57546"/>
                </a:lnTo>
                <a:lnTo>
                  <a:pt x="7547" y="56886"/>
                </a:lnTo>
                <a:lnTo>
                  <a:pt x="6981" y="56131"/>
                </a:lnTo>
                <a:lnTo>
                  <a:pt x="6226" y="55094"/>
                </a:lnTo>
                <a:lnTo>
                  <a:pt x="6415" y="55377"/>
                </a:lnTo>
                <a:lnTo>
                  <a:pt x="6038" y="54905"/>
                </a:lnTo>
                <a:lnTo>
                  <a:pt x="5472" y="54244"/>
                </a:lnTo>
                <a:lnTo>
                  <a:pt x="5283" y="53961"/>
                </a:lnTo>
                <a:lnTo>
                  <a:pt x="5094" y="53867"/>
                </a:lnTo>
                <a:lnTo>
                  <a:pt x="5377" y="54622"/>
                </a:lnTo>
                <a:lnTo>
                  <a:pt x="5849" y="55282"/>
                </a:lnTo>
                <a:lnTo>
                  <a:pt x="6321" y="55943"/>
                </a:lnTo>
                <a:lnTo>
                  <a:pt x="6698" y="56603"/>
                </a:lnTo>
                <a:lnTo>
                  <a:pt x="6226" y="56226"/>
                </a:lnTo>
                <a:lnTo>
                  <a:pt x="5943" y="55848"/>
                </a:lnTo>
                <a:lnTo>
                  <a:pt x="6038" y="56037"/>
                </a:lnTo>
                <a:lnTo>
                  <a:pt x="5943" y="55943"/>
                </a:lnTo>
                <a:lnTo>
                  <a:pt x="5377" y="55188"/>
                </a:lnTo>
                <a:lnTo>
                  <a:pt x="5000" y="54716"/>
                </a:lnTo>
                <a:lnTo>
                  <a:pt x="4717" y="54150"/>
                </a:lnTo>
                <a:lnTo>
                  <a:pt x="4528" y="53678"/>
                </a:lnTo>
                <a:lnTo>
                  <a:pt x="4528" y="53584"/>
                </a:lnTo>
                <a:lnTo>
                  <a:pt x="4623" y="53395"/>
                </a:lnTo>
                <a:lnTo>
                  <a:pt x="5094" y="54244"/>
                </a:lnTo>
                <a:lnTo>
                  <a:pt x="4717" y="53301"/>
                </a:lnTo>
                <a:lnTo>
                  <a:pt x="4528" y="53018"/>
                </a:lnTo>
                <a:lnTo>
                  <a:pt x="4151" y="52263"/>
                </a:lnTo>
                <a:lnTo>
                  <a:pt x="4151" y="52169"/>
                </a:lnTo>
                <a:lnTo>
                  <a:pt x="3774" y="51509"/>
                </a:lnTo>
                <a:lnTo>
                  <a:pt x="3396" y="50660"/>
                </a:lnTo>
                <a:lnTo>
                  <a:pt x="3585" y="51603"/>
                </a:lnTo>
                <a:lnTo>
                  <a:pt x="3396" y="51226"/>
                </a:lnTo>
                <a:lnTo>
                  <a:pt x="3208" y="50848"/>
                </a:lnTo>
                <a:lnTo>
                  <a:pt x="3208" y="50471"/>
                </a:lnTo>
                <a:lnTo>
                  <a:pt x="3208" y="50094"/>
                </a:lnTo>
                <a:lnTo>
                  <a:pt x="3585" y="50754"/>
                </a:lnTo>
                <a:lnTo>
                  <a:pt x="3868" y="51509"/>
                </a:lnTo>
                <a:lnTo>
                  <a:pt x="3868" y="51509"/>
                </a:lnTo>
                <a:lnTo>
                  <a:pt x="3208" y="49528"/>
                </a:lnTo>
                <a:lnTo>
                  <a:pt x="3208" y="49528"/>
                </a:lnTo>
                <a:lnTo>
                  <a:pt x="3868" y="50754"/>
                </a:lnTo>
                <a:lnTo>
                  <a:pt x="3208" y="48962"/>
                </a:lnTo>
                <a:lnTo>
                  <a:pt x="3585" y="49339"/>
                </a:lnTo>
                <a:lnTo>
                  <a:pt x="3774" y="49433"/>
                </a:lnTo>
                <a:lnTo>
                  <a:pt x="3962" y="49528"/>
                </a:lnTo>
                <a:lnTo>
                  <a:pt x="4057" y="49905"/>
                </a:lnTo>
                <a:lnTo>
                  <a:pt x="3868" y="48962"/>
                </a:lnTo>
                <a:lnTo>
                  <a:pt x="3491" y="47924"/>
                </a:lnTo>
                <a:lnTo>
                  <a:pt x="2641" y="45565"/>
                </a:lnTo>
                <a:lnTo>
                  <a:pt x="2170" y="43867"/>
                </a:lnTo>
                <a:lnTo>
                  <a:pt x="1698" y="41886"/>
                </a:lnTo>
                <a:lnTo>
                  <a:pt x="1698" y="41886"/>
                </a:lnTo>
                <a:lnTo>
                  <a:pt x="1887" y="42075"/>
                </a:lnTo>
                <a:lnTo>
                  <a:pt x="1981" y="41981"/>
                </a:lnTo>
                <a:lnTo>
                  <a:pt x="2075" y="42075"/>
                </a:lnTo>
                <a:lnTo>
                  <a:pt x="2264" y="42169"/>
                </a:lnTo>
                <a:lnTo>
                  <a:pt x="2170" y="40283"/>
                </a:lnTo>
                <a:lnTo>
                  <a:pt x="2075" y="38301"/>
                </a:lnTo>
                <a:lnTo>
                  <a:pt x="2170" y="36415"/>
                </a:lnTo>
                <a:lnTo>
                  <a:pt x="2358" y="35566"/>
                </a:lnTo>
                <a:lnTo>
                  <a:pt x="2453" y="34811"/>
                </a:lnTo>
                <a:lnTo>
                  <a:pt x="2830" y="32830"/>
                </a:lnTo>
                <a:lnTo>
                  <a:pt x="2830" y="33207"/>
                </a:lnTo>
                <a:lnTo>
                  <a:pt x="2924" y="33490"/>
                </a:lnTo>
                <a:lnTo>
                  <a:pt x="2924" y="32453"/>
                </a:lnTo>
                <a:lnTo>
                  <a:pt x="3019" y="31415"/>
                </a:lnTo>
                <a:lnTo>
                  <a:pt x="3396" y="29245"/>
                </a:lnTo>
                <a:lnTo>
                  <a:pt x="3868" y="27075"/>
                </a:lnTo>
                <a:lnTo>
                  <a:pt x="4623" y="25000"/>
                </a:lnTo>
                <a:lnTo>
                  <a:pt x="5566" y="22830"/>
                </a:lnTo>
                <a:lnTo>
                  <a:pt x="6604" y="20849"/>
                </a:lnTo>
                <a:lnTo>
                  <a:pt x="7830" y="18868"/>
                </a:lnTo>
                <a:lnTo>
                  <a:pt x="9151" y="16887"/>
                </a:lnTo>
                <a:lnTo>
                  <a:pt x="10566" y="15094"/>
                </a:lnTo>
                <a:lnTo>
                  <a:pt x="12075" y="13302"/>
                </a:lnTo>
                <a:lnTo>
                  <a:pt x="13773" y="11698"/>
                </a:lnTo>
                <a:lnTo>
                  <a:pt x="15377" y="10095"/>
                </a:lnTo>
                <a:lnTo>
                  <a:pt x="17170" y="8679"/>
                </a:lnTo>
                <a:lnTo>
                  <a:pt x="18962" y="7453"/>
                </a:lnTo>
                <a:lnTo>
                  <a:pt x="20754" y="6321"/>
                </a:lnTo>
                <a:lnTo>
                  <a:pt x="22547" y="5378"/>
                </a:lnTo>
                <a:lnTo>
                  <a:pt x="21603" y="6227"/>
                </a:lnTo>
                <a:lnTo>
                  <a:pt x="22641" y="5472"/>
                </a:lnTo>
                <a:lnTo>
                  <a:pt x="23302" y="5095"/>
                </a:lnTo>
                <a:lnTo>
                  <a:pt x="25377" y="4151"/>
                </a:lnTo>
                <a:lnTo>
                  <a:pt x="24811" y="4151"/>
                </a:lnTo>
                <a:lnTo>
                  <a:pt x="25660" y="3774"/>
                </a:lnTo>
                <a:lnTo>
                  <a:pt x="26886" y="3208"/>
                </a:lnTo>
                <a:lnTo>
                  <a:pt x="26603" y="3585"/>
                </a:lnTo>
                <a:lnTo>
                  <a:pt x="26886" y="3585"/>
                </a:lnTo>
                <a:lnTo>
                  <a:pt x="26886" y="3680"/>
                </a:lnTo>
                <a:lnTo>
                  <a:pt x="26792" y="3774"/>
                </a:lnTo>
                <a:lnTo>
                  <a:pt x="28301" y="3302"/>
                </a:lnTo>
                <a:lnTo>
                  <a:pt x="29622" y="2736"/>
                </a:lnTo>
                <a:lnTo>
                  <a:pt x="31037" y="2264"/>
                </a:lnTo>
                <a:lnTo>
                  <a:pt x="31792" y="2076"/>
                </a:lnTo>
                <a:lnTo>
                  <a:pt x="32641" y="1981"/>
                </a:lnTo>
                <a:lnTo>
                  <a:pt x="32547" y="2076"/>
                </a:lnTo>
                <a:lnTo>
                  <a:pt x="32924" y="1981"/>
                </a:lnTo>
                <a:lnTo>
                  <a:pt x="34245" y="1793"/>
                </a:lnTo>
                <a:lnTo>
                  <a:pt x="35848" y="1415"/>
                </a:lnTo>
                <a:lnTo>
                  <a:pt x="36981" y="1132"/>
                </a:lnTo>
                <a:lnTo>
                  <a:pt x="36981" y="1415"/>
                </a:lnTo>
                <a:lnTo>
                  <a:pt x="40943" y="1227"/>
                </a:lnTo>
                <a:lnTo>
                  <a:pt x="41509" y="1038"/>
                </a:lnTo>
                <a:lnTo>
                  <a:pt x="41697" y="1132"/>
                </a:lnTo>
                <a:lnTo>
                  <a:pt x="41509" y="1227"/>
                </a:lnTo>
                <a:lnTo>
                  <a:pt x="41320" y="1321"/>
                </a:lnTo>
                <a:lnTo>
                  <a:pt x="42263" y="1321"/>
                </a:lnTo>
                <a:lnTo>
                  <a:pt x="43113" y="1227"/>
                </a:lnTo>
                <a:lnTo>
                  <a:pt x="43396" y="1415"/>
                </a:lnTo>
                <a:lnTo>
                  <a:pt x="44056" y="1604"/>
                </a:lnTo>
                <a:lnTo>
                  <a:pt x="45943" y="2076"/>
                </a:lnTo>
                <a:lnTo>
                  <a:pt x="48018" y="2359"/>
                </a:lnTo>
                <a:lnTo>
                  <a:pt x="49622" y="2736"/>
                </a:lnTo>
                <a:lnTo>
                  <a:pt x="47641" y="1981"/>
                </a:lnTo>
                <a:lnTo>
                  <a:pt x="45282" y="1321"/>
                </a:lnTo>
                <a:lnTo>
                  <a:pt x="42735" y="755"/>
                </a:lnTo>
                <a:lnTo>
                  <a:pt x="40188" y="283"/>
                </a:lnTo>
                <a:lnTo>
                  <a:pt x="37735" y="95"/>
                </a:lnTo>
                <a:lnTo>
                  <a:pt x="35471" y="0"/>
                </a:lnTo>
                <a:close/>
              </a:path>
            </a:pathLst>
          </a:custGeom>
          <a:solidFill>
            <a:schemeClr val="bg2">
              <a:lumMod val="75000"/>
            </a:schemeClr>
          </a:solidFill>
          <a:ln>
            <a:noFill/>
          </a:ln>
        </p:spPr>
        <p:txBody>
          <a:bodyPr spcFirstLastPara="1" wrap="square" lIns="91425" tIns="91425" rIns="91425" bIns="91425" anchor="ctr" anchorCtr="0">
            <a:noAutofit/>
          </a:bodyPr>
          <a:lstStyle/>
          <a:p>
            <a:pPr marL="0" lvl="0" indent="0">
              <a:spcBef>
                <a:spcPts val="0"/>
              </a:spcBef>
              <a:spcAft>
                <a:spcPts val="0"/>
              </a:spcAft>
              <a:buNone/>
            </a:pPr>
            <a:endParaRPr sz="1200" dirty="0">
              <a:latin typeface="Comic Sans MS" panose="030F0902030302020204" pitchFamily="66" charset="0"/>
            </a:endParaRPr>
          </a:p>
        </p:txBody>
      </p:sp>
      <p:sp>
        <p:nvSpPr>
          <p:cNvPr id="107" name="Google Shape;431;p39">
            <a:extLst>
              <a:ext uri="{FF2B5EF4-FFF2-40B4-BE49-F238E27FC236}">
                <a16:creationId xmlns:a16="http://schemas.microsoft.com/office/drawing/2014/main" id="{E4DC345A-052F-2A43-898E-73BB2D0BF915}"/>
              </a:ext>
            </a:extLst>
          </p:cNvPr>
          <p:cNvSpPr/>
          <p:nvPr/>
        </p:nvSpPr>
        <p:spPr>
          <a:xfrm rot="21011211">
            <a:off x="7132786" y="2629656"/>
            <a:ext cx="118019" cy="139785"/>
          </a:xfrm>
          <a:custGeom>
            <a:avLst/>
            <a:gdLst/>
            <a:ahLst/>
            <a:cxnLst/>
            <a:rect l="0" t="0" r="0" b="0"/>
            <a:pathLst>
              <a:path w="67641" h="69056" extrusionOk="0">
                <a:moveTo>
                  <a:pt x="49622" y="2736"/>
                </a:moveTo>
                <a:lnTo>
                  <a:pt x="49622" y="2736"/>
                </a:lnTo>
                <a:lnTo>
                  <a:pt x="49622" y="2736"/>
                </a:lnTo>
                <a:close/>
                <a:moveTo>
                  <a:pt x="59622" y="55565"/>
                </a:moveTo>
                <a:lnTo>
                  <a:pt x="59622" y="55565"/>
                </a:lnTo>
                <a:lnTo>
                  <a:pt x="59622" y="55565"/>
                </a:lnTo>
                <a:close/>
                <a:moveTo>
                  <a:pt x="35471" y="0"/>
                </a:moveTo>
                <a:lnTo>
                  <a:pt x="34433" y="95"/>
                </a:lnTo>
                <a:lnTo>
                  <a:pt x="33584" y="189"/>
                </a:lnTo>
                <a:lnTo>
                  <a:pt x="32735" y="378"/>
                </a:lnTo>
                <a:lnTo>
                  <a:pt x="32169" y="566"/>
                </a:lnTo>
                <a:lnTo>
                  <a:pt x="31509" y="472"/>
                </a:lnTo>
                <a:lnTo>
                  <a:pt x="30754" y="472"/>
                </a:lnTo>
                <a:lnTo>
                  <a:pt x="29339" y="566"/>
                </a:lnTo>
                <a:lnTo>
                  <a:pt x="27830" y="849"/>
                </a:lnTo>
                <a:lnTo>
                  <a:pt x="26320" y="1321"/>
                </a:lnTo>
                <a:lnTo>
                  <a:pt x="24811" y="1981"/>
                </a:lnTo>
                <a:lnTo>
                  <a:pt x="23207" y="2736"/>
                </a:lnTo>
                <a:lnTo>
                  <a:pt x="21698" y="3585"/>
                </a:lnTo>
                <a:lnTo>
                  <a:pt x="20188" y="4623"/>
                </a:lnTo>
                <a:lnTo>
                  <a:pt x="18679" y="5661"/>
                </a:lnTo>
                <a:lnTo>
                  <a:pt x="17170" y="6793"/>
                </a:lnTo>
                <a:lnTo>
                  <a:pt x="15754" y="8019"/>
                </a:lnTo>
                <a:lnTo>
                  <a:pt x="14434" y="9151"/>
                </a:lnTo>
                <a:lnTo>
                  <a:pt x="11981" y="11510"/>
                </a:lnTo>
                <a:lnTo>
                  <a:pt x="10000" y="13774"/>
                </a:lnTo>
                <a:lnTo>
                  <a:pt x="7736" y="16981"/>
                </a:lnTo>
                <a:lnTo>
                  <a:pt x="8019" y="16321"/>
                </a:lnTo>
                <a:lnTo>
                  <a:pt x="8302" y="15660"/>
                </a:lnTo>
                <a:lnTo>
                  <a:pt x="7736" y="16604"/>
                </a:lnTo>
                <a:lnTo>
                  <a:pt x="7075" y="17642"/>
                </a:lnTo>
                <a:lnTo>
                  <a:pt x="7170" y="17830"/>
                </a:lnTo>
                <a:lnTo>
                  <a:pt x="6509" y="18868"/>
                </a:lnTo>
                <a:lnTo>
                  <a:pt x="7075" y="17359"/>
                </a:lnTo>
                <a:lnTo>
                  <a:pt x="6132" y="19057"/>
                </a:lnTo>
                <a:lnTo>
                  <a:pt x="5189" y="20849"/>
                </a:lnTo>
                <a:lnTo>
                  <a:pt x="4434" y="22736"/>
                </a:lnTo>
                <a:lnTo>
                  <a:pt x="3679" y="24622"/>
                </a:lnTo>
                <a:lnTo>
                  <a:pt x="2453" y="28490"/>
                </a:lnTo>
                <a:lnTo>
                  <a:pt x="1321" y="32169"/>
                </a:lnTo>
                <a:lnTo>
                  <a:pt x="1509" y="32264"/>
                </a:lnTo>
                <a:lnTo>
                  <a:pt x="1604" y="32453"/>
                </a:lnTo>
                <a:lnTo>
                  <a:pt x="1604" y="32641"/>
                </a:lnTo>
                <a:lnTo>
                  <a:pt x="1509" y="32924"/>
                </a:lnTo>
                <a:lnTo>
                  <a:pt x="1226" y="33396"/>
                </a:lnTo>
                <a:lnTo>
                  <a:pt x="1038" y="33585"/>
                </a:lnTo>
                <a:lnTo>
                  <a:pt x="1038" y="33773"/>
                </a:lnTo>
                <a:lnTo>
                  <a:pt x="1038" y="35000"/>
                </a:lnTo>
                <a:lnTo>
                  <a:pt x="849" y="36132"/>
                </a:lnTo>
                <a:lnTo>
                  <a:pt x="660" y="37358"/>
                </a:lnTo>
                <a:lnTo>
                  <a:pt x="472" y="38867"/>
                </a:lnTo>
                <a:lnTo>
                  <a:pt x="283" y="38301"/>
                </a:lnTo>
                <a:lnTo>
                  <a:pt x="94" y="39811"/>
                </a:lnTo>
                <a:lnTo>
                  <a:pt x="0" y="41509"/>
                </a:lnTo>
                <a:lnTo>
                  <a:pt x="94" y="43301"/>
                </a:lnTo>
                <a:lnTo>
                  <a:pt x="283" y="44056"/>
                </a:lnTo>
                <a:lnTo>
                  <a:pt x="472" y="44622"/>
                </a:lnTo>
                <a:lnTo>
                  <a:pt x="566" y="45660"/>
                </a:lnTo>
                <a:lnTo>
                  <a:pt x="755" y="46792"/>
                </a:lnTo>
                <a:lnTo>
                  <a:pt x="1226" y="48962"/>
                </a:lnTo>
                <a:lnTo>
                  <a:pt x="1981" y="51037"/>
                </a:lnTo>
                <a:lnTo>
                  <a:pt x="2924" y="53112"/>
                </a:lnTo>
                <a:lnTo>
                  <a:pt x="4057" y="55094"/>
                </a:lnTo>
                <a:lnTo>
                  <a:pt x="5283" y="56980"/>
                </a:lnTo>
                <a:lnTo>
                  <a:pt x="6698" y="58678"/>
                </a:lnTo>
                <a:lnTo>
                  <a:pt x="8113" y="60282"/>
                </a:lnTo>
                <a:lnTo>
                  <a:pt x="9056" y="61131"/>
                </a:lnTo>
                <a:lnTo>
                  <a:pt x="10000" y="61980"/>
                </a:lnTo>
                <a:lnTo>
                  <a:pt x="11038" y="62829"/>
                </a:lnTo>
                <a:lnTo>
                  <a:pt x="12075" y="63584"/>
                </a:lnTo>
                <a:lnTo>
                  <a:pt x="14339" y="64905"/>
                </a:lnTo>
                <a:lnTo>
                  <a:pt x="16604" y="66131"/>
                </a:lnTo>
                <a:lnTo>
                  <a:pt x="19056" y="67169"/>
                </a:lnTo>
                <a:lnTo>
                  <a:pt x="21509" y="67923"/>
                </a:lnTo>
                <a:lnTo>
                  <a:pt x="24056" y="68584"/>
                </a:lnTo>
                <a:lnTo>
                  <a:pt x="26603" y="69055"/>
                </a:lnTo>
                <a:lnTo>
                  <a:pt x="27830" y="69055"/>
                </a:lnTo>
                <a:lnTo>
                  <a:pt x="30188" y="68867"/>
                </a:lnTo>
                <a:lnTo>
                  <a:pt x="33113" y="68678"/>
                </a:lnTo>
                <a:lnTo>
                  <a:pt x="36509" y="68301"/>
                </a:lnTo>
                <a:lnTo>
                  <a:pt x="39811" y="67923"/>
                </a:lnTo>
                <a:lnTo>
                  <a:pt x="42735" y="67452"/>
                </a:lnTo>
                <a:lnTo>
                  <a:pt x="44905" y="66980"/>
                </a:lnTo>
                <a:lnTo>
                  <a:pt x="45565" y="66791"/>
                </a:lnTo>
                <a:lnTo>
                  <a:pt x="45943" y="66508"/>
                </a:lnTo>
                <a:lnTo>
                  <a:pt x="47358" y="65942"/>
                </a:lnTo>
                <a:lnTo>
                  <a:pt x="48018" y="65565"/>
                </a:lnTo>
                <a:lnTo>
                  <a:pt x="48678" y="65188"/>
                </a:lnTo>
                <a:lnTo>
                  <a:pt x="47924" y="65471"/>
                </a:lnTo>
                <a:lnTo>
                  <a:pt x="51509" y="62924"/>
                </a:lnTo>
                <a:lnTo>
                  <a:pt x="53301" y="61508"/>
                </a:lnTo>
                <a:lnTo>
                  <a:pt x="55093" y="59905"/>
                </a:lnTo>
                <a:lnTo>
                  <a:pt x="55093" y="59905"/>
                </a:lnTo>
                <a:lnTo>
                  <a:pt x="54810" y="60376"/>
                </a:lnTo>
                <a:lnTo>
                  <a:pt x="54339" y="60754"/>
                </a:lnTo>
                <a:lnTo>
                  <a:pt x="55376" y="59999"/>
                </a:lnTo>
                <a:lnTo>
                  <a:pt x="56320" y="59056"/>
                </a:lnTo>
                <a:lnTo>
                  <a:pt x="57075" y="58395"/>
                </a:lnTo>
                <a:lnTo>
                  <a:pt x="57169" y="58207"/>
                </a:lnTo>
                <a:lnTo>
                  <a:pt x="57075" y="58207"/>
                </a:lnTo>
                <a:lnTo>
                  <a:pt x="57924" y="57546"/>
                </a:lnTo>
                <a:lnTo>
                  <a:pt x="58678" y="56697"/>
                </a:lnTo>
                <a:lnTo>
                  <a:pt x="59339" y="55754"/>
                </a:lnTo>
                <a:lnTo>
                  <a:pt x="59905" y="54905"/>
                </a:lnTo>
                <a:lnTo>
                  <a:pt x="59716" y="54999"/>
                </a:lnTo>
                <a:lnTo>
                  <a:pt x="59622" y="54999"/>
                </a:lnTo>
                <a:lnTo>
                  <a:pt x="59810" y="54622"/>
                </a:lnTo>
                <a:lnTo>
                  <a:pt x="59150" y="55565"/>
                </a:lnTo>
                <a:lnTo>
                  <a:pt x="59527" y="55094"/>
                </a:lnTo>
                <a:lnTo>
                  <a:pt x="59433" y="55377"/>
                </a:lnTo>
                <a:lnTo>
                  <a:pt x="58867" y="56037"/>
                </a:lnTo>
                <a:lnTo>
                  <a:pt x="59056" y="55660"/>
                </a:lnTo>
                <a:lnTo>
                  <a:pt x="59056" y="55660"/>
                </a:lnTo>
                <a:lnTo>
                  <a:pt x="58678" y="56037"/>
                </a:lnTo>
                <a:lnTo>
                  <a:pt x="59810" y="54339"/>
                </a:lnTo>
                <a:lnTo>
                  <a:pt x="60282" y="53490"/>
                </a:lnTo>
                <a:lnTo>
                  <a:pt x="60282" y="53301"/>
                </a:lnTo>
                <a:lnTo>
                  <a:pt x="60188" y="53395"/>
                </a:lnTo>
                <a:lnTo>
                  <a:pt x="60188" y="53395"/>
                </a:lnTo>
                <a:lnTo>
                  <a:pt x="60565" y="52924"/>
                </a:lnTo>
                <a:lnTo>
                  <a:pt x="61037" y="52452"/>
                </a:lnTo>
                <a:lnTo>
                  <a:pt x="61886" y="51509"/>
                </a:lnTo>
                <a:lnTo>
                  <a:pt x="61508" y="52452"/>
                </a:lnTo>
                <a:lnTo>
                  <a:pt x="60848" y="53584"/>
                </a:lnTo>
                <a:lnTo>
                  <a:pt x="59622" y="55565"/>
                </a:lnTo>
                <a:lnTo>
                  <a:pt x="60376" y="54528"/>
                </a:lnTo>
                <a:lnTo>
                  <a:pt x="60942" y="53678"/>
                </a:lnTo>
                <a:lnTo>
                  <a:pt x="61980" y="51792"/>
                </a:lnTo>
                <a:lnTo>
                  <a:pt x="61886" y="51886"/>
                </a:lnTo>
                <a:lnTo>
                  <a:pt x="61886" y="51697"/>
                </a:lnTo>
                <a:lnTo>
                  <a:pt x="62169" y="51037"/>
                </a:lnTo>
                <a:lnTo>
                  <a:pt x="62735" y="49999"/>
                </a:lnTo>
                <a:lnTo>
                  <a:pt x="61508" y="51603"/>
                </a:lnTo>
                <a:lnTo>
                  <a:pt x="61603" y="51037"/>
                </a:lnTo>
                <a:lnTo>
                  <a:pt x="61697" y="50377"/>
                </a:lnTo>
                <a:lnTo>
                  <a:pt x="62169" y="48962"/>
                </a:lnTo>
                <a:lnTo>
                  <a:pt x="62829" y="47358"/>
                </a:lnTo>
                <a:lnTo>
                  <a:pt x="63678" y="45565"/>
                </a:lnTo>
                <a:lnTo>
                  <a:pt x="65376" y="42169"/>
                </a:lnTo>
                <a:lnTo>
                  <a:pt x="66131" y="40660"/>
                </a:lnTo>
                <a:lnTo>
                  <a:pt x="66697" y="39339"/>
                </a:lnTo>
                <a:lnTo>
                  <a:pt x="66603" y="39528"/>
                </a:lnTo>
                <a:lnTo>
                  <a:pt x="66697" y="39056"/>
                </a:lnTo>
                <a:lnTo>
                  <a:pt x="66791" y="38962"/>
                </a:lnTo>
                <a:lnTo>
                  <a:pt x="66791" y="39056"/>
                </a:lnTo>
                <a:lnTo>
                  <a:pt x="66886" y="38584"/>
                </a:lnTo>
                <a:lnTo>
                  <a:pt x="66791" y="38867"/>
                </a:lnTo>
                <a:lnTo>
                  <a:pt x="66980" y="38207"/>
                </a:lnTo>
                <a:lnTo>
                  <a:pt x="67169" y="37264"/>
                </a:lnTo>
                <a:lnTo>
                  <a:pt x="67263" y="36415"/>
                </a:lnTo>
                <a:lnTo>
                  <a:pt x="67357" y="36509"/>
                </a:lnTo>
                <a:lnTo>
                  <a:pt x="67452" y="36509"/>
                </a:lnTo>
                <a:lnTo>
                  <a:pt x="67546" y="35943"/>
                </a:lnTo>
                <a:lnTo>
                  <a:pt x="67546" y="34811"/>
                </a:lnTo>
                <a:lnTo>
                  <a:pt x="67640" y="31037"/>
                </a:lnTo>
                <a:lnTo>
                  <a:pt x="67640" y="28490"/>
                </a:lnTo>
                <a:lnTo>
                  <a:pt x="67546" y="27736"/>
                </a:lnTo>
                <a:lnTo>
                  <a:pt x="67546" y="27547"/>
                </a:lnTo>
                <a:lnTo>
                  <a:pt x="67452" y="27547"/>
                </a:lnTo>
                <a:lnTo>
                  <a:pt x="67074" y="26792"/>
                </a:lnTo>
                <a:lnTo>
                  <a:pt x="66791" y="25660"/>
                </a:lnTo>
                <a:lnTo>
                  <a:pt x="66508" y="24528"/>
                </a:lnTo>
                <a:lnTo>
                  <a:pt x="66414" y="23585"/>
                </a:lnTo>
                <a:lnTo>
                  <a:pt x="66320" y="23679"/>
                </a:lnTo>
                <a:lnTo>
                  <a:pt x="66320" y="23490"/>
                </a:lnTo>
                <a:lnTo>
                  <a:pt x="65942" y="22924"/>
                </a:lnTo>
                <a:lnTo>
                  <a:pt x="65565" y="22358"/>
                </a:lnTo>
                <a:lnTo>
                  <a:pt x="64527" y="21132"/>
                </a:lnTo>
                <a:lnTo>
                  <a:pt x="63584" y="19906"/>
                </a:lnTo>
                <a:lnTo>
                  <a:pt x="63207" y="19340"/>
                </a:lnTo>
                <a:lnTo>
                  <a:pt x="63018" y="18774"/>
                </a:lnTo>
                <a:lnTo>
                  <a:pt x="63112" y="18962"/>
                </a:lnTo>
                <a:lnTo>
                  <a:pt x="63301" y="19057"/>
                </a:lnTo>
                <a:lnTo>
                  <a:pt x="63301" y="19057"/>
                </a:lnTo>
                <a:lnTo>
                  <a:pt x="63207" y="18868"/>
                </a:lnTo>
                <a:lnTo>
                  <a:pt x="62923" y="18491"/>
                </a:lnTo>
                <a:lnTo>
                  <a:pt x="61980" y="17453"/>
                </a:lnTo>
                <a:lnTo>
                  <a:pt x="61037" y="16509"/>
                </a:lnTo>
                <a:lnTo>
                  <a:pt x="61037" y="16698"/>
                </a:lnTo>
                <a:lnTo>
                  <a:pt x="61037" y="16887"/>
                </a:lnTo>
                <a:lnTo>
                  <a:pt x="60093" y="15943"/>
                </a:lnTo>
                <a:lnTo>
                  <a:pt x="60376" y="16321"/>
                </a:lnTo>
                <a:lnTo>
                  <a:pt x="59527" y="15377"/>
                </a:lnTo>
                <a:lnTo>
                  <a:pt x="59056" y="14906"/>
                </a:lnTo>
                <a:lnTo>
                  <a:pt x="59244" y="14906"/>
                </a:lnTo>
                <a:lnTo>
                  <a:pt x="59905" y="15472"/>
                </a:lnTo>
                <a:lnTo>
                  <a:pt x="59905" y="15472"/>
                </a:lnTo>
                <a:lnTo>
                  <a:pt x="57641" y="13396"/>
                </a:lnTo>
                <a:lnTo>
                  <a:pt x="58112" y="13868"/>
                </a:lnTo>
                <a:lnTo>
                  <a:pt x="56886" y="13019"/>
                </a:lnTo>
                <a:lnTo>
                  <a:pt x="55754" y="12453"/>
                </a:lnTo>
                <a:lnTo>
                  <a:pt x="56603" y="13113"/>
                </a:lnTo>
                <a:lnTo>
                  <a:pt x="57452" y="13774"/>
                </a:lnTo>
                <a:lnTo>
                  <a:pt x="58961" y="15283"/>
                </a:lnTo>
                <a:lnTo>
                  <a:pt x="60376" y="16604"/>
                </a:lnTo>
                <a:lnTo>
                  <a:pt x="61225" y="17264"/>
                </a:lnTo>
                <a:lnTo>
                  <a:pt x="62074" y="17925"/>
                </a:lnTo>
                <a:lnTo>
                  <a:pt x="62074" y="17925"/>
                </a:lnTo>
                <a:lnTo>
                  <a:pt x="61414" y="17547"/>
                </a:lnTo>
                <a:lnTo>
                  <a:pt x="60659" y="16981"/>
                </a:lnTo>
                <a:lnTo>
                  <a:pt x="60754" y="17264"/>
                </a:lnTo>
                <a:lnTo>
                  <a:pt x="60942" y="17642"/>
                </a:lnTo>
                <a:lnTo>
                  <a:pt x="61980" y="19151"/>
                </a:lnTo>
                <a:lnTo>
                  <a:pt x="63301" y="20943"/>
                </a:lnTo>
                <a:lnTo>
                  <a:pt x="63207" y="20943"/>
                </a:lnTo>
                <a:lnTo>
                  <a:pt x="63395" y="21038"/>
                </a:lnTo>
                <a:lnTo>
                  <a:pt x="63490" y="21321"/>
                </a:lnTo>
                <a:lnTo>
                  <a:pt x="63678" y="21604"/>
                </a:lnTo>
                <a:lnTo>
                  <a:pt x="63773" y="21698"/>
                </a:lnTo>
                <a:lnTo>
                  <a:pt x="63584" y="21321"/>
                </a:lnTo>
                <a:lnTo>
                  <a:pt x="63584" y="21321"/>
                </a:lnTo>
                <a:lnTo>
                  <a:pt x="64244" y="22170"/>
                </a:lnTo>
                <a:lnTo>
                  <a:pt x="64716" y="22641"/>
                </a:lnTo>
                <a:lnTo>
                  <a:pt x="64905" y="22830"/>
                </a:lnTo>
                <a:lnTo>
                  <a:pt x="64999" y="22830"/>
                </a:lnTo>
                <a:lnTo>
                  <a:pt x="64999" y="22641"/>
                </a:lnTo>
                <a:lnTo>
                  <a:pt x="64905" y="22358"/>
                </a:lnTo>
                <a:lnTo>
                  <a:pt x="65282" y="23207"/>
                </a:lnTo>
                <a:lnTo>
                  <a:pt x="65565" y="24056"/>
                </a:lnTo>
                <a:lnTo>
                  <a:pt x="66225" y="25943"/>
                </a:lnTo>
                <a:lnTo>
                  <a:pt x="66697" y="27830"/>
                </a:lnTo>
                <a:lnTo>
                  <a:pt x="66886" y="28490"/>
                </a:lnTo>
                <a:lnTo>
                  <a:pt x="66980" y="28868"/>
                </a:lnTo>
                <a:lnTo>
                  <a:pt x="66886" y="28962"/>
                </a:lnTo>
                <a:lnTo>
                  <a:pt x="66697" y="28679"/>
                </a:lnTo>
                <a:lnTo>
                  <a:pt x="66697" y="29245"/>
                </a:lnTo>
                <a:lnTo>
                  <a:pt x="66791" y="29905"/>
                </a:lnTo>
                <a:lnTo>
                  <a:pt x="66886" y="29905"/>
                </a:lnTo>
                <a:lnTo>
                  <a:pt x="66886" y="30094"/>
                </a:lnTo>
                <a:lnTo>
                  <a:pt x="66886" y="30566"/>
                </a:lnTo>
                <a:lnTo>
                  <a:pt x="66697" y="30377"/>
                </a:lnTo>
                <a:lnTo>
                  <a:pt x="66603" y="30188"/>
                </a:lnTo>
                <a:lnTo>
                  <a:pt x="66603" y="30094"/>
                </a:lnTo>
                <a:lnTo>
                  <a:pt x="66697" y="29905"/>
                </a:lnTo>
                <a:lnTo>
                  <a:pt x="66508" y="28679"/>
                </a:lnTo>
                <a:lnTo>
                  <a:pt x="66225" y="27358"/>
                </a:lnTo>
                <a:lnTo>
                  <a:pt x="66603" y="30283"/>
                </a:lnTo>
                <a:lnTo>
                  <a:pt x="66697" y="31792"/>
                </a:lnTo>
                <a:lnTo>
                  <a:pt x="66697" y="33302"/>
                </a:lnTo>
                <a:lnTo>
                  <a:pt x="66603" y="34717"/>
                </a:lnTo>
                <a:lnTo>
                  <a:pt x="66414" y="36226"/>
                </a:lnTo>
                <a:lnTo>
                  <a:pt x="66131" y="37547"/>
                </a:lnTo>
                <a:lnTo>
                  <a:pt x="65659" y="38962"/>
                </a:lnTo>
                <a:lnTo>
                  <a:pt x="65848" y="38584"/>
                </a:lnTo>
                <a:lnTo>
                  <a:pt x="65942" y="38584"/>
                </a:lnTo>
                <a:lnTo>
                  <a:pt x="65848" y="39245"/>
                </a:lnTo>
                <a:lnTo>
                  <a:pt x="65565" y="40188"/>
                </a:lnTo>
                <a:lnTo>
                  <a:pt x="65471" y="40471"/>
                </a:lnTo>
                <a:lnTo>
                  <a:pt x="65282" y="40660"/>
                </a:lnTo>
                <a:lnTo>
                  <a:pt x="65282" y="40566"/>
                </a:lnTo>
                <a:lnTo>
                  <a:pt x="65093" y="41132"/>
                </a:lnTo>
                <a:lnTo>
                  <a:pt x="64433" y="43018"/>
                </a:lnTo>
                <a:lnTo>
                  <a:pt x="63678" y="45282"/>
                </a:lnTo>
                <a:lnTo>
                  <a:pt x="62735" y="47264"/>
                </a:lnTo>
                <a:lnTo>
                  <a:pt x="61697" y="49056"/>
                </a:lnTo>
                <a:lnTo>
                  <a:pt x="60659" y="50943"/>
                </a:lnTo>
                <a:lnTo>
                  <a:pt x="59433" y="52735"/>
                </a:lnTo>
                <a:lnTo>
                  <a:pt x="58207" y="54433"/>
                </a:lnTo>
                <a:lnTo>
                  <a:pt x="56886" y="56037"/>
                </a:lnTo>
                <a:lnTo>
                  <a:pt x="55376" y="57641"/>
                </a:lnTo>
                <a:lnTo>
                  <a:pt x="53867" y="59150"/>
                </a:lnTo>
                <a:lnTo>
                  <a:pt x="52169" y="60376"/>
                </a:lnTo>
                <a:lnTo>
                  <a:pt x="48961" y="62452"/>
                </a:lnTo>
                <a:lnTo>
                  <a:pt x="44528" y="65282"/>
                </a:lnTo>
                <a:lnTo>
                  <a:pt x="44622" y="65188"/>
                </a:lnTo>
                <a:lnTo>
                  <a:pt x="44716" y="65093"/>
                </a:lnTo>
                <a:lnTo>
                  <a:pt x="45094" y="64810"/>
                </a:lnTo>
                <a:lnTo>
                  <a:pt x="45660" y="64527"/>
                </a:lnTo>
                <a:lnTo>
                  <a:pt x="43867" y="65376"/>
                </a:lnTo>
                <a:lnTo>
                  <a:pt x="43113" y="65754"/>
                </a:lnTo>
                <a:lnTo>
                  <a:pt x="42924" y="65754"/>
                </a:lnTo>
                <a:lnTo>
                  <a:pt x="43113" y="65659"/>
                </a:lnTo>
                <a:lnTo>
                  <a:pt x="41603" y="66037"/>
                </a:lnTo>
                <a:lnTo>
                  <a:pt x="39999" y="66320"/>
                </a:lnTo>
                <a:lnTo>
                  <a:pt x="38396" y="66508"/>
                </a:lnTo>
                <a:lnTo>
                  <a:pt x="36792" y="66697"/>
                </a:lnTo>
                <a:lnTo>
                  <a:pt x="33584" y="66980"/>
                </a:lnTo>
                <a:lnTo>
                  <a:pt x="32169" y="67169"/>
                </a:lnTo>
                <a:lnTo>
                  <a:pt x="30754" y="67357"/>
                </a:lnTo>
                <a:lnTo>
                  <a:pt x="30094" y="67357"/>
                </a:lnTo>
                <a:lnTo>
                  <a:pt x="29339" y="67263"/>
                </a:lnTo>
                <a:lnTo>
                  <a:pt x="27830" y="66886"/>
                </a:lnTo>
                <a:lnTo>
                  <a:pt x="26415" y="66508"/>
                </a:lnTo>
                <a:lnTo>
                  <a:pt x="25754" y="66414"/>
                </a:lnTo>
                <a:lnTo>
                  <a:pt x="25094" y="66414"/>
                </a:lnTo>
                <a:lnTo>
                  <a:pt x="25566" y="66980"/>
                </a:lnTo>
                <a:lnTo>
                  <a:pt x="25471" y="67074"/>
                </a:lnTo>
                <a:lnTo>
                  <a:pt x="25188" y="66980"/>
                </a:lnTo>
                <a:lnTo>
                  <a:pt x="24339" y="66791"/>
                </a:lnTo>
                <a:lnTo>
                  <a:pt x="23773" y="66508"/>
                </a:lnTo>
                <a:lnTo>
                  <a:pt x="24245" y="66414"/>
                </a:lnTo>
                <a:lnTo>
                  <a:pt x="24717" y="66603"/>
                </a:lnTo>
                <a:lnTo>
                  <a:pt x="24811" y="66414"/>
                </a:lnTo>
                <a:lnTo>
                  <a:pt x="24811" y="66320"/>
                </a:lnTo>
                <a:lnTo>
                  <a:pt x="24717" y="66225"/>
                </a:lnTo>
                <a:lnTo>
                  <a:pt x="24528" y="66131"/>
                </a:lnTo>
                <a:lnTo>
                  <a:pt x="24151" y="66225"/>
                </a:lnTo>
                <a:lnTo>
                  <a:pt x="23679" y="66320"/>
                </a:lnTo>
                <a:lnTo>
                  <a:pt x="23018" y="66414"/>
                </a:lnTo>
                <a:lnTo>
                  <a:pt x="23490" y="66225"/>
                </a:lnTo>
                <a:lnTo>
                  <a:pt x="22075" y="65942"/>
                </a:lnTo>
                <a:lnTo>
                  <a:pt x="20943" y="65659"/>
                </a:lnTo>
                <a:lnTo>
                  <a:pt x="20000" y="65282"/>
                </a:lnTo>
                <a:lnTo>
                  <a:pt x="19056" y="64810"/>
                </a:lnTo>
                <a:lnTo>
                  <a:pt x="19056" y="64810"/>
                </a:lnTo>
                <a:lnTo>
                  <a:pt x="19717" y="64999"/>
                </a:lnTo>
                <a:lnTo>
                  <a:pt x="19151" y="64716"/>
                </a:lnTo>
                <a:lnTo>
                  <a:pt x="18962" y="64810"/>
                </a:lnTo>
                <a:lnTo>
                  <a:pt x="19151" y="64905"/>
                </a:lnTo>
                <a:lnTo>
                  <a:pt x="18490" y="64905"/>
                </a:lnTo>
                <a:lnTo>
                  <a:pt x="17830" y="64716"/>
                </a:lnTo>
                <a:lnTo>
                  <a:pt x="17264" y="64527"/>
                </a:lnTo>
                <a:lnTo>
                  <a:pt x="16698" y="64150"/>
                </a:lnTo>
                <a:lnTo>
                  <a:pt x="16981" y="64056"/>
                </a:lnTo>
                <a:lnTo>
                  <a:pt x="17264" y="64150"/>
                </a:lnTo>
                <a:lnTo>
                  <a:pt x="17264" y="64150"/>
                </a:lnTo>
                <a:lnTo>
                  <a:pt x="15188" y="63207"/>
                </a:lnTo>
                <a:lnTo>
                  <a:pt x="14622" y="62829"/>
                </a:lnTo>
                <a:lnTo>
                  <a:pt x="14717" y="62924"/>
                </a:lnTo>
                <a:lnTo>
                  <a:pt x="13773" y="62546"/>
                </a:lnTo>
                <a:lnTo>
                  <a:pt x="12924" y="62075"/>
                </a:lnTo>
                <a:lnTo>
                  <a:pt x="12358" y="61697"/>
                </a:lnTo>
                <a:lnTo>
                  <a:pt x="12264" y="61508"/>
                </a:lnTo>
                <a:lnTo>
                  <a:pt x="12170" y="61320"/>
                </a:lnTo>
                <a:lnTo>
                  <a:pt x="11698" y="60942"/>
                </a:lnTo>
                <a:lnTo>
                  <a:pt x="11132" y="60471"/>
                </a:lnTo>
                <a:lnTo>
                  <a:pt x="9906" y="59244"/>
                </a:lnTo>
                <a:lnTo>
                  <a:pt x="9906" y="59244"/>
                </a:lnTo>
                <a:lnTo>
                  <a:pt x="10566" y="59527"/>
                </a:lnTo>
                <a:lnTo>
                  <a:pt x="9434" y="58584"/>
                </a:lnTo>
                <a:lnTo>
                  <a:pt x="8207" y="57546"/>
                </a:lnTo>
                <a:lnTo>
                  <a:pt x="7547" y="56886"/>
                </a:lnTo>
                <a:lnTo>
                  <a:pt x="6981" y="56131"/>
                </a:lnTo>
                <a:lnTo>
                  <a:pt x="6226" y="55094"/>
                </a:lnTo>
                <a:lnTo>
                  <a:pt x="6415" y="55377"/>
                </a:lnTo>
                <a:lnTo>
                  <a:pt x="6038" y="54905"/>
                </a:lnTo>
                <a:lnTo>
                  <a:pt x="5472" y="54244"/>
                </a:lnTo>
                <a:lnTo>
                  <a:pt x="5283" y="53961"/>
                </a:lnTo>
                <a:lnTo>
                  <a:pt x="5094" y="53867"/>
                </a:lnTo>
                <a:lnTo>
                  <a:pt x="5377" y="54622"/>
                </a:lnTo>
                <a:lnTo>
                  <a:pt x="5849" y="55282"/>
                </a:lnTo>
                <a:lnTo>
                  <a:pt x="6321" y="55943"/>
                </a:lnTo>
                <a:lnTo>
                  <a:pt x="6698" y="56603"/>
                </a:lnTo>
                <a:lnTo>
                  <a:pt x="6226" y="56226"/>
                </a:lnTo>
                <a:lnTo>
                  <a:pt x="5943" y="55848"/>
                </a:lnTo>
                <a:lnTo>
                  <a:pt x="6038" y="56037"/>
                </a:lnTo>
                <a:lnTo>
                  <a:pt x="5943" y="55943"/>
                </a:lnTo>
                <a:lnTo>
                  <a:pt x="5377" y="55188"/>
                </a:lnTo>
                <a:lnTo>
                  <a:pt x="5000" y="54716"/>
                </a:lnTo>
                <a:lnTo>
                  <a:pt x="4717" y="54150"/>
                </a:lnTo>
                <a:lnTo>
                  <a:pt x="4528" y="53678"/>
                </a:lnTo>
                <a:lnTo>
                  <a:pt x="4528" y="53584"/>
                </a:lnTo>
                <a:lnTo>
                  <a:pt x="4623" y="53395"/>
                </a:lnTo>
                <a:lnTo>
                  <a:pt x="5094" y="54244"/>
                </a:lnTo>
                <a:lnTo>
                  <a:pt x="4717" y="53301"/>
                </a:lnTo>
                <a:lnTo>
                  <a:pt x="4528" y="53018"/>
                </a:lnTo>
                <a:lnTo>
                  <a:pt x="4151" y="52263"/>
                </a:lnTo>
                <a:lnTo>
                  <a:pt x="4151" y="52169"/>
                </a:lnTo>
                <a:lnTo>
                  <a:pt x="3774" y="51509"/>
                </a:lnTo>
                <a:lnTo>
                  <a:pt x="3396" y="50660"/>
                </a:lnTo>
                <a:lnTo>
                  <a:pt x="3585" y="51603"/>
                </a:lnTo>
                <a:lnTo>
                  <a:pt x="3396" y="51226"/>
                </a:lnTo>
                <a:lnTo>
                  <a:pt x="3208" y="50848"/>
                </a:lnTo>
                <a:lnTo>
                  <a:pt x="3208" y="50471"/>
                </a:lnTo>
                <a:lnTo>
                  <a:pt x="3208" y="50094"/>
                </a:lnTo>
                <a:lnTo>
                  <a:pt x="3585" y="50754"/>
                </a:lnTo>
                <a:lnTo>
                  <a:pt x="3868" y="51509"/>
                </a:lnTo>
                <a:lnTo>
                  <a:pt x="3868" y="51509"/>
                </a:lnTo>
                <a:lnTo>
                  <a:pt x="3208" y="49528"/>
                </a:lnTo>
                <a:lnTo>
                  <a:pt x="3208" y="49528"/>
                </a:lnTo>
                <a:lnTo>
                  <a:pt x="3868" y="50754"/>
                </a:lnTo>
                <a:lnTo>
                  <a:pt x="3208" y="48962"/>
                </a:lnTo>
                <a:lnTo>
                  <a:pt x="3585" y="49339"/>
                </a:lnTo>
                <a:lnTo>
                  <a:pt x="3774" y="49433"/>
                </a:lnTo>
                <a:lnTo>
                  <a:pt x="3962" y="49528"/>
                </a:lnTo>
                <a:lnTo>
                  <a:pt x="4057" y="49905"/>
                </a:lnTo>
                <a:lnTo>
                  <a:pt x="3868" y="48962"/>
                </a:lnTo>
                <a:lnTo>
                  <a:pt x="3491" y="47924"/>
                </a:lnTo>
                <a:lnTo>
                  <a:pt x="2641" y="45565"/>
                </a:lnTo>
                <a:lnTo>
                  <a:pt x="2170" y="43867"/>
                </a:lnTo>
                <a:lnTo>
                  <a:pt x="1698" y="41886"/>
                </a:lnTo>
                <a:lnTo>
                  <a:pt x="1698" y="41886"/>
                </a:lnTo>
                <a:lnTo>
                  <a:pt x="1887" y="42075"/>
                </a:lnTo>
                <a:lnTo>
                  <a:pt x="1981" y="41981"/>
                </a:lnTo>
                <a:lnTo>
                  <a:pt x="2075" y="42075"/>
                </a:lnTo>
                <a:lnTo>
                  <a:pt x="2264" y="42169"/>
                </a:lnTo>
                <a:lnTo>
                  <a:pt x="2170" y="40283"/>
                </a:lnTo>
                <a:lnTo>
                  <a:pt x="2075" y="38301"/>
                </a:lnTo>
                <a:lnTo>
                  <a:pt x="2170" y="36415"/>
                </a:lnTo>
                <a:lnTo>
                  <a:pt x="2358" y="35566"/>
                </a:lnTo>
                <a:lnTo>
                  <a:pt x="2453" y="34811"/>
                </a:lnTo>
                <a:lnTo>
                  <a:pt x="2830" y="32830"/>
                </a:lnTo>
                <a:lnTo>
                  <a:pt x="2830" y="33207"/>
                </a:lnTo>
                <a:lnTo>
                  <a:pt x="2924" y="33490"/>
                </a:lnTo>
                <a:lnTo>
                  <a:pt x="2924" y="32453"/>
                </a:lnTo>
                <a:lnTo>
                  <a:pt x="3019" y="31415"/>
                </a:lnTo>
                <a:lnTo>
                  <a:pt x="3396" y="29245"/>
                </a:lnTo>
                <a:lnTo>
                  <a:pt x="3868" y="27075"/>
                </a:lnTo>
                <a:lnTo>
                  <a:pt x="4623" y="25000"/>
                </a:lnTo>
                <a:lnTo>
                  <a:pt x="5566" y="22830"/>
                </a:lnTo>
                <a:lnTo>
                  <a:pt x="6604" y="20849"/>
                </a:lnTo>
                <a:lnTo>
                  <a:pt x="7830" y="18868"/>
                </a:lnTo>
                <a:lnTo>
                  <a:pt x="9151" y="16887"/>
                </a:lnTo>
                <a:lnTo>
                  <a:pt x="10566" y="15094"/>
                </a:lnTo>
                <a:lnTo>
                  <a:pt x="12075" y="13302"/>
                </a:lnTo>
                <a:lnTo>
                  <a:pt x="13773" y="11698"/>
                </a:lnTo>
                <a:lnTo>
                  <a:pt x="15377" y="10095"/>
                </a:lnTo>
                <a:lnTo>
                  <a:pt x="17170" y="8679"/>
                </a:lnTo>
                <a:lnTo>
                  <a:pt x="18962" y="7453"/>
                </a:lnTo>
                <a:lnTo>
                  <a:pt x="20754" y="6321"/>
                </a:lnTo>
                <a:lnTo>
                  <a:pt x="22547" y="5378"/>
                </a:lnTo>
                <a:lnTo>
                  <a:pt x="21603" y="6227"/>
                </a:lnTo>
                <a:lnTo>
                  <a:pt x="22641" y="5472"/>
                </a:lnTo>
                <a:lnTo>
                  <a:pt x="23302" y="5095"/>
                </a:lnTo>
                <a:lnTo>
                  <a:pt x="25377" y="4151"/>
                </a:lnTo>
                <a:lnTo>
                  <a:pt x="24811" y="4151"/>
                </a:lnTo>
                <a:lnTo>
                  <a:pt x="25660" y="3774"/>
                </a:lnTo>
                <a:lnTo>
                  <a:pt x="26886" y="3208"/>
                </a:lnTo>
                <a:lnTo>
                  <a:pt x="26603" y="3585"/>
                </a:lnTo>
                <a:lnTo>
                  <a:pt x="26886" y="3585"/>
                </a:lnTo>
                <a:lnTo>
                  <a:pt x="26886" y="3680"/>
                </a:lnTo>
                <a:lnTo>
                  <a:pt x="26792" y="3774"/>
                </a:lnTo>
                <a:lnTo>
                  <a:pt x="28301" y="3302"/>
                </a:lnTo>
                <a:lnTo>
                  <a:pt x="29622" y="2736"/>
                </a:lnTo>
                <a:lnTo>
                  <a:pt x="31037" y="2264"/>
                </a:lnTo>
                <a:lnTo>
                  <a:pt x="31792" y="2076"/>
                </a:lnTo>
                <a:lnTo>
                  <a:pt x="32641" y="1981"/>
                </a:lnTo>
                <a:lnTo>
                  <a:pt x="32547" y="2076"/>
                </a:lnTo>
                <a:lnTo>
                  <a:pt x="32924" y="1981"/>
                </a:lnTo>
                <a:lnTo>
                  <a:pt x="34245" y="1793"/>
                </a:lnTo>
                <a:lnTo>
                  <a:pt x="35848" y="1415"/>
                </a:lnTo>
                <a:lnTo>
                  <a:pt x="36981" y="1132"/>
                </a:lnTo>
                <a:lnTo>
                  <a:pt x="36981" y="1415"/>
                </a:lnTo>
                <a:lnTo>
                  <a:pt x="40943" y="1227"/>
                </a:lnTo>
                <a:lnTo>
                  <a:pt x="41509" y="1038"/>
                </a:lnTo>
                <a:lnTo>
                  <a:pt x="41697" y="1132"/>
                </a:lnTo>
                <a:lnTo>
                  <a:pt x="41509" y="1227"/>
                </a:lnTo>
                <a:lnTo>
                  <a:pt x="41320" y="1321"/>
                </a:lnTo>
                <a:lnTo>
                  <a:pt x="42263" y="1321"/>
                </a:lnTo>
                <a:lnTo>
                  <a:pt x="43113" y="1227"/>
                </a:lnTo>
                <a:lnTo>
                  <a:pt x="43396" y="1415"/>
                </a:lnTo>
                <a:lnTo>
                  <a:pt x="44056" y="1604"/>
                </a:lnTo>
                <a:lnTo>
                  <a:pt x="45943" y="2076"/>
                </a:lnTo>
                <a:lnTo>
                  <a:pt x="48018" y="2359"/>
                </a:lnTo>
                <a:lnTo>
                  <a:pt x="49622" y="2736"/>
                </a:lnTo>
                <a:lnTo>
                  <a:pt x="47641" y="1981"/>
                </a:lnTo>
                <a:lnTo>
                  <a:pt x="45282" y="1321"/>
                </a:lnTo>
                <a:lnTo>
                  <a:pt x="42735" y="755"/>
                </a:lnTo>
                <a:lnTo>
                  <a:pt x="40188" y="283"/>
                </a:lnTo>
                <a:lnTo>
                  <a:pt x="37735" y="95"/>
                </a:lnTo>
                <a:lnTo>
                  <a:pt x="35471" y="0"/>
                </a:lnTo>
                <a:close/>
              </a:path>
            </a:pathLst>
          </a:custGeom>
          <a:solidFill>
            <a:schemeClr val="bg1">
              <a:lumMod val="50000"/>
            </a:schemeClr>
          </a:solidFill>
          <a:ln>
            <a:noFill/>
          </a:ln>
        </p:spPr>
        <p:txBody>
          <a:bodyPr spcFirstLastPara="1" wrap="square" lIns="91425" tIns="91425" rIns="91425" bIns="91425" anchor="ctr" anchorCtr="0">
            <a:noAutofit/>
          </a:bodyPr>
          <a:lstStyle/>
          <a:p>
            <a:pPr marL="0" lvl="0" indent="0">
              <a:spcBef>
                <a:spcPts val="0"/>
              </a:spcBef>
              <a:spcAft>
                <a:spcPts val="0"/>
              </a:spcAft>
              <a:buNone/>
            </a:pPr>
            <a:endParaRPr sz="1200" dirty="0">
              <a:latin typeface="Comic Sans MS" panose="030F0902030302020204" pitchFamily="66" charset="0"/>
            </a:endParaRPr>
          </a:p>
        </p:txBody>
      </p:sp>
      <p:sp>
        <p:nvSpPr>
          <p:cNvPr id="108" name="Google Shape;431;p39">
            <a:extLst>
              <a:ext uri="{FF2B5EF4-FFF2-40B4-BE49-F238E27FC236}">
                <a16:creationId xmlns:a16="http://schemas.microsoft.com/office/drawing/2014/main" id="{9ED5342B-ACF7-EA46-8DE2-B89421851031}"/>
              </a:ext>
            </a:extLst>
          </p:cNvPr>
          <p:cNvSpPr/>
          <p:nvPr/>
        </p:nvSpPr>
        <p:spPr>
          <a:xfrm rot="21011211">
            <a:off x="6545774" y="2067092"/>
            <a:ext cx="863367" cy="884892"/>
          </a:xfrm>
          <a:custGeom>
            <a:avLst/>
            <a:gdLst/>
            <a:ahLst/>
            <a:cxnLst/>
            <a:rect l="0" t="0" r="0" b="0"/>
            <a:pathLst>
              <a:path w="67641" h="69056" extrusionOk="0">
                <a:moveTo>
                  <a:pt x="49622" y="2736"/>
                </a:moveTo>
                <a:lnTo>
                  <a:pt x="49622" y="2736"/>
                </a:lnTo>
                <a:lnTo>
                  <a:pt x="49622" y="2736"/>
                </a:lnTo>
                <a:close/>
                <a:moveTo>
                  <a:pt x="59622" y="55565"/>
                </a:moveTo>
                <a:lnTo>
                  <a:pt x="59622" y="55565"/>
                </a:lnTo>
                <a:lnTo>
                  <a:pt x="59622" y="55565"/>
                </a:lnTo>
                <a:close/>
                <a:moveTo>
                  <a:pt x="35471" y="0"/>
                </a:moveTo>
                <a:lnTo>
                  <a:pt x="34433" y="95"/>
                </a:lnTo>
                <a:lnTo>
                  <a:pt x="33584" y="189"/>
                </a:lnTo>
                <a:lnTo>
                  <a:pt x="32735" y="378"/>
                </a:lnTo>
                <a:lnTo>
                  <a:pt x="32169" y="566"/>
                </a:lnTo>
                <a:lnTo>
                  <a:pt x="31509" y="472"/>
                </a:lnTo>
                <a:lnTo>
                  <a:pt x="30754" y="472"/>
                </a:lnTo>
                <a:lnTo>
                  <a:pt x="29339" y="566"/>
                </a:lnTo>
                <a:lnTo>
                  <a:pt x="27830" y="849"/>
                </a:lnTo>
                <a:lnTo>
                  <a:pt x="26320" y="1321"/>
                </a:lnTo>
                <a:lnTo>
                  <a:pt x="24811" y="1981"/>
                </a:lnTo>
                <a:lnTo>
                  <a:pt x="23207" y="2736"/>
                </a:lnTo>
                <a:lnTo>
                  <a:pt x="21698" y="3585"/>
                </a:lnTo>
                <a:lnTo>
                  <a:pt x="20188" y="4623"/>
                </a:lnTo>
                <a:lnTo>
                  <a:pt x="18679" y="5661"/>
                </a:lnTo>
                <a:lnTo>
                  <a:pt x="17170" y="6793"/>
                </a:lnTo>
                <a:lnTo>
                  <a:pt x="15754" y="8019"/>
                </a:lnTo>
                <a:lnTo>
                  <a:pt x="14434" y="9151"/>
                </a:lnTo>
                <a:lnTo>
                  <a:pt x="11981" y="11510"/>
                </a:lnTo>
                <a:lnTo>
                  <a:pt x="10000" y="13774"/>
                </a:lnTo>
                <a:lnTo>
                  <a:pt x="7736" y="16981"/>
                </a:lnTo>
                <a:lnTo>
                  <a:pt x="8019" y="16321"/>
                </a:lnTo>
                <a:lnTo>
                  <a:pt x="8302" y="15660"/>
                </a:lnTo>
                <a:lnTo>
                  <a:pt x="7736" y="16604"/>
                </a:lnTo>
                <a:lnTo>
                  <a:pt x="7075" y="17642"/>
                </a:lnTo>
                <a:lnTo>
                  <a:pt x="7170" y="17830"/>
                </a:lnTo>
                <a:lnTo>
                  <a:pt x="6509" y="18868"/>
                </a:lnTo>
                <a:lnTo>
                  <a:pt x="7075" y="17359"/>
                </a:lnTo>
                <a:lnTo>
                  <a:pt x="6132" y="19057"/>
                </a:lnTo>
                <a:lnTo>
                  <a:pt x="5189" y="20849"/>
                </a:lnTo>
                <a:lnTo>
                  <a:pt x="4434" y="22736"/>
                </a:lnTo>
                <a:lnTo>
                  <a:pt x="3679" y="24622"/>
                </a:lnTo>
                <a:lnTo>
                  <a:pt x="2453" y="28490"/>
                </a:lnTo>
                <a:lnTo>
                  <a:pt x="1321" y="32169"/>
                </a:lnTo>
                <a:lnTo>
                  <a:pt x="1509" y="32264"/>
                </a:lnTo>
                <a:lnTo>
                  <a:pt x="1604" y="32453"/>
                </a:lnTo>
                <a:lnTo>
                  <a:pt x="1604" y="32641"/>
                </a:lnTo>
                <a:lnTo>
                  <a:pt x="1509" y="32924"/>
                </a:lnTo>
                <a:lnTo>
                  <a:pt x="1226" y="33396"/>
                </a:lnTo>
                <a:lnTo>
                  <a:pt x="1038" y="33585"/>
                </a:lnTo>
                <a:lnTo>
                  <a:pt x="1038" y="33773"/>
                </a:lnTo>
                <a:lnTo>
                  <a:pt x="1038" y="35000"/>
                </a:lnTo>
                <a:lnTo>
                  <a:pt x="849" y="36132"/>
                </a:lnTo>
                <a:lnTo>
                  <a:pt x="660" y="37358"/>
                </a:lnTo>
                <a:lnTo>
                  <a:pt x="472" y="38867"/>
                </a:lnTo>
                <a:lnTo>
                  <a:pt x="283" y="38301"/>
                </a:lnTo>
                <a:lnTo>
                  <a:pt x="94" y="39811"/>
                </a:lnTo>
                <a:lnTo>
                  <a:pt x="0" y="41509"/>
                </a:lnTo>
                <a:lnTo>
                  <a:pt x="94" y="43301"/>
                </a:lnTo>
                <a:lnTo>
                  <a:pt x="283" y="44056"/>
                </a:lnTo>
                <a:lnTo>
                  <a:pt x="472" y="44622"/>
                </a:lnTo>
                <a:lnTo>
                  <a:pt x="566" y="45660"/>
                </a:lnTo>
                <a:lnTo>
                  <a:pt x="755" y="46792"/>
                </a:lnTo>
                <a:lnTo>
                  <a:pt x="1226" y="48962"/>
                </a:lnTo>
                <a:lnTo>
                  <a:pt x="1981" y="51037"/>
                </a:lnTo>
                <a:lnTo>
                  <a:pt x="2924" y="53112"/>
                </a:lnTo>
                <a:lnTo>
                  <a:pt x="4057" y="55094"/>
                </a:lnTo>
                <a:lnTo>
                  <a:pt x="5283" y="56980"/>
                </a:lnTo>
                <a:lnTo>
                  <a:pt x="6698" y="58678"/>
                </a:lnTo>
                <a:lnTo>
                  <a:pt x="8113" y="60282"/>
                </a:lnTo>
                <a:lnTo>
                  <a:pt x="9056" y="61131"/>
                </a:lnTo>
                <a:lnTo>
                  <a:pt x="10000" y="61980"/>
                </a:lnTo>
                <a:lnTo>
                  <a:pt x="11038" y="62829"/>
                </a:lnTo>
                <a:lnTo>
                  <a:pt x="12075" y="63584"/>
                </a:lnTo>
                <a:lnTo>
                  <a:pt x="14339" y="64905"/>
                </a:lnTo>
                <a:lnTo>
                  <a:pt x="16604" y="66131"/>
                </a:lnTo>
                <a:lnTo>
                  <a:pt x="19056" y="67169"/>
                </a:lnTo>
                <a:lnTo>
                  <a:pt x="21509" y="67923"/>
                </a:lnTo>
                <a:lnTo>
                  <a:pt x="24056" y="68584"/>
                </a:lnTo>
                <a:lnTo>
                  <a:pt x="26603" y="69055"/>
                </a:lnTo>
                <a:lnTo>
                  <a:pt x="27830" y="69055"/>
                </a:lnTo>
                <a:lnTo>
                  <a:pt x="30188" y="68867"/>
                </a:lnTo>
                <a:lnTo>
                  <a:pt x="33113" y="68678"/>
                </a:lnTo>
                <a:lnTo>
                  <a:pt x="36509" y="68301"/>
                </a:lnTo>
                <a:lnTo>
                  <a:pt x="39811" y="67923"/>
                </a:lnTo>
                <a:lnTo>
                  <a:pt x="42735" y="67452"/>
                </a:lnTo>
                <a:lnTo>
                  <a:pt x="44905" y="66980"/>
                </a:lnTo>
                <a:lnTo>
                  <a:pt x="45565" y="66791"/>
                </a:lnTo>
                <a:lnTo>
                  <a:pt x="45943" y="66508"/>
                </a:lnTo>
                <a:lnTo>
                  <a:pt x="47358" y="65942"/>
                </a:lnTo>
                <a:lnTo>
                  <a:pt x="48018" y="65565"/>
                </a:lnTo>
                <a:lnTo>
                  <a:pt x="48678" y="65188"/>
                </a:lnTo>
                <a:lnTo>
                  <a:pt x="47924" y="65471"/>
                </a:lnTo>
                <a:lnTo>
                  <a:pt x="51509" y="62924"/>
                </a:lnTo>
                <a:lnTo>
                  <a:pt x="53301" y="61508"/>
                </a:lnTo>
                <a:lnTo>
                  <a:pt x="55093" y="59905"/>
                </a:lnTo>
                <a:lnTo>
                  <a:pt x="55093" y="59905"/>
                </a:lnTo>
                <a:lnTo>
                  <a:pt x="54810" y="60376"/>
                </a:lnTo>
                <a:lnTo>
                  <a:pt x="54339" y="60754"/>
                </a:lnTo>
                <a:lnTo>
                  <a:pt x="55376" y="59999"/>
                </a:lnTo>
                <a:lnTo>
                  <a:pt x="56320" y="59056"/>
                </a:lnTo>
                <a:lnTo>
                  <a:pt x="57075" y="58395"/>
                </a:lnTo>
                <a:lnTo>
                  <a:pt x="57169" y="58207"/>
                </a:lnTo>
                <a:lnTo>
                  <a:pt x="57075" y="58207"/>
                </a:lnTo>
                <a:lnTo>
                  <a:pt x="57924" y="57546"/>
                </a:lnTo>
                <a:lnTo>
                  <a:pt x="58678" y="56697"/>
                </a:lnTo>
                <a:lnTo>
                  <a:pt x="59339" y="55754"/>
                </a:lnTo>
                <a:lnTo>
                  <a:pt x="59905" y="54905"/>
                </a:lnTo>
                <a:lnTo>
                  <a:pt x="59716" y="54999"/>
                </a:lnTo>
                <a:lnTo>
                  <a:pt x="59622" y="54999"/>
                </a:lnTo>
                <a:lnTo>
                  <a:pt x="59810" y="54622"/>
                </a:lnTo>
                <a:lnTo>
                  <a:pt x="59150" y="55565"/>
                </a:lnTo>
                <a:lnTo>
                  <a:pt x="59527" y="55094"/>
                </a:lnTo>
                <a:lnTo>
                  <a:pt x="59433" y="55377"/>
                </a:lnTo>
                <a:lnTo>
                  <a:pt x="58867" y="56037"/>
                </a:lnTo>
                <a:lnTo>
                  <a:pt x="59056" y="55660"/>
                </a:lnTo>
                <a:lnTo>
                  <a:pt x="59056" y="55660"/>
                </a:lnTo>
                <a:lnTo>
                  <a:pt x="58678" y="56037"/>
                </a:lnTo>
                <a:lnTo>
                  <a:pt x="59810" y="54339"/>
                </a:lnTo>
                <a:lnTo>
                  <a:pt x="60282" y="53490"/>
                </a:lnTo>
                <a:lnTo>
                  <a:pt x="60282" y="53301"/>
                </a:lnTo>
                <a:lnTo>
                  <a:pt x="60188" y="53395"/>
                </a:lnTo>
                <a:lnTo>
                  <a:pt x="60188" y="53395"/>
                </a:lnTo>
                <a:lnTo>
                  <a:pt x="60565" y="52924"/>
                </a:lnTo>
                <a:lnTo>
                  <a:pt x="61037" y="52452"/>
                </a:lnTo>
                <a:lnTo>
                  <a:pt x="61886" y="51509"/>
                </a:lnTo>
                <a:lnTo>
                  <a:pt x="61508" y="52452"/>
                </a:lnTo>
                <a:lnTo>
                  <a:pt x="60848" y="53584"/>
                </a:lnTo>
                <a:lnTo>
                  <a:pt x="59622" y="55565"/>
                </a:lnTo>
                <a:lnTo>
                  <a:pt x="60376" y="54528"/>
                </a:lnTo>
                <a:lnTo>
                  <a:pt x="60942" y="53678"/>
                </a:lnTo>
                <a:lnTo>
                  <a:pt x="61980" y="51792"/>
                </a:lnTo>
                <a:lnTo>
                  <a:pt x="61886" y="51886"/>
                </a:lnTo>
                <a:lnTo>
                  <a:pt x="61886" y="51697"/>
                </a:lnTo>
                <a:lnTo>
                  <a:pt x="62169" y="51037"/>
                </a:lnTo>
                <a:lnTo>
                  <a:pt x="62735" y="49999"/>
                </a:lnTo>
                <a:lnTo>
                  <a:pt x="61508" y="51603"/>
                </a:lnTo>
                <a:lnTo>
                  <a:pt x="61603" y="51037"/>
                </a:lnTo>
                <a:lnTo>
                  <a:pt x="61697" y="50377"/>
                </a:lnTo>
                <a:lnTo>
                  <a:pt x="62169" y="48962"/>
                </a:lnTo>
                <a:lnTo>
                  <a:pt x="62829" y="47358"/>
                </a:lnTo>
                <a:lnTo>
                  <a:pt x="63678" y="45565"/>
                </a:lnTo>
                <a:lnTo>
                  <a:pt x="65376" y="42169"/>
                </a:lnTo>
                <a:lnTo>
                  <a:pt x="66131" y="40660"/>
                </a:lnTo>
                <a:lnTo>
                  <a:pt x="66697" y="39339"/>
                </a:lnTo>
                <a:lnTo>
                  <a:pt x="66603" y="39528"/>
                </a:lnTo>
                <a:lnTo>
                  <a:pt x="66697" y="39056"/>
                </a:lnTo>
                <a:lnTo>
                  <a:pt x="66791" y="38962"/>
                </a:lnTo>
                <a:lnTo>
                  <a:pt x="66791" y="39056"/>
                </a:lnTo>
                <a:lnTo>
                  <a:pt x="66886" y="38584"/>
                </a:lnTo>
                <a:lnTo>
                  <a:pt x="66791" y="38867"/>
                </a:lnTo>
                <a:lnTo>
                  <a:pt x="66980" y="38207"/>
                </a:lnTo>
                <a:lnTo>
                  <a:pt x="67169" y="37264"/>
                </a:lnTo>
                <a:lnTo>
                  <a:pt x="67263" y="36415"/>
                </a:lnTo>
                <a:lnTo>
                  <a:pt x="67357" y="36509"/>
                </a:lnTo>
                <a:lnTo>
                  <a:pt x="67452" y="36509"/>
                </a:lnTo>
                <a:lnTo>
                  <a:pt x="67546" y="35943"/>
                </a:lnTo>
                <a:lnTo>
                  <a:pt x="67546" y="34811"/>
                </a:lnTo>
                <a:lnTo>
                  <a:pt x="67640" y="31037"/>
                </a:lnTo>
                <a:lnTo>
                  <a:pt x="67640" y="28490"/>
                </a:lnTo>
                <a:lnTo>
                  <a:pt x="67546" y="27736"/>
                </a:lnTo>
                <a:lnTo>
                  <a:pt x="67546" y="27547"/>
                </a:lnTo>
                <a:lnTo>
                  <a:pt x="67452" y="27547"/>
                </a:lnTo>
                <a:lnTo>
                  <a:pt x="67074" y="26792"/>
                </a:lnTo>
                <a:lnTo>
                  <a:pt x="66791" y="25660"/>
                </a:lnTo>
                <a:lnTo>
                  <a:pt x="66508" y="24528"/>
                </a:lnTo>
                <a:lnTo>
                  <a:pt x="66414" y="23585"/>
                </a:lnTo>
                <a:lnTo>
                  <a:pt x="66320" y="23679"/>
                </a:lnTo>
                <a:lnTo>
                  <a:pt x="66320" y="23490"/>
                </a:lnTo>
                <a:lnTo>
                  <a:pt x="65942" y="22924"/>
                </a:lnTo>
                <a:lnTo>
                  <a:pt x="65565" y="22358"/>
                </a:lnTo>
                <a:lnTo>
                  <a:pt x="64527" y="21132"/>
                </a:lnTo>
                <a:lnTo>
                  <a:pt x="63584" y="19906"/>
                </a:lnTo>
                <a:lnTo>
                  <a:pt x="63207" y="19340"/>
                </a:lnTo>
                <a:lnTo>
                  <a:pt x="63018" y="18774"/>
                </a:lnTo>
                <a:lnTo>
                  <a:pt x="63112" y="18962"/>
                </a:lnTo>
                <a:lnTo>
                  <a:pt x="63301" y="19057"/>
                </a:lnTo>
                <a:lnTo>
                  <a:pt x="63301" y="19057"/>
                </a:lnTo>
                <a:lnTo>
                  <a:pt x="63207" y="18868"/>
                </a:lnTo>
                <a:lnTo>
                  <a:pt x="62923" y="18491"/>
                </a:lnTo>
                <a:lnTo>
                  <a:pt x="61980" y="17453"/>
                </a:lnTo>
                <a:lnTo>
                  <a:pt x="61037" y="16509"/>
                </a:lnTo>
                <a:lnTo>
                  <a:pt x="61037" y="16698"/>
                </a:lnTo>
                <a:lnTo>
                  <a:pt x="61037" y="16887"/>
                </a:lnTo>
                <a:lnTo>
                  <a:pt x="60093" y="15943"/>
                </a:lnTo>
                <a:lnTo>
                  <a:pt x="60376" y="16321"/>
                </a:lnTo>
                <a:lnTo>
                  <a:pt x="59527" y="15377"/>
                </a:lnTo>
                <a:lnTo>
                  <a:pt x="59056" y="14906"/>
                </a:lnTo>
                <a:lnTo>
                  <a:pt x="59244" y="14906"/>
                </a:lnTo>
                <a:lnTo>
                  <a:pt x="59905" y="15472"/>
                </a:lnTo>
                <a:lnTo>
                  <a:pt x="59905" y="15472"/>
                </a:lnTo>
                <a:lnTo>
                  <a:pt x="57641" y="13396"/>
                </a:lnTo>
                <a:lnTo>
                  <a:pt x="58112" y="13868"/>
                </a:lnTo>
                <a:lnTo>
                  <a:pt x="56886" y="13019"/>
                </a:lnTo>
                <a:lnTo>
                  <a:pt x="55754" y="12453"/>
                </a:lnTo>
                <a:lnTo>
                  <a:pt x="56603" y="13113"/>
                </a:lnTo>
                <a:lnTo>
                  <a:pt x="57452" y="13774"/>
                </a:lnTo>
                <a:lnTo>
                  <a:pt x="58961" y="15283"/>
                </a:lnTo>
                <a:lnTo>
                  <a:pt x="60376" y="16604"/>
                </a:lnTo>
                <a:lnTo>
                  <a:pt x="61225" y="17264"/>
                </a:lnTo>
                <a:lnTo>
                  <a:pt x="62074" y="17925"/>
                </a:lnTo>
                <a:lnTo>
                  <a:pt x="62074" y="17925"/>
                </a:lnTo>
                <a:lnTo>
                  <a:pt x="61414" y="17547"/>
                </a:lnTo>
                <a:lnTo>
                  <a:pt x="60659" y="16981"/>
                </a:lnTo>
                <a:lnTo>
                  <a:pt x="60754" y="17264"/>
                </a:lnTo>
                <a:lnTo>
                  <a:pt x="60942" y="17642"/>
                </a:lnTo>
                <a:lnTo>
                  <a:pt x="61980" y="19151"/>
                </a:lnTo>
                <a:lnTo>
                  <a:pt x="63301" y="20943"/>
                </a:lnTo>
                <a:lnTo>
                  <a:pt x="63207" y="20943"/>
                </a:lnTo>
                <a:lnTo>
                  <a:pt x="63395" y="21038"/>
                </a:lnTo>
                <a:lnTo>
                  <a:pt x="63490" y="21321"/>
                </a:lnTo>
                <a:lnTo>
                  <a:pt x="63678" y="21604"/>
                </a:lnTo>
                <a:lnTo>
                  <a:pt x="63773" y="21698"/>
                </a:lnTo>
                <a:lnTo>
                  <a:pt x="63584" y="21321"/>
                </a:lnTo>
                <a:lnTo>
                  <a:pt x="63584" y="21321"/>
                </a:lnTo>
                <a:lnTo>
                  <a:pt x="64244" y="22170"/>
                </a:lnTo>
                <a:lnTo>
                  <a:pt x="64716" y="22641"/>
                </a:lnTo>
                <a:lnTo>
                  <a:pt x="64905" y="22830"/>
                </a:lnTo>
                <a:lnTo>
                  <a:pt x="64999" y="22830"/>
                </a:lnTo>
                <a:lnTo>
                  <a:pt x="64999" y="22641"/>
                </a:lnTo>
                <a:lnTo>
                  <a:pt x="64905" y="22358"/>
                </a:lnTo>
                <a:lnTo>
                  <a:pt x="65282" y="23207"/>
                </a:lnTo>
                <a:lnTo>
                  <a:pt x="65565" y="24056"/>
                </a:lnTo>
                <a:lnTo>
                  <a:pt x="66225" y="25943"/>
                </a:lnTo>
                <a:lnTo>
                  <a:pt x="66697" y="27830"/>
                </a:lnTo>
                <a:lnTo>
                  <a:pt x="66886" y="28490"/>
                </a:lnTo>
                <a:lnTo>
                  <a:pt x="66980" y="28868"/>
                </a:lnTo>
                <a:lnTo>
                  <a:pt x="66886" y="28962"/>
                </a:lnTo>
                <a:lnTo>
                  <a:pt x="66697" y="28679"/>
                </a:lnTo>
                <a:lnTo>
                  <a:pt x="66697" y="29245"/>
                </a:lnTo>
                <a:lnTo>
                  <a:pt x="66791" y="29905"/>
                </a:lnTo>
                <a:lnTo>
                  <a:pt x="66886" y="29905"/>
                </a:lnTo>
                <a:lnTo>
                  <a:pt x="66886" y="30094"/>
                </a:lnTo>
                <a:lnTo>
                  <a:pt x="66886" y="30566"/>
                </a:lnTo>
                <a:lnTo>
                  <a:pt x="66697" y="30377"/>
                </a:lnTo>
                <a:lnTo>
                  <a:pt x="66603" y="30188"/>
                </a:lnTo>
                <a:lnTo>
                  <a:pt x="66603" y="30094"/>
                </a:lnTo>
                <a:lnTo>
                  <a:pt x="66697" y="29905"/>
                </a:lnTo>
                <a:lnTo>
                  <a:pt x="66508" y="28679"/>
                </a:lnTo>
                <a:lnTo>
                  <a:pt x="66225" y="27358"/>
                </a:lnTo>
                <a:lnTo>
                  <a:pt x="66603" y="30283"/>
                </a:lnTo>
                <a:lnTo>
                  <a:pt x="66697" y="31792"/>
                </a:lnTo>
                <a:lnTo>
                  <a:pt x="66697" y="33302"/>
                </a:lnTo>
                <a:lnTo>
                  <a:pt x="66603" y="34717"/>
                </a:lnTo>
                <a:lnTo>
                  <a:pt x="66414" y="36226"/>
                </a:lnTo>
                <a:lnTo>
                  <a:pt x="66131" y="37547"/>
                </a:lnTo>
                <a:lnTo>
                  <a:pt x="65659" y="38962"/>
                </a:lnTo>
                <a:lnTo>
                  <a:pt x="65848" y="38584"/>
                </a:lnTo>
                <a:lnTo>
                  <a:pt x="65942" y="38584"/>
                </a:lnTo>
                <a:lnTo>
                  <a:pt x="65848" y="39245"/>
                </a:lnTo>
                <a:lnTo>
                  <a:pt x="65565" y="40188"/>
                </a:lnTo>
                <a:lnTo>
                  <a:pt x="65471" y="40471"/>
                </a:lnTo>
                <a:lnTo>
                  <a:pt x="65282" y="40660"/>
                </a:lnTo>
                <a:lnTo>
                  <a:pt x="65282" y="40566"/>
                </a:lnTo>
                <a:lnTo>
                  <a:pt x="65093" y="41132"/>
                </a:lnTo>
                <a:lnTo>
                  <a:pt x="64433" y="43018"/>
                </a:lnTo>
                <a:lnTo>
                  <a:pt x="63678" y="45282"/>
                </a:lnTo>
                <a:lnTo>
                  <a:pt x="62735" y="47264"/>
                </a:lnTo>
                <a:lnTo>
                  <a:pt x="61697" y="49056"/>
                </a:lnTo>
                <a:lnTo>
                  <a:pt x="60659" y="50943"/>
                </a:lnTo>
                <a:lnTo>
                  <a:pt x="59433" y="52735"/>
                </a:lnTo>
                <a:lnTo>
                  <a:pt x="58207" y="54433"/>
                </a:lnTo>
                <a:lnTo>
                  <a:pt x="56886" y="56037"/>
                </a:lnTo>
                <a:lnTo>
                  <a:pt x="55376" y="57641"/>
                </a:lnTo>
                <a:lnTo>
                  <a:pt x="53867" y="59150"/>
                </a:lnTo>
                <a:lnTo>
                  <a:pt x="52169" y="60376"/>
                </a:lnTo>
                <a:lnTo>
                  <a:pt x="48961" y="62452"/>
                </a:lnTo>
                <a:lnTo>
                  <a:pt x="44528" y="65282"/>
                </a:lnTo>
                <a:lnTo>
                  <a:pt x="44622" y="65188"/>
                </a:lnTo>
                <a:lnTo>
                  <a:pt x="44716" y="65093"/>
                </a:lnTo>
                <a:lnTo>
                  <a:pt x="45094" y="64810"/>
                </a:lnTo>
                <a:lnTo>
                  <a:pt x="45660" y="64527"/>
                </a:lnTo>
                <a:lnTo>
                  <a:pt x="43867" y="65376"/>
                </a:lnTo>
                <a:lnTo>
                  <a:pt x="43113" y="65754"/>
                </a:lnTo>
                <a:lnTo>
                  <a:pt x="42924" y="65754"/>
                </a:lnTo>
                <a:lnTo>
                  <a:pt x="43113" y="65659"/>
                </a:lnTo>
                <a:lnTo>
                  <a:pt x="41603" y="66037"/>
                </a:lnTo>
                <a:lnTo>
                  <a:pt x="39999" y="66320"/>
                </a:lnTo>
                <a:lnTo>
                  <a:pt x="38396" y="66508"/>
                </a:lnTo>
                <a:lnTo>
                  <a:pt x="36792" y="66697"/>
                </a:lnTo>
                <a:lnTo>
                  <a:pt x="33584" y="66980"/>
                </a:lnTo>
                <a:lnTo>
                  <a:pt x="32169" y="67169"/>
                </a:lnTo>
                <a:lnTo>
                  <a:pt x="30754" y="67357"/>
                </a:lnTo>
                <a:lnTo>
                  <a:pt x="30094" y="67357"/>
                </a:lnTo>
                <a:lnTo>
                  <a:pt x="29339" y="67263"/>
                </a:lnTo>
                <a:lnTo>
                  <a:pt x="27830" y="66886"/>
                </a:lnTo>
                <a:lnTo>
                  <a:pt x="26415" y="66508"/>
                </a:lnTo>
                <a:lnTo>
                  <a:pt x="25754" y="66414"/>
                </a:lnTo>
                <a:lnTo>
                  <a:pt x="25094" y="66414"/>
                </a:lnTo>
                <a:lnTo>
                  <a:pt x="25566" y="66980"/>
                </a:lnTo>
                <a:lnTo>
                  <a:pt x="25471" y="67074"/>
                </a:lnTo>
                <a:lnTo>
                  <a:pt x="25188" y="66980"/>
                </a:lnTo>
                <a:lnTo>
                  <a:pt x="24339" y="66791"/>
                </a:lnTo>
                <a:lnTo>
                  <a:pt x="23773" y="66508"/>
                </a:lnTo>
                <a:lnTo>
                  <a:pt x="24245" y="66414"/>
                </a:lnTo>
                <a:lnTo>
                  <a:pt x="24717" y="66603"/>
                </a:lnTo>
                <a:lnTo>
                  <a:pt x="24811" y="66414"/>
                </a:lnTo>
                <a:lnTo>
                  <a:pt x="24811" y="66320"/>
                </a:lnTo>
                <a:lnTo>
                  <a:pt x="24717" y="66225"/>
                </a:lnTo>
                <a:lnTo>
                  <a:pt x="24528" y="66131"/>
                </a:lnTo>
                <a:lnTo>
                  <a:pt x="24151" y="66225"/>
                </a:lnTo>
                <a:lnTo>
                  <a:pt x="23679" y="66320"/>
                </a:lnTo>
                <a:lnTo>
                  <a:pt x="23018" y="66414"/>
                </a:lnTo>
                <a:lnTo>
                  <a:pt x="23490" y="66225"/>
                </a:lnTo>
                <a:lnTo>
                  <a:pt x="22075" y="65942"/>
                </a:lnTo>
                <a:lnTo>
                  <a:pt x="20943" y="65659"/>
                </a:lnTo>
                <a:lnTo>
                  <a:pt x="20000" y="65282"/>
                </a:lnTo>
                <a:lnTo>
                  <a:pt x="19056" y="64810"/>
                </a:lnTo>
                <a:lnTo>
                  <a:pt x="19056" y="64810"/>
                </a:lnTo>
                <a:lnTo>
                  <a:pt x="19717" y="64999"/>
                </a:lnTo>
                <a:lnTo>
                  <a:pt x="19151" y="64716"/>
                </a:lnTo>
                <a:lnTo>
                  <a:pt x="18962" y="64810"/>
                </a:lnTo>
                <a:lnTo>
                  <a:pt x="19151" y="64905"/>
                </a:lnTo>
                <a:lnTo>
                  <a:pt x="18490" y="64905"/>
                </a:lnTo>
                <a:lnTo>
                  <a:pt x="17830" y="64716"/>
                </a:lnTo>
                <a:lnTo>
                  <a:pt x="17264" y="64527"/>
                </a:lnTo>
                <a:lnTo>
                  <a:pt x="16698" y="64150"/>
                </a:lnTo>
                <a:lnTo>
                  <a:pt x="16981" y="64056"/>
                </a:lnTo>
                <a:lnTo>
                  <a:pt x="17264" y="64150"/>
                </a:lnTo>
                <a:lnTo>
                  <a:pt x="17264" y="64150"/>
                </a:lnTo>
                <a:lnTo>
                  <a:pt x="15188" y="63207"/>
                </a:lnTo>
                <a:lnTo>
                  <a:pt x="14622" y="62829"/>
                </a:lnTo>
                <a:lnTo>
                  <a:pt x="14717" y="62924"/>
                </a:lnTo>
                <a:lnTo>
                  <a:pt x="13773" y="62546"/>
                </a:lnTo>
                <a:lnTo>
                  <a:pt x="12924" y="62075"/>
                </a:lnTo>
                <a:lnTo>
                  <a:pt x="12358" y="61697"/>
                </a:lnTo>
                <a:lnTo>
                  <a:pt x="12264" y="61508"/>
                </a:lnTo>
                <a:lnTo>
                  <a:pt x="12170" y="61320"/>
                </a:lnTo>
                <a:lnTo>
                  <a:pt x="11698" y="60942"/>
                </a:lnTo>
                <a:lnTo>
                  <a:pt x="11132" y="60471"/>
                </a:lnTo>
                <a:lnTo>
                  <a:pt x="9906" y="59244"/>
                </a:lnTo>
                <a:lnTo>
                  <a:pt x="9906" y="59244"/>
                </a:lnTo>
                <a:lnTo>
                  <a:pt x="10566" y="59527"/>
                </a:lnTo>
                <a:lnTo>
                  <a:pt x="9434" y="58584"/>
                </a:lnTo>
                <a:lnTo>
                  <a:pt x="8207" y="57546"/>
                </a:lnTo>
                <a:lnTo>
                  <a:pt x="7547" y="56886"/>
                </a:lnTo>
                <a:lnTo>
                  <a:pt x="6981" y="56131"/>
                </a:lnTo>
                <a:lnTo>
                  <a:pt x="6226" y="55094"/>
                </a:lnTo>
                <a:lnTo>
                  <a:pt x="6415" y="55377"/>
                </a:lnTo>
                <a:lnTo>
                  <a:pt x="6038" y="54905"/>
                </a:lnTo>
                <a:lnTo>
                  <a:pt x="5472" y="54244"/>
                </a:lnTo>
                <a:lnTo>
                  <a:pt x="5283" y="53961"/>
                </a:lnTo>
                <a:lnTo>
                  <a:pt x="5094" y="53867"/>
                </a:lnTo>
                <a:lnTo>
                  <a:pt x="5377" y="54622"/>
                </a:lnTo>
                <a:lnTo>
                  <a:pt x="5849" y="55282"/>
                </a:lnTo>
                <a:lnTo>
                  <a:pt x="6321" y="55943"/>
                </a:lnTo>
                <a:lnTo>
                  <a:pt x="6698" y="56603"/>
                </a:lnTo>
                <a:lnTo>
                  <a:pt x="6226" y="56226"/>
                </a:lnTo>
                <a:lnTo>
                  <a:pt x="5943" y="55848"/>
                </a:lnTo>
                <a:lnTo>
                  <a:pt x="6038" y="56037"/>
                </a:lnTo>
                <a:lnTo>
                  <a:pt x="5943" y="55943"/>
                </a:lnTo>
                <a:lnTo>
                  <a:pt x="5377" y="55188"/>
                </a:lnTo>
                <a:lnTo>
                  <a:pt x="5000" y="54716"/>
                </a:lnTo>
                <a:lnTo>
                  <a:pt x="4717" y="54150"/>
                </a:lnTo>
                <a:lnTo>
                  <a:pt x="4528" y="53678"/>
                </a:lnTo>
                <a:lnTo>
                  <a:pt x="4528" y="53584"/>
                </a:lnTo>
                <a:lnTo>
                  <a:pt x="4623" y="53395"/>
                </a:lnTo>
                <a:lnTo>
                  <a:pt x="5094" y="54244"/>
                </a:lnTo>
                <a:lnTo>
                  <a:pt x="4717" y="53301"/>
                </a:lnTo>
                <a:lnTo>
                  <a:pt x="4528" y="53018"/>
                </a:lnTo>
                <a:lnTo>
                  <a:pt x="4151" y="52263"/>
                </a:lnTo>
                <a:lnTo>
                  <a:pt x="4151" y="52169"/>
                </a:lnTo>
                <a:lnTo>
                  <a:pt x="3774" y="51509"/>
                </a:lnTo>
                <a:lnTo>
                  <a:pt x="3396" y="50660"/>
                </a:lnTo>
                <a:lnTo>
                  <a:pt x="3585" y="51603"/>
                </a:lnTo>
                <a:lnTo>
                  <a:pt x="3396" y="51226"/>
                </a:lnTo>
                <a:lnTo>
                  <a:pt x="3208" y="50848"/>
                </a:lnTo>
                <a:lnTo>
                  <a:pt x="3208" y="50471"/>
                </a:lnTo>
                <a:lnTo>
                  <a:pt x="3208" y="50094"/>
                </a:lnTo>
                <a:lnTo>
                  <a:pt x="3585" y="50754"/>
                </a:lnTo>
                <a:lnTo>
                  <a:pt x="3868" y="51509"/>
                </a:lnTo>
                <a:lnTo>
                  <a:pt x="3868" y="51509"/>
                </a:lnTo>
                <a:lnTo>
                  <a:pt x="3208" y="49528"/>
                </a:lnTo>
                <a:lnTo>
                  <a:pt x="3208" y="49528"/>
                </a:lnTo>
                <a:lnTo>
                  <a:pt x="3868" y="50754"/>
                </a:lnTo>
                <a:lnTo>
                  <a:pt x="3208" y="48962"/>
                </a:lnTo>
                <a:lnTo>
                  <a:pt x="3585" y="49339"/>
                </a:lnTo>
                <a:lnTo>
                  <a:pt x="3774" y="49433"/>
                </a:lnTo>
                <a:lnTo>
                  <a:pt x="3962" y="49528"/>
                </a:lnTo>
                <a:lnTo>
                  <a:pt x="4057" y="49905"/>
                </a:lnTo>
                <a:lnTo>
                  <a:pt x="3868" y="48962"/>
                </a:lnTo>
                <a:lnTo>
                  <a:pt x="3491" y="47924"/>
                </a:lnTo>
                <a:lnTo>
                  <a:pt x="2641" y="45565"/>
                </a:lnTo>
                <a:lnTo>
                  <a:pt x="2170" y="43867"/>
                </a:lnTo>
                <a:lnTo>
                  <a:pt x="1698" y="41886"/>
                </a:lnTo>
                <a:lnTo>
                  <a:pt x="1698" y="41886"/>
                </a:lnTo>
                <a:lnTo>
                  <a:pt x="1887" y="42075"/>
                </a:lnTo>
                <a:lnTo>
                  <a:pt x="1981" y="41981"/>
                </a:lnTo>
                <a:lnTo>
                  <a:pt x="2075" y="42075"/>
                </a:lnTo>
                <a:lnTo>
                  <a:pt x="2264" y="42169"/>
                </a:lnTo>
                <a:lnTo>
                  <a:pt x="2170" y="40283"/>
                </a:lnTo>
                <a:lnTo>
                  <a:pt x="2075" y="38301"/>
                </a:lnTo>
                <a:lnTo>
                  <a:pt x="2170" y="36415"/>
                </a:lnTo>
                <a:lnTo>
                  <a:pt x="2358" y="35566"/>
                </a:lnTo>
                <a:lnTo>
                  <a:pt x="2453" y="34811"/>
                </a:lnTo>
                <a:lnTo>
                  <a:pt x="2830" y="32830"/>
                </a:lnTo>
                <a:lnTo>
                  <a:pt x="2830" y="33207"/>
                </a:lnTo>
                <a:lnTo>
                  <a:pt x="2924" y="33490"/>
                </a:lnTo>
                <a:lnTo>
                  <a:pt x="2924" y="32453"/>
                </a:lnTo>
                <a:lnTo>
                  <a:pt x="3019" y="31415"/>
                </a:lnTo>
                <a:lnTo>
                  <a:pt x="3396" y="29245"/>
                </a:lnTo>
                <a:lnTo>
                  <a:pt x="3868" y="27075"/>
                </a:lnTo>
                <a:lnTo>
                  <a:pt x="4623" y="25000"/>
                </a:lnTo>
                <a:lnTo>
                  <a:pt x="5566" y="22830"/>
                </a:lnTo>
                <a:lnTo>
                  <a:pt x="6604" y="20849"/>
                </a:lnTo>
                <a:lnTo>
                  <a:pt x="7830" y="18868"/>
                </a:lnTo>
                <a:lnTo>
                  <a:pt x="9151" y="16887"/>
                </a:lnTo>
                <a:lnTo>
                  <a:pt x="10566" y="15094"/>
                </a:lnTo>
                <a:lnTo>
                  <a:pt x="12075" y="13302"/>
                </a:lnTo>
                <a:lnTo>
                  <a:pt x="13773" y="11698"/>
                </a:lnTo>
                <a:lnTo>
                  <a:pt x="15377" y="10095"/>
                </a:lnTo>
                <a:lnTo>
                  <a:pt x="17170" y="8679"/>
                </a:lnTo>
                <a:lnTo>
                  <a:pt x="18962" y="7453"/>
                </a:lnTo>
                <a:lnTo>
                  <a:pt x="20754" y="6321"/>
                </a:lnTo>
                <a:lnTo>
                  <a:pt x="22547" y="5378"/>
                </a:lnTo>
                <a:lnTo>
                  <a:pt x="21603" y="6227"/>
                </a:lnTo>
                <a:lnTo>
                  <a:pt x="22641" y="5472"/>
                </a:lnTo>
                <a:lnTo>
                  <a:pt x="23302" y="5095"/>
                </a:lnTo>
                <a:lnTo>
                  <a:pt x="25377" y="4151"/>
                </a:lnTo>
                <a:lnTo>
                  <a:pt x="24811" y="4151"/>
                </a:lnTo>
                <a:lnTo>
                  <a:pt x="25660" y="3774"/>
                </a:lnTo>
                <a:lnTo>
                  <a:pt x="26886" y="3208"/>
                </a:lnTo>
                <a:lnTo>
                  <a:pt x="26603" y="3585"/>
                </a:lnTo>
                <a:lnTo>
                  <a:pt x="26886" y="3585"/>
                </a:lnTo>
                <a:lnTo>
                  <a:pt x="26886" y="3680"/>
                </a:lnTo>
                <a:lnTo>
                  <a:pt x="26792" y="3774"/>
                </a:lnTo>
                <a:lnTo>
                  <a:pt x="28301" y="3302"/>
                </a:lnTo>
                <a:lnTo>
                  <a:pt x="29622" y="2736"/>
                </a:lnTo>
                <a:lnTo>
                  <a:pt x="31037" y="2264"/>
                </a:lnTo>
                <a:lnTo>
                  <a:pt x="31792" y="2076"/>
                </a:lnTo>
                <a:lnTo>
                  <a:pt x="32641" y="1981"/>
                </a:lnTo>
                <a:lnTo>
                  <a:pt x="32547" y="2076"/>
                </a:lnTo>
                <a:lnTo>
                  <a:pt x="32924" y="1981"/>
                </a:lnTo>
                <a:lnTo>
                  <a:pt x="34245" y="1793"/>
                </a:lnTo>
                <a:lnTo>
                  <a:pt x="35848" y="1415"/>
                </a:lnTo>
                <a:lnTo>
                  <a:pt x="36981" y="1132"/>
                </a:lnTo>
                <a:lnTo>
                  <a:pt x="36981" y="1415"/>
                </a:lnTo>
                <a:lnTo>
                  <a:pt x="40943" y="1227"/>
                </a:lnTo>
                <a:lnTo>
                  <a:pt x="41509" y="1038"/>
                </a:lnTo>
                <a:lnTo>
                  <a:pt x="41697" y="1132"/>
                </a:lnTo>
                <a:lnTo>
                  <a:pt x="41509" y="1227"/>
                </a:lnTo>
                <a:lnTo>
                  <a:pt x="41320" y="1321"/>
                </a:lnTo>
                <a:lnTo>
                  <a:pt x="42263" y="1321"/>
                </a:lnTo>
                <a:lnTo>
                  <a:pt x="43113" y="1227"/>
                </a:lnTo>
                <a:lnTo>
                  <a:pt x="43396" y="1415"/>
                </a:lnTo>
                <a:lnTo>
                  <a:pt x="44056" y="1604"/>
                </a:lnTo>
                <a:lnTo>
                  <a:pt x="45943" y="2076"/>
                </a:lnTo>
                <a:lnTo>
                  <a:pt x="48018" y="2359"/>
                </a:lnTo>
                <a:lnTo>
                  <a:pt x="49622" y="2736"/>
                </a:lnTo>
                <a:lnTo>
                  <a:pt x="47641" y="1981"/>
                </a:lnTo>
                <a:lnTo>
                  <a:pt x="45282" y="1321"/>
                </a:lnTo>
                <a:lnTo>
                  <a:pt x="42735" y="755"/>
                </a:lnTo>
                <a:lnTo>
                  <a:pt x="40188" y="283"/>
                </a:lnTo>
                <a:lnTo>
                  <a:pt x="37735" y="95"/>
                </a:lnTo>
                <a:lnTo>
                  <a:pt x="35471" y="0"/>
                </a:lnTo>
                <a:close/>
              </a:path>
            </a:pathLst>
          </a:custGeom>
          <a:solidFill>
            <a:srgbClr val="87CBD8">
              <a:alpha val="60000"/>
            </a:srgbClr>
          </a:solidFill>
          <a:ln w="0">
            <a:solidFill>
              <a:srgbClr val="87CBD8">
                <a:alpha val="60000"/>
              </a:srgbClr>
            </a:solidFill>
          </a:ln>
        </p:spPr>
        <p:txBody>
          <a:bodyPr spcFirstLastPara="1" wrap="square" lIns="91425" tIns="91425" rIns="91425" bIns="91425" anchor="ctr" anchorCtr="0">
            <a:noAutofit/>
          </a:bodyPr>
          <a:lstStyle/>
          <a:p>
            <a:pPr marL="0" lvl="0" indent="0">
              <a:spcBef>
                <a:spcPts val="0"/>
              </a:spcBef>
              <a:spcAft>
                <a:spcPts val="0"/>
              </a:spcAft>
              <a:buNone/>
            </a:pPr>
            <a:endParaRPr sz="1200" dirty="0">
              <a:latin typeface="Comic Sans MS" panose="030F0902030302020204" pitchFamily="66" charset="0"/>
            </a:endParaRPr>
          </a:p>
        </p:txBody>
      </p:sp>
      <p:cxnSp>
        <p:nvCxnSpPr>
          <p:cNvPr id="109" name="Curved Connector 108">
            <a:extLst>
              <a:ext uri="{FF2B5EF4-FFF2-40B4-BE49-F238E27FC236}">
                <a16:creationId xmlns:a16="http://schemas.microsoft.com/office/drawing/2014/main" id="{BEA0BDC4-DF37-1243-8316-893D1FBC4683}"/>
              </a:ext>
            </a:extLst>
          </p:cNvPr>
          <p:cNvCxnSpPr>
            <a:cxnSpLocks/>
            <a:endCxn id="97" idx="3"/>
          </p:cNvCxnSpPr>
          <p:nvPr/>
        </p:nvCxnSpPr>
        <p:spPr>
          <a:xfrm rot="16200000" flipH="1">
            <a:off x="6995562" y="2267113"/>
            <a:ext cx="270134" cy="113707"/>
          </a:xfrm>
          <a:prstGeom prst="curvedConnector4">
            <a:avLst>
              <a:gd name="adj1" fmla="val 30061"/>
              <a:gd name="adj2" fmla="val 301043"/>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10" name="Curved Connector 109">
            <a:extLst>
              <a:ext uri="{FF2B5EF4-FFF2-40B4-BE49-F238E27FC236}">
                <a16:creationId xmlns:a16="http://schemas.microsoft.com/office/drawing/2014/main" id="{4101227D-B71F-CD4E-8C6D-CFAABA02E61E}"/>
              </a:ext>
            </a:extLst>
          </p:cNvPr>
          <p:cNvCxnSpPr>
            <a:cxnSpLocks/>
            <a:stCxn id="97" idx="0"/>
          </p:cNvCxnSpPr>
          <p:nvPr/>
        </p:nvCxnSpPr>
        <p:spPr>
          <a:xfrm rot="5400000" flipH="1" flipV="1">
            <a:off x="6898952" y="2280670"/>
            <a:ext cx="122941" cy="18344"/>
          </a:xfrm>
          <a:prstGeom prst="curvedConnector3">
            <a:avLst>
              <a:gd name="adj1" fmla="val 50000"/>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11" name="Curved Connector 110">
            <a:extLst>
              <a:ext uri="{FF2B5EF4-FFF2-40B4-BE49-F238E27FC236}">
                <a16:creationId xmlns:a16="http://schemas.microsoft.com/office/drawing/2014/main" id="{145C726A-4E09-C746-8B80-D2E755DB50B5}"/>
              </a:ext>
            </a:extLst>
          </p:cNvPr>
          <p:cNvCxnSpPr>
            <a:cxnSpLocks/>
            <a:stCxn id="97" idx="2"/>
          </p:cNvCxnSpPr>
          <p:nvPr/>
        </p:nvCxnSpPr>
        <p:spPr>
          <a:xfrm rot="16200000" flipH="1">
            <a:off x="6987664" y="2530342"/>
            <a:ext cx="142730" cy="215558"/>
          </a:xfrm>
          <a:prstGeom prst="curvedConnector2">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12" name="Curved Connector 111">
            <a:extLst>
              <a:ext uri="{FF2B5EF4-FFF2-40B4-BE49-F238E27FC236}">
                <a16:creationId xmlns:a16="http://schemas.microsoft.com/office/drawing/2014/main" id="{F89CB32F-FE2E-BF4E-86D3-00399B69336D}"/>
              </a:ext>
            </a:extLst>
          </p:cNvPr>
          <p:cNvCxnSpPr>
            <a:cxnSpLocks/>
          </p:cNvCxnSpPr>
          <p:nvPr/>
        </p:nvCxnSpPr>
        <p:spPr>
          <a:xfrm rot="10800000" flipV="1">
            <a:off x="6800470" y="2627301"/>
            <a:ext cx="138498" cy="87295"/>
          </a:xfrm>
          <a:prstGeom prst="curvedConnector3">
            <a:avLst>
              <a:gd name="adj1" fmla="val 50000"/>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13" name="Curved Connector 112">
            <a:extLst>
              <a:ext uri="{FF2B5EF4-FFF2-40B4-BE49-F238E27FC236}">
                <a16:creationId xmlns:a16="http://schemas.microsoft.com/office/drawing/2014/main" id="{AD4C2BA2-D107-EE46-B2D4-06A3D7AEEF1D}"/>
              </a:ext>
            </a:extLst>
          </p:cNvPr>
          <p:cNvCxnSpPr>
            <a:cxnSpLocks/>
            <a:endCxn id="97" idx="3"/>
          </p:cNvCxnSpPr>
          <p:nvPr/>
        </p:nvCxnSpPr>
        <p:spPr>
          <a:xfrm rot="16200000" flipV="1">
            <a:off x="7107226" y="2539291"/>
            <a:ext cx="209786" cy="49271"/>
          </a:xfrm>
          <a:prstGeom prst="curvedConnector2">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14" name="Curved Connector 113">
            <a:extLst>
              <a:ext uri="{FF2B5EF4-FFF2-40B4-BE49-F238E27FC236}">
                <a16:creationId xmlns:a16="http://schemas.microsoft.com/office/drawing/2014/main" id="{95DA8226-6523-FB49-BAAA-A9464C6BB67D}"/>
              </a:ext>
            </a:extLst>
          </p:cNvPr>
          <p:cNvCxnSpPr>
            <a:cxnSpLocks/>
          </p:cNvCxnSpPr>
          <p:nvPr/>
        </p:nvCxnSpPr>
        <p:spPr>
          <a:xfrm rot="5400000" flipH="1" flipV="1">
            <a:off x="6655400" y="2169171"/>
            <a:ext cx="351322" cy="12961"/>
          </a:xfrm>
          <a:prstGeom prst="curvedConnector3">
            <a:avLst>
              <a:gd name="adj1" fmla="val 50000"/>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15" name="Curved Connector 114">
            <a:extLst>
              <a:ext uri="{FF2B5EF4-FFF2-40B4-BE49-F238E27FC236}">
                <a16:creationId xmlns:a16="http://schemas.microsoft.com/office/drawing/2014/main" id="{DB16D7CD-9D5D-CA43-9185-70F969763A4E}"/>
              </a:ext>
            </a:extLst>
          </p:cNvPr>
          <p:cNvCxnSpPr>
            <a:cxnSpLocks/>
            <a:stCxn id="97" idx="1"/>
          </p:cNvCxnSpPr>
          <p:nvPr/>
        </p:nvCxnSpPr>
        <p:spPr>
          <a:xfrm rot="10800000" flipV="1">
            <a:off x="6471336" y="2459034"/>
            <a:ext cx="243680" cy="19238"/>
          </a:xfrm>
          <a:prstGeom prst="curvedConnector3">
            <a:avLst>
              <a:gd name="adj1" fmla="val 50000"/>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16" name="Curved Connector 115">
            <a:extLst>
              <a:ext uri="{FF2B5EF4-FFF2-40B4-BE49-F238E27FC236}">
                <a16:creationId xmlns:a16="http://schemas.microsoft.com/office/drawing/2014/main" id="{A8694E0E-14C6-E843-8F13-C72B4AE4EA67}"/>
              </a:ext>
            </a:extLst>
          </p:cNvPr>
          <p:cNvCxnSpPr>
            <a:cxnSpLocks/>
            <a:stCxn id="97" idx="2"/>
          </p:cNvCxnSpPr>
          <p:nvPr/>
        </p:nvCxnSpPr>
        <p:spPr>
          <a:xfrm rot="16200000" flipH="1">
            <a:off x="6794045" y="2723961"/>
            <a:ext cx="436936" cy="122526"/>
          </a:xfrm>
          <a:prstGeom prst="curvedConnector3">
            <a:avLst>
              <a:gd name="adj1" fmla="val 50000"/>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17" name="Curved Connector 116">
            <a:extLst>
              <a:ext uri="{FF2B5EF4-FFF2-40B4-BE49-F238E27FC236}">
                <a16:creationId xmlns:a16="http://schemas.microsoft.com/office/drawing/2014/main" id="{3173E68F-8C98-A047-BE1C-578463D9BDEC}"/>
              </a:ext>
            </a:extLst>
          </p:cNvPr>
          <p:cNvCxnSpPr>
            <a:cxnSpLocks/>
            <a:endCxn id="97" idx="2"/>
          </p:cNvCxnSpPr>
          <p:nvPr/>
        </p:nvCxnSpPr>
        <p:spPr>
          <a:xfrm rot="16200000" flipV="1">
            <a:off x="6810330" y="2707676"/>
            <a:ext cx="452328" cy="170488"/>
          </a:xfrm>
          <a:prstGeom prst="curvedConnector3">
            <a:avLst>
              <a:gd name="adj1" fmla="val 50000"/>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18" name="Curved Connector 117">
            <a:extLst>
              <a:ext uri="{FF2B5EF4-FFF2-40B4-BE49-F238E27FC236}">
                <a16:creationId xmlns:a16="http://schemas.microsoft.com/office/drawing/2014/main" id="{DE74C32D-3BEF-2D4E-B390-32837E81BEBF}"/>
              </a:ext>
            </a:extLst>
          </p:cNvPr>
          <p:cNvCxnSpPr>
            <a:cxnSpLocks/>
            <a:stCxn id="97" idx="1"/>
          </p:cNvCxnSpPr>
          <p:nvPr/>
        </p:nvCxnSpPr>
        <p:spPr>
          <a:xfrm rot="10800000" flipV="1">
            <a:off x="6566582" y="2459034"/>
            <a:ext cx="148435" cy="440842"/>
          </a:xfrm>
          <a:prstGeom prst="curvedConnector2">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19" name="Curved Connector 118">
            <a:extLst>
              <a:ext uri="{FF2B5EF4-FFF2-40B4-BE49-F238E27FC236}">
                <a16:creationId xmlns:a16="http://schemas.microsoft.com/office/drawing/2014/main" id="{59DA1D48-574F-C142-88B8-1761E31D5C93}"/>
              </a:ext>
            </a:extLst>
          </p:cNvPr>
          <p:cNvCxnSpPr>
            <a:cxnSpLocks/>
          </p:cNvCxnSpPr>
          <p:nvPr/>
        </p:nvCxnSpPr>
        <p:spPr>
          <a:xfrm rot="5400000" flipH="1" flipV="1">
            <a:off x="6501610" y="2703534"/>
            <a:ext cx="365807" cy="140225"/>
          </a:xfrm>
          <a:prstGeom prst="curvedConnector3">
            <a:avLst>
              <a:gd name="adj1" fmla="val 50000"/>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sp>
        <p:nvSpPr>
          <p:cNvPr id="125" name="Google Shape;431;p39">
            <a:extLst>
              <a:ext uri="{FF2B5EF4-FFF2-40B4-BE49-F238E27FC236}">
                <a16:creationId xmlns:a16="http://schemas.microsoft.com/office/drawing/2014/main" id="{47909BC9-DBDA-A245-BB5A-E64715BA26E5}"/>
              </a:ext>
            </a:extLst>
          </p:cNvPr>
          <p:cNvSpPr/>
          <p:nvPr/>
        </p:nvSpPr>
        <p:spPr>
          <a:xfrm rot="21011211">
            <a:off x="5573001" y="3645034"/>
            <a:ext cx="489211" cy="443148"/>
          </a:xfrm>
          <a:custGeom>
            <a:avLst/>
            <a:gdLst/>
            <a:ahLst/>
            <a:cxnLst/>
            <a:rect l="0" t="0" r="0" b="0"/>
            <a:pathLst>
              <a:path w="67641" h="69056" extrusionOk="0">
                <a:moveTo>
                  <a:pt x="49622" y="2736"/>
                </a:moveTo>
                <a:lnTo>
                  <a:pt x="49622" y="2736"/>
                </a:lnTo>
                <a:lnTo>
                  <a:pt x="49622" y="2736"/>
                </a:lnTo>
                <a:close/>
                <a:moveTo>
                  <a:pt x="59622" y="55565"/>
                </a:moveTo>
                <a:lnTo>
                  <a:pt x="59622" y="55565"/>
                </a:lnTo>
                <a:lnTo>
                  <a:pt x="59622" y="55565"/>
                </a:lnTo>
                <a:close/>
                <a:moveTo>
                  <a:pt x="35471" y="0"/>
                </a:moveTo>
                <a:lnTo>
                  <a:pt x="34433" y="95"/>
                </a:lnTo>
                <a:lnTo>
                  <a:pt x="33584" y="189"/>
                </a:lnTo>
                <a:lnTo>
                  <a:pt x="32735" y="378"/>
                </a:lnTo>
                <a:lnTo>
                  <a:pt x="32169" y="566"/>
                </a:lnTo>
                <a:lnTo>
                  <a:pt x="31509" y="472"/>
                </a:lnTo>
                <a:lnTo>
                  <a:pt x="30754" y="472"/>
                </a:lnTo>
                <a:lnTo>
                  <a:pt x="29339" y="566"/>
                </a:lnTo>
                <a:lnTo>
                  <a:pt x="27830" y="849"/>
                </a:lnTo>
                <a:lnTo>
                  <a:pt x="26320" y="1321"/>
                </a:lnTo>
                <a:lnTo>
                  <a:pt x="24811" y="1981"/>
                </a:lnTo>
                <a:lnTo>
                  <a:pt x="23207" y="2736"/>
                </a:lnTo>
                <a:lnTo>
                  <a:pt x="21698" y="3585"/>
                </a:lnTo>
                <a:lnTo>
                  <a:pt x="20188" y="4623"/>
                </a:lnTo>
                <a:lnTo>
                  <a:pt x="18679" y="5661"/>
                </a:lnTo>
                <a:lnTo>
                  <a:pt x="17170" y="6793"/>
                </a:lnTo>
                <a:lnTo>
                  <a:pt x="15754" y="8019"/>
                </a:lnTo>
                <a:lnTo>
                  <a:pt x="14434" y="9151"/>
                </a:lnTo>
                <a:lnTo>
                  <a:pt x="11981" y="11510"/>
                </a:lnTo>
                <a:lnTo>
                  <a:pt x="10000" y="13774"/>
                </a:lnTo>
                <a:lnTo>
                  <a:pt x="7736" y="16981"/>
                </a:lnTo>
                <a:lnTo>
                  <a:pt x="8019" y="16321"/>
                </a:lnTo>
                <a:lnTo>
                  <a:pt x="8302" y="15660"/>
                </a:lnTo>
                <a:lnTo>
                  <a:pt x="7736" y="16604"/>
                </a:lnTo>
                <a:lnTo>
                  <a:pt x="7075" y="17642"/>
                </a:lnTo>
                <a:lnTo>
                  <a:pt x="7170" y="17830"/>
                </a:lnTo>
                <a:lnTo>
                  <a:pt x="6509" y="18868"/>
                </a:lnTo>
                <a:lnTo>
                  <a:pt x="7075" y="17359"/>
                </a:lnTo>
                <a:lnTo>
                  <a:pt x="6132" y="19057"/>
                </a:lnTo>
                <a:lnTo>
                  <a:pt x="5189" y="20849"/>
                </a:lnTo>
                <a:lnTo>
                  <a:pt x="4434" y="22736"/>
                </a:lnTo>
                <a:lnTo>
                  <a:pt x="3679" y="24622"/>
                </a:lnTo>
                <a:lnTo>
                  <a:pt x="2453" y="28490"/>
                </a:lnTo>
                <a:lnTo>
                  <a:pt x="1321" y="32169"/>
                </a:lnTo>
                <a:lnTo>
                  <a:pt x="1509" y="32264"/>
                </a:lnTo>
                <a:lnTo>
                  <a:pt x="1604" y="32453"/>
                </a:lnTo>
                <a:lnTo>
                  <a:pt x="1604" y="32641"/>
                </a:lnTo>
                <a:lnTo>
                  <a:pt x="1509" y="32924"/>
                </a:lnTo>
                <a:lnTo>
                  <a:pt x="1226" y="33396"/>
                </a:lnTo>
                <a:lnTo>
                  <a:pt x="1038" y="33585"/>
                </a:lnTo>
                <a:lnTo>
                  <a:pt x="1038" y="33773"/>
                </a:lnTo>
                <a:lnTo>
                  <a:pt x="1038" y="35000"/>
                </a:lnTo>
                <a:lnTo>
                  <a:pt x="849" y="36132"/>
                </a:lnTo>
                <a:lnTo>
                  <a:pt x="660" y="37358"/>
                </a:lnTo>
                <a:lnTo>
                  <a:pt x="472" y="38867"/>
                </a:lnTo>
                <a:lnTo>
                  <a:pt x="283" y="38301"/>
                </a:lnTo>
                <a:lnTo>
                  <a:pt x="94" y="39811"/>
                </a:lnTo>
                <a:lnTo>
                  <a:pt x="0" y="41509"/>
                </a:lnTo>
                <a:lnTo>
                  <a:pt x="94" y="43301"/>
                </a:lnTo>
                <a:lnTo>
                  <a:pt x="283" y="44056"/>
                </a:lnTo>
                <a:lnTo>
                  <a:pt x="472" y="44622"/>
                </a:lnTo>
                <a:lnTo>
                  <a:pt x="566" y="45660"/>
                </a:lnTo>
                <a:lnTo>
                  <a:pt x="755" y="46792"/>
                </a:lnTo>
                <a:lnTo>
                  <a:pt x="1226" y="48962"/>
                </a:lnTo>
                <a:lnTo>
                  <a:pt x="1981" y="51037"/>
                </a:lnTo>
                <a:lnTo>
                  <a:pt x="2924" y="53112"/>
                </a:lnTo>
                <a:lnTo>
                  <a:pt x="4057" y="55094"/>
                </a:lnTo>
                <a:lnTo>
                  <a:pt x="5283" y="56980"/>
                </a:lnTo>
                <a:lnTo>
                  <a:pt x="6698" y="58678"/>
                </a:lnTo>
                <a:lnTo>
                  <a:pt x="8113" y="60282"/>
                </a:lnTo>
                <a:lnTo>
                  <a:pt x="9056" y="61131"/>
                </a:lnTo>
                <a:lnTo>
                  <a:pt x="10000" y="61980"/>
                </a:lnTo>
                <a:lnTo>
                  <a:pt x="11038" y="62829"/>
                </a:lnTo>
                <a:lnTo>
                  <a:pt x="12075" y="63584"/>
                </a:lnTo>
                <a:lnTo>
                  <a:pt x="14339" y="64905"/>
                </a:lnTo>
                <a:lnTo>
                  <a:pt x="16604" y="66131"/>
                </a:lnTo>
                <a:lnTo>
                  <a:pt x="19056" y="67169"/>
                </a:lnTo>
                <a:lnTo>
                  <a:pt x="21509" y="67923"/>
                </a:lnTo>
                <a:lnTo>
                  <a:pt x="24056" y="68584"/>
                </a:lnTo>
                <a:lnTo>
                  <a:pt x="26603" y="69055"/>
                </a:lnTo>
                <a:lnTo>
                  <a:pt x="27830" y="69055"/>
                </a:lnTo>
                <a:lnTo>
                  <a:pt x="30188" y="68867"/>
                </a:lnTo>
                <a:lnTo>
                  <a:pt x="33113" y="68678"/>
                </a:lnTo>
                <a:lnTo>
                  <a:pt x="36509" y="68301"/>
                </a:lnTo>
                <a:lnTo>
                  <a:pt x="39811" y="67923"/>
                </a:lnTo>
                <a:lnTo>
                  <a:pt x="42735" y="67452"/>
                </a:lnTo>
                <a:lnTo>
                  <a:pt x="44905" y="66980"/>
                </a:lnTo>
                <a:lnTo>
                  <a:pt x="45565" y="66791"/>
                </a:lnTo>
                <a:lnTo>
                  <a:pt x="45943" y="66508"/>
                </a:lnTo>
                <a:lnTo>
                  <a:pt x="47358" y="65942"/>
                </a:lnTo>
                <a:lnTo>
                  <a:pt x="48018" y="65565"/>
                </a:lnTo>
                <a:lnTo>
                  <a:pt x="48678" y="65188"/>
                </a:lnTo>
                <a:lnTo>
                  <a:pt x="47924" y="65471"/>
                </a:lnTo>
                <a:lnTo>
                  <a:pt x="51509" y="62924"/>
                </a:lnTo>
                <a:lnTo>
                  <a:pt x="53301" y="61508"/>
                </a:lnTo>
                <a:lnTo>
                  <a:pt x="55093" y="59905"/>
                </a:lnTo>
                <a:lnTo>
                  <a:pt x="55093" y="59905"/>
                </a:lnTo>
                <a:lnTo>
                  <a:pt x="54810" y="60376"/>
                </a:lnTo>
                <a:lnTo>
                  <a:pt x="54339" y="60754"/>
                </a:lnTo>
                <a:lnTo>
                  <a:pt x="55376" y="59999"/>
                </a:lnTo>
                <a:lnTo>
                  <a:pt x="56320" y="59056"/>
                </a:lnTo>
                <a:lnTo>
                  <a:pt x="57075" y="58395"/>
                </a:lnTo>
                <a:lnTo>
                  <a:pt x="57169" y="58207"/>
                </a:lnTo>
                <a:lnTo>
                  <a:pt x="57075" y="58207"/>
                </a:lnTo>
                <a:lnTo>
                  <a:pt x="57924" y="57546"/>
                </a:lnTo>
                <a:lnTo>
                  <a:pt x="58678" y="56697"/>
                </a:lnTo>
                <a:lnTo>
                  <a:pt x="59339" y="55754"/>
                </a:lnTo>
                <a:lnTo>
                  <a:pt x="59905" y="54905"/>
                </a:lnTo>
                <a:lnTo>
                  <a:pt x="59716" y="54999"/>
                </a:lnTo>
                <a:lnTo>
                  <a:pt x="59622" y="54999"/>
                </a:lnTo>
                <a:lnTo>
                  <a:pt x="59810" y="54622"/>
                </a:lnTo>
                <a:lnTo>
                  <a:pt x="59150" y="55565"/>
                </a:lnTo>
                <a:lnTo>
                  <a:pt x="59527" y="55094"/>
                </a:lnTo>
                <a:lnTo>
                  <a:pt x="59433" y="55377"/>
                </a:lnTo>
                <a:lnTo>
                  <a:pt x="58867" y="56037"/>
                </a:lnTo>
                <a:lnTo>
                  <a:pt x="59056" y="55660"/>
                </a:lnTo>
                <a:lnTo>
                  <a:pt x="59056" y="55660"/>
                </a:lnTo>
                <a:lnTo>
                  <a:pt x="58678" y="56037"/>
                </a:lnTo>
                <a:lnTo>
                  <a:pt x="59810" y="54339"/>
                </a:lnTo>
                <a:lnTo>
                  <a:pt x="60282" y="53490"/>
                </a:lnTo>
                <a:lnTo>
                  <a:pt x="60282" y="53301"/>
                </a:lnTo>
                <a:lnTo>
                  <a:pt x="60188" y="53395"/>
                </a:lnTo>
                <a:lnTo>
                  <a:pt x="60188" y="53395"/>
                </a:lnTo>
                <a:lnTo>
                  <a:pt x="60565" y="52924"/>
                </a:lnTo>
                <a:lnTo>
                  <a:pt x="61037" y="52452"/>
                </a:lnTo>
                <a:lnTo>
                  <a:pt x="61886" y="51509"/>
                </a:lnTo>
                <a:lnTo>
                  <a:pt x="61508" y="52452"/>
                </a:lnTo>
                <a:lnTo>
                  <a:pt x="60848" y="53584"/>
                </a:lnTo>
                <a:lnTo>
                  <a:pt x="59622" y="55565"/>
                </a:lnTo>
                <a:lnTo>
                  <a:pt x="60376" y="54528"/>
                </a:lnTo>
                <a:lnTo>
                  <a:pt x="60942" y="53678"/>
                </a:lnTo>
                <a:lnTo>
                  <a:pt x="61980" y="51792"/>
                </a:lnTo>
                <a:lnTo>
                  <a:pt x="61886" y="51886"/>
                </a:lnTo>
                <a:lnTo>
                  <a:pt x="61886" y="51697"/>
                </a:lnTo>
                <a:lnTo>
                  <a:pt x="62169" y="51037"/>
                </a:lnTo>
                <a:lnTo>
                  <a:pt x="62735" y="49999"/>
                </a:lnTo>
                <a:lnTo>
                  <a:pt x="61508" y="51603"/>
                </a:lnTo>
                <a:lnTo>
                  <a:pt x="61603" y="51037"/>
                </a:lnTo>
                <a:lnTo>
                  <a:pt x="61697" y="50377"/>
                </a:lnTo>
                <a:lnTo>
                  <a:pt x="62169" y="48962"/>
                </a:lnTo>
                <a:lnTo>
                  <a:pt x="62829" y="47358"/>
                </a:lnTo>
                <a:lnTo>
                  <a:pt x="63678" y="45565"/>
                </a:lnTo>
                <a:lnTo>
                  <a:pt x="65376" y="42169"/>
                </a:lnTo>
                <a:lnTo>
                  <a:pt x="66131" y="40660"/>
                </a:lnTo>
                <a:lnTo>
                  <a:pt x="66697" y="39339"/>
                </a:lnTo>
                <a:lnTo>
                  <a:pt x="66603" y="39528"/>
                </a:lnTo>
                <a:lnTo>
                  <a:pt x="66697" y="39056"/>
                </a:lnTo>
                <a:lnTo>
                  <a:pt x="66791" y="38962"/>
                </a:lnTo>
                <a:lnTo>
                  <a:pt x="66791" y="39056"/>
                </a:lnTo>
                <a:lnTo>
                  <a:pt x="66886" y="38584"/>
                </a:lnTo>
                <a:lnTo>
                  <a:pt x="66791" y="38867"/>
                </a:lnTo>
                <a:lnTo>
                  <a:pt x="66980" y="38207"/>
                </a:lnTo>
                <a:lnTo>
                  <a:pt x="67169" y="37264"/>
                </a:lnTo>
                <a:lnTo>
                  <a:pt x="67263" y="36415"/>
                </a:lnTo>
                <a:lnTo>
                  <a:pt x="67357" y="36509"/>
                </a:lnTo>
                <a:lnTo>
                  <a:pt x="67452" y="36509"/>
                </a:lnTo>
                <a:lnTo>
                  <a:pt x="67546" y="35943"/>
                </a:lnTo>
                <a:lnTo>
                  <a:pt x="67546" y="34811"/>
                </a:lnTo>
                <a:lnTo>
                  <a:pt x="67640" y="31037"/>
                </a:lnTo>
                <a:lnTo>
                  <a:pt x="67640" y="28490"/>
                </a:lnTo>
                <a:lnTo>
                  <a:pt x="67546" y="27736"/>
                </a:lnTo>
                <a:lnTo>
                  <a:pt x="67546" y="27547"/>
                </a:lnTo>
                <a:lnTo>
                  <a:pt x="67452" y="27547"/>
                </a:lnTo>
                <a:lnTo>
                  <a:pt x="67074" y="26792"/>
                </a:lnTo>
                <a:lnTo>
                  <a:pt x="66791" y="25660"/>
                </a:lnTo>
                <a:lnTo>
                  <a:pt x="66508" y="24528"/>
                </a:lnTo>
                <a:lnTo>
                  <a:pt x="66414" y="23585"/>
                </a:lnTo>
                <a:lnTo>
                  <a:pt x="66320" y="23679"/>
                </a:lnTo>
                <a:lnTo>
                  <a:pt x="66320" y="23490"/>
                </a:lnTo>
                <a:lnTo>
                  <a:pt x="65942" y="22924"/>
                </a:lnTo>
                <a:lnTo>
                  <a:pt x="65565" y="22358"/>
                </a:lnTo>
                <a:lnTo>
                  <a:pt x="64527" y="21132"/>
                </a:lnTo>
                <a:lnTo>
                  <a:pt x="63584" y="19906"/>
                </a:lnTo>
                <a:lnTo>
                  <a:pt x="63207" y="19340"/>
                </a:lnTo>
                <a:lnTo>
                  <a:pt x="63018" y="18774"/>
                </a:lnTo>
                <a:lnTo>
                  <a:pt x="63112" y="18962"/>
                </a:lnTo>
                <a:lnTo>
                  <a:pt x="63301" y="19057"/>
                </a:lnTo>
                <a:lnTo>
                  <a:pt x="63301" y="19057"/>
                </a:lnTo>
                <a:lnTo>
                  <a:pt x="63207" y="18868"/>
                </a:lnTo>
                <a:lnTo>
                  <a:pt x="62923" y="18491"/>
                </a:lnTo>
                <a:lnTo>
                  <a:pt x="61980" y="17453"/>
                </a:lnTo>
                <a:lnTo>
                  <a:pt x="61037" y="16509"/>
                </a:lnTo>
                <a:lnTo>
                  <a:pt x="61037" y="16698"/>
                </a:lnTo>
                <a:lnTo>
                  <a:pt x="61037" y="16887"/>
                </a:lnTo>
                <a:lnTo>
                  <a:pt x="60093" y="15943"/>
                </a:lnTo>
                <a:lnTo>
                  <a:pt x="60376" y="16321"/>
                </a:lnTo>
                <a:lnTo>
                  <a:pt x="59527" y="15377"/>
                </a:lnTo>
                <a:lnTo>
                  <a:pt x="59056" y="14906"/>
                </a:lnTo>
                <a:lnTo>
                  <a:pt x="59244" y="14906"/>
                </a:lnTo>
                <a:lnTo>
                  <a:pt x="59905" y="15472"/>
                </a:lnTo>
                <a:lnTo>
                  <a:pt x="59905" y="15472"/>
                </a:lnTo>
                <a:lnTo>
                  <a:pt x="57641" y="13396"/>
                </a:lnTo>
                <a:lnTo>
                  <a:pt x="58112" y="13868"/>
                </a:lnTo>
                <a:lnTo>
                  <a:pt x="56886" y="13019"/>
                </a:lnTo>
                <a:lnTo>
                  <a:pt x="55754" y="12453"/>
                </a:lnTo>
                <a:lnTo>
                  <a:pt x="56603" y="13113"/>
                </a:lnTo>
                <a:lnTo>
                  <a:pt x="57452" y="13774"/>
                </a:lnTo>
                <a:lnTo>
                  <a:pt x="58961" y="15283"/>
                </a:lnTo>
                <a:lnTo>
                  <a:pt x="60376" y="16604"/>
                </a:lnTo>
                <a:lnTo>
                  <a:pt x="61225" y="17264"/>
                </a:lnTo>
                <a:lnTo>
                  <a:pt x="62074" y="17925"/>
                </a:lnTo>
                <a:lnTo>
                  <a:pt x="62074" y="17925"/>
                </a:lnTo>
                <a:lnTo>
                  <a:pt x="61414" y="17547"/>
                </a:lnTo>
                <a:lnTo>
                  <a:pt x="60659" y="16981"/>
                </a:lnTo>
                <a:lnTo>
                  <a:pt x="60754" y="17264"/>
                </a:lnTo>
                <a:lnTo>
                  <a:pt x="60942" y="17642"/>
                </a:lnTo>
                <a:lnTo>
                  <a:pt x="61980" y="19151"/>
                </a:lnTo>
                <a:lnTo>
                  <a:pt x="63301" y="20943"/>
                </a:lnTo>
                <a:lnTo>
                  <a:pt x="63207" y="20943"/>
                </a:lnTo>
                <a:lnTo>
                  <a:pt x="63395" y="21038"/>
                </a:lnTo>
                <a:lnTo>
                  <a:pt x="63490" y="21321"/>
                </a:lnTo>
                <a:lnTo>
                  <a:pt x="63678" y="21604"/>
                </a:lnTo>
                <a:lnTo>
                  <a:pt x="63773" y="21698"/>
                </a:lnTo>
                <a:lnTo>
                  <a:pt x="63584" y="21321"/>
                </a:lnTo>
                <a:lnTo>
                  <a:pt x="63584" y="21321"/>
                </a:lnTo>
                <a:lnTo>
                  <a:pt x="64244" y="22170"/>
                </a:lnTo>
                <a:lnTo>
                  <a:pt x="64716" y="22641"/>
                </a:lnTo>
                <a:lnTo>
                  <a:pt x="64905" y="22830"/>
                </a:lnTo>
                <a:lnTo>
                  <a:pt x="64999" y="22830"/>
                </a:lnTo>
                <a:lnTo>
                  <a:pt x="64999" y="22641"/>
                </a:lnTo>
                <a:lnTo>
                  <a:pt x="64905" y="22358"/>
                </a:lnTo>
                <a:lnTo>
                  <a:pt x="65282" y="23207"/>
                </a:lnTo>
                <a:lnTo>
                  <a:pt x="65565" y="24056"/>
                </a:lnTo>
                <a:lnTo>
                  <a:pt x="66225" y="25943"/>
                </a:lnTo>
                <a:lnTo>
                  <a:pt x="66697" y="27830"/>
                </a:lnTo>
                <a:lnTo>
                  <a:pt x="66886" y="28490"/>
                </a:lnTo>
                <a:lnTo>
                  <a:pt x="66980" y="28868"/>
                </a:lnTo>
                <a:lnTo>
                  <a:pt x="66886" y="28962"/>
                </a:lnTo>
                <a:lnTo>
                  <a:pt x="66697" y="28679"/>
                </a:lnTo>
                <a:lnTo>
                  <a:pt x="66697" y="29245"/>
                </a:lnTo>
                <a:lnTo>
                  <a:pt x="66791" y="29905"/>
                </a:lnTo>
                <a:lnTo>
                  <a:pt x="66886" y="29905"/>
                </a:lnTo>
                <a:lnTo>
                  <a:pt x="66886" y="30094"/>
                </a:lnTo>
                <a:lnTo>
                  <a:pt x="66886" y="30566"/>
                </a:lnTo>
                <a:lnTo>
                  <a:pt x="66697" y="30377"/>
                </a:lnTo>
                <a:lnTo>
                  <a:pt x="66603" y="30188"/>
                </a:lnTo>
                <a:lnTo>
                  <a:pt x="66603" y="30094"/>
                </a:lnTo>
                <a:lnTo>
                  <a:pt x="66697" y="29905"/>
                </a:lnTo>
                <a:lnTo>
                  <a:pt x="66508" y="28679"/>
                </a:lnTo>
                <a:lnTo>
                  <a:pt x="66225" y="27358"/>
                </a:lnTo>
                <a:lnTo>
                  <a:pt x="66603" y="30283"/>
                </a:lnTo>
                <a:lnTo>
                  <a:pt x="66697" y="31792"/>
                </a:lnTo>
                <a:lnTo>
                  <a:pt x="66697" y="33302"/>
                </a:lnTo>
                <a:lnTo>
                  <a:pt x="66603" y="34717"/>
                </a:lnTo>
                <a:lnTo>
                  <a:pt x="66414" y="36226"/>
                </a:lnTo>
                <a:lnTo>
                  <a:pt x="66131" y="37547"/>
                </a:lnTo>
                <a:lnTo>
                  <a:pt x="65659" y="38962"/>
                </a:lnTo>
                <a:lnTo>
                  <a:pt x="65848" y="38584"/>
                </a:lnTo>
                <a:lnTo>
                  <a:pt x="65942" y="38584"/>
                </a:lnTo>
                <a:lnTo>
                  <a:pt x="65848" y="39245"/>
                </a:lnTo>
                <a:lnTo>
                  <a:pt x="65565" y="40188"/>
                </a:lnTo>
                <a:lnTo>
                  <a:pt x="65471" y="40471"/>
                </a:lnTo>
                <a:lnTo>
                  <a:pt x="65282" y="40660"/>
                </a:lnTo>
                <a:lnTo>
                  <a:pt x="65282" y="40566"/>
                </a:lnTo>
                <a:lnTo>
                  <a:pt x="65093" y="41132"/>
                </a:lnTo>
                <a:lnTo>
                  <a:pt x="64433" y="43018"/>
                </a:lnTo>
                <a:lnTo>
                  <a:pt x="63678" y="45282"/>
                </a:lnTo>
                <a:lnTo>
                  <a:pt x="62735" y="47264"/>
                </a:lnTo>
                <a:lnTo>
                  <a:pt x="61697" y="49056"/>
                </a:lnTo>
                <a:lnTo>
                  <a:pt x="60659" y="50943"/>
                </a:lnTo>
                <a:lnTo>
                  <a:pt x="59433" y="52735"/>
                </a:lnTo>
                <a:lnTo>
                  <a:pt x="58207" y="54433"/>
                </a:lnTo>
                <a:lnTo>
                  <a:pt x="56886" y="56037"/>
                </a:lnTo>
                <a:lnTo>
                  <a:pt x="55376" y="57641"/>
                </a:lnTo>
                <a:lnTo>
                  <a:pt x="53867" y="59150"/>
                </a:lnTo>
                <a:lnTo>
                  <a:pt x="52169" y="60376"/>
                </a:lnTo>
                <a:lnTo>
                  <a:pt x="48961" y="62452"/>
                </a:lnTo>
                <a:lnTo>
                  <a:pt x="44528" y="65282"/>
                </a:lnTo>
                <a:lnTo>
                  <a:pt x="44622" y="65188"/>
                </a:lnTo>
                <a:lnTo>
                  <a:pt x="44716" y="65093"/>
                </a:lnTo>
                <a:lnTo>
                  <a:pt x="45094" y="64810"/>
                </a:lnTo>
                <a:lnTo>
                  <a:pt x="45660" y="64527"/>
                </a:lnTo>
                <a:lnTo>
                  <a:pt x="43867" y="65376"/>
                </a:lnTo>
                <a:lnTo>
                  <a:pt x="43113" y="65754"/>
                </a:lnTo>
                <a:lnTo>
                  <a:pt x="42924" y="65754"/>
                </a:lnTo>
                <a:lnTo>
                  <a:pt x="43113" y="65659"/>
                </a:lnTo>
                <a:lnTo>
                  <a:pt x="41603" y="66037"/>
                </a:lnTo>
                <a:lnTo>
                  <a:pt x="39999" y="66320"/>
                </a:lnTo>
                <a:lnTo>
                  <a:pt x="38396" y="66508"/>
                </a:lnTo>
                <a:lnTo>
                  <a:pt x="36792" y="66697"/>
                </a:lnTo>
                <a:lnTo>
                  <a:pt x="33584" y="66980"/>
                </a:lnTo>
                <a:lnTo>
                  <a:pt x="32169" y="67169"/>
                </a:lnTo>
                <a:lnTo>
                  <a:pt x="30754" y="67357"/>
                </a:lnTo>
                <a:lnTo>
                  <a:pt x="30094" y="67357"/>
                </a:lnTo>
                <a:lnTo>
                  <a:pt x="29339" y="67263"/>
                </a:lnTo>
                <a:lnTo>
                  <a:pt x="27830" y="66886"/>
                </a:lnTo>
                <a:lnTo>
                  <a:pt x="26415" y="66508"/>
                </a:lnTo>
                <a:lnTo>
                  <a:pt x="25754" y="66414"/>
                </a:lnTo>
                <a:lnTo>
                  <a:pt x="25094" y="66414"/>
                </a:lnTo>
                <a:lnTo>
                  <a:pt x="25566" y="66980"/>
                </a:lnTo>
                <a:lnTo>
                  <a:pt x="25471" y="67074"/>
                </a:lnTo>
                <a:lnTo>
                  <a:pt x="25188" y="66980"/>
                </a:lnTo>
                <a:lnTo>
                  <a:pt x="24339" y="66791"/>
                </a:lnTo>
                <a:lnTo>
                  <a:pt x="23773" y="66508"/>
                </a:lnTo>
                <a:lnTo>
                  <a:pt x="24245" y="66414"/>
                </a:lnTo>
                <a:lnTo>
                  <a:pt x="24717" y="66603"/>
                </a:lnTo>
                <a:lnTo>
                  <a:pt x="24811" y="66414"/>
                </a:lnTo>
                <a:lnTo>
                  <a:pt x="24811" y="66320"/>
                </a:lnTo>
                <a:lnTo>
                  <a:pt x="24717" y="66225"/>
                </a:lnTo>
                <a:lnTo>
                  <a:pt x="24528" y="66131"/>
                </a:lnTo>
                <a:lnTo>
                  <a:pt x="24151" y="66225"/>
                </a:lnTo>
                <a:lnTo>
                  <a:pt x="23679" y="66320"/>
                </a:lnTo>
                <a:lnTo>
                  <a:pt x="23018" y="66414"/>
                </a:lnTo>
                <a:lnTo>
                  <a:pt x="23490" y="66225"/>
                </a:lnTo>
                <a:lnTo>
                  <a:pt x="22075" y="65942"/>
                </a:lnTo>
                <a:lnTo>
                  <a:pt x="20943" y="65659"/>
                </a:lnTo>
                <a:lnTo>
                  <a:pt x="20000" y="65282"/>
                </a:lnTo>
                <a:lnTo>
                  <a:pt x="19056" y="64810"/>
                </a:lnTo>
                <a:lnTo>
                  <a:pt x="19056" y="64810"/>
                </a:lnTo>
                <a:lnTo>
                  <a:pt x="19717" y="64999"/>
                </a:lnTo>
                <a:lnTo>
                  <a:pt x="19151" y="64716"/>
                </a:lnTo>
                <a:lnTo>
                  <a:pt x="18962" y="64810"/>
                </a:lnTo>
                <a:lnTo>
                  <a:pt x="19151" y="64905"/>
                </a:lnTo>
                <a:lnTo>
                  <a:pt x="18490" y="64905"/>
                </a:lnTo>
                <a:lnTo>
                  <a:pt x="17830" y="64716"/>
                </a:lnTo>
                <a:lnTo>
                  <a:pt x="17264" y="64527"/>
                </a:lnTo>
                <a:lnTo>
                  <a:pt x="16698" y="64150"/>
                </a:lnTo>
                <a:lnTo>
                  <a:pt x="16981" y="64056"/>
                </a:lnTo>
                <a:lnTo>
                  <a:pt x="17264" y="64150"/>
                </a:lnTo>
                <a:lnTo>
                  <a:pt x="17264" y="64150"/>
                </a:lnTo>
                <a:lnTo>
                  <a:pt x="15188" y="63207"/>
                </a:lnTo>
                <a:lnTo>
                  <a:pt x="14622" y="62829"/>
                </a:lnTo>
                <a:lnTo>
                  <a:pt x="14717" y="62924"/>
                </a:lnTo>
                <a:lnTo>
                  <a:pt x="13773" y="62546"/>
                </a:lnTo>
                <a:lnTo>
                  <a:pt x="12924" y="62075"/>
                </a:lnTo>
                <a:lnTo>
                  <a:pt x="12358" y="61697"/>
                </a:lnTo>
                <a:lnTo>
                  <a:pt x="12264" y="61508"/>
                </a:lnTo>
                <a:lnTo>
                  <a:pt x="12170" y="61320"/>
                </a:lnTo>
                <a:lnTo>
                  <a:pt x="11698" y="60942"/>
                </a:lnTo>
                <a:lnTo>
                  <a:pt x="11132" y="60471"/>
                </a:lnTo>
                <a:lnTo>
                  <a:pt x="9906" y="59244"/>
                </a:lnTo>
                <a:lnTo>
                  <a:pt x="9906" y="59244"/>
                </a:lnTo>
                <a:lnTo>
                  <a:pt x="10566" y="59527"/>
                </a:lnTo>
                <a:lnTo>
                  <a:pt x="9434" y="58584"/>
                </a:lnTo>
                <a:lnTo>
                  <a:pt x="8207" y="57546"/>
                </a:lnTo>
                <a:lnTo>
                  <a:pt x="7547" y="56886"/>
                </a:lnTo>
                <a:lnTo>
                  <a:pt x="6981" y="56131"/>
                </a:lnTo>
                <a:lnTo>
                  <a:pt x="6226" y="55094"/>
                </a:lnTo>
                <a:lnTo>
                  <a:pt x="6415" y="55377"/>
                </a:lnTo>
                <a:lnTo>
                  <a:pt x="6038" y="54905"/>
                </a:lnTo>
                <a:lnTo>
                  <a:pt x="5472" y="54244"/>
                </a:lnTo>
                <a:lnTo>
                  <a:pt x="5283" y="53961"/>
                </a:lnTo>
                <a:lnTo>
                  <a:pt x="5094" y="53867"/>
                </a:lnTo>
                <a:lnTo>
                  <a:pt x="5377" y="54622"/>
                </a:lnTo>
                <a:lnTo>
                  <a:pt x="5849" y="55282"/>
                </a:lnTo>
                <a:lnTo>
                  <a:pt x="6321" y="55943"/>
                </a:lnTo>
                <a:lnTo>
                  <a:pt x="6698" y="56603"/>
                </a:lnTo>
                <a:lnTo>
                  <a:pt x="6226" y="56226"/>
                </a:lnTo>
                <a:lnTo>
                  <a:pt x="5943" y="55848"/>
                </a:lnTo>
                <a:lnTo>
                  <a:pt x="6038" y="56037"/>
                </a:lnTo>
                <a:lnTo>
                  <a:pt x="5943" y="55943"/>
                </a:lnTo>
                <a:lnTo>
                  <a:pt x="5377" y="55188"/>
                </a:lnTo>
                <a:lnTo>
                  <a:pt x="5000" y="54716"/>
                </a:lnTo>
                <a:lnTo>
                  <a:pt x="4717" y="54150"/>
                </a:lnTo>
                <a:lnTo>
                  <a:pt x="4528" y="53678"/>
                </a:lnTo>
                <a:lnTo>
                  <a:pt x="4528" y="53584"/>
                </a:lnTo>
                <a:lnTo>
                  <a:pt x="4623" y="53395"/>
                </a:lnTo>
                <a:lnTo>
                  <a:pt x="5094" y="54244"/>
                </a:lnTo>
                <a:lnTo>
                  <a:pt x="4717" y="53301"/>
                </a:lnTo>
                <a:lnTo>
                  <a:pt x="4528" y="53018"/>
                </a:lnTo>
                <a:lnTo>
                  <a:pt x="4151" y="52263"/>
                </a:lnTo>
                <a:lnTo>
                  <a:pt x="4151" y="52169"/>
                </a:lnTo>
                <a:lnTo>
                  <a:pt x="3774" y="51509"/>
                </a:lnTo>
                <a:lnTo>
                  <a:pt x="3396" y="50660"/>
                </a:lnTo>
                <a:lnTo>
                  <a:pt x="3585" y="51603"/>
                </a:lnTo>
                <a:lnTo>
                  <a:pt x="3396" y="51226"/>
                </a:lnTo>
                <a:lnTo>
                  <a:pt x="3208" y="50848"/>
                </a:lnTo>
                <a:lnTo>
                  <a:pt x="3208" y="50471"/>
                </a:lnTo>
                <a:lnTo>
                  <a:pt x="3208" y="50094"/>
                </a:lnTo>
                <a:lnTo>
                  <a:pt x="3585" y="50754"/>
                </a:lnTo>
                <a:lnTo>
                  <a:pt x="3868" y="51509"/>
                </a:lnTo>
                <a:lnTo>
                  <a:pt x="3868" y="51509"/>
                </a:lnTo>
                <a:lnTo>
                  <a:pt x="3208" y="49528"/>
                </a:lnTo>
                <a:lnTo>
                  <a:pt x="3208" y="49528"/>
                </a:lnTo>
                <a:lnTo>
                  <a:pt x="3868" y="50754"/>
                </a:lnTo>
                <a:lnTo>
                  <a:pt x="3208" y="48962"/>
                </a:lnTo>
                <a:lnTo>
                  <a:pt x="3585" y="49339"/>
                </a:lnTo>
                <a:lnTo>
                  <a:pt x="3774" y="49433"/>
                </a:lnTo>
                <a:lnTo>
                  <a:pt x="3962" y="49528"/>
                </a:lnTo>
                <a:lnTo>
                  <a:pt x="4057" y="49905"/>
                </a:lnTo>
                <a:lnTo>
                  <a:pt x="3868" y="48962"/>
                </a:lnTo>
                <a:lnTo>
                  <a:pt x="3491" y="47924"/>
                </a:lnTo>
                <a:lnTo>
                  <a:pt x="2641" y="45565"/>
                </a:lnTo>
                <a:lnTo>
                  <a:pt x="2170" y="43867"/>
                </a:lnTo>
                <a:lnTo>
                  <a:pt x="1698" y="41886"/>
                </a:lnTo>
                <a:lnTo>
                  <a:pt x="1698" y="41886"/>
                </a:lnTo>
                <a:lnTo>
                  <a:pt x="1887" y="42075"/>
                </a:lnTo>
                <a:lnTo>
                  <a:pt x="1981" y="41981"/>
                </a:lnTo>
                <a:lnTo>
                  <a:pt x="2075" y="42075"/>
                </a:lnTo>
                <a:lnTo>
                  <a:pt x="2264" y="42169"/>
                </a:lnTo>
                <a:lnTo>
                  <a:pt x="2170" y="40283"/>
                </a:lnTo>
                <a:lnTo>
                  <a:pt x="2075" y="38301"/>
                </a:lnTo>
                <a:lnTo>
                  <a:pt x="2170" y="36415"/>
                </a:lnTo>
                <a:lnTo>
                  <a:pt x="2358" y="35566"/>
                </a:lnTo>
                <a:lnTo>
                  <a:pt x="2453" y="34811"/>
                </a:lnTo>
                <a:lnTo>
                  <a:pt x="2830" y="32830"/>
                </a:lnTo>
                <a:lnTo>
                  <a:pt x="2830" y="33207"/>
                </a:lnTo>
                <a:lnTo>
                  <a:pt x="2924" y="33490"/>
                </a:lnTo>
                <a:lnTo>
                  <a:pt x="2924" y="32453"/>
                </a:lnTo>
                <a:lnTo>
                  <a:pt x="3019" y="31415"/>
                </a:lnTo>
                <a:lnTo>
                  <a:pt x="3396" y="29245"/>
                </a:lnTo>
                <a:lnTo>
                  <a:pt x="3868" y="27075"/>
                </a:lnTo>
                <a:lnTo>
                  <a:pt x="4623" y="25000"/>
                </a:lnTo>
                <a:lnTo>
                  <a:pt x="5566" y="22830"/>
                </a:lnTo>
                <a:lnTo>
                  <a:pt x="6604" y="20849"/>
                </a:lnTo>
                <a:lnTo>
                  <a:pt x="7830" y="18868"/>
                </a:lnTo>
                <a:lnTo>
                  <a:pt x="9151" y="16887"/>
                </a:lnTo>
                <a:lnTo>
                  <a:pt x="10566" y="15094"/>
                </a:lnTo>
                <a:lnTo>
                  <a:pt x="12075" y="13302"/>
                </a:lnTo>
                <a:lnTo>
                  <a:pt x="13773" y="11698"/>
                </a:lnTo>
                <a:lnTo>
                  <a:pt x="15377" y="10095"/>
                </a:lnTo>
                <a:lnTo>
                  <a:pt x="17170" y="8679"/>
                </a:lnTo>
                <a:lnTo>
                  <a:pt x="18962" y="7453"/>
                </a:lnTo>
                <a:lnTo>
                  <a:pt x="20754" y="6321"/>
                </a:lnTo>
                <a:lnTo>
                  <a:pt x="22547" y="5378"/>
                </a:lnTo>
                <a:lnTo>
                  <a:pt x="21603" y="6227"/>
                </a:lnTo>
                <a:lnTo>
                  <a:pt x="22641" y="5472"/>
                </a:lnTo>
                <a:lnTo>
                  <a:pt x="23302" y="5095"/>
                </a:lnTo>
                <a:lnTo>
                  <a:pt x="25377" y="4151"/>
                </a:lnTo>
                <a:lnTo>
                  <a:pt x="24811" y="4151"/>
                </a:lnTo>
                <a:lnTo>
                  <a:pt x="25660" y="3774"/>
                </a:lnTo>
                <a:lnTo>
                  <a:pt x="26886" y="3208"/>
                </a:lnTo>
                <a:lnTo>
                  <a:pt x="26603" y="3585"/>
                </a:lnTo>
                <a:lnTo>
                  <a:pt x="26886" y="3585"/>
                </a:lnTo>
                <a:lnTo>
                  <a:pt x="26886" y="3680"/>
                </a:lnTo>
                <a:lnTo>
                  <a:pt x="26792" y="3774"/>
                </a:lnTo>
                <a:lnTo>
                  <a:pt x="28301" y="3302"/>
                </a:lnTo>
                <a:lnTo>
                  <a:pt x="29622" y="2736"/>
                </a:lnTo>
                <a:lnTo>
                  <a:pt x="31037" y="2264"/>
                </a:lnTo>
                <a:lnTo>
                  <a:pt x="31792" y="2076"/>
                </a:lnTo>
                <a:lnTo>
                  <a:pt x="32641" y="1981"/>
                </a:lnTo>
                <a:lnTo>
                  <a:pt x="32547" y="2076"/>
                </a:lnTo>
                <a:lnTo>
                  <a:pt x="32924" y="1981"/>
                </a:lnTo>
                <a:lnTo>
                  <a:pt x="34245" y="1793"/>
                </a:lnTo>
                <a:lnTo>
                  <a:pt x="35848" y="1415"/>
                </a:lnTo>
                <a:lnTo>
                  <a:pt x="36981" y="1132"/>
                </a:lnTo>
                <a:lnTo>
                  <a:pt x="36981" y="1415"/>
                </a:lnTo>
                <a:lnTo>
                  <a:pt x="40943" y="1227"/>
                </a:lnTo>
                <a:lnTo>
                  <a:pt x="41509" y="1038"/>
                </a:lnTo>
                <a:lnTo>
                  <a:pt x="41697" y="1132"/>
                </a:lnTo>
                <a:lnTo>
                  <a:pt x="41509" y="1227"/>
                </a:lnTo>
                <a:lnTo>
                  <a:pt x="41320" y="1321"/>
                </a:lnTo>
                <a:lnTo>
                  <a:pt x="42263" y="1321"/>
                </a:lnTo>
                <a:lnTo>
                  <a:pt x="43113" y="1227"/>
                </a:lnTo>
                <a:lnTo>
                  <a:pt x="43396" y="1415"/>
                </a:lnTo>
                <a:lnTo>
                  <a:pt x="44056" y="1604"/>
                </a:lnTo>
                <a:lnTo>
                  <a:pt x="45943" y="2076"/>
                </a:lnTo>
                <a:lnTo>
                  <a:pt x="48018" y="2359"/>
                </a:lnTo>
                <a:lnTo>
                  <a:pt x="49622" y="2736"/>
                </a:lnTo>
                <a:lnTo>
                  <a:pt x="47641" y="1981"/>
                </a:lnTo>
                <a:lnTo>
                  <a:pt x="45282" y="1321"/>
                </a:lnTo>
                <a:lnTo>
                  <a:pt x="42735" y="755"/>
                </a:lnTo>
                <a:lnTo>
                  <a:pt x="40188" y="283"/>
                </a:lnTo>
                <a:lnTo>
                  <a:pt x="37735" y="95"/>
                </a:lnTo>
                <a:lnTo>
                  <a:pt x="35471" y="0"/>
                </a:lnTo>
                <a:close/>
              </a:path>
            </a:pathLst>
          </a:custGeom>
          <a:solidFill>
            <a:srgbClr val="0079D1"/>
          </a:solidFill>
          <a:ln w="0">
            <a:solidFill>
              <a:srgbClr val="87CBD8">
                <a:alpha val="60000"/>
              </a:srgbClr>
            </a:solidFill>
          </a:ln>
        </p:spPr>
        <p:txBody>
          <a:bodyPr spcFirstLastPara="1" wrap="square" lIns="91425" tIns="91425" rIns="91425" bIns="91425" anchor="ctr" anchorCtr="0">
            <a:noAutofit/>
          </a:bodyPr>
          <a:lstStyle/>
          <a:p>
            <a:pPr marL="0" lvl="0" indent="0">
              <a:spcBef>
                <a:spcPts val="0"/>
              </a:spcBef>
              <a:spcAft>
                <a:spcPts val="0"/>
              </a:spcAft>
              <a:buNone/>
            </a:pPr>
            <a:endParaRPr lang="es-ES" sz="1200" dirty="0">
              <a:latin typeface="Comic Sans MS" panose="030F0902030302020204" pitchFamily="66" charset="0"/>
            </a:endParaRPr>
          </a:p>
          <a:p>
            <a:pPr marL="0" lvl="0" indent="0">
              <a:spcBef>
                <a:spcPts val="0"/>
              </a:spcBef>
              <a:spcAft>
                <a:spcPts val="0"/>
              </a:spcAft>
              <a:buNone/>
            </a:pPr>
            <a:endParaRPr lang="en-US" sz="1200" dirty="0">
              <a:latin typeface="Comic Sans MS" panose="030F0902030302020204" pitchFamily="66" charset="0"/>
            </a:endParaRPr>
          </a:p>
          <a:p>
            <a:pPr marL="0" lvl="0" indent="0">
              <a:spcBef>
                <a:spcPts val="0"/>
              </a:spcBef>
              <a:spcAft>
                <a:spcPts val="0"/>
              </a:spcAft>
              <a:buNone/>
            </a:pPr>
            <a:r>
              <a:rPr lang="en-US" sz="900" dirty="0">
                <a:latin typeface="Comic Sans MS" panose="030F0902030302020204" pitchFamily="66" charset="0"/>
              </a:rPr>
              <a:t>   </a:t>
            </a:r>
            <a:r>
              <a:rPr lang="en-US" sz="1000" dirty="0">
                <a:solidFill>
                  <a:srgbClr val="0067B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Kafka</a:t>
            </a:r>
            <a:endParaRPr sz="1000" dirty="0">
              <a:solidFill>
                <a:srgbClr val="0067B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endParaRPr>
          </a:p>
        </p:txBody>
      </p:sp>
      <p:sp>
        <p:nvSpPr>
          <p:cNvPr id="126" name="Google Shape;431;p39">
            <a:extLst>
              <a:ext uri="{FF2B5EF4-FFF2-40B4-BE49-F238E27FC236}">
                <a16:creationId xmlns:a16="http://schemas.microsoft.com/office/drawing/2014/main" id="{F9F5DEEA-25E7-A64A-AE56-0905B622138F}"/>
              </a:ext>
            </a:extLst>
          </p:cNvPr>
          <p:cNvSpPr/>
          <p:nvPr/>
        </p:nvSpPr>
        <p:spPr>
          <a:xfrm rot="21011211">
            <a:off x="6546177" y="5153848"/>
            <a:ext cx="118019" cy="139785"/>
          </a:xfrm>
          <a:custGeom>
            <a:avLst/>
            <a:gdLst/>
            <a:ahLst/>
            <a:cxnLst/>
            <a:rect l="0" t="0" r="0" b="0"/>
            <a:pathLst>
              <a:path w="67641" h="69056" extrusionOk="0">
                <a:moveTo>
                  <a:pt x="49622" y="2736"/>
                </a:moveTo>
                <a:lnTo>
                  <a:pt x="49622" y="2736"/>
                </a:lnTo>
                <a:lnTo>
                  <a:pt x="49622" y="2736"/>
                </a:lnTo>
                <a:close/>
                <a:moveTo>
                  <a:pt x="59622" y="55565"/>
                </a:moveTo>
                <a:lnTo>
                  <a:pt x="59622" y="55565"/>
                </a:lnTo>
                <a:lnTo>
                  <a:pt x="59622" y="55565"/>
                </a:lnTo>
                <a:close/>
                <a:moveTo>
                  <a:pt x="35471" y="0"/>
                </a:moveTo>
                <a:lnTo>
                  <a:pt x="34433" y="95"/>
                </a:lnTo>
                <a:lnTo>
                  <a:pt x="33584" y="189"/>
                </a:lnTo>
                <a:lnTo>
                  <a:pt x="32735" y="378"/>
                </a:lnTo>
                <a:lnTo>
                  <a:pt x="32169" y="566"/>
                </a:lnTo>
                <a:lnTo>
                  <a:pt x="31509" y="472"/>
                </a:lnTo>
                <a:lnTo>
                  <a:pt x="30754" y="472"/>
                </a:lnTo>
                <a:lnTo>
                  <a:pt x="29339" y="566"/>
                </a:lnTo>
                <a:lnTo>
                  <a:pt x="27830" y="849"/>
                </a:lnTo>
                <a:lnTo>
                  <a:pt x="26320" y="1321"/>
                </a:lnTo>
                <a:lnTo>
                  <a:pt x="24811" y="1981"/>
                </a:lnTo>
                <a:lnTo>
                  <a:pt x="23207" y="2736"/>
                </a:lnTo>
                <a:lnTo>
                  <a:pt x="21698" y="3585"/>
                </a:lnTo>
                <a:lnTo>
                  <a:pt x="20188" y="4623"/>
                </a:lnTo>
                <a:lnTo>
                  <a:pt x="18679" y="5661"/>
                </a:lnTo>
                <a:lnTo>
                  <a:pt x="17170" y="6793"/>
                </a:lnTo>
                <a:lnTo>
                  <a:pt x="15754" y="8019"/>
                </a:lnTo>
                <a:lnTo>
                  <a:pt x="14434" y="9151"/>
                </a:lnTo>
                <a:lnTo>
                  <a:pt x="11981" y="11510"/>
                </a:lnTo>
                <a:lnTo>
                  <a:pt x="10000" y="13774"/>
                </a:lnTo>
                <a:lnTo>
                  <a:pt x="7736" y="16981"/>
                </a:lnTo>
                <a:lnTo>
                  <a:pt x="8019" y="16321"/>
                </a:lnTo>
                <a:lnTo>
                  <a:pt x="8302" y="15660"/>
                </a:lnTo>
                <a:lnTo>
                  <a:pt x="7736" y="16604"/>
                </a:lnTo>
                <a:lnTo>
                  <a:pt x="7075" y="17642"/>
                </a:lnTo>
                <a:lnTo>
                  <a:pt x="7170" y="17830"/>
                </a:lnTo>
                <a:lnTo>
                  <a:pt x="6509" y="18868"/>
                </a:lnTo>
                <a:lnTo>
                  <a:pt x="7075" y="17359"/>
                </a:lnTo>
                <a:lnTo>
                  <a:pt x="6132" y="19057"/>
                </a:lnTo>
                <a:lnTo>
                  <a:pt x="5189" y="20849"/>
                </a:lnTo>
                <a:lnTo>
                  <a:pt x="4434" y="22736"/>
                </a:lnTo>
                <a:lnTo>
                  <a:pt x="3679" y="24622"/>
                </a:lnTo>
                <a:lnTo>
                  <a:pt x="2453" y="28490"/>
                </a:lnTo>
                <a:lnTo>
                  <a:pt x="1321" y="32169"/>
                </a:lnTo>
                <a:lnTo>
                  <a:pt x="1509" y="32264"/>
                </a:lnTo>
                <a:lnTo>
                  <a:pt x="1604" y="32453"/>
                </a:lnTo>
                <a:lnTo>
                  <a:pt x="1604" y="32641"/>
                </a:lnTo>
                <a:lnTo>
                  <a:pt x="1509" y="32924"/>
                </a:lnTo>
                <a:lnTo>
                  <a:pt x="1226" y="33396"/>
                </a:lnTo>
                <a:lnTo>
                  <a:pt x="1038" y="33585"/>
                </a:lnTo>
                <a:lnTo>
                  <a:pt x="1038" y="33773"/>
                </a:lnTo>
                <a:lnTo>
                  <a:pt x="1038" y="35000"/>
                </a:lnTo>
                <a:lnTo>
                  <a:pt x="849" y="36132"/>
                </a:lnTo>
                <a:lnTo>
                  <a:pt x="660" y="37358"/>
                </a:lnTo>
                <a:lnTo>
                  <a:pt x="472" y="38867"/>
                </a:lnTo>
                <a:lnTo>
                  <a:pt x="283" y="38301"/>
                </a:lnTo>
                <a:lnTo>
                  <a:pt x="94" y="39811"/>
                </a:lnTo>
                <a:lnTo>
                  <a:pt x="0" y="41509"/>
                </a:lnTo>
                <a:lnTo>
                  <a:pt x="94" y="43301"/>
                </a:lnTo>
                <a:lnTo>
                  <a:pt x="283" y="44056"/>
                </a:lnTo>
                <a:lnTo>
                  <a:pt x="472" y="44622"/>
                </a:lnTo>
                <a:lnTo>
                  <a:pt x="566" y="45660"/>
                </a:lnTo>
                <a:lnTo>
                  <a:pt x="755" y="46792"/>
                </a:lnTo>
                <a:lnTo>
                  <a:pt x="1226" y="48962"/>
                </a:lnTo>
                <a:lnTo>
                  <a:pt x="1981" y="51037"/>
                </a:lnTo>
                <a:lnTo>
                  <a:pt x="2924" y="53112"/>
                </a:lnTo>
                <a:lnTo>
                  <a:pt x="4057" y="55094"/>
                </a:lnTo>
                <a:lnTo>
                  <a:pt x="5283" y="56980"/>
                </a:lnTo>
                <a:lnTo>
                  <a:pt x="6698" y="58678"/>
                </a:lnTo>
                <a:lnTo>
                  <a:pt x="8113" y="60282"/>
                </a:lnTo>
                <a:lnTo>
                  <a:pt x="9056" y="61131"/>
                </a:lnTo>
                <a:lnTo>
                  <a:pt x="10000" y="61980"/>
                </a:lnTo>
                <a:lnTo>
                  <a:pt x="11038" y="62829"/>
                </a:lnTo>
                <a:lnTo>
                  <a:pt x="12075" y="63584"/>
                </a:lnTo>
                <a:lnTo>
                  <a:pt x="14339" y="64905"/>
                </a:lnTo>
                <a:lnTo>
                  <a:pt x="16604" y="66131"/>
                </a:lnTo>
                <a:lnTo>
                  <a:pt x="19056" y="67169"/>
                </a:lnTo>
                <a:lnTo>
                  <a:pt x="21509" y="67923"/>
                </a:lnTo>
                <a:lnTo>
                  <a:pt x="24056" y="68584"/>
                </a:lnTo>
                <a:lnTo>
                  <a:pt x="26603" y="69055"/>
                </a:lnTo>
                <a:lnTo>
                  <a:pt x="27830" y="69055"/>
                </a:lnTo>
                <a:lnTo>
                  <a:pt x="30188" y="68867"/>
                </a:lnTo>
                <a:lnTo>
                  <a:pt x="33113" y="68678"/>
                </a:lnTo>
                <a:lnTo>
                  <a:pt x="36509" y="68301"/>
                </a:lnTo>
                <a:lnTo>
                  <a:pt x="39811" y="67923"/>
                </a:lnTo>
                <a:lnTo>
                  <a:pt x="42735" y="67452"/>
                </a:lnTo>
                <a:lnTo>
                  <a:pt x="44905" y="66980"/>
                </a:lnTo>
                <a:lnTo>
                  <a:pt x="45565" y="66791"/>
                </a:lnTo>
                <a:lnTo>
                  <a:pt x="45943" y="66508"/>
                </a:lnTo>
                <a:lnTo>
                  <a:pt x="47358" y="65942"/>
                </a:lnTo>
                <a:lnTo>
                  <a:pt x="48018" y="65565"/>
                </a:lnTo>
                <a:lnTo>
                  <a:pt x="48678" y="65188"/>
                </a:lnTo>
                <a:lnTo>
                  <a:pt x="47924" y="65471"/>
                </a:lnTo>
                <a:lnTo>
                  <a:pt x="51509" y="62924"/>
                </a:lnTo>
                <a:lnTo>
                  <a:pt x="53301" y="61508"/>
                </a:lnTo>
                <a:lnTo>
                  <a:pt x="55093" y="59905"/>
                </a:lnTo>
                <a:lnTo>
                  <a:pt x="55093" y="59905"/>
                </a:lnTo>
                <a:lnTo>
                  <a:pt x="54810" y="60376"/>
                </a:lnTo>
                <a:lnTo>
                  <a:pt x="54339" y="60754"/>
                </a:lnTo>
                <a:lnTo>
                  <a:pt x="55376" y="59999"/>
                </a:lnTo>
                <a:lnTo>
                  <a:pt x="56320" y="59056"/>
                </a:lnTo>
                <a:lnTo>
                  <a:pt x="57075" y="58395"/>
                </a:lnTo>
                <a:lnTo>
                  <a:pt x="57169" y="58207"/>
                </a:lnTo>
                <a:lnTo>
                  <a:pt x="57075" y="58207"/>
                </a:lnTo>
                <a:lnTo>
                  <a:pt x="57924" y="57546"/>
                </a:lnTo>
                <a:lnTo>
                  <a:pt x="58678" y="56697"/>
                </a:lnTo>
                <a:lnTo>
                  <a:pt x="59339" y="55754"/>
                </a:lnTo>
                <a:lnTo>
                  <a:pt x="59905" y="54905"/>
                </a:lnTo>
                <a:lnTo>
                  <a:pt x="59716" y="54999"/>
                </a:lnTo>
                <a:lnTo>
                  <a:pt x="59622" y="54999"/>
                </a:lnTo>
                <a:lnTo>
                  <a:pt x="59810" y="54622"/>
                </a:lnTo>
                <a:lnTo>
                  <a:pt x="59150" y="55565"/>
                </a:lnTo>
                <a:lnTo>
                  <a:pt x="59527" y="55094"/>
                </a:lnTo>
                <a:lnTo>
                  <a:pt x="59433" y="55377"/>
                </a:lnTo>
                <a:lnTo>
                  <a:pt x="58867" y="56037"/>
                </a:lnTo>
                <a:lnTo>
                  <a:pt x="59056" y="55660"/>
                </a:lnTo>
                <a:lnTo>
                  <a:pt x="59056" y="55660"/>
                </a:lnTo>
                <a:lnTo>
                  <a:pt x="58678" y="56037"/>
                </a:lnTo>
                <a:lnTo>
                  <a:pt x="59810" y="54339"/>
                </a:lnTo>
                <a:lnTo>
                  <a:pt x="60282" y="53490"/>
                </a:lnTo>
                <a:lnTo>
                  <a:pt x="60282" y="53301"/>
                </a:lnTo>
                <a:lnTo>
                  <a:pt x="60188" y="53395"/>
                </a:lnTo>
                <a:lnTo>
                  <a:pt x="60188" y="53395"/>
                </a:lnTo>
                <a:lnTo>
                  <a:pt x="60565" y="52924"/>
                </a:lnTo>
                <a:lnTo>
                  <a:pt x="61037" y="52452"/>
                </a:lnTo>
                <a:lnTo>
                  <a:pt x="61886" y="51509"/>
                </a:lnTo>
                <a:lnTo>
                  <a:pt x="61508" y="52452"/>
                </a:lnTo>
                <a:lnTo>
                  <a:pt x="60848" y="53584"/>
                </a:lnTo>
                <a:lnTo>
                  <a:pt x="59622" y="55565"/>
                </a:lnTo>
                <a:lnTo>
                  <a:pt x="60376" y="54528"/>
                </a:lnTo>
                <a:lnTo>
                  <a:pt x="60942" y="53678"/>
                </a:lnTo>
                <a:lnTo>
                  <a:pt x="61980" y="51792"/>
                </a:lnTo>
                <a:lnTo>
                  <a:pt x="61886" y="51886"/>
                </a:lnTo>
                <a:lnTo>
                  <a:pt x="61886" y="51697"/>
                </a:lnTo>
                <a:lnTo>
                  <a:pt x="62169" y="51037"/>
                </a:lnTo>
                <a:lnTo>
                  <a:pt x="62735" y="49999"/>
                </a:lnTo>
                <a:lnTo>
                  <a:pt x="61508" y="51603"/>
                </a:lnTo>
                <a:lnTo>
                  <a:pt x="61603" y="51037"/>
                </a:lnTo>
                <a:lnTo>
                  <a:pt x="61697" y="50377"/>
                </a:lnTo>
                <a:lnTo>
                  <a:pt x="62169" y="48962"/>
                </a:lnTo>
                <a:lnTo>
                  <a:pt x="62829" y="47358"/>
                </a:lnTo>
                <a:lnTo>
                  <a:pt x="63678" y="45565"/>
                </a:lnTo>
                <a:lnTo>
                  <a:pt x="65376" y="42169"/>
                </a:lnTo>
                <a:lnTo>
                  <a:pt x="66131" y="40660"/>
                </a:lnTo>
                <a:lnTo>
                  <a:pt x="66697" y="39339"/>
                </a:lnTo>
                <a:lnTo>
                  <a:pt x="66603" y="39528"/>
                </a:lnTo>
                <a:lnTo>
                  <a:pt x="66697" y="39056"/>
                </a:lnTo>
                <a:lnTo>
                  <a:pt x="66791" y="38962"/>
                </a:lnTo>
                <a:lnTo>
                  <a:pt x="66791" y="39056"/>
                </a:lnTo>
                <a:lnTo>
                  <a:pt x="66886" y="38584"/>
                </a:lnTo>
                <a:lnTo>
                  <a:pt x="66791" y="38867"/>
                </a:lnTo>
                <a:lnTo>
                  <a:pt x="66980" y="38207"/>
                </a:lnTo>
                <a:lnTo>
                  <a:pt x="67169" y="37264"/>
                </a:lnTo>
                <a:lnTo>
                  <a:pt x="67263" y="36415"/>
                </a:lnTo>
                <a:lnTo>
                  <a:pt x="67357" y="36509"/>
                </a:lnTo>
                <a:lnTo>
                  <a:pt x="67452" y="36509"/>
                </a:lnTo>
                <a:lnTo>
                  <a:pt x="67546" y="35943"/>
                </a:lnTo>
                <a:lnTo>
                  <a:pt x="67546" y="34811"/>
                </a:lnTo>
                <a:lnTo>
                  <a:pt x="67640" y="31037"/>
                </a:lnTo>
                <a:lnTo>
                  <a:pt x="67640" y="28490"/>
                </a:lnTo>
                <a:lnTo>
                  <a:pt x="67546" y="27736"/>
                </a:lnTo>
                <a:lnTo>
                  <a:pt x="67546" y="27547"/>
                </a:lnTo>
                <a:lnTo>
                  <a:pt x="67452" y="27547"/>
                </a:lnTo>
                <a:lnTo>
                  <a:pt x="67074" y="26792"/>
                </a:lnTo>
                <a:lnTo>
                  <a:pt x="66791" y="25660"/>
                </a:lnTo>
                <a:lnTo>
                  <a:pt x="66508" y="24528"/>
                </a:lnTo>
                <a:lnTo>
                  <a:pt x="66414" y="23585"/>
                </a:lnTo>
                <a:lnTo>
                  <a:pt x="66320" y="23679"/>
                </a:lnTo>
                <a:lnTo>
                  <a:pt x="66320" y="23490"/>
                </a:lnTo>
                <a:lnTo>
                  <a:pt x="65942" y="22924"/>
                </a:lnTo>
                <a:lnTo>
                  <a:pt x="65565" y="22358"/>
                </a:lnTo>
                <a:lnTo>
                  <a:pt x="64527" y="21132"/>
                </a:lnTo>
                <a:lnTo>
                  <a:pt x="63584" y="19906"/>
                </a:lnTo>
                <a:lnTo>
                  <a:pt x="63207" y="19340"/>
                </a:lnTo>
                <a:lnTo>
                  <a:pt x="63018" y="18774"/>
                </a:lnTo>
                <a:lnTo>
                  <a:pt x="63112" y="18962"/>
                </a:lnTo>
                <a:lnTo>
                  <a:pt x="63301" y="19057"/>
                </a:lnTo>
                <a:lnTo>
                  <a:pt x="63301" y="19057"/>
                </a:lnTo>
                <a:lnTo>
                  <a:pt x="63207" y="18868"/>
                </a:lnTo>
                <a:lnTo>
                  <a:pt x="62923" y="18491"/>
                </a:lnTo>
                <a:lnTo>
                  <a:pt x="61980" y="17453"/>
                </a:lnTo>
                <a:lnTo>
                  <a:pt x="61037" y="16509"/>
                </a:lnTo>
                <a:lnTo>
                  <a:pt x="61037" y="16698"/>
                </a:lnTo>
                <a:lnTo>
                  <a:pt x="61037" y="16887"/>
                </a:lnTo>
                <a:lnTo>
                  <a:pt x="60093" y="15943"/>
                </a:lnTo>
                <a:lnTo>
                  <a:pt x="60376" y="16321"/>
                </a:lnTo>
                <a:lnTo>
                  <a:pt x="59527" y="15377"/>
                </a:lnTo>
                <a:lnTo>
                  <a:pt x="59056" y="14906"/>
                </a:lnTo>
                <a:lnTo>
                  <a:pt x="59244" y="14906"/>
                </a:lnTo>
                <a:lnTo>
                  <a:pt x="59905" y="15472"/>
                </a:lnTo>
                <a:lnTo>
                  <a:pt x="59905" y="15472"/>
                </a:lnTo>
                <a:lnTo>
                  <a:pt x="57641" y="13396"/>
                </a:lnTo>
                <a:lnTo>
                  <a:pt x="58112" y="13868"/>
                </a:lnTo>
                <a:lnTo>
                  <a:pt x="56886" y="13019"/>
                </a:lnTo>
                <a:lnTo>
                  <a:pt x="55754" y="12453"/>
                </a:lnTo>
                <a:lnTo>
                  <a:pt x="56603" y="13113"/>
                </a:lnTo>
                <a:lnTo>
                  <a:pt x="57452" y="13774"/>
                </a:lnTo>
                <a:lnTo>
                  <a:pt x="58961" y="15283"/>
                </a:lnTo>
                <a:lnTo>
                  <a:pt x="60376" y="16604"/>
                </a:lnTo>
                <a:lnTo>
                  <a:pt x="61225" y="17264"/>
                </a:lnTo>
                <a:lnTo>
                  <a:pt x="62074" y="17925"/>
                </a:lnTo>
                <a:lnTo>
                  <a:pt x="62074" y="17925"/>
                </a:lnTo>
                <a:lnTo>
                  <a:pt x="61414" y="17547"/>
                </a:lnTo>
                <a:lnTo>
                  <a:pt x="60659" y="16981"/>
                </a:lnTo>
                <a:lnTo>
                  <a:pt x="60754" y="17264"/>
                </a:lnTo>
                <a:lnTo>
                  <a:pt x="60942" y="17642"/>
                </a:lnTo>
                <a:lnTo>
                  <a:pt x="61980" y="19151"/>
                </a:lnTo>
                <a:lnTo>
                  <a:pt x="63301" y="20943"/>
                </a:lnTo>
                <a:lnTo>
                  <a:pt x="63207" y="20943"/>
                </a:lnTo>
                <a:lnTo>
                  <a:pt x="63395" y="21038"/>
                </a:lnTo>
                <a:lnTo>
                  <a:pt x="63490" y="21321"/>
                </a:lnTo>
                <a:lnTo>
                  <a:pt x="63678" y="21604"/>
                </a:lnTo>
                <a:lnTo>
                  <a:pt x="63773" y="21698"/>
                </a:lnTo>
                <a:lnTo>
                  <a:pt x="63584" y="21321"/>
                </a:lnTo>
                <a:lnTo>
                  <a:pt x="63584" y="21321"/>
                </a:lnTo>
                <a:lnTo>
                  <a:pt x="64244" y="22170"/>
                </a:lnTo>
                <a:lnTo>
                  <a:pt x="64716" y="22641"/>
                </a:lnTo>
                <a:lnTo>
                  <a:pt x="64905" y="22830"/>
                </a:lnTo>
                <a:lnTo>
                  <a:pt x="64999" y="22830"/>
                </a:lnTo>
                <a:lnTo>
                  <a:pt x="64999" y="22641"/>
                </a:lnTo>
                <a:lnTo>
                  <a:pt x="64905" y="22358"/>
                </a:lnTo>
                <a:lnTo>
                  <a:pt x="65282" y="23207"/>
                </a:lnTo>
                <a:lnTo>
                  <a:pt x="65565" y="24056"/>
                </a:lnTo>
                <a:lnTo>
                  <a:pt x="66225" y="25943"/>
                </a:lnTo>
                <a:lnTo>
                  <a:pt x="66697" y="27830"/>
                </a:lnTo>
                <a:lnTo>
                  <a:pt x="66886" y="28490"/>
                </a:lnTo>
                <a:lnTo>
                  <a:pt x="66980" y="28868"/>
                </a:lnTo>
                <a:lnTo>
                  <a:pt x="66886" y="28962"/>
                </a:lnTo>
                <a:lnTo>
                  <a:pt x="66697" y="28679"/>
                </a:lnTo>
                <a:lnTo>
                  <a:pt x="66697" y="29245"/>
                </a:lnTo>
                <a:lnTo>
                  <a:pt x="66791" y="29905"/>
                </a:lnTo>
                <a:lnTo>
                  <a:pt x="66886" y="29905"/>
                </a:lnTo>
                <a:lnTo>
                  <a:pt x="66886" y="30094"/>
                </a:lnTo>
                <a:lnTo>
                  <a:pt x="66886" y="30566"/>
                </a:lnTo>
                <a:lnTo>
                  <a:pt x="66697" y="30377"/>
                </a:lnTo>
                <a:lnTo>
                  <a:pt x="66603" y="30188"/>
                </a:lnTo>
                <a:lnTo>
                  <a:pt x="66603" y="30094"/>
                </a:lnTo>
                <a:lnTo>
                  <a:pt x="66697" y="29905"/>
                </a:lnTo>
                <a:lnTo>
                  <a:pt x="66508" y="28679"/>
                </a:lnTo>
                <a:lnTo>
                  <a:pt x="66225" y="27358"/>
                </a:lnTo>
                <a:lnTo>
                  <a:pt x="66603" y="30283"/>
                </a:lnTo>
                <a:lnTo>
                  <a:pt x="66697" y="31792"/>
                </a:lnTo>
                <a:lnTo>
                  <a:pt x="66697" y="33302"/>
                </a:lnTo>
                <a:lnTo>
                  <a:pt x="66603" y="34717"/>
                </a:lnTo>
                <a:lnTo>
                  <a:pt x="66414" y="36226"/>
                </a:lnTo>
                <a:lnTo>
                  <a:pt x="66131" y="37547"/>
                </a:lnTo>
                <a:lnTo>
                  <a:pt x="65659" y="38962"/>
                </a:lnTo>
                <a:lnTo>
                  <a:pt x="65848" y="38584"/>
                </a:lnTo>
                <a:lnTo>
                  <a:pt x="65942" y="38584"/>
                </a:lnTo>
                <a:lnTo>
                  <a:pt x="65848" y="39245"/>
                </a:lnTo>
                <a:lnTo>
                  <a:pt x="65565" y="40188"/>
                </a:lnTo>
                <a:lnTo>
                  <a:pt x="65471" y="40471"/>
                </a:lnTo>
                <a:lnTo>
                  <a:pt x="65282" y="40660"/>
                </a:lnTo>
                <a:lnTo>
                  <a:pt x="65282" y="40566"/>
                </a:lnTo>
                <a:lnTo>
                  <a:pt x="65093" y="41132"/>
                </a:lnTo>
                <a:lnTo>
                  <a:pt x="64433" y="43018"/>
                </a:lnTo>
                <a:lnTo>
                  <a:pt x="63678" y="45282"/>
                </a:lnTo>
                <a:lnTo>
                  <a:pt x="62735" y="47264"/>
                </a:lnTo>
                <a:lnTo>
                  <a:pt x="61697" y="49056"/>
                </a:lnTo>
                <a:lnTo>
                  <a:pt x="60659" y="50943"/>
                </a:lnTo>
                <a:lnTo>
                  <a:pt x="59433" y="52735"/>
                </a:lnTo>
                <a:lnTo>
                  <a:pt x="58207" y="54433"/>
                </a:lnTo>
                <a:lnTo>
                  <a:pt x="56886" y="56037"/>
                </a:lnTo>
                <a:lnTo>
                  <a:pt x="55376" y="57641"/>
                </a:lnTo>
                <a:lnTo>
                  <a:pt x="53867" y="59150"/>
                </a:lnTo>
                <a:lnTo>
                  <a:pt x="52169" y="60376"/>
                </a:lnTo>
                <a:lnTo>
                  <a:pt x="48961" y="62452"/>
                </a:lnTo>
                <a:lnTo>
                  <a:pt x="44528" y="65282"/>
                </a:lnTo>
                <a:lnTo>
                  <a:pt x="44622" y="65188"/>
                </a:lnTo>
                <a:lnTo>
                  <a:pt x="44716" y="65093"/>
                </a:lnTo>
                <a:lnTo>
                  <a:pt x="45094" y="64810"/>
                </a:lnTo>
                <a:lnTo>
                  <a:pt x="45660" y="64527"/>
                </a:lnTo>
                <a:lnTo>
                  <a:pt x="43867" y="65376"/>
                </a:lnTo>
                <a:lnTo>
                  <a:pt x="43113" y="65754"/>
                </a:lnTo>
                <a:lnTo>
                  <a:pt x="42924" y="65754"/>
                </a:lnTo>
                <a:lnTo>
                  <a:pt x="43113" y="65659"/>
                </a:lnTo>
                <a:lnTo>
                  <a:pt x="41603" y="66037"/>
                </a:lnTo>
                <a:lnTo>
                  <a:pt x="39999" y="66320"/>
                </a:lnTo>
                <a:lnTo>
                  <a:pt x="38396" y="66508"/>
                </a:lnTo>
                <a:lnTo>
                  <a:pt x="36792" y="66697"/>
                </a:lnTo>
                <a:lnTo>
                  <a:pt x="33584" y="66980"/>
                </a:lnTo>
                <a:lnTo>
                  <a:pt x="32169" y="67169"/>
                </a:lnTo>
                <a:lnTo>
                  <a:pt x="30754" y="67357"/>
                </a:lnTo>
                <a:lnTo>
                  <a:pt x="30094" y="67357"/>
                </a:lnTo>
                <a:lnTo>
                  <a:pt x="29339" y="67263"/>
                </a:lnTo>
                <a:lnTo>
                  <a:pt x="27830" y="66886"/>
                </a:lnTo>
                <a:lnTo>
                  <a:pt x="26415" y="66508"/>
                </a:lnTo>
                <a:lnTo>
                  <a:pt x="25754" y="66414"/>
                </a:lnTo>
                <a:lnTo>
                  <a:pt x="25094" y="66414"/>
                </a:lnTo>
                <a:lnTo>
                  <a:pt x="25566" y="66980"/>
                </a:lnTo>
                <a:lnTo>
                  <a:pt x="25471" y="67074"/>
                </a:lnTo>
                <a:lnTo>
                  <a:pt x="25188" y="66980"/>
                </a:lnTo>
                <a:lnTo>
                  <a:pt x="24339" y="66791"/>
                </a:lnTo>
                <a:lnTo>
                  <a:pt x="23773" y="66508"/>
                </a:lnTo>
                <a:lnTo>
                  <a:pt x="24245" y="66414"/>
                </a:lnTo>
                <a:lnTo>
                  <a:pt x="24717" y="66603"/>
                </a:lnTo>
                <a:lnTo>
                  <a:pt x="24811" y="66414"/>
                </a:lnTo>
                <a:lnTo>
                  <a:pt x="24811" y="66320"/>
                </a:lnTo>
                <a:lnTo>
                  <a:pt x="24717" y="66225"/>
                </a:lnTo>
                <a:lnTo>
                  <a:pt x="24528" y="66131"/>
                </a:lnTo>
                <a:lnTo>
                  <a:pt x="24151" y="66225"/>
                </a:lnTo>
                <a:lnTo>
                  <a:pt x="23679" y="66320"/>
                </a:lnTo>
                <a:lnTo>
                  <a:pt x="23018" y="66414"/>
                </a:lnTo>
                <a:lnTo>
                  <a:pt x="23490" y="66225"/>
                </a:lnTo>
                <a:lnTo>
                  <a:pt x="22075" y="65942"/>
                </a:lnTo>
                <a:lnTo>
                  <a:pt x="20943" y="65659"/>
                </a:lnTo>
                <a:lnTo>
                  <a:pt x="20000" y="65282"/>
                </a:lnTo>
                <a:lnTo>
                  <a:pt x="19056" y="64810"/>
                </a:lnTo>
                <a:lnTo>
                  <a:pt x="19056" y="64810"/>
                </a:lnTo>
                <a:lnTo>
                  <a:pt x="19717" y="64999"/>
                </a:lnTo>
                <a:lnTo>
                  <a:pt x="19151" y="64716"/>
                </a:lnTo>
                <a:lnTo>
                  <a:pt x="18962" y="64810"/>
                </a:lnTo>
                <a:lnTo>
                  <a:pt x="19151" y="64905"/>
                </a:lnTo>
                <a:lnTo>
                  <a:pt x="18490" y="64905"/>
                </a:lnTo>
                <a:lnTo>
                  <a:pt x="17830" y="64716"/>
                </a:lnTo>
                <a:lnTo>
                  <a:pt x="17264" y="64527"/>
                </a:lnTo>
                <a:lnTo>
                  <a:pt x="16698" y="64150"/>
                </a:lnTo>
                <a:lnTo>
                  <a:pt x="16981" y="64056"/>
                </a:lnTo>
                <a:lnTo>
                  <a:pt x="17264" y="64150"/>
                </a:lnTo>
                <a:lnTo>
                  <a:pt x="17264" y="64150"/>
                </a:lnTo>
                <a:lnTo>
                  <a:pt x="15188" y="63207"/>
                </a:lnTo>
                <a:lnTo>
                  <a:pt x="14622" y="62829"/>
                </a:lnTo>
                <a:lnTo>
                  <a:pt x="14717" y="62924"/>
                </a:lnTo>
                <a:lnTo>
                  <a:pt x="13773" y="62546"/>
                </a:lnTo>
                <a:lnTo>
                  <a:pt x="12924" y="62075"/>
                </a:lnTo>
                <a:lnTo>
                  <a:pt x="12358" y="61697"/>
                </a:lnTo>
                <a:lnTo>
                  <a:pt x="12264" y="61508"/>
                </a:lnTo>
                <a:lnTo>
                  <a:pt x="12170" y="61320"/>
                </a:lnTo>
                <a:lnTo>
                  <a:pt x="11698" y="60942"/>
                </a:lnTo>
                <a:lnTo>
                  <a:pt x="11132" y="60471"/>
                </a:lnTo>
                <a:lnTo>
                  <a:pt x="9906" y="59244"/>
                </a:lnTo>
                <a:lnTo>
                  <a:pt x="9906" y="59244"/>
                </a:lnTo>
                <a:lnTo>
                  <a:pt x="10566" y="59527"/>
                </a:lnTo>
                <a:lnTo>
                  <a:pt x="9434" y="58584"/>
                </a:lnTo>
                <a:lnTo>
                  <a:pt x="8207" y="57546"/>
                </a:lnTo>
                <a:lnTo>
                  <a:pt x="7547" y="56886"/>
                </a:lnTo>
                <a:lnTo>
                  <a:pt x="6981" y="56131"/>
                </a:lnTo>
                <a:lnTo>
                  <a:pt x="6226" y="55094"/>
                </a:lnTo>
                <a:lnTo>
                  <a:pt x="6415" y="55377"/>
                </a:lnTo>
                <a:lnTo>
                  <a:pt x="6038" y="54905"/>
                </a:lnTo>
                <a:lnTo>
                  <a:pt x="5472" y="54244"/>
                </a:lnTo>
                <a:lnTo>
                  <a:pt x="5283" y="53961"/>
                </a:lnTo>
                <a:lnTo>
                  <a:pt x="5094" y="53867"/>
                </a:lnTo>
                <a:lnTo>
                  <a:pt x="5377" y="54622"/>
                </a:lnTo>
                <a:lnTo>
                  <a:pt x="5849" y="55282"/>
                </a:lnTo>
                <a:lnTo>
                  <a:pt x="6321" y="55943"/>
                </a:lnTo>
                <a:lnTo>
                  <a:pt x="6698" y="56603"/>
                </a:lnTo>
                <a:lnTo>
                  <a:pt x="6226" y="56226"/>
                </a:lnTo>
                <a:lnTo>
                  <a:pt x="5943" y="55848"/>
                </a:lnTo>
                <a:lnTo>
                  <a:pt x="6038" y="56037"/>
                </a:lnTo>
                <a:lnTo>
                  <a:pt x="5943" y="55943"/>
                </a:lnTo>
                <a:lnTo>
                  <a:pt x="5377" y="55188"/>
                </a:lnTo>
                <a:lnTo>
                  <a:pt x="5000" y="54716"/>
                </a:lnTo>
                <a:lnTo>
                  <a:pt x="4717" y="54150"/>
                </a:lnTo>
                <a:lnTo>
                  <a:pt x="4528" y="53678"/>
                </a:lnTo>
                <a:lnTo>
                  <a:pt x="4528" y="53584"/>
                </a:lnTo>
                <a:lnTo>
                  <a:pt x="4623" y="53395"/>
                </a:lnTo>
                <a:lnTo>
                  <a:pt x="5094" y="54244"/>
                </a:lnTo>
                <a:lnTo>
                  <a:pt x="4717" y="53301"/>
                </a:lnTo>
                <a:lnTo>
                  <a:pt x="4528" y="53018"/>
                </a:lnTo>
                <a:lnTo>
                  <a:pt x="4151" y="52263"/>
                </a:lnTo>
                <a:lnTo>
                  <a:pt x="4151" y="52169"/>
                </a:lnTo>
                <a:lnTo>
                  <a:pt x="3774" y="51509"/>
                </a:lnTo>
                <a:lnTo>
                  <a:pt x="3396" y="50660"/>
                </a:lnTo>
                <a:lnTo>
                  <a:pt x="3585" y="51603"/>
                </a:lnTo>
                <a:lnTo>
                  <a:pt x="3396" y="51226"/>
                </a:lnTo>
                <a:lnTo>
                  <a:pt x="3208" y="50848"/>
                </a:lnTo>
                <a:lnTo>
                  <a:pt x="3208" y="50471"/>
                </a:lnTo>
                <a:lnTo>
                  <a:pt x="3208" y="50094"/>
                </a:lnTo>
                <a:lnTo>
                  <a:pt x="3585" y="50754"/>
                </a:lnTo>
                <a:lnTo>
                  <a:pt x="3868" y="51509"/>
                </a:lnTo>
                <a:lnTo>
                  <a:pt x="3868" y="51509"/>
                </a:lnTo>
                <a:lnTo>
                  <a:pt x="3208" y="49528"/>
                </a:lnTo>
                <a:lnTo>
                  <a:pt x="3208" y="49528"/>
                </a:lnTo>
                <a:lnTo>
                  <a:pt x="3868" y="50754"/>
                </a:lnTo>
                <a:lnTo>
                  <a:pt x="3208" y="48962"/>
                </a:lnTo>
                <a:lnTo>
                  <a:pt x="3585" y="49339"/>
                </a:lnTo>
                <a:lnTo>
                  <a:pt x="3774" y="49433"/>
                </a:lnTo>
                <a:lnTo>
                  <a:pt x="3962" y="49528"/>
                </a:lnTo>
                <a:lnTo>
                  <a:pt x="4057" y="49905"/>
                </a:lnTo>
                <a:lnTo>
                  <a:pt x="3868" y="48962"/>
                </a:lnTo>
                <a:lnTo>
                  <a:pt x="3491" y="47924"/>
                </a:lnTo>
                <a:lnTo>
                  <a:pt x="2641" y="45565"/>
                </a:lnTo>
                <a:lnTo>
                  <a:pt x="2170" y="43867"/>
                </a:lnTo>
                <a:lnTo>
                  <a:pt x="1698" y="41886"/>
                </a:lnTo>
                <a:lnTo>
                  <a:pt x="1698" y="41886"/>
                </a:lnTo>
                <a:lnTo>
                  <a:pt x="1887" y="42075"/>
                </a:lnTo>
                <a:lnTo>
                  <a:pt x="1981" y="41981"/>
                </a:lnTo>
                <a:lnTo>
                  <a:pt x="2075" y="42075"/>
                </a:lnTo>
                <a:lnTo>
                  <a:pt x="2264" y="42169"/>
                </a:lnTo>
                <a:lnTo>
                  <a:pt x="2170" y="40283"/>
                </a:lnTo>
                <a:lnTo>
                  <a:pt x="2075" y="38301"/>
                </a:lnTo>
                <a:lnTo>
                  <a:pt x="2170" y="36415"/>
                </a:lnTo>
                <a:lnTo>
                  <a:pt x="2358" y="35566"/>
                </a:lnTo>
                <a:lnTo>
                  <a:pt x="2453" y="34811"/>
                </a:lnTo>
                <a:lnTo>
                  <a:pt x="2830" y="32830"/>
                </a:lnTo>
                <a:lnTo>
                  <a:pt x="2830" y="33207"/>
                </a:lnTo>
                <a:lnTo>
                  <a:pt x="2924" y="33490"/>
                </a:lnTo>
                <a:lnTo>
                  <a:pt x="2924" y="32453"/>
                </a:lnTo>
                <a:lnTo>
                  <a:pt x="3019" y="31415"/>
                </a:lnTo>
                <a:lnTo>
                  <a:pt x="3396" y="29245"/>
                </a:lnTo>
                <a:lnTo>
                  <a:pt x="3868" y="27075"/>
                </a:lnTo>
                <a:lnTo>
                  <a:pt x="4623" y="25000"/>
                </a:lnTo>
                <a:lnTo>
                  <a:pt x="5566" y="22830"/>
                </a:lnTo>
                <a:lnTo>
                  <a:pt x="6604" y="20849"/>
                </a:lnTo>
                <a:lnTo>
                  <a:pt x="7830" y="18868"/>
                </a:lnTo>
                <a:lnTo>
                  <a:pt x="9151" y="16887"/>
                </a:lnTo>
                <a:lnTo>
                  <a:pt x="10566" y="15094"/>
                </a:lnTo>
                <a:lnTo>
                  <a:pt x="12075" y="13302"/>
                </a:lnTo>
                <a:lnTo>
                  <a:pt x="13773" y="11698"/>
                </a:lnTo>
                <a:lnTo>
                  <a:pt x="15377" y="10095"/>
                </a:lnTo>
                <a:lnTo>
                  <a:pt x="17170" y="8679"/>
                </a:lnTo>
                <a:lnTo>
                  <a:pt x="18962" y="7453"/>
                </a:lnTo>
                <a:lnTo>
                  <a:pt x="20754" y="6321"/>
                </a:lnTo>
                <a:lnTo>
                  <a:pt x="22547" y="5378"/>
                </a:lnTo>
                <a:lnTo>
                  <a:pt x="21603" y="6227"/>
                </a:lnTo>
                <a:lnTo>
                  <a:pt x="22641" y="5472"/>
                </a:lnTo>
                <a:lnTo>
                  <a:pt x="23302" y="5095"/>
                </a:lnTo>
                <a:lnTo>
                  <a:pt x="25377" y="4151"/>
                </a:lnTo>
                <a:lnTo>
                  <a:pt x="24811" y="4151"/>
                </a:lnTo>
                <a:lnTo>
                  <a:pt x="25660" y="3774"/>
                </a:lnTo>
                <a:lnTo>
                  <a:pt x="26886" y="3208"/>
                </a:lnTo>
                <a:lnTo>
                  <a:pt x="26603" y="3585"/>
                </a:lnTo>
                <a:lnTo>
                  <a:pt x="26886" y="3585"/>
                </a:lnTo>
                <a:lnTo>
                  <a:pt x="26886" y="3680"/>
                </a:lnTo>
                <a:lnTo>
                  <a:pt x="26792" y="3774"/>
                </a:lnTo>
                <a:lnTo>
                  <a:pt x="28301" y="3302"/>
                </a:lnTo>
                <a:lnTo>
                  <a:pt x="29622" y="2736"/>
                </a:lnTo>
                <a:lnTo>
                  <a:pt x="31037" y="2264"/>
                </a:lnTo>
                <a:lnTo>
                  <a:pt x="31792" y="2076"/>
                </a:lnTo>
                <a:lnTo>
                  <a:pt x="32641" y="1981"/>
                </a:lnTo>
                <a:lnTo>
                  <a:pt x="32547" y="2076"/>
                </a:lnTo>
                <a:lnTo>
                  <a:pt x="32924" y="1981"/>
                </a:lnTo>
                <a:lnTo>
                  <a:pt x="34245" y="1793"/>
                </a:lnTo>
                <a:lnTo>
                  <a:pt x="35848" y="1415"/>
                </a:lnTo>
                <a:lnTo>
                  <a:pt x="36981" y="1132"/>
                </a:lnTo>
                <a:lnTo>
                  <a:pt x="36981" y="1415"/>
                </a:lnTo>
                <a:lnTo>
                  <a:pt x="40943" y="1227"/>
                </a:lnTo>
                <a:lnTo>
                  <a:pt x="41509" y="1038"/>
                </a:lnTo>
                <a:lnTo>
                  <a:pt x="41697" y="1132"/>
                </a:lnTo>
                <a:lnTo>
                  <a:pt x="41509" y="1227"/>
                </a:lnTo>
                <a:lnTo>
                  <a:pt x="41320" y="1321"/>
                </a:lnTo>
                <a:lnTo>
                  <a:pt x="42263" y="1321"/>
                </a:lnTo>
                <a:lnTo>
                  <a:pt x="43113" y="1227"/>
                </a:lnTo>
                <a:lnTo>
                  <a:pt x="43396" y="1415"/>
                </a:lnTo>
                <a:lnTo>
                  <a:pt x="44056" y="1604"/>
                </a:lnTo>
                <a:lnTo>
                  <a:pt x="45943" y="2076"/>
                </a:lnTo>
                <a:lnTo>
                  <a:pt x="48018" y="2359"/>
                </a:lnTo>
                <a:lnTo>
                  <a:pt x="49622" y="2736"/>
                </a:lnTo>
                <a:lnTo>
                  <a:pt x="47641" y="1981"/>
                </a:lnTo>
                <a:lnTo>
                  <a:pt x="45282" y="1321"/>
                </a:lnTo>
                <a:lnTo>
                  <a:pt x="42735" y="755"/>
                </a:lnTo>
                <a:lnTo>
                  <a:pt x="40188" y="283"/>
                </a:lnTo>
                <a:lnTo>
                  <a:pt x="37735" y="95"/>
                </a:lnTo>
                <a:lnTo>
                  <a:pt x="35471" y="0"/>
                </a:lnTo>
                <a:close/>
              </a:path>
            </a:pathLst>
          </a:custGeom>
          <a:solidFill>
            <a:schemeClr val="bg2">
              <a:lumMod val="75000"/>
            </a:schemeClr>
          </a:solidFill>
          <a:ln>
            <a:noFill/>
          </a:ln>
        </p:spPr>
        <p:txBody>
          <a:bodyPr spcFirstLastPara="1" wrap="square" lIns="91425" tIns="91425" rIns="91425" bIns="91425" anchor="ctr" anchorCtr="0">
            <a:noAutofit/>
          </a:bodyPr>
          <a:lstStyle/>
          <a:p>
            <a:pPr marL="0" lvl="0" indent="0">
              <a:spcBef>
                <a:spcPts val="0"/>
              </a:spcBef>
              <a:spcAft>
                <a:spcPts val="0"/>
              </a:spcAft>
              <a:buNone/>
            </a:pPr>
            <a:endParaRPr sz="1200" dirty="0">
              <a:latin typeface="Comic Sans MS" panose="030F0902030302020204" pitchFamily="66" charset="0"/>
            </a:endParaRPr>
          </a:p>
        </p:txBody>
      </p:sp>
      <p:sp>
        <p:nvSpPr>
          <p:cNvPr id="127" name="TextBox 126">
            <a:extLst>
              <a:ext uri="{FF2B5EF4-FFF2-40B4-BE49-F238E27FC236}">
                <a16:creationId xmlns:a16="http://schemas.microsoft.com/office/drawing/2014/main" id="{695E8BA9-6BC8-DD4F-B692-8AB4765420AF}"/>
              </a:ext>
            </a:extLst>
          </p:cNvPr>
          <p:cNvSpPr txBox="1"/>
          <p:nvPr/>
        </p:nvSpPr>
        <p:spPr>
          <a:xfrm>
            <a:off x="6721825" y="4643534"/>
            <a:ext cx="472467" cy="215444"/>
          </a:xfrm>
          <a:prstGeom prst="rect">
            <a:avLst/>
          </a:prstGeom>
          <a:noFill/>
          <a:ln>
            <a:solidFill>
              <a:srgbClr val="87CBD8"/>
            </a:solidFill>
          </a:ln>
        </p:spPr>
        <p:txBody>
          <a:bodyPr wrap="square" rtlCol="0">
            <a:spAutoFit/>
          </a:bodyPr>
          <a:lstStyle/>
          <a:p>
            <a:pPr algn="ctr" defTabSz="457200"/>
            <a:r>
              <a:rPr lang="en-US" sz="800" dirty="0">
                <a:solidFill>
                  <a:schemeClr val="tx1">
                    <a:lumMod val="50000"/>
                  </a:schemeClr>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Kafka</a:t>
            </a:r>
          </a:p>
        </p:txBody>
      </p:sp>
      <p:sp>
        <p:nvSpPr>
          <p:cNvPr id="128" name="Google Shape;431;p39">
            <a:extLst>
              <a:ext uri="{FF2B5EF4-FFF2-40B4-BE49-F238E27FC236}">
                <a16:creationId xmlns:a16="http://schemas.microsoft.com/office/drawing/2014/main" id="{AD2ABD9E-CCD2-014C-B877-73555CB11CFD}"/>
              </a:ext>
            </a:extLst>
          </p:cNvPr>
          <p:cNvSpPr/>
          <p:nvPr/>
        </p:nvSpPr>
        <p:spPr>
          <a:xfrm rot="21011211">
            <a:off x="6961045" y="4411233"/>
            <a:ext cx="118019" cy="139785"/>
          </a:xfrm>
          <a:custGeom>
            <a:avLst/>
            <a:gdLst/>
            <a:ahLst/>
            <a:cxnLst/>
            <a:rect l="0" t="0" r="0" b="0"/>
            <a:pathLst>
              <a:path w="67641" h="69056" extrusionOk="0">
                <a:moveTo>
                  <a:pt x="49622" y="2736"/>
                </a:moveTo>
                <a:lnTo>
                  <a:pt x="49622" y="2736"/>
                </a:lnTo>
                <a:lnTo>
                  <a:pt x="49622" y="2736"/>
                </a:lnTo>
                <a:close/>
                <a:moveTo>
                  <a:pt x="59622" y="55565"/>
                </a:moveTo>
                <a:lnTo>
                  <a:pt x="59622" y="55565"/>
                </a:lnTo>
                <a:lnTo>
                  <a:pt x="59622" y="55565"/>
                </a:lnTo>
                <a:close/>
                <a:moveTo>
                  <a:pt x="35471" y="0"/>
                </a:moveTo>
                <a:lnTo>
                  <a:pt x="34433" y="95"/>
                </a:lnTo>
                <a:lnTo>
                  <a:pt x="33584" y="189"/>
                </a:lnTo>
                <a:lnTo>
                  <a:pt x="32735" y="378"/>
                </a:lnTo>
                <a:lnTo>
                  <a:pt x="32169" y="566"/>
                </a:lnTo>
                <a:lnTo>
                  <a:pt x="31509" y="472"/>
                </a:lnTo>
                <a:lnTo>
                  <a:pt x="30754" y="472"/>
                </a:lnTo>
                <a:lnTo>
                  <a:pt x="29339" y="566"/>
                </a:lnTo>
                <a:lnTo>
                  <a:pt x="27830" y="849"/>
                </a:lnTo>
                <a:lnTo>
                  <a:pt x="26320" y="1321"/>
                </a:lnTo>
                <a:lnTo>
                  <a:pt x="24811" y="1981"/>
                </a:lnTo>
                <a:lnTo>
                  <a:pt x="23207" y="2736"/>
                </a:lnTo>
                <a:lnTo>
                  <a:pt x="21698" y="3585"/>
                </a:lnTo>
                <a:lnTo>
                  <a:pt x="20188" y="4623"/>
                </a:lnTo>
                <a:lnTo>
                  <a:pt x="18679" y="5661"/>
                </a:lnTo>
                <a:lnTo>
                  <a:pt x="17170" y="6793"/>
                </a:lnTo>
                <a:lnTo>
                  <a:pt x="15754" y="8019"/>
                </a:lnTo>
                <a:lnTo>
                  <a:pt x="14434" y="9151"/>
                </a:lnTo>
                <a:lnTo>
                  <a:pt x="11981" y="11510"/>
                </a:lnTo>
                <a:lnTo>
                  <a:pt x="10000" y="13774"/>
                </a:lnTo>
                <a:lnTo>
                  <a:pt x="7736" y="16981"/>
                </a:lnTo>
                <a:lnTo>
                  <a:pt x="8019" y="16321"/>
                </a:lnTo>
                <a:lnTo>
                  <a:pt x="8302" y="15660"/>
                </a:lnTo>
                <a:lnTo>
                  <a:pt x="7736" y="16604"/>
                </a:lnTo>
                <a:lnTo>
                  <a:pt x="7075" y="17642"/>
                </a:lnTo>
                <a:lnTo>
                  <a:pt x="7170" y="17830"/>
                </a:lnTo>
                <a:lnTo>
                  <a:pt x="6509" y="18868"/>
                </a:lnTo>
                <a:lnTo>
                  <a:pt x="7075" y="17359"/>
                </a:lnTo>
                <a:lnTo>
                  <a:pt x="6132" y="19057"/>
                </a:lnTo>
                <a:lnTo>
                  <a:pt x="5189" y="20849"/>
                </a:lnTo>
                <a:lnTo>
                  <a:pt x="4434" y="22736"/>
                </a:lnTo>
                <a:lnTo>
                  <a:pt x="3679" y="24622"/>
                </a:lnTo>
                <a:lnTo>
                  <a:pt x="2453" y="28490"/>
                </a:lnTo>
                <a:lnTo>
                  <a:pt x="1321" y="32169"/>
                </a:lnTo>
                <a:lnTo>
                  <a:pt x="1509" y="32264"/>
                </a:lnTo>
                <a:lnTo>
                  <a:pt x="1604" y="32453"/>
                </a:lnTo>
                <a:lnTo>
                  <a:pt x="1604" y="32641"/>
                </a:lnTo>
                <a:lnTo>
                  <a:pt x="1509" y="32924"/>
                </a:lnTo>
                <a:lnTo>
                  <a:pt x="1226" y="33396"/>
                </a:lnTo>
                <a:lnTo>
                  <a:pt x="1038" y="33585"/>
                </a:lnTo>
                <a:lnTo>
                  <a:pt x="1038" y="33773"/>
                </a:lnTo>
                <a:lnTo>
                  <a:pt x="1038" y="35000"/>
                </a:lnTo>
                <a:lnTo>
                  <a:pt x="849" y="36132"/>
                </a:lnTo>
                <a:lnTo>
                  <a:pt x="660" y="37358"/>
                </a:lnTo>
                <a:lnTo>
                  <a:pt x="472" y="38867"/>
                </a:lnTo>
                <a:lnTo>
                  <a:pt x="283" y="38301"/>
                </a:lnTo>
                <a:lnTo>
                  <a:pt x="94" y="39811"/>
                </a:lnTo>
                <a:lnTo>
                  <a:pt x="0" y="41509"/>
                </a:lnTo>
                <a:lnTo>
                  <a:pt x="94" y="43301"/>
                </a:lnTo>
                <a:lnTo>
                  <a:pt x="283" y="44056"/>
                </a:lnTo>
                <a:lnTo>
                  <a:pt x="472" y="44622"/>
                </a:lnTo>
                <a:lnTo>
                  <a:pt x="566" y="45660"/>
                </a:lnTo>
                <a:lnTo>
                  <a:pt x="755" y="46792"/>
                </a:lnTo>
                <a:lnTo>
                  <a:pt x="1226" y="48962"/>
                </a:lnTo>
                <a:lnTo>
                  <a:pt x="1981" y="51037"/>
                </a:lnTo>
                <a:lnTo>
                  <a:pt x="2924" y="53112"/>
                </a:lnTo>
                <a:lnTo>
                  <a:pt x="4057" y="55094"/>
                </a:lnTo>
                <a:lnTo>
                  <a:pt x="5283" y="56980"/>
                </a:lnTo>
                <a:lnTo>
                  <a:pt x="6698" y="58678"/>
                </a:lnTo>
                <a:lnTo>
                  <a:pt x="8113" y="60282"/>
                </a:lnTo>
                <a:lnTo>
                  <a:pt x="9056" y="61131"/>
                </a:lnTo>
                <a:lnTo>
                  <a:pt x="10000" y="61980"/>
                </a:lnTo>
                <a:lnTo>
                  <a:pt x="11038" y="62829"/>
                </a:lnTo>
                <a:lnTo>
                  <a:pt x="12075" y="63584"/>
                </a:lnTo>
                <a:lnTo>
                  <a:pt x="14339" y="64905"/>
                </a:lnTo>
                <a:lnTo>
                  <a:pt x="16604" y="66131"/>
                </a:lnTo>
                <a:lnTo>
                  <a:pt x="19056" y="67169"/>
                </a:lnTo>
                <a:lnTo>
                  <a:pt x="21509" y="67923"/>
                </a:lnTo>
                <a:lnTo>
                  <a:pt x="24056" y="68584"/>
                </a:lnTo>
                <a:lnTo>
                  <a:pt x="26603" y="69055"/>
                </a:lnTo>
                <a:lnTo>
                  <a:pt x="27830" y="69055"/>
                </a:lnTo>
                <a:lnTo>
                  <a:pt x="30188" y="68867"/>
                </a:lnTo>
                <a:lnTo>
                  <a:pt x="33113" y="68678"/>
                </a:lnTo>
                <a:lnTo>
                  <a:pt x="36509" y="68301"/>
                </a:lnTo>
                <a:lnTo>
                  <a:pt x="39811" y="67923"/>
                </a:lnTo>
                <a:lnTo>
                  <a:pt x="42735" y="67452"/>
                </a:lnTo>
                <a:lnTo>
                  <a:pt x="44905" y="66980"/>
                </a:lnTo>
                <a:lnTo>
                  <a:pt x="45565" y="66791"/>
                </a:lnTo>
                <a:lnTo>
                  <a:pt x="45943" y="66508"/>
                </a:lnTo>
                <a:lnTo>
                  <a:pt x="47358" y="65942"/>
                </a:lnTo>
                <a:lnTo>
                  <a:pt x="48018" y="65565"/>
                </a:lnTo>
                <a:lnTo>
                  <a:pt x="48678" y="65188"/>
                </a:lnTo>
                <a:lnTo>
                  <a:pt x="47924" y="65471"/>
                </a:lnTo>
                <a:lnTo>
                  <a:pt x="51509" y="62924"/>
                </a:lnTo>
                <a:lnTo>
                  <a:pt x="53301" y="61508"/>
                </a:lnTo>
                <a:lnTo>
                  <a:pt x="55093" y="59905"/>
                </a:lnTo>
                <a:lnTo>
                  <a:pt x="55093" y="59905"/>
                </a:lnTo>
                <a:lnTo>
                  <a:pt x="54810" y="60376"/>
                </a:lnTo>
                <a:lnTo>
                  <a:pt x="54339" y="60754"/>
                </a:lnTo>
                <a:lnTo>
                  <a:pt x="55376" y="59999"/>
                </a:lnTo>
                <a:lnTo>
                  <a:pt x="56320" y="59056"/>
                </a:lnTo>
                <a:lnTo>
                  <a:pt x="57075" y="58395"/>
                </a:lnTo>
                <a:lnTo>
                  <a:pt x="57169" y="58207"/>
                </a:lnTo>
                <a:lnTo>
                  <a:pt x="57075" y="58207"/>
                </a:lnTo>
                <a:lnTo>
                  <a:pt x="57924" y="57546"/>
                </a:lnTo>
                <a:lnTo>
                  <a:pt x="58678" y="56697"/>
                </a:lnTo>
                <a:lnTo>
                  <a:pt x="59339" y="55754"/>
                </a:lnTo>
                <a:lnTo>
                  <a:pt x="59905" y="54905"/>
                </a:lnTo>
                <a:lnTo>
                  <a:pt x="59716" y="54999"/>
                </a:lnTo>
                <a:lnTo>
                  <a:pt x="59622" y="54999"/>
                </a:lnTo>
                <a:lnTo>
                  <a:pt x="59810" y="54622"/>
                </a:lnTo>
                <a:lnTo>
                  <a:pt x="59150" y="55565"/>
                </a:lnTo>
                <a:lnTo>
                  <a:pt x="59527" y="55094"/>
                </a:lnTo>
                <a:lnTo>
                  <a:pt x="59433" y="55377"/>
                </a:lnTo>
                <a:lnTo>
                  <a:pt x="58867" y="56037"/>
                </a:lnTo>
                <a:lnTo>
                  <a:pt x="59056" y="55660"/>
                </a:lnTo>
                <a:lnTo>
                  <a:pt x="59056" y="55660"/>
                </a:lnTo>
                <a:lnTo>
                  <a:pt x="58678" y="56037"/>
                </a:lnTo>
                <a:lnTo>
                  <a:pt x="59810" y="54339"/>
                </a:lnTo>
                <a:lnTo>
                  <a:pt x="60282" y="53490"/>
                </a:lnTo>
                <a:lnTo>
                  <a:pt x="60282" y="53301"/>
                </a:lnTo>
                <a:lnTo>
                  <a:pt x="60188" y="53395"/>
                </a:lnTo>
                <a:lnTo>
                  <a:pt x="60188" y="53395"/>
                </a:lnTo>
                <a:lnTo>
                  <a:pt x="60565" y="52924"/>
                </a:lnTo>
                <a:lnTo>
                  <a:pt x="61037" y="52452"/>
                </a:lnTo>
                <a:lnTo>
                  <a:pt x="61886" y="51509"/>
                </a:lnTo>
                <a:lnTo>
                  <a:pt x="61508" y="52452"/>
                </a:lnTo>
                <a:lnTo>
                  <a:pt x="60848" y="53584"/>
                </a:lnTo>
                <a:lnTo>
                  <a:pt x="59622" y="55565"/>
                </a:lnTo>
                <a:lnTo>
                  <a:pt x="60376" y="54528"/>
                </a:lnTo>
                <a:lnTo>
                  <a:pt x="60942" y="53678"/>
                </a:lnTo>
                <a:lnTo>
                  <a:pt x="61980" y="51792"/>
                </a:lnTo>
                <a:lnTo>
                  <a:pt x="61886" y="51886"/>
                </a:lnTo>
                <a:lnTo>
                  <a:pt x="61886" y="51697"/>
                </a:lnTo>
                <a:lnTo>
                  <a:pt x="62169" y="51037"/>
                </a:lnTo>
                <a:lnTo>
                  <a:pt x="62735" y="49999"/>
                </a:lnTo>
                <a:lnTo>
                  <a:pt x="61508" y="51603"/>
                </a:lnTo>
                <a:lnTo>
                  <a:pt x="61603" y="51037"/>
                </a:lnTo>
                <a:lnTo>
                  <a:pt x="61697" y="50377"/>
                </a:lnTo>
                <a:lnTo>
                  <a:pt x="62169" y="48962"/>
                </a:lnTo>
                <a:lnTo>
                  <a:pt x="62829" y="47358"/>
                </a:lnTo>
                <a:lnTo>
                  <a:pt x="63678" y="45565"/>
                </a:lnTo>
                <a:lnTo>
                  <a:pt x="65376" y="42169"/>
                </a:lnTo>
                <a:lnTo>
                  <a:pt x="66131" y="40660"/>
                </a:lnTo>
                <a:lnTo>
                  <a:pt x="66697" y="39339"/>
                </a:lnTo>
                <a:lnTo>
                  <a:pt x="66603" y="39528"/>
                </a:lnTo>
                <a:lnTo>
                  <a:pt x="66697" y="39056"/>
                </a:lnTo>
                <a:lnTo>
                  <a:pt x="66791" y="38962"/>
                </a:lnTo>
                <a:lnTo>
                  <a:pt x="66791" y="39056"/>
                </a:lnTo>
                <a:lnTo>
                  <a:pt x="66886" y="38584"/>
                </a:lnTo>
                <a:lnTo>
                  <a:pt x="66791" y="38867"/>
                </a:lnTo>
                <a:lnTo>
                  <a:pt x="66980" y="38207"/>
                </a:lnTo>
                <a:lnTo>
                  <a:pt x="67169" y="37264"/>
                </a:lnTo>
                <a:lnTo>
                  <a:pt x="67263" y="36415"/>
                </a:lnTo>
                <a:lnTo>
                  <a:pt x="67357" y="36509"/>
                </a:lnTo>
                <a:lnTo>
                  <a:pt x="67452" y="36509"/>
                </a:lnTo>
                <a:lnTo>
                  <a:pt x="67546" y="35943"/>
                </a:lnTo>
                <a:lnTo>
                  <a:pt x="67546" y="34811"/>
                </a:lnTo>
                <a:lnTo>
                  <a:pt x="67640" y="31037"/>
                </a:lnTo>
                <a:lnTo>
                  <a:pt x="67640" y="28490"/>
                </a:lnTo>
                <a:lnTo>
                  <a:pt x="67546" y="27736"/>
                </a:lnTo>
                <a:lnTo>
                  <a:pt x="67546" y="27547"/>
                </a:lnTo>
                <a:lnTo>
                  <a:pt x="67452" y="27547"/>
                </a:lnTo>
                <a:lnTo>
                  <a:pt x="67074" y="26792"/>
                </a:lnTo>
                <a:lnTo>
                  <a:pt x="66791" y="25660"/>
                </a:lnTo>
                <a:lnTo>
                  <a:pt x="66508" y="24528"/>
                </a:lnTo>
                <a:lnTo>
                  <a:pt x="66414" y="23585"/>
                </a:lnTo>
                <a:lnTo>
                  <a:pt x="66320" y="23679"/>
                </a:lnTo>
                <a:lnTo>
                  <a:pt x="66320" y="23490"/>
                </a:lnTo>
                <a:lnTo>
                  <a:pt x="65942" y="22924"/>
                </a:lnTo>
                <a:lnTo>
                  <a:pt x="65565" y="22358"/>
                </a:lnTo>
                <a:lnTo>
                  <a:pt x="64527" y="21132"/>
                </a:lnTo>
                <a:lnTo>
                  <a:pt x="63584" y="19906"/>
                </a:lnTo>
                <a:lnTo>
                  <a:pt x="63207" y="19340"/>
                </a:lnTo>
                <a:lnTo>
                  <a:pt x="63018" y="18774"/>
                </a:lnTo>
                <a:lnTo>
                  <a:pt x="63112" y="18962"/>
                </a:lnTo>
                <a:lnTo>
                  <a:pt x="63301" y="19057"/>
                </a:lnTo>
                <a:lnTo>
                  <a:pt x="63301" y="19057"/>
                </a:lnTo>
                <a:lnTo>
                  <a:pt x="63207" y="18868"/>
                </a:lnTo>
                <a:lnTo>
                  <a:pt x="62923" y="18491"/>
                </a:lnTo>
                <a:lnTo>
                  <a:pt x="61980" y="17453"/>
                </a:lnTo>
                <a:lnTo>
                  <a:pt x="61037" y="16509"/>
                </a:lnTo>
                <a:lnTo>
                  <a:pt x="61037" y="16698"/>
                </a:lnTo>
                <a:lnTo>
                  <a:pt x="61037" y="16887"/>
                </a:lnTo>
                <a:lnTo>
                  <a:pt x="60093" y="15943"/>
                </a:lnTo>
                <a:lnTo>
                  <a:pt x="60376" y="16321"/>
                </a:lnTo>
                <a:lnTo>
                  <a:pt x="59527" y="15377"/>
                </a:lnTo>
                <a:lnTo>
                  <a:pt x="59056" y="14906"/>
                </a:lnTo>
                <a:lnTo>
                  <a:pt x="59244" y="14906"/>
                </a:lnTo>
                <a:lnTo>
                  <a:pt x="59905" y="15472"/>
                </a:lnTo>
                <a:lnTo>
                  <a:pt x="59905" y="15472"/>
                </a:lnTo>
                <a:lnTo>
                  <a:pt x="57641" y="13396"/>
                </a:lnTo>
                <a:lnTo>
                  <a:pt x="58112" y="13868"/>
                </a:lnTo>
                <a:lnTo>
                  <a:pt x="56886" y="13019"/>
                </a:lnTo>
                <a:lnTo>
                  <a:pt x="55754" y="12453"/>
                </a:lnTo>
                <a:lnTo>
                  <a:pt x="56603" y="13113"/>
                </a:lnTo>
                <a:lnTo>
                  <a:pt x="57452" y="13774"/>
                </a:lnTo>
                <a:lnTo>
                  <a:pt x="58961" y="15283"/>
                </a:lnTo>
                <a:lnTo>
                  <a:pt x="60376" y="16604"/>
                </a:lnTo>
                <a:lnTo>
                  <a:pt x="61225" y="17264"/>
                </a:lnTo>
                <a:lnTo>
                  <a:pt x="62074" y="17925"/>
                </a:lnTo>
                <a:lnTo>
                  <a:pt x="62074" y="17925"/>
                </a:lnTo>
                <a:lnTo>
                  <a:pt x="61414" y="17547"/>
                </a:lnTo>
                <a:lnTo>
                  <a:pt x="60659" y="16981"/>
                </a:lnTo>
                <a:lnTo>
                  <a:pt x="60754" y="17264"/>
                </a:lnTo>
                <a:lnTo>
                  <a:pt x="60942" y="17642"/>
                </a:lnTo>
                <a:lnTo>
                  <a:pt x="61980" y="19151"/>
                </a:lnTo>
                <a:lnTo>
                  <a:pt x="63301" y="20943"/>
                </a:lnTo>
                <a:lnTo>
                  <a:pt x="63207" y="20943"/>
                </a:lnTo>
                <a:lnTo>
                  <a:pt x="63395" y="21038"/>
                </a:lnTo>
                <a:lnTo>
                  <a:pt x="63490" y="21321"/>
                </a:lnTo>
                <a:lnTo>
                  <a:pt x="63678" y="21604"/>
                </a:lnTo>
                <a:lnTo>
                  <a:pt x="63773" y="21698"/>
                </a:lnTo>
                <a:lnTo>
                  <a:pt x="63584" y="21321"/>
                </a:lnTo>
                <a:lnTo>
                  <a:pt x="63584" y="21321"/>
                </a:lnTo>
                <a:lnTo>
                  <a:pt x="64244" y="22170"/>
                </a:lnTo>
                <a:lnTo>
                  <a:pt x="64716" y="22641"/>
                </a:lnTo>
                <a:lnTo>
                  <a:pt x="64905" y="22830"/>
                </a:lnTo>
                <a:lnTo>
                  <a:pt x="64999" y="22830"/>
                </a:lnTo>
                <a:lnTo>
                  <a:pt x="64999" y="22641"/>
                </a:lnTo>
                <a:lnTo>
                  <a:pt x="64905" y="22358"/>
                </a:lnTo>
                <a:lnTo>
                  <a:pt x="65282" y="23207"/>
                </a:lnTo>
                <a:lnTo>
                  <a:pt x="65565" y="24056"/>
                </a:lnTo>
                <a:lnTo>
                  <a:pt x="66225" y="25943"/>
                </a:lnTo>
                <a:lnTo>
                  <a:pt x="66697" y="27830"/>
                </a:lnTo>
                <a:lnTo>
                  <a:pt x="66886" y="28490"/>
                </a:lnTo>
                <a:lnTo>
                  <a:pt x="66980" y="28868"/>
                </a:lnTo>
                <a:lnTo>
                  <a:pt x="66886" y="28962"/>
                </a:lnTo>
                <a:lnTo>
                  <a:pt x="66697" y="28679"/>
                </a:lnTo>
                <a:lnTo>
                  <a:pt x="66697" y="29245"/>
                </a:lnTo>
                <a:lnTo>
                  <a:pt x="66791" y="29905"/>
                </a:lnTo>
                <a:lnTo>
                  <a:pt x="66886" y="29905"/>
                </a:lnTo>
                <a:lnTo>
                  <a:pt x="66886" y="30094"/>
                </a:lnTo>
                <a:lnTo>
                  <a:pt x="66886" y="30566"/>
                </a:lnTo>
                <a:lnTo>
                  <a:pt x="66697" y="30377"/>
                </a:lnTo>
                <a:lnTo>
                  <a:pt x="66603" y="30188"/>
                </a:lnTo>
                <a:lnTo>
                  <a:pt x="66603" y="30094"/>
                </a:lnTo>
                <a:lnTo>
                  <a:pt x="66697" y="29905"/>
                </a:lnTo>
                <a:lnTo>
                  <a:pt x="66508" y="28679"/>
                </a:lnTo>
                <a:lnTo>
                  <a:pt x="66225" y="27358"/>
                </a:lnTo>
                <a:lnTo>
                  <a:pt x="66603" y="30283"/>
                </a:lnTo>
                <a:lnTo>
                  <a:pt x="66697" y="31792"/>
                </a:lnTo>
                <a:lnTo>
                  <a:pt x="66697" y="33302"/>
                </a:lnTo>
                <a:lnTo>
                  <a:pt x="66603" y="34717"/>
                </a:lnTo>
                <a:lnTo>
                  <a:pt x="66414" y="36226"/>
                </a:lnTo>
                <a:lnTo>
                  <a:pt x="66131" y="37547"/>
                </a:lnTo>
                <a:lnTo>
                  <a:pt x="65659" y="38962"/>
                </a:lnTo>
                <a:lnTo>
                  <a:pt x="65848" y="38584"/>
                </a:lnTo>
                <a:lnTo>
                  <a:pt x="65942" y="38584"/>
                </a:lnTo>
                <a:lnTo>
                  <a:pt x="65848" y="39245"/>
                </a:lnTo>
                <a:lnTo>
                  <a:pt x="65565" y="40188"/>
                </a:lnTo>
                <a:lnTo>
                  <a:pt x="65471" y="40471"/>
                </a:lnTo>
                <a:lnTo>
                  <a:pt x="65282" y="40660"/>
                </a:lnTo>
                <a:lnTo>
                  <a:pt x="65282" y="40566"/>
                </a:lnTo>
                <a:lnTo>
                  <a:pt x="65093" y="41132"/>
                </a:lnTo>
                <a:lnTo>
                  <a:pt x="64433" y="43018"/>
                </a:lnTo>
                <a:lnTo>
                  <a:pt x="63678" y="45282"/>
                </a:lnTo>
                <a:lnTo>
                  <a:pt x="62735" y="47264"/>
                </a:lnTo>
                <a:lnTo>
                  <a:pt x="61697" y="49056"/>
                </a:lnTo>
                <a:lnTo>
                  <a:pt x="60659" y="50943"/>
                </a:lnTo>
                <a:lnTo>
                  <a:pt x="59433" y="52735"/>
                </a:lnTo>
                <a:lnTo>
                  <a:pt x="58207" y="54433"/>
                </a:lnTo>
                <a:lnTo>
                  <a:pt x="56886" y="56037"/>
                </a:lnTo>
                <a:lnTo>
                  <a:pt x="55376" y="57641"/>
                </a:lnTo>
                <a:lnTo>
                  <a:pt x="53867" y="59150"/>
                </a:lnTo>
                <a:lnTo>
                  <a:pt x="52169" y="60376"/>
                </a:lnTo>
                <a:lnTo>
                  <a:pt x="48961" y="62452"/>
                </a:lnTo>
                <a:lnTo>
                  <a:pt x="44528" y="65282"/>
                </a:lnTo>
                <a:lnTo>
                  <a:pt x="44622" y="65188"/>
                </a:lnTo>
                <a:lnTo>
                  <a:pt x="44716" y="65093"/>
                </a:lnTo>
                <a:lnTo>
                  <a:pt x="45094" y="64810"/>
                </a:lnTo>
                <a:lnTo>
                  <a:pt x="45660" y="64527"/>
                </a:lnTo>
                <a:lnTo>
                  <a:pt x="43867" y="65376"/>
                </a:lnTo>
                <a:lnTo>
                  <a:pt x="43113" y="65754"/>
                </a:lnTo>
                <a:lnTo>
                  <a:pt x="42924" y="65754"/>
                </a:lnTo>
                <a:lnTo>
                  <a:pt x="43113" y="65659"/>
                </a:lnTo>
                <a:lnTo>
                  <a:pt x="41603" y="66037"/>
                </a:lnTo>
                <a:lnTo>
                  <a:pt x="39999" y="66320"/>
                </a:lnTo>
                <a:lnTo>
                  <a:pt x="38396" y="66508"/>
                </a:lnTo>
                <a:lnTo>
                  <a:pt x="36792" y="66697"/>
                </a:lnTo>
                <a:lnTo>
                  <a:pt x="33584" y="66980"/>
                </a:lnTo>
                <a:lnTo>
                  <a:pt x="32169" y="67169"/>
                </a:lnTo>
                <a:lnTo>
                  <a:pt x="30754" y="67357"/>
                </a:lnTo>
                <a:lnTo>
                  <a:pt x="30094" y="67357"/>
                </a:lnTo>
                <a:lnTo>
                  <a:pt x="29339" y="67263"/>
                </a:lnTo>
                <a:lnTo>
                  <a:pt x="27830" y="66886"/>
                </a:lnTo>
                <a:lnTo>
                  <a:pt x="26415" y="66508"/>
                </a:lnTo>
                <a:lnTo>
                  <a:pt x="25754" y="66414"/>
                </a:lnTo>
                <a:lnTo>
                  <a:pt x="25094" y="66414"/>
                </a:lnTo>
                <a:lnTo>
                  <a:pt x="25566" y="66980"/>
                </a:lnTo>
                <a:lnTo>
                  <a:pt x="25471" y="67074"/>
                </a:lnTo>
                <a:lnTo>
                  <a:pt x="25188" y="66980"/>
                </a:lnTo>
                <a:lnTo>
                  <a:pt x="24339" y="66791"/>
                </a:lnTo>
                <a:lnTo>
                  <a:pt x="23773" y="66508"/>
                </a:lnTo>
                <a:lnTo>
                  <a:pt x="24245" y="66414"/>
                </a:lnTo>
                <a:lnTo>
                  <a:pt x="24717" y="66603"/>
                </a:lnTo>
                <a:lnTo>
                  <a:pt x="24811" y="66414"/>
                </a:lnTo>
                <a:lnTo>
                  <a:pt x="24811" y="66320"/>
                </a:lnTo>
                <a:lnTo>
                  <a:pt x="24717" y="66225"/>
                </a:lnTo>
                <a:lnTo>
                  <a:pt x="24528" y="66131"/>
                </a:lnTo>
                <a:lnTo>
                  <a:pt x="24151" y="66225"/>
                </a:lnTo>
                <a:lnTo>
                  <a:pt x="23679" y="66320"/>
                </a:lnTo>
                <a:lnTo>
                  <a:pt x="23018" y="66414"/>
                </a:lnTo>
                <a:lnTo>
                  <a:pt x="23490" y="66225"/>
                </a:lnTo>
                <a:lnTo>
                  <a:pt x="22075" y="65942"/>
                </a:lnTo>
                <a:lnTo>
                  <a:pt x="20943" y="65659"/>
                </a:lnTo>
                <a:lnTo>
                  <a:pt x="20000" y="65282"/>
                </a:lnTo>
                <a:lnTo>
                  <a:pt x="19056" y="64810"/>
                </a:lnTo>
                <a:lnTo>
                  <a:pt x="19056" y="64810"/>
                </a:lnTo>
                <a:lnTo>
                  <a:pt x="19717" y="64999"/>
                </a:lnTo>
                <a:lnTo>
                  <a:pt x="19151" y="64716"/>
                </a:lnTo>
                <a:lnTo>
                  <a:pt x="18962" y="64810"/>
                </a:lnTo>
                <a:lnTo>
                  <a:pt x="19151" y="64905"/>
                </a:lnTo>
                <a:lnTo>
                  <a:pt x="18490" y="64905"/>
                </a:lnTo>
                <a:lnTo>
                  <a:pt x="17830" y="64716"/>
                </a:lnTo>
                <a:lnTo>
                  <a:pt x="17264" y="64527"/>
                </a:lnTo>
                <a:lnTo>
                  <a:pt x="16698" y="64150"/>
                </a:lnTo>
                <a:lnTo>
                  <a:pt x="16981" y="64056"/>
                </a:lnTo>
                <a:lnTo>
                  <a:pt x="17264" y="64150"/>
                </a:lnTo>
                <a:lnTo>
                  <a:pt x="17264" y="64150"/>
                </a:lnTo>
                <a:lnTo>
                  <a:pt x="15188" y="63207"/>
                </a:lnTo>
                <a:lnTo>
                  <a:pt x="14622" y="62829"/>
                </a:lnTo>
                <a:lnTo>
                  <a:pt x="14717" y="62924"/>
                </a:lnTo>
                <a:lnTo>
                  <a:pt x="13773" y="62546"/>
                </a:lnTo>
                <a:lnTo>
                  <a:pt x="12924" y="62075"/>
                </a:lnTo>
                <a:lnTo>
                  <a:pt x="12358" y="61697"/>
                </a:lnTo>
                <a:lnTo>
                  <a:pt x="12264" y="61508"/>
                </a:lnTo>
                <a:lnTo>
                  <a:pt x="12170" y="61320"/>
                </a:lnTo>
                <a:lnTo>
                  <a:pt x="11698" y="60942"/>
                </a:lnTo>
                <a:lnTo>
                  <a:pt x="11132" y="60471"/>
                </a:lnTo>
                <a:lnTo>
                  <a:pt x="9906" y="59244"/>
                </a:lnTo>
                <a:lnTo>
                  <a:pt x="9906" y="59244"/>
                </a:lnTo>
                <a:lnTo>
                  <a:pt x="10566" y="59527"/>
                </a:lnTo>
                <a:lnTo>
                  <a:pt x="9434" y="58584"/>
                </a:lnTo>
                <a:lnTo>
                  <a:pt x="8207" y="57546"/>
                </a:lnTo>
                <a:lnTo>
                  <a:pt x="7547" y="56886"/>
                </a:lnTo>
                <a:lnTo>
                  <a:pt x="6981" y="56131"/>
                </a:lnTo>
                <a:lnTo>
                  <a:pt x="6226" y="55094"/>
                </a:lnTo>
                <a:lnTo>
                  <a:pt x="6415" y="55377"/>
                </a:lnTo>
                <a:lnTo>
                  <a:pt x="6038" y="54905"/>
                </a:lnTo>
                <a:lnTo>
                  <a:pt x="5472" y="54244"/>
                </a:lnTo>
                <a:lnTo>
                  <a:pt x="5283" y="53961"/>
                </a:lnTo>
                <a:lnTo>
                  <a:pt x="5094" y="53867"/>
                </a:lnTo>
                <a:lnTo>
                  <a:pt x="5377" y="54622"/>
                </a:lnTo>
                <a:lnTo>
                  <a:pt x="5849" y="55282"/>
                </a:lnTo>
                <a:lnTo>
                  <a:pt x="6321" y="55943"/>
                </a:lnTo>
                <a:lnTo>
                  <a:pt x="6698" y="56603"/>
                </a:lnTo>
                <a:lnTo>
                  <a:pt x="6226" y="56226"/>
                </a:lnTo>
                <a:lnTo>
                  <a:pt x="5943" y="55848"/>
                </a:lnTo>
                <a:lnTo>
                  <a:pt x="6038" y="56037"/>
                </a:lnTo>
                <a:lnTo>
                  <a:pt x="5943" y="55943"/>
                </a:lnTo>
                <a:lnTo>
                  <a:pt x="5377" y="55188"/>
                </a:lnTo>
                <a:lnTo>
                  <a:pt x="5000" y="54716"/>
                </a:lnTo>
                <a:lnTo>
                  <a:pt x="4717" y="54150"/>
                </a:lnTo>
                <a:lnTo>
                  <a:pt x="4528" y="53678"/>
                </a:lnTo>
                <a:lnTo>
                  <a:pt x="4528" y="53584"/>
                </a:lnTo>
                <a:lnTo>
                  <a:pt x="4623" y="53395"/>
                </a:lnTo>
                <a:lnTo>
                  <a:pt x="5094" y="54244"/>
                </a:lnTo>
                <a:lnTo>
                  <a:pt x="4717" y="53301"/>
                </a:lnTo>
                <a:lnTo>
                  <a:pt x="4528" y="53018"/>
                </a:lnTo>
                <a:lnTo>
                  <a:pt x="4151" y="52263"/>
                </a:lnTo>
                <a:lnTo>
                  <a:pt x="4151" y="52169"/>
                </a:lnTo>
                <a:lnTo>
                  <a:pt x="3774" y="51509"/>
                </a:lnTo>
                <a:lnTo>
                  <a:pt x="3396" y="50660"/>
                </a:lnTo>
                <a:lnTo>
                  <a:pt x="3585" y="51603"/>
                </a:lnTo>
                <a:lnTo>
                  <a:pt x="3396" y="51226"/>
                </a:lnTo>
                <a:lnTo>
                  <a:pt x="3208" y="50848"/>
                </a:lnTo>
                <a:lnTo>
                  <a:pt x="3208" y="50471"/>
                </a:lnTo>
                <a:lnTo>
                  <a:pt x="3208" y="50094"/>
                </a:lnTo>
                <a:lnTo>
                  <a:pt x="3585" y="50754"/>
                </a:lnTo>
                <a:lnTo>
                  <a:pt x="3868" y="51509"/>
                </a:lnTo>
                <a:lnTo>
                  <a:pt x="3868" y="51509"/>
                </a:lnTo>
                <a:lnTo>
                  <a:pt x="3208" y="49528"/>
                </a:lnTo>
                <a:lnTo>
                  <a:pt x="3208" y="49528"/>
                </a:lnTo>
                <a:lnTo>
                  <a:pt x="3868" y="50754"/>
                </a:lnTo>
                <a:lnTo>
                  <a:pt x="3208" y="48962"/>
                </a:lnTo>
                <a:lnTo>
                  <a:pt x="3585" y="49339"/>
                </a:lnTo>
                <a:lnTo>
                  <a:pt x="3774" y="49433"/>
                </a:lnTo>
                <a:lnTo>
                  <a:pt x="3962" y="49528"/>
                </a:lnTo>
                <a:lnTo>
                  <a:pt x="4057" y="49905"/>
                </a:lnTo>
                <a:lnTo>
                  <a:pt x="3868" y="48962"/>
                </a:lnTo>
                <a:lnTo>
                  <a:pt x="3491" y="47924"/>
                </a:lnTo>
                <a:lnTo>
                  <a:pt x="2641" y="45565"/>
                </a:lnTo>
                <a:lnTo>
                  <a:pt x="2170" y="43867"/>
                </a:lnTo>
                <a:lnTo>
                  <a:pt x="1698" y="41886"/>
                </a:lnTo>
                <a:lnTo>
                  <a:pt x="1698" y="41886"/>
                </a:lnTo>
                <a:lnTo>
                  <a:pt x="1887" y="42075"/>
                </a:lnTo>
                <a:lnTo>
                  <a:pt x="1981" y="41981"/>
                </a:lnTo>
                <a:lnTo>
                  <a:pt x="2075" y="42075"/>
                </a:lnTo>
                <a:lnTo>
                  <a:pt x="2264" y="42169"/>
                </a:lnTo>
                <a:lnTo>
                  <a:pt x="2170" y="40283"/>
                </a:lnTo>
                <a:lnTo>
                  <a:pt x="2075" y="38301"/>
                </a:lnTo>
                <a:lnTo>
                  <a:pt x="2170" y="36415"/>
                </a:lnTo>
                <a:lnTo>
                  <a:pt x="2358" y="35566"/>
                </a:lnTo>
                <a:lnTo>
                  <a:pt x="2453" y="34811"/>
                </a:lnTo>
                <a:lnTo>
                  <a:pt x="2830" y="32830"/>
                </a:lnTo>
                <a:lnTo>
                  <a:pt x="2830" y="33207"/>
                </a:lnTo>
                <a:lnTo>
                  <a:pt x="2924" y="33490"/>
                </a:lnTo>
                <a:lnTo>
                  <a:pt x="2924" y="32453"/>
                </a:lnTo>
                <a:lnTo>
                  <a:pt x="3019" y="31415"/>
                </a:lnTo>
                <a:lnTo>
                  <a:pt x="3396" y="29245"/>
                </a:lnTo>
                <a:lnTo>
                  <a:pt x="3868" y="27075"/>
                </a:lnTo>
                <a:lnTo>
                  <a:pt x="4623" y="25000"/>
                </a:lnTo>
                <a:lnTo>
                  <a:pt x="5566" y="22830"/>
                </a:lnTo>
                <a:lnTo>
                  <a:pt x="6604" y="20849"/>
                </a:lnTo>
                <a:lnTo>
                  <a:pt x="7830" y="18868"/>
                </a:lnTo>
                <a:lnTo>
                  <a:pt x="9151" y="16887"/>
                </a:lnTo>
                <a:lnTo>
                  <a:pt x="10566" y="15094"/>
                </a:lnTo>
                <a:lnTo>
                  <a:pt x="12075" y="13302"/>
                </a:lnTo>
                <a:lnTo>
                  <a:pt x="13773" y="11698"/>
                </a:lnTo>
                <a:lnTo>
                  <a:pt x="15377" y="10095"/>
                </a:lnTo>
                <a:lnTo>
                  <a:pt x="17170" y="8679"/>
                </a:lnTo>
                <a:lnTo>
                  <a:pt x="18962" y="7453"/>
                </a:lnTo>
                <a:lnTo>
                  <a:pt x="20754" y="6321"/>
                </a:lnTo>
                <a:lnTo>
                  <a:pt x="22547" y="5378"/>
                </a:lnTo>
                <a:lnTo>
                  <a:pt x="21603" y="6227"/>
                </a:lnTo>
                <a:lnTo>
                  <a:pt x="22641" y="5472"/>
                </a:lnTo>
                <a:lnTo>
                  <a:pt x="23302" y="5095"/>
                </a:lnTo>
                <a:lnTo>
                  <a:pt x="25377" y="4151"/>
                </a:lnTo>
                <a:lnTo>
                  <a:pt x="24811" y="4151"/>
                </a:lnTo>
                <a:lnTo>
                  <a:pt x="25660" y="3774"/>
                </a:lnTo>
                <a:lnTo>
                  <a:pt x="26886" y="3208"/>
                </a:lnTo>
                <a:lnTo>
                  <a:pt x="26603" y="3585"/>
                </a:lnTo>
                <a:lnTo>
                  <a:pt x="26886" y="3585"/>
                </a:lnTo>
                <a:lnTo>
                  <a:pt x="26886" y="3680"/>
                </a:lnTo>
                <a:lnTo>
                  <a:pt x="26792" y="3774"/>
                </a:lnTo>
                <a:lnTo>
                  <a:pt x="28301" y="3302"/>
                </a:lnTo>
                <a:lnTo>
                  <a:pt x="29622" y="2736"/>
                </a:lnTo>
                <a:lnTo>
                  <a:pt x="31037" y="2264"/>
                </a:lnTo>
                <a:lnTo>
                  <a:pt x="31792" y="2076"/>
                </a:lnTo>
                <a:lnTo>
                  <a:pt x="32641" y="1981"/>
                </a:lnTo>
                <a:lnTo>
                  <a:pt x="32547" y="2076"/>
                </a:lnTo>
                <a:lnTo>
                  <a:pt x="32924" y="1981"/>
                </a:lnTo>
                <a:lnTo>
                  <a:pt x="34245" y="1793"/>
                </a:lnTo>
                <a:lnTo>
                  <a:pt x="35848" y="1415"/>
                </a:lnTo>
                <a:lnTo>
                  <a:pt x="36981" y="1132"/>
                </a:lnTo>
                <a:lnTo>
                  <a:pt x="36981" y="1415"/>
                </a:lnTo>
                <a:lnTo>
                  <a:pt x="40943" y="1227"/>
                </a:lnTo>
                <a:lnTo>
                  <a:pt x="41509" y="1038"/>
                </a:lnTo>
                <a:lnTo>
                  <a:pt x="41697" y="1132"/>
                </a:lnTo>
                <a:lnTo>
                  <a:pt x="41509" y="1227"/>
                </a:lnTo>
                <a:lnTo>
                  <a:pt x="41320" y="1321"/>
                </a:lnTo>
                <a:lnTo>
                  <a:pt x="42263" y="1321"/>
                </a:lnTo>
                <a:lnTo>
                  <a:pt x="43113" y="1227"/>
                </a:lnTo>
                <a:lnTo>
                  <a:pt x="43396" y="1415"/>
                </a:lnTo>
                <a:lnTo>
                  <a:pt x="44056" y="1604"/>
                </a:lnTo>
                <a:lnTo>
                  <a:pt x="45943" y="2076"/>
                </a:lnTo>
                <a:lnTo>
                  <a:pt x="48018" y="2359"/>
                </a:lnTo>
                <a:lnTo>
                  <a:pt x="49622" y="2736"/>
                </a:lnTo>
                <a:lnTo>
                  <a:pt x="47641" y="1981"/>
                </a:lnTo>
                <a:lnTo>
                  <a:pt x="45282" y="1321"/>
                </a:lnTo>
                <a:lnTo>
                  <a:pt x="42735" y="755"/>
                </a:lnTo>
                <a:lnTo>
                  <a:pt x="40188" y="283"/>
                </a:lnTo>
                <a:lnTo>
                  <a:pt x="37735" y="95"/>
                </a:lnTo>
                <a:lnTo>
                  <a:pt x="35471" y="0"/>
                </a:lnTo>
                <a:close/>
              </a:path>
            </a:pathLst>
          </a:custGeom>
          <a:solidFill>
            <a:schemeClr val="bg2">
              <a:lumMod val="75000"/>
            </a:schemeClr>
          </a:solidFill>
          <a:ln>
            <a:noFill/>
          </a:ln>
        </p:spPr>
        <p:txBody>
          <a:bodyPr spcFirstLastPara="1" wrap="square" lIns="91425" tIns="91425" rIns="91425" bIns="91425" anchor="ctr" anchorCtr="0">
            <a:noAutofit/>
          </a:bodyPr>
          <a:lstStyle/>
          <a:p>
            <a:pPr marL="0" lvl="0" indent="0">
              <a:spcBef>
                <a:spcPts val="0"/>
              </a:spcBef>
              <a:spcAft>
                <a:spcPts val="0"/>
              </a:spcAft>
              <a:buNone/>
            </a:pPr>
            <a:endParaRPr sz="1200" dirty="0">
              <a:latin typeface="Comic Sans MS" panose="030F0902030302020204" pitchFamily="66" charset="0"/>
            </a:endParaRPr>
          </a:p>
        </p:txBody>
      </p:sp>
      <p:sp>
        <p:nvSpPr>
          <p:cNvPr id="129" name="Google Shape;431;p39">
            <a:extLst>
              <a:ext uri="{FF2B5EF4-FFF2-40B4-BE49-F238E27FC236}">
                <a16:creationId xmlns:a16="http://schemas.microsoft.com/office/drawing/2014/main" id="{92139520-B10C-2247-88F2-C782F5B18545}"/>
              </a:ext>
            </a:extLst>
          </p:cNvPr>
          <p:cNvSpPr/>
          <p:nvPr/>
        </p:nvSpPr>
        <p:spPr>
          <a:xfrm rot="21011211">
            <a:off x="6755729" y="4970074"/>
            <a:ext cx="118019" cy="139785"/>
          </a:xfrm>
          <a:custGeom>
            <a:avLst/>
            <a:gdLst/>
            <a:ahLst/>
            <a:cxnLst/>
            <a:rect l="0" t="0" r="0" b="0"/>
            <a:pathLst>
              <a:path w="67641" h="69056" extrusionOk="0">
                <a:moveTo>
                  <a:pt x="49622" y="2736"/>
                </a:moveTo>
                <a:lnTo>
                  <a:pt x="49622" y="2736"/>
                </a:lnTo>
                <a:lnTo>
                  <a:pt x="49622" y="2736"/>
                </a:lnTo>
                <a:close/>
                <a:moveTo>
                  <a:pt x="59622" y="55565"/>
                </a:moveTo>
                <a:lnTo>
                  <a:pt x="59622" y="55565"/>
                </a:lnTo>
                <a:lnTo>
                  <a:pt x="59622" y="55565"/>
                </a:lnTo>
                <a:close/>
                <a:moveTo>
                  <a:pt x="35471" y="0"/>
                </a:moveTo>
                <a:lnTo>
                  <a:pt x="34433" y="95"/>
                </a:lnTo>
                <a:lnTo>
                  <a:pt x="33584" y="189"/>
                </a:lnTo>
                <a:lnTo>
                  <a:pt x="32735" y="378"/>
                </a:lnTo>
                <a:lnTo>
                  <a:pt x="32169" y="566"/>
                </a:lnTo>
                <a:lnTo>
                  <a:pt x="31509" y="472"/>
                </a:lnTo>
                <a:lnTo>
                  <a:pt x="30754" y="472"/>
                </a:lnTo>
                <a:lnTo>
                  <a:pt x="29339" y="566"/>
                </a:lnTo>
                <a:lnTo>
                  <a:pt x="27830" y="849"/>
                </a:lnTo>
                <a:lnTo>
                  <a:pt x="26320" y="1321"/>
                </a:lnTo>
                <a:lnTo>
                  <a:pt x="24811" y="1981"/>
                </a:lnTo>
                <a:lnTo>
                  <a:pt x="23207" y="2736"/>
                </a:lnTo>
                <a:lnTo>
                  <a:pt x="21698" y="3585"/>
                </a:lnTo>
                <a:lnTo>
                  <a:pt x="20188" y="4623"/>
                </a:lnTo>
                <a:lnTo>
                  <a:pt x="18679" y="5661"/>
                </a:lnTo>
                <a:lnTo>
                  <a:pt x="17170" y="6793"/>
                </a:lnTo>
                <a:lnTo>
                  <a:pt x="15754" y="8019"/>
                </a:lnTo>
                <a:lnTo>
                  <a:pt x="14434" y="9151"/>
                </a:lnTo>
                <a:lnTo>
                  <a:pt x="11981" y="11510"/>
                </a:lnTo>
                <a:lnTo>
                  <a:pt x="10000" y="13774"/>
                </a:lnTo>
                <a:lnTo>
                  <a:pt x="7736" y="16981"/>
                </a:lnTo>
                <a:lnTo>
                  <a:pt x="8019" y="16321"/>
                </a:lnTo>
                <a:lnTo>
                  <a:pt x="8302" y="15660"/>
                </a:lnTo>
                <a:lnTo>
                  <a:pt x="7736" y="16604"/>
                </a:lnTo>
                <a:lnTo>
                  <a:pt x="7075" y="17642"/>
                </a:lnTo>
                <a:lnTo>
                  <a:pt x="7170" y="17830"/>
                </a:lnTo>
                <a:lnTo>
                  <a:pt x="6509" y="18868"/>
                </a:lnTo>
                <a:lnTo>
                  <a:pt x="7075" y="17359"/>
                </a:lnTo>
                <a:lnTo>
                  <a:pt x="6132" y="19057"/>
                </a:lnTo>
                <a:lnTo>
                  <a:pt x="5189" y="20849"/>
                </a:lnTo>
                <a:lnTo>
                  <a:pt x="4434" y="22736"/>
                </a:lnTo>
                <a:lnTo>
                  <a:pt x="3679" y="24622"/>
                </a:lnTo>
                <a:lnTo>
                  <a:pt x="2453" y="28490"/>
                </a:lnTo>
                <a:lnTo>
                  <a:pt x="1321" y="32169"/>
                </a:lnTo>
                <a:lnTo>
                  <a:pt x="1509" y="32264"/>
                </a:lnTo>
                <a:lnTo>
                  <a:pt x="1604" y="32453"/>
                </a:lnTo>
                <a:lnTo>
                  <a:pt x="1604" y="32641"/>
                </a:lnTo>
                <a:lnTo>
                  <a:pt x="1509" y="32924"/>
                </a:lnTo>
                <a:lnTo>
                  <a:pt x="1226" y="33396"/>
                </a:lnTo>
                <a:lnTo>
                  <a:pt x="1038" y="33585"/>
                </a:lnTo>
                <a:lnTo>
                  <a:pt x="1038" y="33773"/>
                </a:lnTo>
                <a:lnTo>
                  <a:pt x="1038" y="35000"/>
                </a:lnTo>
                <a:lnTo>
                  <a:pt x="849" y="36132"/>
                </a:lnTo>
                <a:lnTo>
                  <a:pt x="660" y="37358"/>
                </a:lnTo>
                <a:lnTo>
                  <a:pt x="472" y="38867"/>
                </a:lnTo>
                <a:lnTo>
                  <a:pt x="283" y="38301"/>
                </a:lnTo>
                <a:lnTo>
                  <a:pt x="94" y="39811"/>
                </a:lnTo>
                <a:lnTo>
                  <a:pt x="0" y="41509"/>
                </a:lnTo>
                <a:lnTo>
                  <a:pt x="94" y="43301"/>
                </a:lnTo>
                <a:lnTo>
                  <a:pt x="283" y="44056"/>
                </a:lnTo>
                <a:lnTo>
                  <a:pt x="472" y="44622"/>
                </a:lnTo>
                <a:lnTo>
                  <a:pt x="566" y="45660"/>
                </a:lnTo>
                <a:lnTo>
                  <a:pt x="755" y="46792"/>
                </a:lnTo>
                <a:lnTo>
                  <a:pt x="1226" y="48962"/>
                </a:lnTo>
                <a:lnTo>
                  <a:pt x="1981" y="51037"/>
                </a:lnTo>
                <a:lnTo>
                  <a:pt x="2924" y="53112"/>
                </a:lnTo>
                <a:lnTo>
                  <a:pt x="4057" y="55094"/>
                </a:lnTo>
                <a:lnTo>
                  <a:pt x="5283" y="56980"/>
                </a:lnTo>
                <a:lnTo>
                  <a:pt x="6698" y="58678"/>
                </a:lnTo>
                <a:lnTo>
                  <a:pt x="8113" y="60282"/>
                </a:lnTo>
                <a:lnTo>
                  <a:pt x="9056" y="61131"/>
                </a:lnTo>
                <a:lnTo>
                  <a:pt x="10000" y="61980"/>
                </a:lnTo>
                <a:lnTo>
                  <a:pt x="11038" y="62829"/>
                </a:lnTo>
                <a:lnTo>
                  <a:pt x="12075" y="63584"/>
                </a:lnTo>
                <a:lnTo>
                  <a:pt x="14339" y="64905"/>
                </a:lnTo>
                <a:lnTo>
                  <a:pt x="16604" y="66131"/>
                </a:lnTo>
                <a:lnTo>
                  <a:pt x="19056" y="67169"/>
                </a:lnTo>
                <a:lnTo>
                  <a:pt x="21509" y="67923"/>
                </a:lnTo>
                <a:lnTo>
                  <a:pt x="24056" y="68584"/>
                </a:lnTo>
                <a:lnTo>
                  <a:pt x="26603" y="69055"/>
                </a:lnTo>
                <a:lnTo>
                  <a:pt x="27830" y="69055"/>
                </a:lnTo>
                <a:lnTo>
                  <a:pt x="30188" y="68867"/>
                </a:lnTo>
                <a:lnTo>
                  <a:pt x="33113" y="68678"/>
                </a:lnTo>
                <a:lnTo>
                  <a:pt x="36509" y="68301"/>
                </a:lnTo>
                <a:lnTo>
                  <a:pt x="39811" y="67923"/>
                </a:lnTo>
                <a:lnTo>
                  <a:pt x="42735" y="67452"/>
                </a:lnTo>
                <a:lnTo>
                  <a:pt x="44905" y="66980"/>
                </a:lnTo>
                <a:lnTo>
                  <a:pt x="45565" y="66791"/>
                </a:lnTo>
                <a:lnTo>
                  <a:pt x="45943" y="66508"/>
                </a:lnTo>
                <a:lnTo>
                  <a:pt x="47358" y="65942"/>
                </a:lnTo>
                <a:lnTo>
                  <a:pt x="48018" y="65565"/>
                </a:lnTo>
                <a:lnTo>
                  <a:pt x="48678" y="65188"/>
                </a:lnTo>
                <a:lnTo>
                  <a:pt x="47924" y="65471"/>
                </a:lnTo>
                <a:lnTo>
                  <a:pt x="51509" y="62924"/>
                </a:lnTo>
                <a:lnTo>
                  <a:pt x="53301" y="61508"/>
                </a:lnTo>
                <a:lnTo>
                  <a:pt x="55093" y="59905"/>
                </a:lnTo>
                <a:lnTo>
                  <a:pt x="55093" y="59905"/>
                </a:lnTo>
                <a:lnTo>
                  <a:pt x="54810" y="60376"/>
                </a:lnTo>
                <a:lnTo>
                  <a:pt x="54339" y="60754"/>
                </a:lnTo>
                <a:lnTo>
                  <a:pt x="55376" y="59999"/>
                </a:lnTo>
                <a:lnTo>
                  <a:pt x="56320" y="59056"/>
                </a:lnTo>
                <a:lnTo>
                  <a:pt x="57075" y="58395"/>
                </a:lnTo>
                <a:lnTo>
                  <a:pt x="57169" y="58207"/>
                </a:lnTo>
                <a:lnTo>
                  <a:pt x="57075" y="58207"/>
                </a:lnTo>
                <a:lnTo>
                  <a:pt x="57924" y="57546"/>
                </a:lnTo>
                <a:lnTo>
                  <a:pt x="58678" y="56697"/>
                </a:lnTo>
                <a:lnTo>
                  <a:pt x="59339" y="55754"/>
                </a:lnTo>
                <a:lnTo>
                  <a:pt x="59905" y="54905"/>
                </a:lnTo>
                <a:lnTo>
                  <a:pt x="59716" y="54999"/>
                </a:lnTo>
                <a:lnTo>
                  <a:pt x="59622" y="54999"/>
                </a:lnTo>
                <a:lnTo>
                  <a:pt x="59810" y="54622"/>
                </a:lnTo>
                <a:lnTo>
                  <a:pt x="59150" y="55565"/>
                </a:lnTo>
                <a:lnTo>
                  <a:pt x="59527" y="55094"/>
                </a:lnTo>
                <a:lnTo>
                  <a:pt x="59433" y="55377"/>
                </a:lnTo>
                <a:lnTo>
                  <a:pt x="58867" y="56037"/>
                </a:lnTo>
                <a:lnTo>
                  <a:pt x="59056" y="55660"/>
                </a:lnTo>
                <a:lnTo>
                  <a:pt x="59056" y="55660"/>
                </a:lnTo>
                <a:lnTo>
                  <a:pt x="58678" y="56037"/>
                </a:lnTo>
                <a:lnTo>
                  <a:pt x="59810" y="54339"/>
                </a:lnTo>
                <a:lnTo>
                  <a:pt x="60282" y="53490"/>
                </a:lnTo>
                <a:lnTo>
                  <a:pt x="60282" y="53301"/>
                </a:lnTo>
                <a:lnTo>
                  <a:pt x="60188" y="53395"/>
                </a:lnTo>
                <a:lnTo>
                  <a:pt x="60188" y="53395"/>
                </a:lnTo>
                <a:lnTo>
                  <a:pt x="60565" y="52924"/>
                </a:lnTo>
                <a:lnTo>
                  <a:pt x="61037" y="52452"/>
                </a:lnTo>
                <a:lnTo>
                  <a:pt x="61886" y="51509"/>
                </a:lnTo>
                <a:lnTo>
                  <a:pt x="61508" y="52452"/>
                </a:lnTo>
                <a:lnTo>
                  <a:pt x="60848" y="53584"/>
                </a:lnTo>
                <a:lnTo>
                  <a:pt x="59622" y="55565"/>
                </a:lnTo>
                <a:lnTo>
                  <a:pt x="60376" y="54528"/>
                </a:lnTo>
                <a:lnTo>
                  <a:pt x="60942" y="53678"/>
                </a:lnTo>
                <a:lnTo>
                  <a:pt x="61980" y="51792"/>
                </a:lnTo>
                <a:lnTo>
                  <a:pt x="61886" y="51886"/>
                </a:lnTo>
                <a:lnTo>
                  <a:pt x="61886" y="51697"/>
                </a:lnTo>
                <a:lnTo>
                  <a:pt x="62169" y="51037"/>
                </a:lnTo>
                <a:lnTo>
                  <a:pt x="62735" y="49999"/>
                </a:lnTo>
                <a:lnTo>
                  <a:pt x="61508" y="51603"/>
                </a:lnTo>
                <a:lnTo>
                  <a:pt x="61603" y="51037"/>
                </a:lnTo>
                <a:lnTo>
                  <a:pt x="61697" y="50377"/>
                </a:lnTo>
                <a:lnTo>
                  <a:pt x="62169" y="48962"/>
                </a:lnTo>
                <a:lnTo>
                  <a:pt x="62829" y="47358"/>
                </a:lnTo>
                <a:lnTo>
                  <a:pt x="63678" y="45565"/>
                </a:lnTo>
                <a:lnTo>
                  <a:pt x="65376" y="42169"/>
                </a:lnTo>
                <a:lnTo>
                  <a:pt x="66131" y="40660"/>
                </a:lnTo>
                <a:lnTo>
                  <a:pt x="66697" y="39339"/>
                </a:lnTo>
                <a:lnTo>
                  <a:pt x="66603" y="39528"/>
                </a:lnTo>
                <a:lnTo>
                  <a:pt x="66697" y="39056"/>
                </a:lnTo>
                <a:lnTo>
                  <a:pt x="66791" y="38962"/>
                </a:lnTo>
                <a:lnTo>
                  <a:pt x="66791" y="39056"/>
                </a:lnTo>
                <a:lnTo>
                  <a:pt x="66886" y="38584"/>
                </a:lnTo>
                <a:lnTo>
                  <a:pt x="66791" y="38867"/>
                </a:lnTo>
                <a:lnTo>
                  <a:pt x="66980" y="38207"/>
                </a:lnTo>
                <a:lnTo>
                  <a:pt x="67169" y="37264"/>
                </a:lnTo>
                <a:lnTo>
                  <a:pt x="67263" y="36415"/>
                </a:lnTo>
                <a:lnTo>
                  <a:pt x="67357" y="36509"/>
                </a:lnTo>
                <a:lnTo>
                  <a:pt x="67452" y="36509"/>
                </a:lnTo>
                <a:lnTo>
                  <a:pt x="67546" y="35943"/>
                </a:lnTo>
                <a:lnTo>
                  <a:pt x="67546" y="34811"/>
                </a:lnTo>
                <a:lnTo>
                  <a:pt x="67640" y="31037"/>
                </a:lnTo>
                <a:lnTo>
                  <a:pt x="67640" y="28490"/>
                </a:lnTo>
                <a:lnTo>
                  <a:pt x="67546" y="27736"/>
                </a:lnTo>
                <a:lnTo>
                  <a:pt x="67546" y="27547"/>
                </a:lnTo>
                <a:lnTo>
                  <a:pt x="67452" y="27547"/>
                </a:lnTo>
                <a:lnTo>
                  <a:pt x="67074" y="26792"/>
                </a:lnTo>
                <a:lnTo>
                  <a:pt x="66791" y="25660"/>
                </a:lnTo>
                <a:lnTo>
                  <a:pt x="66508" y="24528"/>
                </a:lnTo>
                <a:lnTo>
                  <a:pt x="66414" y="23585"/>
                </a:lnTo>
                <a:lnTo>
                  <a:pt x="66320" y="23679"/>
                </a:lnTo>
                <a:lnTo>
                  <a:pt x="66320" y="23490"/>
                </a:lnTo>
                <a:lnTo>
                  <a:pt x="65942" y="22924"/>
                </a:lnTo>
                <a:lnTo>
                  <a:pt x="65565" y="22358"/>
                </a:lnTo>
                <a:lnTo>
                  <a:pt x="64527" y="21132"/>
                </a:lnTo>
                <a:lnTo>
                  <a:pt x="63584" y="19906"/>
                </a:lnTo>
                <a:lnTo>
                  <a:pt x="63207" y="19340"/>
                </a:lnTo>
                <a:lnTo>
                  <a:pt x="63018" y="18774"/>
                </a:lnTo>
                <a:lnTo>
                  <a:pt x="63112" y="18962"/>
                </a:lnTo>
                <a:lnTo>
                  <a:pt x="63301" y="19057"/>
                </a:lnTo>
                <a:lnTo>
                  <a:pt x="63301" y="19057"/>
                </a:lnTo>
                <a:lnTo>
                  <a:pt x="63207" y="18868"/>
                </a:lnTo>
                <a:lnTo>
                  <a:pt x="62923" y="18491"/>
                </a:lnTo>
                <a:lnTo>
                  <a:pt x="61980" y="17453"/>
                </a:lnTo>
                <a:lnTo>
                  <a:pt x="61037" y="16509"/>
                </a:lnTo>
                <a:lnTo>
                  <a:pt x="61037" y="16698"/>
                </a:lnTo>
                <a:lnTo>
                  <a:pt x="61037" y="16887"/>
                </a:lnTo>
                <a:lnTo>
                  <a:pt x="60093" y="15943"/>
                </a:lnTo>
                <a:lnTo>
                  <a:pt x="60376" y="16321"/>
                </a:lnTo>
                <a:lnTo>
                  <a:pt x="59527" y="15377"/>
                </a:lnTo>
                <a:lnTo>
                  <a:pt x="59056" y="14906"/>
                </a:lnTo>
                <a:lnTo>
                  <a:pt x="59244" y="14906"/>
                </a:lnTo>
                <a:lnTo>
                  <a:pt x="59905" y="15472"/>
                </a:lnTo>
                <a:lnTo>
                  <a:pt x="59905" y="15472"/>
                </a:lnTo>
                <a:lnTo>
                  <a:pt x="57641" y="13396"/>
                </a:lnTo>
                <a:lnTo>
                  <a:pt x="58112" y="13868"/>
                </a:lnTo>
                <a:lnTo>
                  <a:pt x="56886" y="13019"/>
                </a:lnTo>
                <a:lnTo>
                  <a:pt x="55754" y="12453"/>
                </a:lnTo>
                <a:lnTo>
                  <a:pt x="56603" y="13113"/>
                </a:lnTo>
                <a:lnTo>
                  <a:pt x="57452" y="13774"/>
                </a:lnTo>
                <a:lnTo>
                  <a:pt x="58961" y="15283"/>
                </a:lnTo>
                <a:lnTo>
                  <a:pt x="60376" y="16604"/>
                </a:lnTo>
                <a:lnTo>
                  <a:pt x="61225" y="17264"/>
                </a:lnTo>
                <a:lnTo>
                  <a:pt x="62074" y="17925"/>
                </a:lnTo>
                <a:lnTo>
                  <a:pt x="62074" y="17925"/>
                </a:lnTo>
                <a:lnTo>
                  <a:pt x="61414" y="17547"/>
                </a:lnTo>
                <a:lnTo>
                  <a:pt x="60659" y="16981"/>
                </a:lnTo>
                <a:lnTo>
                  <a:pt x="60754" y="17264"/>
                </a:lnTo>
                <a:lnTo>
                  <a:pt x="60942" y="17642"/>
                </a:lnTo>
                <a:lnTo>
                  <a:pt x="61980" y="19151"/>
                </a:lnTo>
                <a:lnTo>
                  <a:pt x="63301" y="20943"/>
                </a:lnTo>
                <a:lnTo>
                  <a:pt x="63207" y="20943"/>
                </a:lnTo>
                <a:lnTo>
                  <a:pt x="63395" y="21038"/>
                </a:lnTo>
                <a:lnTo>
                  <a:pt x="63490" y="21321"/>
                </a:lnTo>
                <a:lnTo>
                  <a:pt x="63678" y="21604"/>
                </a:lnTo>
                <a:lnTo>
                  <a:pt x="63773" y="21698"/>
                </a:lnTo>
                <a:lnTo>
                  <a:pt x="63584" y="21321"/>
                </a:lnTo>
                <a:lnTo>
                  <a:pt x="63584" y="21321"/>
                </a:lnTo>
                <a:lnTo>
                  <a:pt x="64244" y="22170"/>
                </a:lnTo>
                <a:lnTo>
                  <a:pt x="64716" y="22641"/>
                </a:lnTo>
                <a:lnTo>
                  <a:pt x="64905" y="22830"/>
                </a:lnTo>
                <a:lnTo>
                  <a:pt x="64999" y="22830"/>
                </a:lnTo>
                <a:lnTo>
                  <a:pt x="64999" y="22641"/>
                </a:lnTo>
                <a:lnTo>
                  <a:pt x="64905" y="22358"/>
                </a:lnTo>
                <a:lnTo>
                  <a:pt x="65282" y="23207"/>
                </a:lnTo>
                <a:lnTo>
                  <a:pt x="65565" y="24056"/>
                </a:lnTo>
                <a:lnTo>
                  <a:pt x="66225" y="25943"/>
                </a:lnTo>
                <a:lnTo>
                  <a:pt x="66697" y="27830"/>
                </a:lnTo>
                <a:lnTo>
                  <a:pt x="66886" y="28490"/>
                </a:lnTo>
                <a:lnTo>
                  <a:pt x="66980" y="28868"/>
                </a:lnTo>
                <a:lnTo>
                  <a:pt x="66886" y="28962"/>
                </a:lnTo>
                <a:lnTo>
                  <a:pt x="66697" y="28679"/>
                </a:lnTo>
                <a:lnTo>
                  <a:pt x="66697" y="29245"/>
                </a:lnTo>
                <a:lnTo>
                  <a:pt x="66791" y="29905"/>
                </a:lnTo>
                <a:lnTo>
                  <a:pt x="66886" y="29905"/>
                </a:lnTo>
                <a:lnTo>
                  <a:pt x="66886" y="30094"/>
                </a:lnTo>
                <a:lnTo>
                  <a:pt x="66886" y="30566"/>
                </a:lnTo>
                <a:lnTo>
                  <a:pt x="66697" y="30377"/>
                </a:lnTo>
                <a:lnTo>
                  <a:pt x="66603" y="30188"/>
                </a:lnTo>
                <a:lnTo>
                  <a:pt x="66603" y="30094"/>
                </a:lnTo>
                <a:lnTo>
                  <a:pt x="66697" y="29905"/>
                </a:lnTo>
                <a:lnTo>
                  <a:pt x="66508" y="28679"/>
                </a:lnTo>
                <a:lnTo>
                  <a:pt x="66225" y="27358"/>
                </a:lnTo>
                <a:lnTo>
                  <a:pt x="66603" y="30283"/>
                </a:lnTo>
                <a:lnTo>
                  <a:pt x="66697" y="31792"/>
                </a:lnTo>
                <a:lnTo>
                  <a:pt x="66697" y="33302"/>
                </a:lnTo>
                <a:lnTo>
                  <a:pt x="66603" y="34717"/>
                </a:lnTo>
                <a:lnTo>
                  <a:pt x="66414" y="36226"/>
                </a:lnTo>
                <a:lnTo>
                  <a:pt x="66131" y="37547"/>
                </a:lnTo>
                <a:lnTo>
                  <a:pt x="65659" y="38962"/>
                </a:lnTo>
                <a:lnTo>
                  <a:pt x="65848" y="38584"/>
                </a:lnTo>
                <a:lnTo>
                  <a:pt x="65942" y="38584"/>
                </a:lnTo>
                <a:lnTo>
                  <a:pt x="65848" y="39245"/>
                </a:lnTo>
                <a:lnTo>
                  <a:pt x="65565" y="40188"/>
                </a:lnTo>
                <a:lnTo>
                  <a:pt x="65471" y="40471"/>
                </a:lnTo>
                <a:lnTo>
                  <a:pt x="65282" y="40660"/>
                </a:lnTo>
                <a:lnTo>
                  <a:pt x="65282" y="40566"/>
                </a:lnTo>
                <a:lnTo>
                  <a:pt x="65093" y="41132"/>
                </a:lnTo>
                <a:lnTo>
                  <a:pt x="64433" y="43018"/>
                </a:lnTo>
                <a:lnTo>
                  <a:pt x="63678" y="45282"/>
                </a:lnTo>
                <a:lnTo>
                  <a:pt x="62735" y="47264"/>
                </a:lnTo>
                <a:lnTo>
                  <a:pt x="61697" y="49056"/>
                </a:lnTo>
                <a:lnTo>
                  <a:pt x="60659" y="50943"/>
                </a:lnTo>
                <a:lnTo>
                  <a:pt x="59433" y="52735"/>
                </a:lnTo>
                <a:lnTo>
                  <a:pt x="58207" y="54433"/>
                </a:lnTo>
                <a:lnTo>
                  <a:pt x="56886" y="56037"/>
                </a:lnTo>
                <a:lnTo>
                  <a:pt x="55376" y="57641"/>
                </a:lnTo>
                <a:lnTo>
                  <a:pt x="53867" y="59150"/>
                </a:lnTo>
                <a:lnTo>
                  <a:pt x="52169" y="60376"/>
                </a:lnTo>
                <a:lnTo>
                  <a:pt x="48961" y="62452"/>
                </a:lnTo>
                <a:lnTo>
                  <a:pt x="44528" y="65282"/>
                </a:lnTo>
                <a:lnTo>
                  <a:pt x="44622" y="65188"/>
                </a:lnTo>
                <a:lnTo>
                  <a:pt x="44716" y="65093"/>
                </a:lnTo>
                <a:lnTo>
                  <a:pt x="45094" y="64810"/>
                </a:lnTo>
                <a:lnTo>
                  <a:pt x="45660" y="64527"/>
                </a:lnTo>
                <a:lnTo>
                  <a:pt x="43867" y="65376"/>
                </a:lnTo>
                <a:lnTo>
                  <a:pt x="43113" y="65754"/>
                </a:lnTo>
                <a:lnTo>
                  <a:pt x="42924" y="65754"/>
                </a:lnTo>
                <a:lnTo>
                  <a:pt x="43113" y="65659"/>
                </a:lnTo>
                <a:lnTo>
                  <a:pt x="41603" y="66037"/>
                </a:lnTo>
                <a:lnTo>
                  <a:pt x="39999" y="66320"/>
                </a:lnTo>
                <a:lnTo>
                  <a:pt x="38396" y="66508"/>
                </a:lnTo>
                <a:lnTo>
                  <a:pt x="36792" y="66697"/>
                </a:lnTo>
                <a:lnTo>
                  <a:pt x="33584" y="66980"/>
                </a:lnTo>
                <a:lnTo>
                  <a:pt x="32169" y="67169"/>
                </a:lnTo>
                <a:lnTo>
                  <a:pt x="30754" y="67357"/>
                </a:lnTo>
                <a:lnTo>
                  <a:pt x="30094" y="67357"/>
                </a:lnTo>
                <a:lnTo>
                  <a:pt x="29339" y="67263"/>
                </a:lnTo>
                <a:lnTo>
                  <a:pt x="27830" y="66886"/>
                </a:lnTo>
                <a:lnTo>
                  <a:pt x="26415" y="66508"/>
                </a:lnTo>
                <a:lnTo>
                  <a:pt x="25754" y="66414"/>
                </a:lnTo>
                <a:lnTo>
                  <a:pt x="25094" y="66414"/>
                </a:lnTo>
                <a:lnTo>
                  <a:pt x="25566" y="66980"/>
                </a:lnTo>
                <a:lnTo>
                  <a:pt x="25471" y="67074"/>
                </a:lnTo>
                <a:lnTo>
                  <a:pt x="25188" y="66980"/>
                </a:lnTo>
                <a:lnTo>
                  <a:pt x="24339" y="66791"/>
                </a:lnTo>
                <a:lnTo>
                  <a:pt x="23773" y="66508"/>
                </a:lnTo>
                <a:lnTo>
                  <a:pt x="24245" y="66414"/>
                </a:lnTo>
                <a:lnTo>
                  <a:pt x="24717" y="66603"/>
                </a:lnTo>
                <a:lnTo>
                  <a:pt x="24811" y="66414"/>
                </a:lnTo>
                <a:lnTo>
                  <a:pt x="24811" y="66320"/>
                </a:lnTo>
                <a:lnTo>
                  <a:pt x="24717" y="66225"/>
                </a:lnTo>
                <a:lnTo>
                  <a:pt x="24528" y="66131"/>
                </a:lnTo>
                <a:lnTo>
                  <a:pt x="24151" y="66225"/>
                </a:lnTo>
                <a:lnTo>
                  <a:pt x="23679" y="66320"/>
                </a:lnTo>
                <a:lnTo>
                  <a:pt x="23018" y="66414"/>
                </a:lnTo>
                <a:lnTo>
                  <a:pt x="23490" y="66225"/>
                </a:lnTo>
                <a:lnTo>
                  <a:pt x="22075" y="65942"/>
                </a:lnTo>
                <a:lnTo>
                  <a:pt x="20943" y="65659"/>
                </a:lnTo>
                <a:lnTo>
                  <a:pt x="20000" y="65282"/>
                </a:lnTo>
                <a:lnTo>
                  <a:pt x="19056" y="64810"/>
                </a:lnTo>
                <a:lnTo>
                  <a:pt x="19056" y="64810"/>
                </a:lnTo>
                <a:lnTo>
                  <a:pt x="19717" y="64999"/>
                </a:lnTo>
                <a:lnTo>
                  <a:pt x="19151" y="64716"/>
                </a:lnTo>
                <a:lnTo>
                  <a:pt x="18962" y="64810"/>
                </a:lnTo>
                <a:lnTo>
                  <a:pt x="19151" y="64905"/>
                </a:lnTo>
                <a:lnTo>
                  <a:pt x="18490" y="64905"/>
                </a:lnTo>
                <a:lnTo>
                  <a:pt x="17830" y="64716"/>
                </a:lnTo>
                <a:lnTo>
                  <a:pt x="17264" y="64527"/>
                </a:lnTo>
                <a:lnTo>
                  <a:pt x="16698" y="64150"/>
                </a:lnTo>
                <a:lnTo>
                  <a:pt x="16981" y="64056"/>
                </a:lnTo>
                <a:lnTo>
                  <a:pt x="17264" y="64150"/>
                </a:lnTo>
                <a:lnTo>
                  <a:pt x="17264" y="64150"/>
                </a:lnTo>
                <a:lnTo>
                  <a:pt x="15188" y="63207"/>
                </a:lnTo>
                <a:lnTo>
                  <a:pt x="14622" y="62829"/>
                </a:lnTo>
                <a:lnTo>
                  <a:pt x="14717" y="62924"/>
                </a:lnTo>
                <a:lnTo>
                  <a:pt x="13773" y="62546"/>
                </a:lnTo>
                <a:lnTo>
                  <a:pt x="12924" y="62075"/>
                </a:lnTo>
                <a:lnTo>
                  <a:pt x="12358" y="61697"/>
                </a:lnTo>
                <a:lnTo>
                  <a:pt x="12264" y="61508"/>
                </a:lnTo>
                <a:lnTo>
                  <a:pt x="12170" y="61320"/>
                </a:lnTo>
                <a:lnTo>
                  <a:pt x="11698" y="60942"/>
                </a:lnTo>
                <a:lnTo>
                  <a:pt x="11132" y="60471"/>
                </a:lnTo>
                <a:lnTo>
                  <a:pt x="9906" y="59244"/>
                </a:lnTo>
                <a:lnTo>
                  <a:pt x="9906" y="59244"/>
                </a:lnTo>
                <a:lnTo>
                  <a:pt x="10566" y="59527"/>
                </a:lnTo>
                <a:lnTo>
                  <a:pt x="9434" y="58584"/>
                </a:lnTo>
                <a:lnTo>
                  <a:pt x="8207" y="57546"/>
                </a:lnTo>
                <a:lnTo>
                  <a:pt x="7547" y="56886"/>
                </a:lnTo>
                <a:lnTo>
                  <a:pt x="6981" y="56131"/>
                </a:lnTo>
                <a:lnTo>
                  <a:pt x="6226" y="55094"/>
                </a:lnTo>
                <a:lnTo>
                  <a:pt x="6415" y="55377"/>
                </a:lnTo>
                <a:lnTo>
                  <a:pt x="6038" y="54905"/>
                </a:lnTo>
                <a:lnTo>
                  <a:pt x="5472" y="54244"/>
                </a:lnTo>
                <a:lnTo>
                  <a:pt x="5283" y="53961"/>
                </a:lnTo>
                <a:lnTo>
                  <a:pt x="5094" y="53867"/>
                </a:lnTo>
                <a:lnTo>
                  <a:pt x="5377" y="54622"/>
                </a:lnTo>
                <a:lnTo>
                  <a:pt x="5849" y="55282"/>
                </a:lnTo>
                <a:lnTo>
                  <a:pt x="6321" y="55943"/>
                </a:lnTo>
                <a:lnTo>
                  <a:pt x="6698" y="56603"/>
                </a:lnTo>
                <a:lnTo>
                  <a:pt x="6226" y="56226"/>
                </a:lnTo>
                <a:lnTo>
                  <a:pt x="5943" y="55848"/>
                </a:lnTo>
                <a:lnTo>
                  <a:pt x="6038" y="56037"/>
                </a:lnTo>
                <a:lnTo>
                  <a:pt x="5943" y="55943"/>
                </a:lnTo>
                <a:lnTo>
                  <a:pt x="5377" y="55188"/>
                </a:lnTo>
                <a:lnTo>
                  <a:pt x="5000" y="54716"/>
                </a:lnTo>
                <a:lnTo>
                  <a:pt x="4717" y="54150"/>
                </a:lnTo>
                <a:lnTo>
                  <a:pt x="4528" y="53678"/>
                </a:lnTo>
                <a:lnTo>
                  <a:pt x="4528" y="53584"/>
                </a:lnTo>
                <a:lnTo>
                  <a:pt x="4623" y="53395"/>
                </a:lnTo>
                <a:lnTo>
                  <a:pt x="5094" y="54244"/>
                </a:lnTo>
                <a:lnTo>
                  <a:pt x="4717" y="53301"/>
                </a:lnTo>
                <a:lnTo>
                  <a:pt x="4528" y="53018"/>
                </a:lnTo>
                <a:lnTo>
                  <a:pt x="4151" y="52263"/>
                </a:lnTo>
                <a:lnTo>
                  <a:pt x="4151" y="52169"/>
                </a:lnTo>
                <a:lnTo>
                  <a:pt x="3774" y="51509"/>
                </a:lnTo>
                <a:lnTo>
                  <a:pt x="3396" y="50660"/>
                </a:lnTo>
                <a:lnTo>
                  <a:pt x="3585" y="51603"/>
                </a:lnTo>
                <a:lnTo>
                  <a:pt x="3396" y="51226"/>
                </a:lnTo>
                <a:lnTo>
                  <a:pt x="3208" y="50848"/>
                </a:lnTo>
                <a:lnTo>
                  <a:pt x="3208" y="50471"/>
                </a:lnTo>
                <a:lnTo>
                  <a:pt x="3208" y="50094"/>
                </a:lnTo>
                <a:lnTo>
                  <a:pt x="3585" y="50754"/>
                </a:lnTo>
                <a:lnTo>
                  <a:pt x="3868" y="51509"/>
                </a:lnTo>
                <a:lnTo>
                  <a:pt x="3868" y="51509"/>
                </a:lnTo>
                <a:lnTo>
                  <a:pt x="3208" y="49528"/>
                </a:lnTo>
                <a:lnTo>
                  <a:pt x="3208" y="49528"/>
                </a:lnTo>
                <a:lnTo>
                  <a:pt x="3868" y="50754"/>
                </a:lnTo>
                <a:lnTo>
                  <a:pt x="3208" y="48962"/>
                </a:lnTo>
                <a:lnTo>
                  <a:pt x="3585" y="49339"/>
                </a:lnTo>
                <a:lnTo>
                  <a:pt x="3774" y="49433"/>
                </a:lnTo>
                <a:lnTo>
                  <a:pt x="3962" y="49528"/>
                </a:lnTo>
                <a:lnTo>
                  <a:pt x="4057" y="49905"/>
                </a:lnTo>
                <a:lnTo>
                  <a:pt x="3868" y="48962"/>
                </a:lnTo>
                <a:lnTo>
                  <a:pt x="3491" y="47924"/>
                </a:lnTo>
                <a:lnTo>
                  <a:pt x="2641" y="45565"/>
                </a:lnTo>
                <a:lnTo>
                  <a:pt x="2170" y="43867"/>
                </a:lnTo>
                <a:lnTo>
                  <a:pt x="1698" y="41886"/>
                </a:lnTo>
                <a:lnTo>
                  <a:pt x="1698" y="41886"/>
                </a:lnTo>
                <a:lnTo>
                  <a:pt x="1887" y="42075"/>
                </a:lnTo>
                <a:lnTo>
                  <a:pt x="1981" y="41981"/>
                </a:lnTo>
                <a:lnTo>
                  <a:pt x="2075" y="42075"/>
                </a:lnTo>
                <a:lnTo>
                  <a:pt x="2264" y="42169"/>
                </a:lnTo>
                <a:lnTo>
                  <a:pt x="2170" y="40283"/>
                </a:lnTo>
                <a:lnTo>
                  <a:pt x="2075" y="38301"/>
                </a:lnTo>
                <a:lnTo>
                  <a:pt x="2170" y="36415"/>
                </a:lnTo>
                <a:lnTo>
                  <a:pt x="2358" y="35566"/>
                </a:lnTo>
                <a:lnTo>
                  <a:pt x="2453" y="34811"/>
                </a:lnTo>
                <a:lnTo>
                  <a:pt x="2830" y="32830"/>
                </a:lnTo>
                <a:lnTo>
                  <a:pt x="2830" y="33207"/>
                </a:lnTo>
                <a:lnTo>
                  <a:pt x="2924" y="33490"/>
                </a:lnTo>
                <a:lnTo>
                  <a:pt x="2924" y="32453"/>
                </a:lnTo>
                <a:lnTo>
                  <a:pt x="3019" y="31415"/>
                </a:lnTo>
                <a:lnTo>
                  <a:pt x="3396" y="29245"/>
                </a:lnTo>
                <a:lnTo>
                  <a:pt x="3868" y="27075"/>
                </a:lnTo>
                <a:lnTo>
                  <a:pt x="4623" y="25000"/>
                </a:lnTo>
                <a:lnTo>
                  <a:pt x="5566" y="22830"/>
                </a:lnTo>
                <a:lnTo>
                  <a:pt x="6604" y="20849"/>
                </a:lnTo>
                <a:lnTo>
                  <a:pt x="7830" y="18868"/>
                </a:lnTo>
                <a:lnTo>
                  <a:pt x="9151" y="16887"/>
                </a:lnTo>
                <a:lnTo>
                  <a:pt x="10566" y="15094"/>
                </a:lnTo>
                <a:lnTo>
                  <a:pt x="12075" y="13302"/>
                </a:lnTo>
                <a:lnTo>
                  <a:pt x="13773" y="11698"/>
                </a:lnTo>
                <a:lnTo>
                  <a:pt x="15377" y="10095"/>
                </a:lnTo>
                <a:lnTo>
                  <a:pt x="17170" y="8679"/>
                </a:lnTo>
                <a:lnTo>
                  <a:pt x="18962" y="7453"/>
                </a:lnTo>
                <a:lnTo>
                  <a:pt x="20754" y="6321"/>
                </a:lnTo>
                <a:lnTo>
                  <a:pt x="22547" y="5378"/>
                </a:lnTo>
                <a:lnTo>
                  <a:pt x="21603" y="6227"/>
                </a:lnTo>
                <a:lnTo>
                  <a:pt x="22641" y="5472"/>
                </a:lnTo>
                <a:lnTo>
                  <a:pt x="23302" y="5095"/>
                </a:lnTo>
                <a:lnTo>
                  <a:pt x="25377" y="4151"/>
                </a:lnTo>
                <a:lnTo>
                  <a:pt x="24811" y="4151"/>
                </a:lnTo>
                <a:lnTo>
                  <a:pt x="25660" y="3774"/>
                </a:lnTo>
                <a:lnTo>
                  <a:pt x="26886" y="3208"/>
                </a:lnTo>
                <a:lnTo>
                  <a:pt x="26603" y="3585"/>
                </a:lnTo>
                <a:lnTo>
                  <a:pt x="26886" y="3585"/>
                </a:lnTo>
                <a:lnTo>
                  <a:pt x="26886" y="3680"/>
                </a:lnTo>
                <a:lnTo>
                  <a:pt x="26792" y="3774"/>
                </a:lnTo>
                <a:lnTo>
                  <a:pt x="28301" y="3302"/>
                </a:lnTo>
                <a:lnTo>
                  <a:pt x="29622" y="2736"/>
                </a:lnTo>
                <a:lnTo>
                  <a:pt x="31037" y="2264"/>
                </a:lnTo>
                <a:lnTo>
                  <a:pt x="31792" y="2076"/>
                </a:lnTo>
                <a:lnTo>
                  <a:pt x="32641" y="1981"/>
                </a:lnTo>
                <a:lnTo>
                  <a:pt x="32547" y="2076"/>
                </a:lnTo>
                <a:lnTo>
                  <a:pt x="32924" y="1981"/>
                </a:lnTo>
                <a:lnTo>
                  <a:pt x="34245" y="1793"/>
                </a:lnTo>
                <a:lnTo>
                  <a:pt x="35848" y="1415"/>
                </a:lnTo>
                <a:lnTo>
                  <a:pt x="36981" y="1132"/>
                </a:lnTo>
                <a:lnTo>
                  <a:pt x="36981" y="1415"/>
                </a:lnTo>
                <a:lnTo>
                  <a:pt x="40943" y="1227"/>
                </a:lnTo>
                <a:lnTo>
                  <a:pt x="41509" y="1038"/>
                </a:lnTo>
                <a:lnTo>
                  <a:pt x="41697" y="1132"/>
                </a:lnTo>
                <a:lnTo>
                  <a:pt x="41509" y="1227"/>
                </a:lnTo>
                <a:lnTo>
                  <a:pt x="41320" y="1321"/>
                </a:lnTo>
                <a:lnTo>
                  <a:pt x="42263" y="1321"/>
                </a:lnTo>
                <a:lnTo>
                  <a:pt x="43113" y="1227"/>
                </a:lnTo>
                <a:lnTo>
                  <a:pt x="43396" y="1415"/>
                </a:lnTo>
                <a:lnTo>
                  <a:pt x="44056" y="1604"/>
                </a:lnTo>
                <a:lnTo>
                  <a:pt x="45943" y="2076"/>
                </a:lnTo>
                <a:lnTo>
                  <a:pt x="48018" y="2359"/>
                </a:lnTo>
                <a:lnTo>
                  <a:pt x="49622" y="2736"/>
                </a:lnTo>
                <a:lnTo>
                  <a:pt x="47641" y="1981"/>
                </a:lnTo>
                <a:lnTo>
                  <a:pt x="45282" y="1321"/>
                </a:lnTo>
                <a:lnTo>
                  <a:pt x="42735" y="755"/>
                </a:lnTo>
                <a:lnTo>
                  <a:pt x="40188" y="283"/>
                </a:lnTo>
                <a:lnTo>
                  <a:pt x="37735" y="95"/>
                </a:lnTo>
                <a:lnTo>
                  <a:pt x="35471" y="0"/>
                </a:lnTo>
                <a:close/>
              </a:path>
            </a:pathLst>
          </a:custGeom>
          <a:solidFill>
            <a:schemeClr val="bg2">
              <a:lumMod val="75000"/>
            </a:schemeClr>
          </a:solidFill>
          <a:ln>
            <a:noFill/>
          </a:ln>
        </p:spPr>
        <p:txBody>
          <a:bodyPr spcFirstLastPara="1" wrap="square" lIns="91425" tIns="91425" rIns="91425" bIns="91425" anchor="ctr" anchorCtr="0">
            <a:noAutofit/>
          </a:bodyPr>
          <a:lstStyle/>
          <a:p>
            <a:pPr marL="0" lvl="0" indent="0">
              <a:spcBef>
                <a:spcPts val="0"/>
              </a:spcBef>
              <a:spcAft>
                <a:spcPts val="0"/>
              </a:spcAft>
              <a:buNone/>
            </a:pPr>
            <a:endParaRPr sz="1200" dirty="0">
              <a:latin typeface="Comic Sans MS" panose="030F0902030302020204" pitchFamily="66" charset="0"/>
            </a:endParaRPr>
          </a:p>
        </p:txBody>
      </p:sp>
      <p:sp>
        <p:nvSpPr>
          <p:cNvPr id="130" name="Google Shape;431;p39">
            <a:extLst>
              <a:ext uri="{FF2B5EF4-FFF2-40B4-BE49-F238E27FC236}">
                <a16:creationId xmlns:a16="http://schemas.microsoft.com/office/drawing/2014/main" id="{E68B9889-D9C2-8942-8E9B-ECE9E354B55F}"/>
              </a:ext>
            </a:extLst>
          </p:cNvPr>
          <p:cNvSpPr/>
          <p:nvPr/>
        </p:nvSpPr>
        <p:spPr>
          <a:xfrm rot="21011211">
            <a:off x="7021946" y="5201134"/>
            <a:ext cx="118019" cy="139785"/>
          </a:xfrm>
          <a:custGeom>
            <a:avLst/>
            <a:gdLst/>
            <a:ahLst/>
            <a:cxnLst/>
            <a:rect l="0" t="0" r="0" b="0"/>
            <a:pathLst>
              <a:path w="67641" h="69056" extrusionOk="0">
                <a:moveTo>
                  <a:pt x="49622" y="2736"/>
                </a:moveTo>
                <a:lnTo>
                  <a:pt x="49622" y="2736"/>
                </a:lnTo>
                <a:lnTo>
                  <a:pt x="49622" y="2736"/>
                </a:lnTo>
                <a:close/>
                <a:moveTo>
                  <a:pt x="59622" y="55565"/>
                </a:moveTo>
                <a:lnTo>
                  <a:pt x="59622" y="55565"/>
                </a:lnTo>
                <a:lnTo>
                  <a:pt x="59622" y="55565"/>
                </a:lnTo>
                <a:close/>
                <a:moveTo>
                  <a:pt x="35471" y="0"/>
                </a:moveTo>
                <a:lnTo>
                  <a:pt x="34433" y="95"/>
                </a:lnTo>
                <a:lnTo>
                  <a:pt x="33584" y="189"/>
                </a:lnTo>
                <a:lnTo>
                  <a:pt x="32735" y="378"/>
                </a:lnTo>
                <a:lnTo>
                  <a:pt x="32169" y="566"/>
                </a:lnTo>
                <a:lnTo>
                  <a:pt x="31509" y="472"/>
                </a:lnTo>
                <a:lnTo>
                  <a:pt x="30754" y="472"/>
                </a:lnTo>
                <a:lnTo>
                  <a:pt x="29339" y="566"/>
                </a:lnTo>
                <a:lnTo>
                  <a:pt x="27830" y="849"/>
                </a:lnTo>
                <a:lnTo>
                  <a:pt x="26320" y="1321"/>
                </a:lnTo>
                <a:lnTo>
                  <a:pt x="24811" y="1981"/>
                </a:lnTo>
                <a:lnTo>
                  <a:pt x="23207" y="2736"/>
                </a:lnTo>
                <a:lnTo>
                  <a:pt x="21698" y="3585"/>
                </a:lnTo>
                <a:lnTo>
                  <a:pt x="20188" y="4623"/>
                </a:lnTo>
                <a:lnTo>
                  <a:pt x="18679" y="5661"/>
                </a:lnTo>
                <a:lnTo>
                  <a:pt x="17170" y="6793"/>
                </a:lnTo>
                <a:lnTo>
                  <a:pt x="15754" y="8019"/>
                </a:lnTo>
                <a:lnTo>
                  <a:pt x="14434" y="9151"/>
                </a:lnTo>
                <a:lnTo>
                  <a:pt x="11981" y="11510"/>
                </a:lnTo>
                <a:lnTo>
                  <a:pt x="10000" y="13774"/>
                </a:lnTo>
                <a:lnTo>
                  <a:pt x="7736" y="16981"/>
                </a:lnTo>
                <a:lnTo>
                  <a:pt x="8019" y="16321"/>
                </a:lnTo>
                <a:lnTo>
                  <a:pt x="8302" y="15660"/>
                </a:lnTo>
                <a:lnTo>
                  <a:pt x="7736" y="16604"/>
                </a:lnTo>
                <a:lnTo>
                  <a:pt x="7075" y="17642"/>
                </a:lnTo>
                <a:lnTo>
                  <a:pt x="7170" y="17830"/>
                </a:lnTo>
                <a:lnTo>
                  <a:pt x="6509" y="18868"/>
                </a:lnTo>
                <a:lnTo>
                  <a:pt x="7075" y="17359"/>
                </a:lnTo>
                <a:lnTo>
                  <a:pt x="6132" y="19057"/>
                </a:lnTo>
                <a:lnTo>
                  <a:pt x="5189" y="20849"/>
                </a:lnTo>
                <a:lnTo>
                  <a:pt x="4434" y="22736"/>
                </a:lnTo>
                <a:lnTo>
                  <a:pt x="3679" y="24622"/>
                </a:lnTo>
                <a:lnTo>
                  <a:pt x="2453" y="28490"/>
                </a:lnTo>
                <a:lnTo>
                  <a:pt x="1321" y="32169"/>
                </a:lnTo>
                <a:lnTo>
                  <a:pt x="1509" y="32264"/>
                </a:lnTo>
                <a:lnTo>
                  <a:pt x="1604" y="32453"/>
                </a:lnTo>
                <a:lnTo>
                  <a:pt x="1604" y="32641"/>
                </a:lnTo>
                <a:lnTo>
                  <a:pt x="1509" y="32924"/>
                </a:lnTo>
                <a:lnTo>
                  <a:pt x="1226" y="33396"/>
                </a:lnTo>
                <a:lnTo>
                  <a:pt x="1038" y="33585"/>
                </a:lnTo>
                <a:lnTo>
                  <a:pt x="1038" y="33773"/>
                </a:lnTo>
                <a:lnTo>
                  <a:pt x="1038" y="35000"/>
                </a:lnTo>
                <a:lnTo>
                  <a:pt x="849" y="36132"/>
                </a:lnTo>
                <a:lnTo>
                  <a:pt x="660" y="37358"/>
                </a:lnTo>
                <a:lnTo>
                  <a:pt x="472" y="38867"/>
                </a:lnTo>
                <a:lnTo>
                  <a:pt x="283" y="38301"/>
                </a:lnTo>
                <a:lnTo>
                  <a:pt x="94" y="39811"/>
                </a:lnTo>
                <a:lnTo>
                  <a:pt x="0" y="41509"/>
                </a:lnTo>
                <a:lnTo>
                  <a:pt x="94" y="43301"/>
                </a:lnTo>
                <a:lnTo>
                  <a:pt x="283" y="44056"/>
                </a:lnTo>
                <a:lnTo>
                  <a:pt x="472" y="44622"/>
                </a:lnTo>
                <a:lnTo>
                  <a:pt x="566" y="45660"/>
                </a:lnTo>
                <a:lnTo>
                  <a:pt x="755" y="46792"/>
                </a:lnTo>
                <a:lnTo>
                  <a:pt x="1226" y="48962"/>
                </a:lnTo>
                <a:lnTo>
                  <a:pt x="1981" y="51037"/>
                </a:lnTo>
                <a:lnTo>
                  <a:pt x="2924" y="53112"/>
                </a:lnTo>
                <a:lnTo>
                  <a:pt x="4057" y="55094"/>
                </a:lnTo>
                <a:lnTo>
                  <a:pt x="5283" y="56980"/>
                </a:lnTo>
                <a:lnTo>
                  <a:pt x="6698" y="58678"/>
                </a:lnTo>
                <a:lnTo>
                  <a:pt x="8113" y="60282"/>
                </a:lnTo>
                <a:lnTo>
                  <a:pt x="9056" y="61131"/>
                </a:lnTo>
                <a:lnTo>
                  <a:pt x="10000" y="61980"/>
                </a:lnTo>
                <a:lnTo>
                  <a:pt x="11038" y="62829"/>
                </a:lnTo>
                <a:lnTo>
                  <a:pt x="12075" y="63584"/>
                </a:lnTo>
                <a:lnTo>
                  <a:pt x="14339" y="64905"/>
                </a:lnTo>
                <a:lnTo>
                  <a:pt x="16604" y="66131"/>
                </a:lnTo>
                <a:lnTo>
                  <a:pt x="19056" y="67169"/>
                </a:lnTo>
                <a:lnTo>
                  <a:pt x="21509" y="67923"/>
                </a:lnTo>
                <a:lnTo>
                  <a:pt x="24056" y="68584"/>
                </a:lnTo>
                <a:lnTo>
                  <a:pt x="26603" y="69055"/>
                </a:lnTo>
                <a:lnTo>
                  <a:pt x="27830" y="69055"/>
                </a:lnTo>
                <a:lnTo>
                  <a:pt x="30188" y="68867"/>
                </a:lnTo>
                <a:lnTo>
                  <a:pt x="33113" y="68678"/>
                </a:lnTo>
                <a:lnTo>
                  <a:pt x="36509" y="68301"/>
                </a:lnTo>
                <a:lnTo>
                  <a:pt x="39811" y="67923"/>
                </a:lnTo>
                <a:lnTo>
                  <a:pt x="42735" y="67452"/>
                </a:lnTo>
                <a:lnTo>
                  <a:pt x="44905" y="66980"/>
                </a:lnTo>
                <a:lnTo>
                  <a:pt x="45565" y="66791"/>
                </a:lnTo>
                <a:lnTo>
                  <a:pt x="45943" y="66508"/>
                </a:lnTo>
                <a:lnTo>
                  <a:pt x="47358" y="65942"/>
                </a:lnTo>
                <a:lnTo>
                  <a:pt x="48018" y="65565"/>
                </a:lnTo>
                <a:lnTo>
                  <a:pt x="48678" y="65188"/>
                </a:lnTo>
                <a:lnTo>
                  <a:pt x="47924" y="65471"/>
                </a:lnTo>
                <a:lnTo>
                  <a:pt x="51509" y="62924"/>
                </a:lnTo>
                <a:lnTo>
                  <a:pt x="53301" y="61508"/>
                </a:lnTo>
                <a:lnTo>
                  <a:pt x="55093" y="59905"/>
                </a:lnTo>
                <a:lnTo>
                  <a:pt x="55093" y="59905"/>
                </a:lnTo>
                <a:lnTo>
                  <a:pt x="54810" y="60376"/>
                </a:lnTo>
                <a:lnTo>
                  <a:pt x="54339" y="60754"/>
                </a:lnTo>
                <a:lnTo>
                  <a:pt x="55376" y="59999"/>
                </a:lnTo>
                <a:lnTo>
                  <a:pt x="56320" y="59056"/>
                </a:lnTo>
                <a:lnTo>
                  <a:pt x="57075" y="58395"/>
                </a:lnTo>
                <a:lnTo>
                  <a:pt x="57169" y="58207"/>
                </a:lnTo>
                <a:lnTo>
                  <a:pt x="57075" y="58207"/>
                </a:lnTo>
                <a:lnTo>
                  <a:pt x="57924" y="57546"/>
                </a:lnTo>
                <a:lnTo>
                  <a:pt x="58678" y="56697"/>
                </a:lnTo>
                <a:lnTo>
                  <a:pt x="59339" y="55754"/>
                </a:lnTo>
                <a:lnTo>
                  <a:pt x="59905" y="54905"/>
                </a:lnTo>
                <a:lnTo>
                  <a:pt x="59716" y="54999"/>
                </a:lnTo>
                <a:lnTo>
                  <a:pt x="59622" y="54999"/>
                </a:lnTo>
                <a:lnTo>
                  <a:pt x="59810" y="54622"/>
                </a:lnTo>
                <a:lnTo>
                  <a:pt x="59150" y="55565"/>
                </a:lnTo>
                <a:lnTo>
                  <a:pt x="59527" y="55094"/>
                </a:lnTo>
                <a:lnTo>
                  <a:pt x="59433" y="55377"/>
                </a:lnTo>
                <a:lnTo>
                  <a:pt x="58867" y="56037"/>
                </a:lnTo>
                <a:lnTo>
                  <a:pt x="59056" y="55660"/>
                </a:lnTo>
                <a:lnTo>
                  <a:pt x="59056" y="55660"/>
                </a:lnTo>
                <a:lnTo>
                  <a:pt x="58678" y="56037"/>
                </a:lnTo>
                <a:lnTo>
                  <a:pt x="59810" y="54339"/>
                </a:lnTo>
                <a:lnTo>
                  <a:pt x="60282" y="53490"/>
                </a:lnTo>
                <a:lnTo>
                  <a:pt x="60282" y="53301"/>
                </a:lnTo>
                <a:lnTo>
                  <a:pt x="60188" y="53395"/>
                </a:lnTo>
                <a:lnTo>
                  <a:pt x="60188" y="53395"/>
                </a:lnTo>
                <a:lnTo>
                  <a:pt x="60565" y="52924"/>
                </a:lnTo>
                <a:lnTo>
                  <a:pt x="61037" y="52452"/>
                </a:lnTo>
                <a:lnTo>
                  <a:pt x="61886" y="51509"/>
                </a:lnTo>
                <a:lnTo>
                  <a:pt x="61508" y="52452"/>
                </a:lnTo>
                <a:lnTo>
                  <a:pt x="60848" y="53584"/>
                </a:lnTo>
                <a:lnTo>
                  <a:pt x="59622" y="55565"/>
                </a:lnTo>
                <a:lnTo>
                  <a:pt x="60376" y="54528"/>
                </a:lnTo>
                <a:lnTo>
                  <a:pt x="60942" y="53678"/>
                </a:lnTo>
                <a:lnTo>
                  <a:pt x="61980" y="51792"/>
                </a:lnTo>
                <a:lnTo>
                  <a:pt x="61886" y="51886"/>
                </a:lnTo>
                <a:lnTo>
                  <a:pt x="61886" y="51697"/>
                </a:lnTo>
                <a:lnTo>
                  <a:pt x="62169" y="51037"/>
                </a:lnTo>
                <a:lnTo>
                  <a:pt x="62735" y="49999"/>
                </a:lnTo>
                <a:lnTo>
                  <a:pt x="61508" y="51603"/>
                </a:lnTo>
                <a:lnTo>
                  <a:pt x="61603" y="51037"/>
                </a:lnTo>
                <a:lnTo>
                  <a:pt x="61697" y="50377"/>
                </a:lnTo>
                <a:lnTo>
                  <a:pt x="62169" y="48962"/>
                </a:lnTo>
                <a:lnTo>
                  <a:pt x="62829" y="47358"/>
                </a:lnTo>
                <a:lnTo>
                  <a:pt x="63678" y="45565"/>
                </a:lnTo>
                <a:lnTo>
                  <a:pt x="65376" y="42169"/>
                </a:lnTo>
                <a:lnTo>
                  <a:pt x="66131" y="40660"/>
                </a:lnTo>
                <a:lnTo>
                  <a:pt x="66697" y="39339"/>
                </a:lnTo>
                <a:lnTo>
                  <a:pt x="66603" y="39528"/>
                </a:lnTo>
                <a:lnTo>
                  <a:pt x="66697" y="39056"/>
                </a:lnTo>
                <a:lnTo>
                  <a:pt x="66791" y="38962"/>
                </a:lnTo>
                <a:lnTo>
                  <a:pt x="66791" y="39056"/>
                </a:lnTo>
                <a:lnTo>
                  <a:pt x="66886" y="38584"/>
                </a:lnTo>
                <a:lnTo>
                  <a:pt x="66791" y="38867"/>
                </a:lnTo>
                <a:lnTo>
                  <a:pt x="66980" y="38207"/>
                </a:lnTo>
                <a:lnTo>
                  <a:pt x="67169" y="37264"/>
                </a:lnTo>
                <a:lnTo>
                  <a:pt x="67263" y="36415"/>
                </a:lnTo>
                <a:lnTo>
                  <a:pt x="67357" y="36509"/>
                </a:lnTo>
                <a:lnTo>
                  <a:pt x="67452" y="36509"/>
                </a:lnTo>
                <a:lnTo>
                  <a:pt x="67546" y="35943"/>
                </a:lnTo>
                <a:lnTo>
                  <a:pt x="67546" y="34811"/>
                </a:lnTo>
                <a:lnTo>
                  <a:pt x="67640" y="31037"/>
                </a:lnTo>
                <a:lnTo>
                  <a:pt x="67640" y="28490"/>
                </a:lnTo>
                <a:lnTo>
                  <a:pt x="67546" y="27736"/>
                </a:lnTo>
                <a:lnTo>
                  <a:pt x="67546" y="27547"/>
                </a:lnTo>
                <a:lnTo>
                  <a:pt x="67452" y="27547"/>
                </a:lnTo>
                <a:lnTo>
                  <a:pt x="67074" y="26792"/>
                </a:lnTo>
                <a:lnTo>
                  <a:pt x="66791" y="25660"/>
                </a:lnTo>
                <a:lnTo>
                  <a:pt x="66508" y="24528"/>
                </a:lnTo>
                <a:lnTo>
                  <a:pt x="66414" y="23585"/>
                </a:lnTo>
                <a:lnTo>
                  <a:pt x="66320" y="23679"/>
                </a:lnTo>
                <a:lnTo>
                  <a:pt x="66320" y="23490"/>
                </a:lnTo>
                <a:lnTo>
                  <a:pt x="65942" y="22924"/>
                </a:lnTo>
                <a:lnTo>
                  <a:pt x="65565" y="22358"/>
                </a:lnTo>
                <a:lnTo>
                  <a:pt x="64527" y="21132"/>
                </a:lnTo>
                <a:lnTo>
                  <a:pt x="63584" y="19906"/>
                </a:lnTo>
                <a:lnTo>
                  <a:pt x="63207" y="19340"/>
                </a:lnTo>
                <a:lnTo>
                  <a:pt x="63018" y="18774"/>
                </a:lnTo>
                <a:lnTo>
                  <a:pt x="63112" y="18962"/>
                </a:lnTo>
                <a:lnTo>
                  <a:pt x="63301" y="19057"/>
                </a:lnTo>
                <a:lnTo>
                  <a:pt x="63301" y="19057"/>
                </a:lnTo>
                <a:lnTo>
                  <a:pt x="63207" y="18868"/>
                </a:lnTo>
                <a:lnTo>
                  <a:pt x="62923" y="18491"/>
                </a:lnTo>
                <a:lnTo>
                  <a:pt x="61980" y="17453"/>
                </a:lnTo>
                <a:lnTo>
                  <a:pt x="61037" y="16509"/>
                </a:lnTo>
                <a:lnTo>
                  <a:pt x="61037" y="16698"/>
                </a:lnTo>
                <a:lnTo>
                  <a:pt x="61037" y="16887"/>
                </a:lnTo>
                <a:lnTo>
                  <a:pt x="60093" y="15943"/>
                </a:lnTo>
                <a:lnTo>
                  <a:pt x="60376" y="16321"/>
                </a:lnTo>
                <a:lnTo>
                  <a:pt x="59527" y="15377"/>
                </a:lnTo>
                <a:lnTo>
                  <a:pt x="59056" y="14906"/>
                </a:lnTo>
                <a:lnTo>
                  <a:pt x="59244" y="14906"/>
                </a:lnTo>
                <a:lnTo>
                  <a:pt x="59905" y="15472"/>
                </a:lnTo>
                <a:lnTo>
                  <a:pt x="59905" y="15472"/>
                </a:lnTo>
                <a:lnTo>
                  <a:pt x="57641" y="13396"/>
                </a:lnTo>
                <a:lnTo>
                  <a:pt x="58112" y="13868"/>
                </a:lnTo>
                <a:lnTo>
                  <a:pt x="56886" y="13019"/>
                </a:lnTo>
                <a:lnTo>
                  <a:pt x="55754" y="12453"/>
                </a:lnTo>
                <a:lnTo>
                  <a:pt x="56603" y="13113"/>
                </a:lnTo>
                <a:lnTo>
                  <a:pt x="57452" y="13774"/>
                </a:lnTo>
                <a:lnTo>
                  <a:pt x="58961" y="15283"/>
                </a:lnTo>
                <a:lnTo>
                  <a:pt x="60376" y="16604"/>
                </a:lnTo>
                <a:lnTo>
                  <a:pt x="61225" y="17264"/>
                </a:lnTo>
                <a:lnTo>
                  <a:pt x="62074" y="17925"/>
                </a:lnTo>
                <a:lnTo>
                  <a:pt x="62074" y="17925"/>
                </a:lnTo>
                <a:lnTo>
                  <a:pt x="61414" y="17547"/>
                </a:lnTo>
                <a:lnTo>
                  <a:pt x="60659" y="16981"/>
                </a:lnTo>
                <a:lnTo>
                  <a:pt x="60754" y="17264"/>
                </a:lnTo>
                <a:lnTo>
                  <a:pt x="60942" y="17642"/>
                </a:lnTo>
                <a:lnTo>
                  <a:pt x="61980" y="19151"/>
                </a:lnTo>
                <a:lnTo>
                  <a:pt x="63301" y="20943"/>
                </a:lnTo>
                <a:lnTo>
                  <a:pt x="63207" y="20943"/>
                </a:lnTo>
                <a:lnTo>
                  <a:pt x="63395" y="21038"/>
                </a:lnTo>
                <a:lnTo>
                  <a:pt x="63490" y="21321"/>
                </a:lnTo>
                <a:lnTo>
                  <a:pt x="63678" y="21604"/>
                </a:lnTo>
                <a:lnTo>
                  <a:pt x="63773" y="21698"/>
                </a:lnTo>
                <a:lnTo>
                  <a:pt x="63584" y="21321"/>
                </a:lnTo>
                <a:lnTo>
                  <a:pt x="63584" y="21321"/>
                </a:lnTo>
                <a:lnTo>
                  <a:pt x="64244" y="22170"/>
                </a:lnTo>
                <a:lnTo>
                  <a:pt x="64716" y="22641"/>
                </a:lnTo>
                <a:lnTo>
                  <a:pt x="64905" y="22830"/>
                </a:lnTo>
                <a:lnTo>
                  <a:pt x="64999" y="22830"/>
                </a:lnTo>
                <a:lnTo>
                  <a:pt x="64999" y="22641"/>
                </a:lnTo>
                <a:lnTo>
                  <a:pt x="64905" y="22358"/>
                </a:lnTo>
                <a:lnTo>
                  <a:pt x="65282" y="23207"/>
                </a:lnTo>
                <a:lnTo>
                  <a:pt x="65565" y="24056"/>
                </a:lnTo>
                <a:lnTo>
                  <a:pt x="66225" y="25943"/>
                </a:lnTo>
                <a:lnTo>
                  <a:pt x="66697" y="27830"/>
                </a:lnTo>
                <a:lnTo>
                  <a:pt x="66886" y="28490"/>
                </a:lnTo>
                <a:lnTo>
                  <a:pt x="66980" y="28868"/>
                </a:lnTo>
                <a:lnTo>
                  <a:pt x="66886" y="28962"/>
                </a:lnTo>
                <a:lnTo>
                  <a:pt x="66697" y="28679"/>
                </a:lnTo>
                <a:lnTo>
                  <a:pt x="66697" y="29245"/>
                </a:lnTo>
                <a:lnTo>
                  <a:pt x="66791" y="29905"/>
                </a:lnTo>
                <a:lnTo>
                  <a:pt x="66886" y="29905"/>
                </a:lnTo>
                <a:lnTo>
                  <a:pt x="66886" y="30094"/>
                </a:lnTo>
                <a:lnTo>
                  <a:pt x="66886" y="30566"/>
                </a:lnTo>
                <a:lnTo>
                  <a:pt x="66697" y="30377"/>
                </a:lnTo>
                <a:lnTo>
                  <a:pt x="66603" y="30188"/>
                </a:lnTo>
                <a:lnTo>
                  <a:pt x="66603" y="30094"/>
                </a:lnTo>
                <a:lnTo>
                  <a:pt x="66697" y="29905"/>
                </a:lnTo>
                <a:lnTo>
                  <a:pt x="66508" y="28679"/>
                </a:lnTo>
                <a:lnTo>
                  <a:pt x="66225" y="27358"/>
                </a:lnTo>
                <a:lnTo>
                  <a:pt x="66603" y="30283"/>
                </a:lnTo>
                <a:lnTo>
                  <a:pt x="66697" y="31792"/>
                </a:lnTo>
                <a:lnTo>
                  <a:pt x="66697" y="33302"/>
                </a:lnTo>
                <a:lnTo>
                  <a:pt x="66603" y="34717"/>
                </a:lnTo>
                <a:lnTo>
                  <a:pt x="66414" y="36226"/>
                </a:lnTo>
                <a:lnTo>
                  <a:pt x="66131" y="37547"/>
                </a:lnTo>
                <a:lnTo>
                  <a:pt x="65659" y="38962"/>
                </a:lnTo>
                <a:lnTo>
                  <a:pt x="65848" y="38584"/>
                </a:lnTo>
                <a:lnTo>
                  <a:pt x="65942" y="38584"/>
                </a:lnTo>
                <a:lnTo>
                  <a:pt x="65848" y="39245"/>
                </a:lnTo>
                <a:lnTo>
                  <a:pt x="65565" y="40188"/>
                </a:lnTo>
                <a:lnTo>
                  <a:pt x="65471" y="40471"/>
                </a:lnTo>
                <a:lnTo>
                  <a:pt x="65282" y="40660"/>
                </a:lnTo>
                <a:lnTo>
                  <a:pt x="65282" y="40566"/>
                </a:lnTo>
                <a:lnTo>
                  <a:pt x="65093" y="41132"/>
                </a:lnTo>
                <a:lnTo>
                  <a:pt x="64433" y="43018"/>
                </a:lnTo>
                <a:lnTo>
                  <a:pt x="63678" y="45282"/>
                </a:lnTo>
                <a:lnTo>
                  <a:pt x="62735" y="47264"/>
                </a:lnTo>
                <a:lnTo>
                  <a:pt x="61697" y="49056"/>
                </a:lnTo>
                <a:lnTo>
                  <a:pt x="60659" y="50943"/>
                </a:lnTo>
                <a:lnTo>
                  <a:pt x="59433" y="52735"/>
                </a:lnTo>
                <a:lnTo>
                  <a:pt x="58207" y="54433"/>
                </a:lnTo>
                <a:lnTo>
                  <a:pt x="56886" y="56037"/>
                </a:lnTo>
                <a:lnTo>
                  <a:pt x="55376" y="57641"/>
                </a:lnTo>
                <a:lnTo>
                  <a:pt x="53867" y="59150"/>
                </a:lnTo>
                <a:lnTo>
                  <a:pt x="52169" y="60376"/>
                </a:lnTo>
                <a:lnTo>
                  <a:pt x="48961" y="62452"/>
                </a:lnTo>
                <a:lnTo>
                  <a:pt x="44528" y="65282"/>
                </a:lnTo>
                <a:lnTo>
                  <a:pt x="44622" y="65188"/>
                </a:lnTo>
                <a:lnTo>
                  <a:pt x="44716" y="65093"/>
                </a:lnTo>
                <a:lnTo>
                  <a:pt x="45094" y="64810"/>
                </a:lnTo>
                <a:lnTo>
                  <a:pt x="45660" y="64527"/>
                </a:lnTo>
                <a:lnTo>
                  <a:pt x="43867" y="65376"/>
                </a:lnTo>
                <a:lnTo>
                  <a:pt x="43113" y="65754"/>
                </a:lnTo>
                <a:lnTo>
                  <a:pt x="42924" y="65754"/>
                </a:lnTo>
                <a:lnTo>
                  <a:pt x="43113" y="65659"/>
                </a:lnTo>
                <a:lnTo>
                  <a:pt x="41603" y="66037"/>
                </a:lnTo>
                <a:lnTo>
                  <a:pt x="39999" y="66320"/>
                </a:lnTo>
                <a:lnTo>
                  <a:pt x="38396" y="66508"/>
                </a:lnTo>
                <a:lnTo>
                  <a:pt x="36792" y="66697"/>
                </a:lnTo>
                <a:lnTo>
                  <a:pt x="33584" y="66980"/>
                </a:lnTo>
                <a:lnTo>
                  <a:pt x="32169" y="67169"/>
                </a:lnTo>
                <a:lnTo>
                  <a:pt x="30754" y="67357"/>
                </a:lnTo>
                <a:lnTo>
                  <a:pt x="30094" y="67357"/>
                </a:lnTo>
                <a:lnTo>
                  <a:pt x="29339" y="67263"/>
                </a:lnTo>
                <a:lnTo>
                  <a:pt x="27830" y="66886"/>
                </a:lnTo>
                <a:lnTo>
                  <a:pt x="26415" y="66508"/>
                </a:lnTo>
                <a:lnTo>
                  <a:pt x="25754" y="66414"/>
                </a:lnTo>
                <a:lnTo>
                  <a:pt x="25094" y="66414"/>
                </a:lnTo>
                <a:lnTo>
                  <a:pt x="25566" y="66980"/>
                </a:lnTo>
                <a:lnTo>
                  <a:pt x="25471" y="67074"/>
                </a:lnTo>
                <a:lnTo>
                  <a:pt x="25188" y="66980"/>
                </a:lnTo>
                <a:lnTo>
                  <a:pt x="24339" y="66791"/>
                </a:lnTo>
                <a:lnTo>
                  <a:pt x="23773" y="66508"/>
                </a:lnTo>
                <a:lnTo>
                  <a:pt x="24245" y="66414"/>
                </a:lnTo>
                <a:lnTo>
                  <a:pt x="24717" y="66603"/>
                </a:lnTo>
                <a:lnTo>
                  <a:pt x="24811" y="66414"/>
                </a:lnTo>
                <a:lnTo>
                  <a:pt x="24811" y="66320"/>
                </a:lnTo>
                <a:lnTo>
                  <a:pt x="24717" y="66225"/>
                </a:lnTo>
                <a:lnTo>
                  <a:pt x="24528" y="66131"/>
                </a:lnTo>
                <a:lnTo>
                  <a:pt x="24151" y="66225"/>
                </a:lnTo>
                <a:lnTo>
                  <a:pt x="23679" y="66320"/>
                </a:lnTo>
                <a:lnTo>
                  <a:pt x="23018" y="66414"/>
                </a:lnTo>
                <a:lnTo>
                  <a:pt x="23490" y="66225"/>
                </a:lnTo>
                <a:lnTo>
                  <a:pt x="22075" y="65942"/>
                </a:lnTo>
                <a:lnTo>
                  <a:pt x="20943" y="65659"/>
                </a:lnTo>
                <a:lnTo>
                  <a:pt x="20000" y="65282"/>
                </a:lnTo>
                <a:lnTo>
                  <a:pt x="19056" y="64810"/>
                </a:lnTo>
                <a:lnTo>
                  <a:pt x="19056" y="64810"/>
                </a:lnTo>
                <a:lnTo>
                  <a:pt x="19717" y="64999"/>
                </a:lnTo>
                <a:lnTo>
                  <a:pt x="19151" y="64716"/>
                </a:lnTo>
                <a:lnTo>
                  <a:pt x="18962" y="64810"/>
                </a:lnTo>
                <a:lnTo>
                  <a:pt x="19151" y="64905"/>
                </a:lnTo>
                <a:lnTo>
                  <a:pt x="18490" y="64905"/>
                </a:lnTo>
                <a:lnTo>
                  <a:pt x="17830" y="64716"/>
                </a:lnTo>
                <a:lnTo>
                  <a:pt x="17264" y="64527"/>
                </a:lnTo>
                <a:lnTo>
                  <a:pt x="16698" y="64150"/>
                </a:lnTo>
                <a:lnTo>
                  <a:pt x="16981" y="64056"/>
                </a:lnTo>
                <a:lnTo>
                  <a:pt x="17264" y="64150"/>
                </a:lnTo>
                <a:lnTo>
                  <a:pt x="17264" y="64150"/>
                </a:lnTo>
                <a:lnTo>
                  <a:pt x="15188" y="63207"/>
                </a:lnTo>
                <a:lnTo>
                  <a:pt x="14622" y="62829"/>
                </a:lnTo>
                <a:lnTo>
                  <a:pt x="14717" y="62924"/>
                </a:lnTo>
                <a:lnTo>
                  <a:pt x="13773" y="62546"/>
                </a:lnTo>
                <a:lnTo>
                  <a:pt x="12924" y="62075"/>
                </a:lnTo>
                <a:lnTo>
                  <a:pt x="12358" y="61697"/>
                </a:lnTo>
                <a:lnTo>
                  <a:pt x="12264" y="61508"/>
                </a:lnTo>
                <a:lnTo>
                  <a:pt x="12170" y="61320"/>
                </a:lnTo>
                <a:lnTo>
                  <a:pt x="11698" y="60942"/>
                </a:lnTo>
                <a:lnTo>
                  <a:pt x="11132" y="60471"/>
                </a:lnTo>
                <a:lnTo>
                  <a:pt x="9906" y="59244"/>
                </a:lnTo>
                <a:lnTo>
                  <a:pt x="9906" y="59244"/>
                </a:lnTo>
                <a:lnTo>
                  <a:pt x="10566" y="59527"/>
                </a:lnTo>
                <a:lnTo>
                  <a:pt x="9434" y="58584"/>
                </a:lnTo>
                <a:lnTo>
                  <a:pt x="8207" y="57546"/>
                </a:lnTo>
                <a:lnTo>
                  <a:pt x="7547" y="56886"/>
                </a:lnTo>
                <a:lnTo>
                  <a:pt x="6981" y="56131"/>
                </a:lnTo>
                <a:lnTo>
                  <a:pt x="6226" y="55094"/>
                </a:lnTo>
                <a:lnTo>
                  <a:pt x="6415" y="55377"/>
                </a:lnTo>
                <a:lnTo>
                  <a:pt x="6038" y="54905"/>
                </a:lnTo>
                <a:lnTo>
                  <a:pt x="5472" y="54244"/>
                </a:lnTo>
                <a:lnTo>
                  <a:pt x="5283" y="53961"/>
                </a:lnTo>
                <a:lnTo>
                  <a:pt x="5094" y="53867"/>
                </a:lnTo>
                <a:lnTo>
                  <a:pt x="5377" y="54622"/>
                </a:lnTo>
                <a:lnTo>
                  <a:pt x="5849" y="55282"/>
                </a:lnTo>
                <a:lnTo>
                  <a:pt x="6321" y="55943"/>
                </a:lnTo>
                <a:lnTo>
                  <a:pt x="6698" y="56603"/>
                </a:lnTo>
                <a:lnTo>
                  <a:pt x="6226" y="56226"/>
                </a:lnTo>
                <a:lnTo>
                  <a:pt x="5943" y="55848"/>
                </a:lnTo>
                <a:lnTo>
                  <a:pt x="6038" y="56037"/>
                </a:lnTo>
                <a:lnTo>
                  <a:pt x="5943" y="55943"/>
                </a:lnTo>
                <a:lnTo>
                  <a:pt x="5377" y="55188"/>
                </a:lnTo>
                <a:lnTo>
                  <a:pt x="5000" y="54716"/>
                </a:lnTo>
                <a:lnTo>
                  <a:pt x="4717" y="54150"/>
                </a:lnTo>
                <a:lnTo>
                  <a:pt x="4528" y="53678"/>
                </a:lnTo>
                <a:lnTo>
                  <a:pt x="4528" y="53584"/>
                </a:lnTo>
                <a:lnTo>
                  <a:pt x="4623" y="53395"/>
                </a:lnTo>
                <a:lnTo>
                  <a:pt x="5094" y="54244"/>
                </a:lnTo>
                <a:lnTo>
                  <a:pt x="4717" y="53301"/>
                </a:lnTo>
                <a:lnTo>
                  <a:pt x="4528" y="53018"/>
                </a:lnTo>
                <a:lnTo>
                  <a:pt x="4151" y="52263"/>
                </a:lnTo>
                <a:lnTo>
                  <a:pt x="4151" y="52169"/>
                </a:lnTo>
                <a:lnTo>
                  <a:pt x="3774" y="51509"/>
                </a:lnTo>
                <a:lnTo>
                  <a:pt x="3396" y="50660"/>
                </a:lnTo>
                <a:lnTo>
                  <a:pt x="3585" y="51603"/>
                </a:lnTo>
                <a:lnTo>
                  <a:pt x="3396" y="51226"/>
                </a:lnTo>
                <a:lnTo>
                  <a:pt x="3208" y="50848"/>
                </a:lnTo>
                <a:lnTo>
                  <a:pt x="3208" y="50471"/>
                </a:lnTo>
                <a:lnTo>
                  <a:pt x="3208" y="50094"/>
                </a:lnTo>
                <a:lnTo>
                  <a:pt x="3585" y="50754"/>
                </a:lnTo>
                <a:lnTo>
                  <a:pt x="3868" y="51509"/>
                </a:lnTo>
                <a:lnTo>
                  <a:pt x="3868" y="51509"/>
                </a:lnTo>
                <a:lnTo>
                  <a:pt x="3208" y="49528"/>
                </a:lnTo>
                <a:lnTo>
                  <a:pt x="3208" y="49528"/>
                </a:lnTo>
                <a:lnTo>
                  <a:pt x="3868" y="50754"/>
                </a:lnTo>
                <a:lnTo>
                  <a:pt x="3208" y="48962"/>
                </a:lnTo>
                <a:lnTo>
                  <a:pt x="3585" y="49339"/>
                </a:lnTo>
                <a:lnTo>
                  <a:pt x="3774" y="49433"/>
                </a:lnTo>
                <a:lnTo>
                  <a:pt x="3962" y="49528"/>
                </a:lnTo>
                <a:lnTo>
                  <a:pt x="4057" y="49905"/>
                </a:lnTo>
                <a:lnTo>
                  <a:pt x="3868" y="48962"/>
                </a:lnTo>
                <a:lnTo>
                  <a:pt x="3491" y="47924"/>
                </a:lnTo>
                <a:lnTo>
                  <a:pt x="2641" y="45565"/>
                </a:lnTo>
                <a:lnTo>
                  <a:pt x="2170" y="43867"/>
                </a:lnTo>
                <a:lnTo>
                  <a:pt x="1698" y="41886"/>
                </a:lnTo>
                <a:lnTo>
                  <a:pt x="1698" y="41886"/>
                </a:lnTo>
                <a:lnTo>
                  <a:pt x="1887" y="42075"/>
                </a:lnTo>
                <a:lnTo>
                  <a:pt x="1981" y="41981"/>
                </a:lnTo>
                <a:lnTo>
                  <a:pt x="2075" y="42075"/>
                </a:lnTo>
                <a:lnTo>
                  <a:pt x="2264" y="42169"/>
                </a:lnTo>
                <a:lnTo>
                  <a:pt x="2170" y="40283"/>
                </a:lnTo>
                <a:lnTo>
                  <a:pt x="2075" y="38301"/>
                </a:lnTo>
                <a:lnTo>
                  <a:pt x="2170" y="36415"/>
                </a:lnTo>
                <a:lnTo>
                  <a:pt x="2358" y="35566"/>
                </a:lnTo>
                <a:lnTo>
                  <a:pt x="2453" y="34811"/>
                </a:lnTo>
                <a:lnTo>
                  <a:pt x="2830" y="32830"/>
                </a:lnTo>
                <a:lnTo>
                  <a:pt x="2830" y="33207"/>
                </a:lnTo>
                <a:lnTo>
                  <a:pt x="2924" y="33490"/>
                </a:lnTo>
                <a:lnTo>
                  <a:pt x="2924" y="32453"/>
                </a:lnTo>
                <a:lnTo>
                  <a:pt x="3019" y="31415"/>
                </a:lnTo>
                <a:lnTo>
                  <a:pt x="3396" y="29245"/>
                </a:lnTo>
                <a:lnTo>
                  <a:pt x="3868" y="27075"/>
                </a:lnTo>
                <a:lnTo>
                  <a:pt x="4623" y="25000"/>
                </a:lnTo>
                <a:lnTo>
                  <a:pt x="5566" y="22830"/>
                </a:lnTo>
                <a:lnTo>
                  <a:pt x="6604" y="20849"/>
                </a:lnTo>
                <a:lnTo>
                  <a:pt x="7830" y="18868"/>
                </a:lnTo>
                <a:lnTo>
                  <a:pt x="9151" y="16887"/>
                </a:lnTo>
                <a:lnTo>
                  <a:pt x="10566" y="15094"/>
                </a:lnTo>
                <a:lnTo>
                  <a:pt x="12075" y="13302"/>
                </a:lnTo>
                <a:lnTo>
                  <a:pt x="13773" y="11698"/>
                </a:lnTo>
                <a:lnTo>
                  <a:pt x="15377" y="10095"/>
                </a:lnTo>
                <a:lnTo>
                  <a:pt x="17170" y="8679"/>
                </a:lnTo>
                <a:lnTo>
                  <a:pt x="18962" y="7453"/>
                </a:lnTo>
                <a:lnTo>
                  <a:pt x="20754" y="6321"/>
                </a:lnTo>
                <a:lnTo>
                  <a:pt x="22547" y="5378"/>
                </a:lnTo>
                <a:lnTo>
                  <a:pt x="21603" y="6227"/>
                </a:lnTo>
                <a:lnTo>
                  <a:pt x="22641" y="5472"/>
                </a:lnTo>
                <a:lnTo>
                  <a:pt x="23302" y="5095"/>
                </a:lnTo>
                <a:lnTo>
                  <a:pt x="25377" y="4151"/>
                </a:lnTo>
                <a:lnTo>
                  <a:pt x="24811" y="4151"/>
                </a:lnTo>
                <a:lnTo>
                  <a:pt x="25660" y="3774"/>
                </a:lnTo>
                <a:lnTo>
                  <a:pt x="26886" y="3208"/>
                </a:lnTo>
                <a:lnTo>
                  <a:pt x="26603" y="3585"/>
                </a:lnTo>
                <a:lnTo>
                  <a:pt x="26886" y="3585"/>
                </a:lnTo>
                <a:lnTo>
                  <a:pt x="26886" y="3680"/>
                </a:lnTo>
                <a:lnTo>
                  <a:pt x="26792" y="3774"/>
                </a:lnTo>
                <a:lnTo>
                  <a:pt x="28301" y="3302"/>
                </a:lnTo>
                <a:lnTo>
                  <a:pt x="29622" y="2736"/>
                </a:lnTo>
                <a:lnTo>
                  <a:pt x="31037" y="2264"/>
                </a:lnTo>
                <a:lnTo>
                  <a:pt x="31792" y="2076"/>
                </a:lnTo>
                <a:lnTo>
                  <a:pt x="32641" y="1981"/>
                </a:lnTo>
                <a:lnTo>
                  <a:pt x="32547" y="2076"/>
                </a:lnTo>
                <a:lnTo>
                  <a:pt x="32924" y="1981"/>
                </a:lnTo>
                <a:lnTo>
                  <a:pt x="34245" y="1793"/>
                </a:lnTo>
                <a:lnTo>
                  <a:pt x="35848" y="1415"/>
                </a:lnTo>
                <a:lnTo>
                  <a:pt x="36981" y="1132"/>
                </a:lnTo>
                <a:lnTo>
                  <a:pt x="36981" y="1415"/>
                </a:lnTo>
                <a:lnTo>
                  <a:pt x="40943" y="1227"/>
                </a:lnTo>
                <a:lnTo>
                  <a:pt x="41509" y="1038"/>
                </a:lnTo>
                <a:lnTo>
                  <a:pt x="41697" y="1132"/>
                </a:lnTo>
                <a:lnTo>
                  <a:pt x="41509" y="1227"/>
                </a:lnTo>
                <a:lnTo>
                  <a:pt x="41320" y="1321"/>
                </a:lnTo>
                <a:lnTo>
                  <a:pt x="42263" y="1321"/>
                </a:lnTo>
                <a:lnTo>
                  <a:pt x="43113" y="1227"/>
                </a:lnTo>
                <a:lnTo>
                  <a:pt x="43396" y="1415"/>
                </a:lnTo>
                <a:lnTo>
                  <a:pt x="44056" y="1604"/>
                </a:lnTo>
                <a:lnTo>
                  <a:pt x="45943" y="2076"/>
                </a:lnTo>
                <a:lnTo>
                  <a:pt x="48018" y="2359"/>
                </a:lnTo>
                <a:lnTo>
                  <a:pt x="49622" y="2736"/>
                </a:lnTo>
                <a:lnTo>
                  <a:pt x="47641" y="1981"/>
                </a:lnTo>
                <a:lnTo>
                  <a:pt x="45282" y="1321"/>
                </a:lnTo>
                <a:lnTo>
                  <a:pt x="42735" y="755"/>
                </a:lnTo>
                <a:lnTo>
                  <a:pt x="40188" y="283"/>
                </a:lnTo>
                <a:lnTo>
                  <a:pt x="37735" y="95"/>
                </a:lnTo>
                <a:lnTo>
                  <a:pt x="35471" y="0"/>
                </a:lnTo>
                <a:close/>
              </a:path>
            </a:pathLst>
          </a:custGeom>
          <a:solidFill>
            <a:schemeClr val="bg2">
              <a:lumMod val="75000"/>
            </a:schemeClr>
          </a:solidFill>
          <a:ln>
            <a:noFill/>
          </a:ln>
        </p:spPr>
        <p:txBody>
          <a:bodyPr spcFirstLastPara="1" wrap="square" lIns="91425" tIns="91425" rIns="91425" bIns="91425" anchor="ctr" anchorCtr="0">
            <a:noAutofit/>
          </a:bodyPr>
          <a:lstStyle/>
          <a:p>
            <a:pPr marL="0" lvl="0" indent="0">
              <a:spcBef>
                <a:spcPts val="0"/>
              </a:spcBef>
              <a:spcAft>
                <a:spcPts val="0"/>
              </a:spcAft>
              <a:buNone/>
            </a:pPr>
            <a:endParaRPr sz="1200" dirty="0">
              <a:latin typeface="Comic Sans MS" panose="030F0902030302020204" pitchFamily="66" charset="0"/>
            </a:endParaRPr>
          </a:p>
        </p:txBody>
      </p:sp>
      <p:sp>
        <p:nvSpPr>
          <p:cNvPr id="133" name="Google Shape;431;p39">
            <a:extLst>
              <a:ext uri="{FF2B5EF4-FFF2-40B4-BE49-F238E27FC236}">
                <a16:creationId xmlns:a16="http://schemas.microsoft.com/office/drawing/2014/main" id="{3324B39A-6455-EE4F-85AF-7677D28807B6}"/>
              </a:ext>
            </a:extLst>
          </p:cNvPr>
          <p:cNvSpPr/>
          <p:nvPr/>
        </p:nvSpPr>
        <p:spPr>
          <a:xfrm rot="21011211">
            <a:off x="7139595" y="4921878"/>
            <a:ext cx="118019" cy="139785"/>
          </a:xfrm>
          <a:custGeom>
            <a:avLst/>
            <a:gdLst/>
            <a:ahLst/>
            <a:cxnLst/>
            <a:rect l="0" t="0" r="0" b="0"/>
            <a:pathLst>
              <a:path w="67641" h="69056" extrusionOk="0">
                <a:moveTo>
                  <a:pt x="49622" y="2736"/>
                </a:moveTo>
                <a:lnTo>
                  <a:pt x="49622" y="2736"/>
                </a:lnTo>
                <a:lnTo>
                  <a:pt x="49622" y="2736"/>
                </a:lnTo>
                <a:close/>
                <a:moveTo>
                  <a:pt x="59622" y="55565"/>
                </a:moveTo>
                <a:lnTo>
                  <a:pt x="59622" y="55565"/>
                </a:lnTo>
                <a:lnTo>
                  <a:pt x="59622" y="55565"/>
                </a:lnTo>
                <a:close/>
                <a:moveTo>
                  <a:pt x="35471" y="0"/>
                </a:moveTo>
                <a:lnTo>
                  <a:pt x="34433" y="95"/>
                </a:lnTo>
                <a:lnTo>
                  <a:pt x="33584" y="189"/>
                </a:lnTo>
                <a:lnTo>
                  <a:pt x="32735" y="378"/>
                </a:lnTo>
                <a:lnTo>
                  <a:pt x="32169" y="566"/>
                </a:lnTo>
                <a:lnTo>
                  <a:pt x="31509" y="472"/>
                </a:lnTo>
                <a:lnTo>
                  <a:pt x="30754" y="472"/>
                </a:lnTo>
                <a:lnTo>
                  <a:pt x="29339" y="566"/>
                </a:lnTo>
                <a:lnTo>
                  <a:pt x="27830" y="849"/>
                </a:lnTo>
                <a:lnTo>
                  <a:pt x="26320" y="1321"/>
                </a:lnTo>
                <a:lnTo>
                  <a:pt x="24811" y="1981"/>
                </a:lnTo>
                <a:lnTo>
                  <a:pt x="23207" y="2736"/>
                </a:lnTo>
                <a:lnTo>
                  <a:pt x="21698" y="3585"/>
                </a:lnTo>
                <a:lnTo>
                  <a:pt x="20188" y="4623"/>
                </a:lnTo>
                <a:lnTo>
                  <a:pt x="18679" y="5661"/>
                </a:lnTo>
                <a:lnTo>
                  <a:pt x="17170" y="6793"/>
                </a:lnTo>
                <a:lnTo>
                  <a:pt x="15754" y="8019"/>
                </a:lnTo>
                <a:lnTo>
                  <a:pt x="14434" y="9151"/>
                </a:lnTo>
                <a:lnTo>
                  <a:pt x="11981" y="11510"/>
                </a:lnTo>
                <a:lnTo>
                  <a:pt x="10000" y="13774"/>
                </a:lnTo>
                <a:lnTo>
                  <a:pt x="7736" y="16981"/>
                </a:lnTo>
                <a:lnTo>
                  <a:pt x="8019" y="16321"/>
                </a:lnTo>
                <a:lnTo>
                  <a:pt x="8302" y="15660"/>
                </a:lnTo>
                <a:lnTo>
                  <a:pt x="7736" y="16604"/>
                </a:lnTo>
                <a:lnTo>
                  <a:pt x="7075" y="17642"/>
                </a:lnTo>
                <a:lnTo>
                  <a:pt x="7170" y="17830"/>
                </a:lnTo>
                <a:lnTo>
                  <a:pt x="6509" y="18868"/>
                </a:lnTo>
                <a:lnTo>
                  <a:pt x="7075" y="17359"/>
                </a:lnTo>
                <a:lnTo>
                  <a:pt x="6132" y="19057"/>
                </a:lnTo>
                <a:lnTo>
                  <a:pt x="5189" y="20849"/>
                </a:lnTo>
                <a:lnTo>
                  <a:pt x="4434" y="22736"/>
                </a:lnTo>
                <a:lnTo>
                  <a:pt x="3679" y="24622"/>
                </a:lnTo>
                <a:lnTo>
                  <a:pt x="2453" y="28490"/>
                </a:lnTo>
                <a:lnTo>
                  <a:pt x="1321" y="32169"/>
                </a:lnTo>
                <a:lnTo>
                  <a:pt x="1509" y="32264"/>
                </a:lnTo>
                <a:lnTo>
                  <a:pt x="1604" y="32453"/>
                </a:lnTo>
                <a:lnTo>
                  <a:pt x="1604" y="32641"/>
                </a:lnTo>
                <a:lnTo>
                  <a:pt x="1509" y="32924"/>
                </a:lnTo>
                <a:lnTo>
                  <a:pt x="1226" y="33396"/>
                </a:lnTo>
                <a:lnTo>
                  <a:pt x="1038" y="33585"/>
                </a:lnTo>
                <a:lnTo>
                  <a:pt x="1038" y="33773"/>
                </a:lnTo>
                <a:lnTo>
                  <a:pt x="1038" y="35000"/>
                </a:lnTo>
                <a:lnTo>
                  <a:pt x="849" y="36132"/>
                </a:lnTo>
                <a:lnTo>
                  <a:pt x="660" y="37358"/>
                </a:lnTo>
                <a:lnTo>
                  <a:pt x="472" y="38867"/>
                </a:lnTo>
                <a:lnTo>
                  <a:pt x="283" y="38301"/>
                </a:lnTo>
                <a:lnTo>
                  <a:pt x="94" y="39811"/>
                </a:lnTo>
                <a:lnTo>
                  <a:pt x="0" y="41509"/>
                </a:lnTo>
                <a:lnTo>
                  <a:pt x="94" y="43301"/>
                </a:lnTo>
                <a:lnTo>
                  <a:pt x="283" y="44056"/>
                </a:lnTo>
                <a:lnTo>
                  <a:pt x="472" y="44622"/>
                </a:lnTo>
                <a:lnTo>
                  <a:pt x="566" y="45660"/>
                </a:lnTo>
                <a:lnTo>
                  <a:pt x="755" y="46792"/>
                </a:lnTo>
                <a:lnTo>
                  <a:pt x="1226" y="48962"/>
                </a:lnTo>
                <a:lnTo>
                  <a:pt x="1981" y="51037"/>
                </a:lnTo>
                <a:lnTo>
                  <a:pt x="2924" y="53112"/>
                </a:lnTo>
                <a:lnTo>
                  <a:pt x="4057" y="55094"/>
                </a:lnTo>
                <a:lnTo>
                  <a:pt x="5283" y="56980"/>
                </a:lnTo>
                <a:lnTo>
                  <a:pt x="6698" y="58678"/>
                </a:lnTo>
                <a:lnTo>
                  <a:pt x="8113" y="60282"/>
                </a:lnTo>
                <a:lnTo>
                  <a:pt x="9056" y="61131"/>
                </a:lnTo>
                <a:lnTo>
                  <a:pt x="10000" y="61980"/>
                </a:lnTo>
                <a:lnTo>
                  <a:pt x="11038" y="62829"/>
                </a:lnTo>
                <a:lnTo>
                  <a:pt x="12075" y="63584"/>
                </a:lnTo>
                <a:lnTo>
                  <a:pt x="14339" y="64905"/>
                </a:lnTo>
                <a:lnTo>
                  <a:pt x="16604" y="66131"/>
                </a:lnTo>
                <a:lnTo>
                  <a:pt x="19056" y="67169"/>
                </a:lnTo>
                <a:lnTo>
                  <a:pt x="21509" y="67923"/>
                </a:lnTo>
                <a:lnTo>
                  <a:pt x="24056" y="68584"/>
                </a:lnTo>
                <a:lnTo>
                  <a:pt x="26603" y="69055"/>
                </a:lnTo>
                <a:lnTo>
                  <a:pt x="27830" y="69055"/>
                </a:lnTo>
                <a:lnTo>
                  <a:pt x="30188" y="68867"/>
                </a:lnTo>
                <a:lnTo>
                  <a:pt x="33113" y="68678"/>
                </a:lnTo>
                <a:lnTo>
                  <a:pt x="36509" y="68301"/>
                </a:lnTo>
                <a:lnTo>
                  <a:pt x="39811" y="67923"/>
                </a:lnTo>
                <a:lnTo>
                  <a:pt x="42735" y="67452"/>
                </a:lnTo>
                <a:lnTo>
                  <a:pt x="44905" y="66980"/>
                </a:lnTo>
                <a:lnTo>
                  <a:pt x="45565" y="66791"/>
                </a:lnTo>
                <a:lnTo>
                  <a:pt x="45943" y="66508"/>
                </a:lnTo>
                <a:lnTo>
                  <a:pt x="47358" y="65942"/>
                </a:lnTo>
                <a:lnTo>
                  <a:pt x="48018" y="65565"/>
                </a:lnTo>
                <a:lnTo>
                  <a:pt x="48678" y="65188"/>
                </a:lnTo>
                <a:lnTo>
                  <a:pt x="47924" y="65471"/>
                </a:lnTo>
                <a:lnTo>
                  <a:pt x="51509" y="62924"/>
                </a:lnTo>
                <a:lnTo>
                  <a:pt x="53301" y="61508"/>
                </a:lnTo>
                <a:lnTo>
                  <a:pt x="55093" y="59905"/>
                </a:lnTo>
                <a:lnTo>
                  <a:pt x="55093" y="59905"/>
                </a:lnTo>
                <a:lnTo>
                  <a:pt x="54810" y="60376"/>
                </a:lnTo>
                <a:lnTo>
                  <a:pt x="54339" y="60754"/>
                </a:lnTo>
                <a:lnTo>
                  <a:pt x="55376" y="59999"/>
                </a:lnTo>
                <a:lnTo>
                  <a:pt x="56320" y="59056"/>
                </a:lnTo>
                <a:lnTo>
                  <a:pt x="57075" y="58395"/>
                </a:lnTo>
                <a:lnTo>
                  <a:pt x="57169" y="58207"/>
                </a:lnTo>
                <a:lnTo>
                  <a:pt x="57075" y="58207"/>
                </a:lnTo>
                <a:lnTo>
                  <a:pt x="57924" y="57546"/>
                </a:lnTo>
                <a:lnTo>
                  <a:pt x="58678" y="56697"/>
                </a:lnTo>
                <a:lnTo>
                  <a:pt x="59339" y="55754"/>
                </a:lnTo>
                <a:lnTo>
                  <a:pt x="59905" y="54905"/>
                </a:lnTo>
                <a:lnTo>
                  <a:pt x="59716" y="54999"/>
                </a:lnTo>
                <a:lnTo>
                  <a:pt x="59622" y="54999"/>
                </a:lnTo>
                <a:lnTo>
                  <a:pt x="59810" y="54622"/>
                </a:lnTo>
                <a:lnTo>
                  <a:pt x="59150" y="55565"/>
                </a:lnTo>
                <a:lnTo>
                  <a:pt x="59527" y="55094"/>
                </a:lnTo>
                <a:lnTo>
                  <a:pt x="59433" y="55377"/>
                </a:lnTo>
                <a:lnTo>
                  <a:pt x="58867" y="56037"/>
                </a:lnTo>
                <a:lnTo>
                  <a:pt x="59056" y="55660"/>
                </a:lnTo>
                <a:lnTo>
                  <a:pt x="59056" y="55660"/>
                </a:lnTo>
                <a:lnTo>
                  <a:pt x="58678" y="56037"/>
                </a:lnTo>
                <a:lnTo>
                  <a:pt x="59810" y="54339"/>
                </a:lnTo>
                <a:lnTo>
                  <a:pt x="60282" y="53490"/>
                </a:lnTo>
                <a:lnTo>
                  <a:pt x="60282" y="53301"/>
                </a:lnTo>
                <a:lnTo>
                  <a:pt x="60188" y="53395"/>
                </a:lnTo>
                <a:lnTo>
                  <a:pt x="60188" y="53395"/>
                </a:lnTo>
                <a:lnTo>
                  <a:pt x="60565" y="52924"/>
                </a:lnTo>
                <a:lnTo>
                  <a:pt x="61037" y="52452"/>
                </a:lnTo>
                <a:lnTo>
                  <a:pt x="61886" y="51509"/>
                </a:lnTo>
                <a:lnTo>
                  <a:pt x="61508" y="52452"/>
                </a:lnTo>
                <a:lnTo>
                  <a:pt x="60848" y="53584"/>
                </a:lnTo>
                <a:lnTo>
                  <a:pt x="59622" y="55565"/>
                </a:lnTo>
                <a:lnTo>
                  <a:pt x="60376" y="54528"/>
                </a:lnTo>
                <a:lnTo>
                  <a:pt x="60942" y="53678"/>
                </a:lnTo>
                <a:lnTo>
                  <a:pt x="61980" y="51792"/>
                </a:lnTo>
                <a:lnTo>
                  <a:pt x="61886" y="51886"/>
                </a:lnTo>
                <a:lnTo>
                  <a:pt x="61886" y="51697"/>
                </a:lnTo>
                <a:lnTo>
                  <a:pt x="62169" y="51037"/>
                </a:lnTo>
                <a:lnTo>
                  <a:pt x="62735" y="49999"/>
                </a:lnTo>
                <a:lnTo>
                  <a:pt x="61508" y="51603"/>
                </a:lnTo>
                <a:lnTo>
                  <a:pt x="61603" y="51037"/>
                </a:lnTo>
                <a:lnTo>
                  <a:pt x="61697" y="50377"/>
                </a:lnTo>
                <a:lnTo>
                  <a:pt x="62169" y="48962"/>
                </a:lnTo>
                <a:lnTo>
                  <a:pt x="62829" y="47358"/>
                </a:lnTo>
                <a:lnTo>
                  <a:pt x="63678" y="45565"/>
                </a:lnTo>
                <a:lnTo>
                  <a:pt x="65376" y="42169"/>
                </a:lnTo>
                <a:lnTo>
                  <a:pt x="66131" y="40660"/>
                </a:lnTo>
                <a:lnTo>
                  <a:pt x="66697" y="39339"/>
                </a:lnTo>
                <a:lnTo>
                  <a:pt x="66603" y="39528"/>
                </a:lnTo>
                <a:lnTo>
                  <a:pt x="66697" y="39056"/>
                </a:lnTo>
                <a:lnTo>
                  <a:pt x="66791" y="38962"/>
                </a:lnTo>
                <a:lnTo>
                  <a:pt x="66791" y="39056"/>
                </a:lnTo>
                <a:lnTo>
                  <a:pt x="66886" y="38584"/>
                </a:lnTo>
                <a:lnTo>
                  <a:pt x="66791" y="38867"/>
                </a:lnTo>
                <a:lnTo>
                  <a:pt x="66980" y="38207"/>
                </a:lnTo>
                <a:lnTo>
                  <a:pt x="67169" y="37264"/>
                </a:lnTo>
                <a:lnTo>
                  <a:pt x="67263" y="36415"/>
                </a:lnTo>
                <a:lnTo>
                  <a:pt x="67357" y="36509"/>
                </a:lnTo>
                <a:lnTo>
                  <a:pt x="67452" y="36509"/>
                </a:lnTo>
                <a:lnTo>
                  <a:pt x="67546" y="35943"/>
                </a:lnTo>
                <a:lnTo>
                  <a:pt x="67546" y="34811"/>
                </a:lnTo>
                <a:lnTo>
                  <a:pt x="67640" y="31037"/>
                </a:lnTo>
                <a:lnTo>
                  <a:pt x="67640" y="28490"/>
                </a:lnTo>
                <a:lnTo>
                  <a:pt x="67546" y="27736"/>
                </a:lnTo>
                <a:lnTo>
                  <a:pt x="67546" y="27547"/>
                </a:lnTo>
                <a:lnTo>
                  <a:pt x="67452" y="27547"/>
                </a:lnTo>
                <a:lnTo>
                  <a:pt x="67074" y="26792"/>
                </a:lnTo>
                <a:lnTo>
                  <a:pt x="66791" y="25660"/>
                </a:lnTo>
                <a:lnTo>
                  <a:pt x="66508" y="24528"/>
                </a:lnTo>
                <a:lnTo>
                  <a:pt x="66414" y="23585"/>
                </a:lnTo>
                <a:lnTo>
                  <a:pt x="66320" y="23679"/>
                </a:lnTo>
                <a:lnTo>
                  <a:pt x="66320" y="23490"/>
                </a:lnTo>
                <a:lnTo>
                  <a:pt x="65942" y="22924"/>
                </a:lnTo>
                <a:lnTo>
                  <a:pt x="65565" y="22358"/>
                </a:lnTo>
                <a:lnTo>
                  <a:pt x="64527" y="21132"/>
                </a:lnTo>
                <a:lnTo>
                  <a:pt x="63584" y="19906"/>
                </a:lnTo>
                <a:lnTo>
                  <a:pt x="63207" y="19340"/>
                </a:lnTo>
                <a:lnTo>
                  <a:pt x="63018" y="18774"/>
                </a:lnTo>
                <a:lnTo>
                  <a:pt x="63112" y="18962"/>
                </a:lnTo>
                <a:lnTo>
                  <a:pt x="63301" y="19057"/>
                </a:lnTo>
                <a:lnTo>
                  <a:pt x="63301" y="19057"/>
                </a:lnTo>
                <a:lnTo>
                  <a:pt x="63207" y="18868"/>
                </a:lnTo>
                <a:lnTo>
                  <a:pt x="62923" y="18491"/>
                </a:lnTo>
                <a:lnTo>
                  <a:pt x="61980" y="17453"/>
                </a:lnTo>
                <a:lnTo>
                  <a:pt x="61037" y="16509"/>
                </a:lnTo>
                <a:lnTo>
                  <a:pt x="61037" y="16698"/>
                </a:lnTo>
                <a:lnTo>
                  <a:pt x="61037" y="16887"/>
                </a:lnTo>
                <a:lnTo>
                  <a:pt x="60093" y="15943"/>
                </a:lnTo>
                <a:lnTo>
                  <a:pt x="60376" y="16321"/>
                </a:lnTo>
                <a:lnTo>
                  <a:pt x="59527" y="15377"/>
                </a:lnTo>
                <a:lnTo>
                  <a:pt x="59056" y="14906"/>
                </a:lnTo>
                <a:lnTo>
                  <a:pt x="59244" y="14906"/>
                </a:lnTo>
                <a:lnTo>
                  <a:pt x="59905" y="15472"/>
                </a:lnTo>
                <a:lnTo>
                  <a:pt x="59905" y="15472"/>
                </a:lnTo>
                <a:lnTo>
                  <a:pt x="57641" y="13396"/>
                </a:lnTo>
                <a:lnTo>
                  <a:pt x="58112" y="13868"/>
                </a:lnTo>
                <a:lnTo>
                  <a:pt x="56886" y="13019"/>
                </a:lnTo>
                <a:lnTo>
                  <a:pt x="55754" y="12453"/>
                </a:lnTo>
                <a:lnTo>
                  <a:pt x="56603" y="13113"/>
                </a:lnTo>
                <a:lnTo>
                  <a:pt x="57452" y="13774"/>
                </a:lnTo>
                <a:lnTo>
                  <a:pt x="58961" y="15283"/>
                </a:lnTo>
                <a:lnTo>
                  <a:pt x="60376" y="16604"/>
                </a:lnTo>
                <a:lnTo>
                  <a:pt x="61225" y="17264"/>
                </a:lnTo>
                <a:lnTo>
                  <a:pt x="62074" y="17925"/>
                </a:lnTo>
                <a:lnTo>
                  <a:pt x="62074" y="17925"/>
                </a:lnTo>
                <a:lnTo>
                  <a:pt x="61414" y="17547"/>
                </a:lnTo>
                <a:lnTo>
                  <a:pt x="60659" y="16981"/>
                </a:lnTo>
                <a:lnTo>
                  <a:pt x="60754" y="17264"/>
                </a:lnTo>
                <a:lnTo>
                  <a:pt x="60942" y="17642"/>
                </a:lnTo>
                <a:lnTo>
                  <a:pt x="61980" y="19151"/>
                </a:lnTo>
                <a:lnTo>
                  <a:pt x="63301" y="20943"/>
                </a:lnTo>
                <a:lnTo>
                  <a:pt x="63207" y="20943"/>
                </a:lnTo>
                <a:lnTo>
                  <a:pt x="63395" y="21038"/>
                </a:lnTo>
                <a:lnTo>
                  <a:pt x="63490" y="21321"/>
                </a:lnTo>
                <a:lnTo>
                  <a:pt x="63678" y="21604"/>
                </a:lnTo>
                <a:lnTo>
                  <a:pt x="63773" y="21698"/>
                </a:lnTo>
                <a:lnTo>
                  <a:pt x="63584" y="21321"/>
                </a:lnTo>
                <a:lnTo>
                  <a:pt x="63584" y="21321"/>
                </a:lnTo>
                <a:lnTo>
                  <a:pt x="64244" y="22170"/>
                </a:lnTo>
                <a:lnTo>
                  <a:pt x="64716" y="22641"/>
                </a:lnTo>
                <a:lnTo>
                  <a:pt x="64905" y="22830"/>
                </a:lnTo>
                <a:lnTo>
                  <a:pt x="64999" y="22830"/>
                </a:lnTo>
                <a:lnTo>
                  <a:pt x="64999" y="22641"/>
                </a:lnTo>
                <a:lnTo>
                  <a:pt x="64905" y="22358"/>
                </a:lnTo>
                <a:lnTo>
                  <a:pt x="65282" y="23207"/>
                </a:lnTo>
                <a:lnTo>
                  <a:pt x="65565" y="24056"/>
                </a:lnTo>
                <a:lnTo>
                  <a:pt x="66225" y="25943"/>
                </a:lnTo>
                <a:lnTo>
                  <a:pt x="66697" y="27830"/>
                </a:lnTo>
                <a:lnTo>
                  <a:pt x="66886" y="28490"/>
                </a:lnTo>
                <a:lnTo>
                  <a:pt x="66980" y="28868"/>
                </a:lnTo>
                <a:lnTo>
                  <a:pt x="66886" y="28962"/>
                </a:lnTo>
                <a:lnTo>
                  <a:pt x="66697" y="28679"/>
                </a:lnTo>
                <a:lnTo>
                  <a:pt x="66697" y="29245"/>
                </a:lnTo>
                <a:lnTo>
                  <a:pt x="66791" y="29905"/>
                </a:lnTo>
                <a:lnTo>
                  <a:pt x="66886" y="29905"/>
                </a:lnTo>
                <a:lnTo>
                  <a:pt x="66886" y="30094"/>
                </a:lnTo>
                <a:lnTo>
                  <a:pt x="66886" y="30566"/>
                </a:lnTo>
                <a:lnTo>
                  <a:pt x="66697" y="30377"/>
                </a:lnTo>
                <a:lnTo>
                  <a:pt x="66603" y="30188"/>
                </a:lnTo>
                <a:lnTo>
                  <a:pt x="66603" y="30094"/>
                </a:lnTo>
                <a:lnTo>
                  <a:pt x="66697" y="29905"/>
                </a:lnTo>
                <a:lnTo>
                  <a:pt x="66508" y="28679"/>
                </a:lnTo>
                <a:lnTo>
                  <a:pt x="66225" y="27358"/>
                </a:lnTo>
                <a:lnTo>
                  <a:pt x="66603" y="30283"/>
                </a:lnTo>
                <a:lnTo>
                  <a:pt x="66697" y="31792"/>
                </a:lnTo>
                <a:lnTo>
                  <a:pt x="66697" y="33302"/>
                </a:lnTo>
                <a:lnTo>
                  <a:pt x="66603" y="34717"/>
                </a:lnTo>
                <a:lnTo>
                  <a:pt x="66414" y="36226"/>
                </a:lnTo>
                <a:lnTo>
                  <a:pt x="66131" y="37547"/>
                </a:lnTo>
                <a:lnTo>
                  <a:pt x="65659" y="38962"/>
                </a:lnTo>
                <a:lnTo>
                  <a:pt x="65848" y="38584"/>
                </a:lnTo>
                <a:lnTo>
                  <a:pt x="65942" y="38584"/>
                </a:lnTo>
                <a:lnTo>
                  <a:pt x="65848" y="39245"/>
                </a:lnTo>
                <a:lnTo>
                  <a:pt x="65565" y="40188"/>
                </a:lnTo>
                <a:lnTo>
                  <a:pt x="65471" y="40471"/>
                </a:lnTo>
                <a:lnTo>
                  <a:pt x="65282" y="40660"/>
                </a:lnTo>
                <a:lnTo>
                  <a:pt x="65282" y="40566"/>
                </a:lnTo>
                <a:lnTo>
                  <a:pt x="65093" y="41132"/>
                </a:lnTo>
                <a:lnTo>
                  <a:pt x="64433" y="43018"/>
                </a:lnTo>
                <a:lnTo>
                  <a:pt x="63678" y="45282"/>
                </a:lnTo>
                <a:lnTo>
                  <a:pt x="62735" y="47264"/>
                </a:lnTo>
                <a:lnTo>
                  <a:pt x="61697" y="49056"/>
                </a:lnTo>
                <a:lnTo>
                  <a:pt x="60659" y="50943"/>
                </a:lnTo>
                <a:lnTo>
                  <a:pt x="59433" y="52735"/>
                </a:lnTo>
                <a:lnTo>
                  <a:pt x="58207" y="54433"/>
                </a:lnTo>
                <a:lnTo>
                  <a:pt x="56886" y="56037"/>
                </a:lnTo>
                <a:lnTo>
                  <a:pt x="55376" y="57641"/>
                </a:lnTo>
                <a:lnTo>
                  <a:pt x="53867" y="59150"/>
                </a:lnTo>
                <a:lnTo>
                  <a:pt x="52169" y="60376"/>
                </a:lnTo>
                <a:lnTo>
                  <a:pt x="48961" y="62452"/>
                </a:lnTo>
                <a:lnTo>
                  <a:pt x="44528" y="65282"/>
                </a:lnTo>
                <a:lnTo>
                  <a:pt x="44622" y="65188"/>
                </a:lnTo>
                <a:lnTo>
                  <a:pt x="44716" y="65093"/>
                </a:lnTo>
                <a:lnTo>
                  <a:pt x="45094" y="64810"/>
                </a:lnTo>
                <a:lnTo>
                  <a:pt x="45660" y="64527"/>
                </a:lnTo>
                <a:lnTo>
                  <a:pt x="43867" y="65376"/>
                </a:lnTo>
                <a:lnTo>
                  <a:pt x="43113" y="65754"/>
                </a:lnTo>
                <a:lnTo>
                  <a:pt x="42924" y="65754"/>
                </a:lnTo>
                <a:lnTo>
                  <a:pt x="43113" y="65659"/>
                </a:lnTo>
                <a:lnTo>
                  <a:pt x="41603" y="66037"/>
                </a:lnTo>
                <a:lnTo>
                  <a:pt x="39999" y="66320"/>
                </a:lnTo>
                <a:lnTo>
                  <a:pt x="38396" y="66508"/>
                </a:lnTo>
                <a:lnTo>
                  <a:pt x="36792" y="66697"/>
                </a:lnTo>
                <a:lnTo>
                  <a:pt x="33584" y="66980"/>
                </a:lnTo>
                <a:lnTo>
                  <a:pt x="32169" y="67169"/>
                </a:lnTo>
                <a:lnTo>
                  <a:pt x="30754" y="67357"/>
                </a:lnTo>
                <a:lnTo>
                  <a:pt x="30094" y="67357"/>
                </a:lnTo>
                <a:lnTo>
                  <a:pt x="29339" y="67263"/>
                </a:lnTo>
                <a:lnTo>
                  <a:pt x="27830" y="66886"/>
                </a:lnTo>
                <a:lnTo>
                  <a:pt x="26415" y="66508"/>
                </a:lnTo>
                <a:lnTo>
                  <a:pt x="25754" y="66414"/>
                </a:lnTo>
                <a:lnTo>
                  <a:pt x="25094" y="66414"/>
                </a:lnTo>
                <a:lnTo>
                  <a:pt x="25566" y="66980"/>
                </a:lnTo>
                <a:lnTo>
                  <a:pt x="25471" y="67074"/>
                </a:lnTo>
                <a:lnTo>
                  <a:pt x="25188" y="66980"/>
                </a:lnTo>
                <a:lnTo>
                  <a:pt x="24339" y="66791"/>
                </a:lnTo>
                <a:lnTo>
                  <a:pt x="23773" y="66508"/>
                </a:lnTo>
                <a:lnTo>
                  <a:pt x="24245" y="66414"/>
                </a:lnTo>
                <a:lnTo>
                  <a:pt x="24717" y="66603"/>
                </a:lnTo>
                <a:lnTo>
                  <a:pt x="24811" y="66414"/>
                </a:lnTo>
                <a:lnTo>
                  <a:pt x="24811" y="66320"/>
                </a:lnTo>
                <a:lnTo>
                  <a:pt x="24717" y="66225"/>
                </a:lnTo>
                <a:lnTo>
                  <a:pt x="24528" y="66131"/>
                </a:lnTo>
                <a:lnTo>
                  <a:pt x="24151" y="66225"/>
                </a:lnTo>
                <a:lnTo>
                  <a:pt x="23679" y="66320"/>
                </a:lnTo>
                <a:lnTo>
                  <a:pt x="23018" y="66414"/>
                </a:lnTo>
                <a:lnTo>
                  <a:pt x="23490" y="66225"/>
                </a:lnTo>
                <a:lnTo>
                  <a:pt x="22075" y="65942"/>
                </a:lnTo>
                <a:lnTo>
                  <a:pt x="20943" y="65659"/>
                </a:lnTo>
                <a:lnTo>
                  <a:pt x="20000" y="65282"/>
                </a:lnTo>
                <a:lnTo>
                  <a:pt x="19056" y="64810"/>
                </a:lnTo>
                <a:lnTo>
                  <a:pt x="19056" y="64810"/>
                </a:lnTo>
                <a:lnTo>
                  <a:pt x="19717" y="64999"/>
                </a:lnTo>
                <a:lnTo>
                  <a:pt x="19151" y="64716"/>
                </a:lnTo>
                <a:lnTo>
                  <a:pt x="18962" y="64810"/>
                </a:lnTo>
                <a:lnTo>
                  <a:pt x="19151" y="64905"/>
                </a:lnTo>
                <a:lnTo>
                  <a:pt x="18490" y="64905"/>
                </a:lnTo>
                <a:lnTo>
                  <a:pt x="17830" y="64716"/>
                </a:lnTo>
                <a:lnTo>
                  <a:pt x="17264" y="64527"/>
                </a:lnTo>
                <a:lnTo>
                  <a:pt x="16698" y="64150"/>
                </a:lnTo>
                <a:lnTo>
                  <a:pt x="16981" y="64056"/>
                </a:lnTo>
                <a:lnTo>
                  <a:pt x="17264" y="64150"/>
                </a:lnTo>
                <a:lnTo>
                  <a:pt x="17264" y="64150"/>
                </a:lnTo>
                <a:lnTo>
                  <a:pt x="15188" y="63207"/>
                </a:lnTo>
                <a:lnTo>
                  <a:pt x="14622" y="62829"/>
                </a:lnTo>
                <a:lnTo>
                  <a:pt x="14717" y="62924"/>
                </a:lnTo>
                <a:lnTo>
                  <a:pt x="13773" y="62546"/>
                </a:lnTo>
                <a:lnTo>
                  <a:pt x="12924" y="62075"/>
                </a:lnTo>
                <a:lnTo>
                  <a:pt x="12358" y="61697"/>
                </a:lnTo>
                <a:lnTo>
                  <a:pt x="12264" y="61508"/>
                </a:lnTo>
                <a:lnTo>
                  <a:pt x="12170" y="61320"/>
                </a:lnTo>
                <a:lnTo>
                  <a:pt x="11698" y="60942"/>
                </a:lnTo>
                <a:lnTo>
                  <a:pt x="11132" y="60471"/>
                </a:lnTo>
                <a:lnTo>
                  <a:pt x="9906" y="59244"/>
                </a:lnTo>
                <a:lnTo>
                  <a:pt x="9906" y="59244"/>
                </a:lnTo>
                <a:lnTo>
                  <a:pt x="10566" y="59527"/>
                </a:lnTo>
                <a:lnTo>
                  <a:pt x="9434" y="58584"/>
                </a:lnTo>
                <a:lnTo>
                  <a:pt x="8207" y="57546"/>
                </a:lnTo>
                <a:lnTo>
                  <a:pt x="7547" y="56886"/>
                </a:lnTo>
                <a:lnTo>
                  <a:pt x="6981" y="56131"/>
                </a:lnTo>
                <a:lnTo>
                  <a:pt x="6226" y="55094"/>
                </a:lnTo>
                <a:lnTo>
                  <a:pt x="6415" y="55377"/>
                </a:lnTo>
                <a:lnTo>
                  <a:pt x="6038" y="54905"/>
                </a:lnTo>
                <a:lnTo>
                  <a:pt x="5472" y="54244"/>
                </a:lnTo>
                <a:lnTo>
                  <a:pt x="5283" y="53961"/>
                </a:lnTo>
                <a:lnTo>
                  <a:pt x="5094" y="53867"/>
                </a:lnTo>
                <a:lnTo>
                  <a:pt x="5377" y="54622"/>
                </a:lnTo>
                <a:lnTo>
                  <a:pt x="5849" y="55282"/>
                </a:lnTo>
                <a:lnTo>
                  <a:pt x="6321" y="55943"/>
                </a:lnTo>
                <a:lnTo>
                  <a:pt x="6698" y="56603"/>
                </a:lnTo>
                <a:lnTo>
                  <a:pt x="6226" y="56226"/>
                </a:lnTo>
                <a:lnTo>
                  <a:pt x="5943" y="55848"/>
                </a:lnTo>
                <a:lnTo>
                  <a:pt x="6038" y="56037"/>
                </a:lnTo>
                <a:lnTo>
                  <a:pt x="5943" y="55943"/>
                </a:lnTo>
                <a:lnTo>
                  <a:pt x="5377" y="55188"/>
                </a:lnTo>
                <a:lnTo>
                  <a:pt x="5000" y="54716"/>
                </a:lnTo>
                <a:lnTo>
                  <a:pt x="4717" y="54150"/>
                </a:lnTo>
                <a:lnTo>
                  <a:pt x="4528" y="53678"/>
                </a:lnTo>
                <a:lnTo>
                  <a:pt x="4528" y="53584"/>
                </a:lnTo>
                <a:lnTo>
                  <a:pt x="4623" y="53395"/>
                </a:lnTo>
                <a:lnTo>
                  <a:pt x="5094" y="54244"/>
                </a:lnTo>
                <a:lnTo>
                  <a:pt x="4717" y="53301"/>
                </a:lnTo>
                <a:lnTo>
                  <a:pt x="4528" y="53018"/>
                </a:lnTo>
                <a:lnTo>
                  <a:pt x="4151" y="52263"/>
                </a:lnTo>
                <a:lnTo>
                  <a:pt x="4151" y="52169"/>
                </a:lnTo>
                <a:lnTo>
                  <a:pt x="3774" y="51509"/>
                </a:lnTo>
                <a:lnTo>
                  <a:pt x="3396" y="50660"/>
                </a:lnTo>
                <a:lnTo>
                  <a:pt x="3585" y="51603"/>
                </a:lnTo>
                <a:lnTo>
                  <a:pt x="3396" y="51226"/>
                </a:lnTo>
                <a:lnTo>
                  <a:pt x="3208" y="50848"/>
                </a:lnTo>
                <a:lnTo>
                  <a:pt x="3208" y="50471"/>
                </a:lnTo>
                <a:lnTo>
                  <a:pt x="3208" y="50094"/>
                </a:lnTo>
                <a:lnTo>
                  <a:pt x="3585" y="50754"/>
                </a:lnTo>
                <a:lnTo>
                  <a:pt x="3868" y="51509"/>
                </a:lnTo>
                <a:lnTo>
                  <a:pt x="3868" y="51509"/>
                </a:lnTo>
                <a:lnTo>
                  <a:pt x="3208" y="49528"/>
                </a:lnTo>
                <a:lnTo>
                  <a:pt x="3208" y="49528"/>
                </a:lnTo>
                <a:lnTo>
                  <a:pt x="3868" y="50754"/>
                </a:lnTo>
                <a:lnTo>
                  <a:pt x="3208" y="48962"/>
                </a:lnTo>
                <a:lnTo>
                  <a:pt x="3585" y="49339"/>
                </a:lnTo>
                <a:lnTo>
                  <a:pt x="3774" y="49433"/>
                </a:lnTo>
                <a:lnTo>
                  <a:pt x="3962" y="49528"/>
                </a:lnTo>
                <a:lnTo>
                  <a:pt x="4057" y="49905"/>
                </a:lnTo>
                <a:lnTo>
                  <a:pt x="3868" y="48962"/>
                </a:lnTo>
                <a:lnTo>
                  <a:pt x="3491" y="47924"/>
                </a:lnTo>
                <a:lnTo>
                  <a:pt x="2641" y="45565"/>
                </a:lnTo>
                <a:lnTo>
                  <a:pt x="2170" y="43867"/>
                </a:lnTo>
                <a:lnTo>
                  <a:pt x="1698" y="41886"/>
                </a:lnTo>
                <a:lnTo>
                  <a:pt x="1698" y="41886"/>
                </a:lnTo>
                <a:lnTo>
                  <a:pt x="1887" y="42075"/>
                </a:lnTo>
                <a:lnTo>
                  <a:pt x="1981" y="41981"/>
                </a:lnTo>
                <a:lnTo>
                  <a:pt x="2075" y="42075"/>
                </a:lnTo>
                <a:lnTo>
                  <a:pt x="2264" y="42169"/>
                </a:lnTo>
                <a:lnTo>
                  <a:pt x="2170" y="40283"/>
                </a:lnTo>
                <a:lnTo>
                  <a:pt x="2075" y="38301"/>
                </a:lnTo>
                <a:lnTo>
                  <a:pt x="2170" y="36415"/>
                </a:lnTo>
                <a:lnTo>
                  <a:pt x="2358" y="35566"/>
                </a:lnTo>
                <a:lnTo>
                  <a:pt x="2453" y="34811"/>
                </a:lnTo>
                <a:lnTo>
                  <a:pt x="2830" y="32830"/>
                </a:lnTo>
                <a:lnTo>
                  <a:pt x="2830" y="33207"/>
                </a:lnTo>
                <a:lnTo>
                  <a:pt x="2924" y="33490"/>
                </a:lnTo>
                <a:lnTo>
                  <a:pt x="2924" y="32453"/>
                </a:lnTo>
                <a:lnTo>
                  <a:pt x="3019" y="31415"/>
                </a:lnTo>
                <a:lnTo>
                  <a:pt x="3396" y="29245"/>
                </a:lnTo>
                <a:lnTo>
                  <a:pt x="3868" y="27075"/>
                </a:lnTo>
                <a:lnTo>
                  <a:pt x="4623" y="25000"/>
                </a:lnTo>
                <a:lnTo>
                  <a:pt x="5566" y="22830"/>
                </a:lnTo>
                <a:lnTo>
                  <a:pt x="6604" y="20849"/>
                </a:lnTo>
                <a:lnTo>
                  <a:pt x="7830" y="18868"/>
                </a:lnTo>
                <a:lnTo>
                  <a:pt x="9151" y="16887"/>
                </a:lnTo>
                <a:lnTo>
                  <a:pt x="10566" y="15094"/>
                </a:lnTo>
                <a:lnTo>
                  <a:pt x="12075" y="13302"/>
                </a:lnTo>
                <a:lnTo>
                  <a:pt x="13773" y="11698"/>
                </a:lnTo>
                <a:lnTo>
                  <a:pt x="15377" y="10095"/>
                </a:lnTo>
                <a:lnTo>
                  <a:pt x="17170" y="8679"/>
                </a:lnTo>
                <a:lnTo>
                  <a:pt x="18962" y="7453"/>
                </a:lnTo>
                <a:lnTo>
                  <a:pt x="20754" y="6321"/>
                </a:lnTo>
                <a:lnTo>
                  <a:pt x="22547" y="5378"/>
                </a:lnTo>
                <a:lnTo>
                  <a:pt x="21603" y="6227"/>
                </a:lnTo>
                <a:lnTo>
                  <a:pt x="22641" y="5472"/>
                </a:lnTo>
                <a:lnTo>
                  <a:pt x="23302" y="5095"/>
                </a:lnTo>
                <a:lnTo>
                  <a:pt x="25377" y="4151"/>
                </a:lnTo>
                <a:lnTo>
                  <a:pt x="24811" y="4151"/>
                </a:lnTo>
                <a:lnTo>
                  <a:pt x="25660" y="3774"/>
                </a:lnTo>
                <a:lnTo>
                  <a:pt x="26886" y="3208"/>
                </a:lnTo>
                <a:lnTo>
                  <a:pt x="26603" y="3585"/>
                </a:lnTo>
                <a:lnTo>
                  <a:pt x="26886" y="3585"/>
                </a:lnTo>
                <a:lnTo>
                  <a:pt x="26886" y="3680"/>
                </a:lnTo>
                <a:lnTo>
                  <a:pt x="26792" y="3774"/>
                </a:lnTo>
                <a:lnTo>
                  <a:pt x="28301" y="3302"/>
                </a:lnTo>
                <a:lnTo>
                  <a:pt x="29622" y="2736"/>
                </a:lnTo>
                <a:lnTo>
                  <a:pt x="31037" y="2264"/>
                </a:lnTo>
                <a:lnTo>
                  <a:pt x="31792" y="2076"/>
                </a:lnTo>
                <a:lnTo>
                  <a:pt x="32641" y="1981"/>
                </a:lnTo>
                <a:lnTo>
                  <a:pt x="32547" y="2076"/>
                </a:lnTo>
                <a:lnTo>
                  <a:pt x="32924" y="1981"/>
                </a:lnTo>
                <a:lnTo>
                  <a:pt x="34245" y="1793"/>
                </a:lnTo>
                <a:lnTo>
                  <a:pt x="35848" y="1415"/>
                </a:lnTo>
                <a:lnTo>
                  <a:pt x="36981" y="1132"/>
                </a:lnTo>
                <a:lnTo>
                  <a:pt x="36981" y="1415"/>
                </a:lnTo>
                <a:lnTo>
                  <a:pt x="40943" y="1227"/>
                </a:lnTo>
                <a:lnTo>
                  <a:pt x="41509" y="1038"/>
                </a:lnTo>
                <a:lnTo>
                  <a:pt x="41697" y="1132"/>
                </a:lnTo>
                <a:lnTo>
                  <a:pt x="41509" y="1227"/>
                </a:lnTo>
                <a:lnTo>
                  <a:pt x="41320" y="1321"/>
                </a:lnTo>
                <a:lnTo>
                  <a:pt x="42263" y="1321"/>
                </a:lnTo>
                <a:lnTo>
                  <a:pt x="43113" y="1227"/>
                </a:lnTo>
                <a:lnTo>
                  <a:pt x="43396" y="1415"/>
                </a:lnTo>
                <a:lnTo>
                  <a:pt x="44056" y="1604"/>
                </a:lnTo>
                <a:lnTo>
                  <a:pt x="45943" y="2076"/>
                </a:lnTo>
                <a:lnTo>
                  <a:pt x="48018" y="2359"/>
                </a:lnTo>
                <a:lnTo>
                  <a:pt x="49622" y="2736"/>
                </a:lnTo>
                <a:lnTo>
                  <a:pt x="47641" y="1981"/>
                </a:lnTo>
                <a:lnTo>
                  <a:pt x="45282" y="1321"/>
                </a:lnTo>
                <a:lnTo>
                  <a:pt x="42735" y="755"/>
                </a:lnTo>
                <a:lnTo>
                  <a:pt x="40188" y="283"/>
                </a:lnTo>
                <a:lnTo>
                  <a:pt x="37735" y="95"/>
                </a:lnTo>
                <a:lnTo>
                  <a:pt x="35471" y="0"/>
                </a:lnTo>
                <a:close/>
              </a:path>
            </a:pathLst>
          </a:custGeom>
          <a:solidFill>
            <a:schemeClr val="bg1">
              <a:lumMod val="50000"/>
            </a:schemeClr>
          </a:solidFill>
          <a:ln>
            <a:noFill/>
          </a:ln>
        </p:spPr>
        <p:txBody>
          <a:bodyPr spcFirstLastPara="1" wrap="square" lIns="91425" tIns="91425" rIns="91425" bIns="91425" anchor="ctr" anchorCtr="0">
            <a:noAutofit/>
          </a:bodyPr>
          <a:lstStyle/>
          <a:p>
            <a:pPr marL="0" lvl="0" indent="0">
              <a:spcBef>
                <a:spcPts val="0"/>
              </a:spcBef>
              <a:spcAft>
                <a:spcPts val="0"/>
              </a:spcAft>
              <a:buNone/>
            </a:pPr>
            <a:endParaRPr sz="1200" dirty="0">
              <a:latin typeface="Comic Sans MS" panose="030F0902030302020204" pitchFamily="66" charset="0"/>
            </a:endParaRPr>
          </a:p>
        </p:txBody>
      </p:sp>
      <p:sp>
        <p:nvSpPr>
          <p:cNvPr id="134" name="Google Shape;431;p39">
            <a:extLst>
              <a:ext uri="{FF2B5EF4-FFF2-40B4-BE49-F238E27FC236}">
                <a16:creationId xmlns:a16="http://schemas.microsoft.com/office/drawing/2014/main" id="{931A82F0-BA7E-D84E-826C-DB8424A634AB}"/>
              </a:ext>
            </a:extLst>
          </p:cNvPr>
          <p:cNvSpPr/>
          <p:nvPr/>
        </p:nvSpPr>
        <p:spPr>
          <a:xfrm rot="21011211">
            <a:off x="6363959" y="4319931"/>
            <a:ext cx="1075715" cy="1099223"/>
          </a:xfrm>
          <a:custGeom>
            <a:avLst/>
            <a:gdLst/>
            <a:ahLst/>
            <a:cxnLst/>
            <a:rect l="0" t="0" r="0" b="0"/>
            <a:pathLst>
              <a:path w="67641" h="69056" extrusionOk="0">
                <a:moveTo>
                  <a:pt x="49622" y="2736"/>
                </a:moveTo>
                <a:lnTo>
                  <a:pt x="49622" y="2736"/>
                </a:lnTo>
                <a:lnTo>
                  <a:pt x="49622" y="2736"/>
                </a:lnTo>
                <a:close/>
                <a:moveTo>
                  <a:pt x="59622" y="55565"/>
                </a:moveTo>
                <a:lnTo>
                  <a:pt x="59622" y="55565"/>
                </a:lnTo>
                <a:lnTo>
                  <a:pt x="59622" y="55565"/>
                </a:lnTo>
                <a:close/>
                <a:moveTo>
                  <a:pt x="35471" y="0"/>
                </a:moveTo>
                <a:lnTo>
                  <a:pt x="34433" y="95"/>
                </a:lnTo>
                <a:lnTo>
                  <a:pt x="33584" y="189"/>
                </a:lnTo>
                <a:lnTo>
                  <a:pt x="32735" y="378"/>
                </a:lnTo>
                <a:lnTo>
                  <a:pt x="32169" y="566"/>
                </a:lnTo>
                <a:lnTo>
                  <a:pt x="31509" y="472"/>
                </a:lnTo>
                <a:lnTo>
                  <a:pt x="30754" y="472"/>
                </a:lnTo>
                <a:lnTo>
                  <a:pt x="29339" y="566"/>
                </a:lnTo>
                <a:lnTo>
                  <a:pt x="27830" y="849"/>
                </a:lnTo>
                <a:lnTo>
                  <a:pt x="26320" y="1321"/>
                </a:lnTo>
                <a:lnTo>
                  <a:pt x="24811" y="1981"/>
                </a:lnTo>
                <a:lnTo>
                  <a:pt x="23207" y="2736"/>
                </a:lnTo>
                <a:lnTo>
                  <a:pt x="21698" y="3585"/>
                </a:lnTo>
                <a:lnTo>
                  <a:pt x="20188" y="4623"/>
                </a:lnTo>
                <a:lnTo>
                  <a:pt x="18679" y="5661"/>
                </a:lnTo>
                <a:lnTo>
                  <a:pt x="17170" y="6793"/>
                </a:lnTo>
                <a:lnTo>
                  <a:pt x="15754" y="8019"/>
                </a:lnTo>
                <a:lnTo>
                  <a:pt x="14434" y="9151"/>
                </a:lnTo>
                <a:lnTo>
                  <a:pt x="11981" y="11510"/>
                </a:lnTo>
                <a:lnTo>
                  <a:pt x="10000" y="13774"/>
                </a:lnTo>
                <a:lnTo>
                  <a:pt x="7736" y="16981"/>
                </a:lnTo>
                <a:lnTo>
                  <a:pt x="8019" y="16321"/>
                </a:lnTo>
                <a:lnTo>
                  <a:pt x="8302" y="15660"/>
                </a:lnTo>
                <a:lnTo>
                  <a:pt x="7736" y="16604"/>
                </a:lnTo>
                <a:lnTo>
                  <a:pt x="7075" y="17642"/>
                </a:lnTo>
                <a:lnTo>
                  <a:pt x="7170" y="17830"/>
                </a:lnTo>
                <a:lnTo>
                  <a:pt x="6509" y="18868"/>
                </a:lnTo>
                <a:lnTo>
                  <a:pt x="7075" y="17359"/>
                </a:lnTo>
                <a:lnTo>
                  <a:pt x="6132" y="19057"/>
                </a:lnTo>
                <a:lnTo>
                  <a:pt x="5189" y="20849"/>
                </a:lnTo>
                <a:lnTo>
                  <a:pt x="4434" y="22736"/>
                </a:lnTo>
                <a:lnTo>
                  <a:pt x="3679" y="24622"/>
                </a:lnTo>
                <a:lnTo>
                  <a:pt x="2453" y="28490"/>
                </a:lnTo>
                <a:lnTo>
                  <a:pt x="1321" y="32169"/>
                </a:lnTo>
                <a:lnTo>
                  <a:pt x="1509" y="32264"/>
                </a:lnTo>
                <a:lnTo>
                  <a:pt x="1604" y="32453"/>
                </a:lnTo>
                <a:lnTo>
                  <a:pt x="1604" y="32641"/>
                </a:lnTo>
                <a:lnTo>
                  <a:pt x="1509" y="32924"/>
                </a:lnTo>
                <a:lnTo>
                  <a:pt x="1226" y="33396"/>
                </a:lnTo>
                <a:lnTo>
                  <a:pt x="1038" y="33585"/>
                </a:lnTo>
                <a:lnTo>
                  <a:pt x="1038" y="33773"/>
                </a:lnTo>
                <a:lnTo>
                  <a:pt x="1038" y="35000"/>
                </a:lnTo>
                <a:lnTo>
                  <a:pt x="849" y="36132"/>
                </a:lnTo>
                <a:lnTo>
                  <a:pt x="660" y="37358"/>
                </a:lnTo>
                <a:lnTo>
                  <a:pt x="472" y="38867"/>
                </a:lnTo>
                <a:lnTo>
                  <a:pt x="283" y="38301"/>
                </a:lnTo>
                <a:lnTo>
                  <a:pt x="94" y="39811"/>
                </a:lnTo>
                <a:lnTo>
                  <a:pt x="0" y="41509"/>
                </a:lnTo>
                <a:lnTo>
                  <a:pt x="94" y="43301"/>
                </a:lnTo>
                <a:lnTo>
                  <a:pt x="283" y="44056"/>
                </a:lnTo>
                <a:lnTo>
                  <a:pt x="472" y="44622"/>
                </a:lnTo>
                <a:lnTo>
                  <a:pt x="566" y="45660"/>
                </a:lnTo>
                <a:lnTo>
                  <a:pt x="755" y="46792"/>
                </a:lnTo>
                <a:lnTo>
                  <a:pt x="1226" y="48962"/>
                </a:lnTo>
                <a:lnTo>
                  <a:pt x="1981" y="51037"/>
                </a:lnTo>
                <a:lnTo>
                  <a:pt x="2924" y="53112"/>
                </a:lnTo>
                <a:lnTo>
                  <a:pt x="4057" y="55094"/>
                </a:lnTo>
                <a:lnTo>
                  <a:pt x="5283" y="56980"/>
                </a:lnTo>
                <a:lnTo>
                  <a:pt x="6698" y="58678"/>
                </a:lnTo>
                <a:lnTo>
                  <a:pt x="8113" y="60282"/>
                </a:lnTo>
                <a:lnTo>
                  <a:pt x="9056" y="61131"/>
                </a:lnTo>
                <a:lnTo>
                  <a:pt x="10000" y="61980"/>
                </a:lnTo>
                <a:lnTo>
                  <a:pt x="11038" y="62829"/>
                </a:lnTo>
                <a:lnTo>
                  <a:pt x="12075" y="63584"/>
                </a:lnTo>
                <a:lnTo>
                  <a:pt x="14339" y="64905"/>
                </a:lnTo>
                <a:lnTo>
                  <a:pt x="16604" y="66131"/>
                </a:lnTo>
                <a:lnTo>
                  <a:pt x="19056" y="67169"/>
                </a:lnTo>
                <a:lnTo>
                  <a:pt x="21509" y="67923"/>
                </a:lnTo>
                <a:lnTo>
                  <a:pt x="24056" y="68584"/>
                </a:lnTo>
                <a:lnTo>
                  <a:pt x="26603" y="69055"/>
                </a:lnTo>
                <a:lnTo>
                  <a:pt x="27830" y="69055"/>
                </a:lnTo>
                <a:lnTo>
                  <a:pt x="30188" y="68867"/>
                </a:lnTo>
                <a:lnTo>
                  <a:pt x="33113" y="68678"/>
                </a:lnTo>
                <a:lnTo>
                  <a:pt x="36509" y="68301"/>
                </a:lnTo>
                <a:lnTo>
                  <a:pt x="39811" y="67923"/>
                </a:lnTo>
                <a:lnTo>
                  <a:pt x="42735" y="67452"/>
                </a:lnTo>
                <a:lnTo>
                  <a:pt x="44905" y="66980"/>
                </a:lnTo>
                <a:lnTo>
                  <a:pt x="45565" y="66791"/>
                </a:lnTo>
                <a:lnTo>
                  <a:pt x="45943" y="66508"/>
                </a:lnTo>
                <a:lnTo>
                  <a:pt x="47358" y="65942"/>
                </a:lnTo>
                <a:lnTo>
                  <a:pt x="48018" y="65565"/>
                </a:lnTo>
                <a:lnTo>
                  <a:pt x="48678" y="65188"/>
                </a:lnTo>
                <a:lnTo>
                  <a:pt x="47924" y="65471"/>
                </a:lnTo>
                <a:lnTo>
                  <a:pt x="51509" y="62924"/>
                </a:lnTo>
                <a:lnTo>
                  <a:pt x="53301" y="61508"/>
                </a:lnTo>
                <a:lnTo>
                  <a:pt x="55093" y="59905"/>
                </a:lnTo>
                <a:lnTo>
                  <a:pt x="55093" y="59905"/>
                </a:lnTo>
                <a:lnTo>
                  <a:pt x="54810" y="60376"/>
                </a:lnTo>
                <a:lnTo>
                  <a:pt x="54339" y="60754"/>
                </a:lnTo>
                <a:lnTo>
                  <a:pt x="55376" y="59999"/>
                </a:lnTo>
                <a:lnTo>
                  <a:pt x="56320" y="59056"/>
                </a:lnTo>
                <a:lnTo>
                  <a:pt x="57075" y="58395"/>
                </a:lnTo>
                <a:lnTo>
                  <a:pt x="57169" y="58207"/>
                </a:lnTo>
                <a:lnTo>
                  <a:pt x="57075" y="58207"/>
                </a:lnTo>
                <a:lnTo>
                  <a:pt x="57924" y="57546"/>
                </a:lnTo>
                <a:lnTo>
                  <a:pt x="58678" y="56697"/>
                </a:lnTo>
                <a:lnTo>
                  <a:pt x="59339" y="55754"/>
                </a:lnTo>
                <a:lnTo>
                  <a:pt x="59905" y="54905"/>
                </a:lnTo>
                <a:lnTo>
                  <a:pt x="59716" y="54999"/>
                </a:lnTo>
                <a:lnTo>
                  <a:pt x="59622" y="54999"/>
                </a:lnTo>
                <a:lnTo>
                  <a:pt x="59810" y="54622"/>
                </a:lnTo>
                <a:lnTo>
                  <a:pt x="59150" y="55565"/>
                </a:lnTo>
                <a:lnTo>
                  <a:pt x="59527" y="55094"/>
                </a:lnTo>
                <a:lnTo>
                  <a:pt x="59433" y="55377"/>
                </a:lnTo>
                <a:lnTo>
                  <a:pt x="58867" y="56037"/>
                </a:lnTo>
                <a:lnTo>
                  <a:pt x="59056" y="55660"/>
                </a:lnTo>
                <a:lnTo>
                  <a:pt x="59056" y="55660"/>
                </a:lnTo>
                <a:lnTo>
                  <a:pt x="58678" y="56037"/>
                </a:lnTo>
                <a:lnTo>
                  <a:pt x="59810" y="54339"/>
                </a:lnTo>
                <a:lnTo>
                  <a:pt x="60282" y="53490"/>
                </a:lnTo>
                <a:lnTo>
                  <a:pt x="60282" y="53301"/>
                </a:lnTo>
                <a:lnTo>
                  <a:pt x="60188" y="53395"/>
                </a:lnTo>
                <a:lnTo>
                  <a:pt x="60188" y="53395"/>
                </a:lnTo>
                <a:lnTo>
                  <a:pt x="60565" y="52924"/>
                </a:lnTo>
                <a:lnTo>
                  <a:pt x="61037" y="52452"/>
                </a:lnTo>
                <a:lnTo>
                  <a:pt x="61886" y="51509"/>
                </a:lnTo>
                <a:lnTo>
                  <a:pt x="61508" y="52452"/>
                </a:lnTo>
                <a:lnTo>
                  <a:pt x="60848" y="53584"/>
                </a:lnTo>
                <a:lnTo>
                  <a:pt x="59622" y="55565"/>
                </a:lnTo>
                <a:lnTo>
                  <a:pt x="60376" y="54528"/>
                </a:lnTo>
                <a:lnTo>
                  <a:pt x="60942" y="53678"/>
                </a:lnTo>
                <a:lnTo>
                  <a:pt x="61980" y="51792"/>
                </a:lnTo>
                <a:lnTo>
                  <a:pt x="61886" y="51886"/>
                </a:lnTo>
                <a:lnTo>
                  <a:pt x="61886" y="51697"/>
                </a:lnTo>
                <a:lnTo>
                  <a:pt x="62169" y="51037"/>
                </a:lnTo>
                <a:lnTo>
                  <a:pt x="62735" y="49999"/>
                </a:lnTo>
                <a:lnTo>
                  <a:pt x="61508" y="51603"/>
                </a:lnTo>
                <a:lnTo>
                  <a:pt x="61603" y="51037"/>
                </a:lnTo>
                <a:lnTo>
                  <a:pt x="61697" y="50377"/>
                </a:lnTo>
                <a:lnTo>
                  <a:pt x="62169" y="48962"/>
                </a:lnTo>
                <a:lnTo>
                  <a:pt x="62829" y="47358"/>
                </a:lnTo>
                <a:lnTo>
                  <a:pt x="63678" y="45565"/>
                </a:lnTo>
                <a:lnTo>
                  <a:pt x="65376" y="42169"/>
                </a:lnTo>
                <a:lnTo>
                  <a:pt x="66131" y="40660"/>
                </a:lnTo>
                <a:lnTo>
                  <a:pt x="66697" y="39339"/>
                </a:lnTo>
                <a:lnTo>
                  <a:pt x="66603" y="39528"/>
                </a:lnTo>
                <a:lnTo>
                  <a:pt x="66697" y="39056"/>
                </a:lnTo>
                <a:lnTo>
                  <a:pt x="66791" y="38962"/>
                </a:lnTo>
                <a:lnTo>
                  <a:pt x="66791" y="39056"/>
                </a:lnTo>
                <a:lnTo>
                  <a:pt x="66886" y="38584"/>
                </a:lnTo>
                <a:lnTo>
                  <a:pt x="66791" y="38867"/>
                </a:lnTo>
                <a:lnTo>
                  <a:pt x="66980" y="38207"/>
                </a:lnTo>
                <a:lnTo>
                  <a:pt x="67169" y="37264"/>
                </a:lnTo>
                <a:lnTo>
                  <a:pt x="67263" y="36415"/>
                </a:lnTo>
                <a:lnTo>
                  <a:pt x="67357" y="36509"/>
                </a:lnTo>
                <a:lnTo>
                  <a:pt x="67452" y="36509"/>
                </a:lnTo>
                <a:lnTo>
                  <a:pt x="67546" y="35943"/>
                </a:lnTo>
                <a:lnTo>
                  <a:pt x="67546" y="34811"/>
                </a:lnTo>
                <a:lnTo>
                  <a:pt x="67640" y="31037"/>
                </a:lnTo>
                <a:lnTo>
                  <a:pt x="67640" y="28490"/>
                </a:lnTo>
                <a:lnTo>
                  <a:pt x="67546" y="27736"/>
                </a:lnTo>
                <a:lnTo>
                  <a:pt x="67546" y="27547"/>
                </a:lnTo>
                <a:lnTo>
                  <a:pt x="67452" y="27547"/>
                </a:lnTo>
                <a:lnTo>
                  <a:pt x="67074" y="26792"/>
                </a:lnTo>
                <a:lnTo>
                  <a:pt x="66791" y="25660"/>
                </a:lnTo>
                <a:lnTo>
                  <a:pt x="66508" y="24528"/>
                </a:lnTo>
                <a:lnTo>
                  <a:pt x="66414" y="23585"/>
                </a:lnTo>
                <a:lnTo>
                  <a:pt x="66320" y="23679"/>
                </a:lnTo>
                <a:lnTo>
                  <a:pt x="66320" y="23490"/>
                </a:lnTo>
                <a:lnTo>
                  <a:pt x="65942" y="22924"/>
                </a:lnTo>
                <a:lnTo>
                  <a:pt x="65565" y="22358"/>
                </a:lnTo>
                <a:lnTo>
                  <a:pt x="64527" y="21132"/>
                </a:lnTo>
                <a:lnTo>
                  <a:pt x="63584" y="19906"/>
                </a:lnTo>
                <a:lnTo>
                  <a:pt x="63207" y="19340"/>
                </a:lnTo>
                <a:lnTo>
                  <a:pt x="63018" y="18774"/>
                </a:lnTo>
                <a:lnTo>
                  <a:pt x="63112" y="18962"/>
                </a:lnTo>
                <a:lnTo>
                  <a:pt x="63301" y="19057"/>
                </a:lnTo>
                <a:lnTo>
                  <a:pt x="63301" y="19057"/>
                </a:lnTo>
                <a:lnTo>
                  <a:pt x="63207" y="18868"/>
                </a:lnTo>
                <a:lnTo>
                  <a:pt x="62923" y="18491"/>
                </a:lnTo>
                <a:lnTo>
                  <a:pt x="61980" y="17453"/>
                </a:lnTo>
                <a:lnTo>
                  <a:pt x="61037" y="16509"/>
                </a:lnTo>
                <a:lnTo>
                  <a:pt x="61037" y="16698"/>
                </a:lnTo>
                <a:lnTo>
                  <a:pt x="61037" y="16887"/>
                </a:lnTo>
                <a:lnTo>
                  <a:pt x="60093" y="15943"/>
                </a:lnTo>
                <a:lnTo>
                  <a:pt x="60376" y="16321"/>
                </a:lnTo>
                <a:lnTo>
                  <a:pt x="59527" y="15377"/>
                </a:lnTo>
                <a:lnTo>
                  <a:pt x="59056" y="14906"/>
                </a:lnTo>
                <a:lnTo>
                  <a:pt x="59244" y="14906"/>
                </a:lnTo>
                <a:lnTo>
                  <a:pt x="59905" y="15472"/>
                </a:lnTo>
                <a:lnTo>
                  <a:pt x="59905" y="15472"/>
                </a:lnTo>
                <a:lnTo>
                  <a:pt x="57641" y="13396"/>
                </a:lnTo>
                <a:lnTo>
                  <a:pt x="58112" y="13868"/>
                </a:lnTo>
                <a:lnTo>
                  <a:pt x="56886" y="13019"/>
                </a:lnTo>
                <a:lnTo>
                  <a:pt x="55754" y="12453"/>
                </a:lnTo>
                <a:lnTo>
                  <a:pt x="56603" y="13113"/>
                </a:lnTo>
                <a:lnTo>
                  <a:pt x="57452" y="13774"/>
                </a:lnTo>
                <a:lnTo>
                  <a:pt x="58961" y="15283"/>
                </a:lnTo>
                <a:lnTo>
                  <a:pt x="60376" y="16604"/>
                </a:lnTo>
                <a:lnTo>
                  <a:pt x="61225" y="17264"/>
                </a:lnTo>
                <a:lnTo>
                  <a:pt x="62074" y="17925"/>
                </a:lnTo>
                <a:lnTo>
                  <a:pt x="62074" y="17925"/>
                </a:lnTo>
                <a:lnTo>
                  <a:pt x="61414" y="17547"/>
                </a:lnTo>
                <a:lnTo>
                  <a:pt x="60659" y="16981"/>
                </a:lnTo>
                <a:lnTo>
                  <a:pt x="60754" y="17264"/>
                </a:lnTo>
                <a:lnTo>
                  <a:pt x="60942" y="17642"/>
                </a:lnTo>
                <a:lnTo>
                  <a:pt x="61980" y="19151"/>
                </a:lnTo>
                <a:lnTo>
                  <a:pt x="63301" y="20943"/>
                </a:lnTo>
                <a:lnTo>
                  <a:pt x="63207" y="20943"/>
                </a:lnTo>
                <a:lnTo>
                  <a:pt x="63395" y="21038"/>
                </a:lnTo>
                <a:lnTo>
                  <a:pt x="63490" y="21321"/>
                </a:lnTo>
                <a:lnTo>
                  <a:pt x="63678" y="21604"/>
                </a:lnTo>
                <a:lnTo>
                  <a:pt x="63773" y="21698"/>
                </a:lnTo>
                <a:lnTo>
                  <a:pt x="63584" y="21321"/>
                </a:lnTo>
                <a:lnTo>
                  <a:pt x="63584" y="21321"/>
                </a:lnTo>
                <a:lnTo>
                  <a:pt x="64244" y="22170"/>
                </a:lnTo>
                <a:lnTo>
                  <a:pt x="64716" y="22641"/>
                </a:lnTo>
                <a:lnTo>
                  <a:pt x="64905" y="22830"/>
                </a:lnTo>
                <a:lnTo>
                  <a:pt x="64999" y="22830"/>
                </a:lnTo>
                <a:lnTo>
                  <a:pt x="64999" y="22641"/>
                </a:lnTo>
                <a:lnTo>
                  <a:pt x="64905" y="22358"/>
                </a:lnTo>
                <a:lnTo>
                  <a:pt x="65282" y="23207"/>
                </a:lnTo>
                <a:lnTo>
                  <a:pt x="65565" y="24056"/>
                </a:lnTo>
                <a:lnTo>
                  <a:pt x="66225" y="25943"/>
                </a:lnTo>
                <a:lnTo>
                  <a:pt x="66697" y="27830"/>
                </a:lnTo>
                <a:lnTo>
                  <a:pt x="66886" y="28490"/>
                </a:lnTo>
                <a:lnTo>
                  <a:pt x="66980" y="28868"/>
                </a:lnTo>
                <a:lnTo>
                  <a:pt x="66886" y="28962"/>
                </a:lnTo>
                <a:lnTo>
                  <a:pt x="66697" y="28679"/>
                </a:lnTo>
                <a:lnTo>
                  <a:pt x="66697" y="29245"/>
                </a:lnTo>
                <a:lnTo>
                  <a:pt x="66791" y="29905"/>
                </a:lnTo>
                <a:lnTo>
                  <a:pt x="66886" y="29905"/>
                </a:lnTo>
                <a:lnTo>
                  <a:pt x="66886" y="30094"/>
                </a:lnTo>
                <a:lnTo>
                  <a:pt x="66886" y="30566"/>
                </a:lnTo>
                <a:lnTo>
                  <a:pt x="66697" y="30377"/>
                </a:lnTo>
                <a:lnTo>
                  <a:pt x="66603" y="30188"/>
                </a:lnTo>
                <a:lnTo>
                  <a:pt x="66603" y="30094"/>
                </a:lnTo>
                <a:lnTo>
                  <a:pt x="66697" y="29905"/>
                </a:lnTo>
                <a:lnTo>
                  <a:pt x="66508" y="28679"/>
                </a:lnTo>
                <a:lnTo>
                  <a:pt x="66225" y="27358"/>
                </a:lnTo>
                <a:lnTo>
                  <a:pt x="66603" y="30283"/>
                </a:lnTo>
                <a:lnTo>
                  <a:pt x="66697" y="31792"/>
                </a:lnTo>
                <a:lnTo>
                  <a:pt x="66697" y="33302"/>
                </a:lnTo>
                <a:lnTo>
                  <a:pt x="66603" y="34717"/>
                </a:lnTo>
                <a:lnTo>
                  <a:pt x="66414" y="36226"/>
                </a:lnTo>
                <a:lnTo>
                  <a:pt x="66131" y="37547"/>
                </a:lnTo>
                <a:lnTo>
                  <a:pt x="65659" y="38962"/>
                </a:lnTo>
                <a:lnTo>
                  <a:pt x="65848" y="38584"/>
                </a:lnTo>
                <a:lnTo>
                  <a:pt x="65942" y="38584"/>
                </a:lnTo>
                <a:lnTo>
                  <a:pt x="65848" y="39245"/>
                </a:lnTo>
                <a:lnTo>
                  <a:pt x="65565" y="40188"/>
                </a:lnTo>
                <a:lnTo>
                  <a:pt x="65471" y="40471"/>
                </a:lnTo>
                <a:lnTo>
                  <a:pt x="65282" y="40660"/>
                </a:lnTo>
                <a:lnTo>
                  <a:pt x="65282" y="40566"/>
                </a:lnTo>
                <a:lnTo>
                  <a:pt x="65093" y="41132"/>
                </a:lnTo>
                <a:lnTo>
                  <a:pt x="64433" y="43018"/>
                </a:lnTo>
                <a:lnTo>
                  <a:pt x="63678" y="45282"/>
                </a:lnTo>
                <a:lnTo>
                  <a:pt x="62735" y="47264"/>
                </a:lnTo>
                <a:lnTo>
                  <a:pt x="61697" y="49056"/>
                </a:lnTo>
                <a:lnTo>
                  <a:pt x="60659" y="50943"/>
                </a:lnTo>
                <a:lnTo>
                  <a:pt x="59433" y="52735"/>
                </a:lnTo>
                <a:lnTo>
                  <a:pt x="58207" y="54433"/>
                </a:lnTo>
                <a:lnTo>
                  <a:pt x="56886" y="56037"/>
                </a:lnTo>
                <a:lnTo>
                  <a:pt x="55376" y="57641"/>
                </a:lnTo>
                <a:lnTo>
                  <a:pt x="53867" y="59150"/>
                </a:lnTo>
                <a:lnTo>
                  <a:pt x="52169" y="60376"/>
                </a:lnTo>
                <a:lnTo>
                  <a:pt x="48961" y="62452"/>
                </a:lnTo>
                <a:lnTo>
                  <a:pt x="44528" y="65282"/>
                </a:lnTo>
                <a:lnTo>
                  <a:pt x="44622" y="65188"/>
                </a:lnTo>
                <a:lnTo>
                  <a:pt x="44716" y="65093"/>
                </a:lnTo>
                <a:lnTo>
                  <a:pt x="45094" y="64810"/>
                </a:lnTo>
                <a:lnTo>
                  <a:pt x="45660" y="64527"/>
                </a:lnTo>
                <a:lnTo>
                  <a:pt x="43867" y="65376"/>
                </a:lnTo>
                <a:lnTo>
                  <a:pt x="43113" y="65754"/>
                </a:lnTo>
                <a:lnTo>
                  <a:pt x="42924" y="65754"/>
                </a:lnTo>
                <a:lnTo>
                  <a:pt x="43113" y="65659"/>
                </a:lnTo>
                <a:lnTo>
                  <a:pt x="41603" y="66037"/>
                </a:lnTo>
                <a:lnTo>
                  <a:pt x="39999" y="66320"/>
                </a:lnTo>
                <a:lnTo>
                  <a:pt x="38396" y="66508"/>
                </a:lnTo>
                <a:lnTo>
                  <a:pt x="36792" y="66697"/>
                </a:lnTo>
                <a:lnTo>
                  <a:pt x="33584" y="66980"/>
                </a:lnTo>
                <a:lnTo>
                  <a:pt x="32169" y="67169"/>
                </a:lnTo>
                <a:lnTo>
                  <a:pt x="30754" y="67357"/>
                </a:lnTo>
                <a:lnTo>
                  <a:pt x="30094" y="67357"/>
                </a:lnTo>
                <a:lnTo>
                  <a:pt x="29339" y="67263"/>
                </a:lnTo>
                <a:lnTo>
                  <a:pt x="27830" y="66886"/>
                </a:lnTo>
                <a:lnTo>
                  <a:pt x="26415" y="66508"/>
                </a:lnTo>
                <a:lnTo>
                  <a:pt x="25754" y="66414"/>
                </a:lnTo>
                <a:lnTo>
                  <a:pt x="25094" y="66414"/>
                </a:lnTo>
                <a:lnTo>
                  <a:pt x="25566" y="66980"/>
                </a:lnTo>
                <a:lnTo>
                  <a:pt x="25471" y="67074"/>
                </a:lnTo>
                <a:lnTo>
                  <a:pt x="25188" y="66980"/>
                </a:lnTo>
                <a:lnTo>
                  <a:pt x="24339" y="66791"/>
                </a:lnTo>
                <a:lnTo>
                  <a:pt x="23773" y="66508"/>
                </a:lnTo>
                <a:lnTo>
                  <a:pt x="24245" y="66414"/>
                </a:lnTo>
                <a:lnTo>
                  <a:pt x="24717" y="66603"/>
                </a:lnTo>
                <a:lnTo>
                  <a:pt x="24811" y="66414"/>
                </a:lnTo>
                <a:lnTo>
                  <a:pt x="24811" y="66320"/>
                </a:lnTo>
                <a:lnTo>
                  <a:pt x="24717" y="66225"/>
                </a:lnTo>
                <a:lnTo>
                  <a:pt x="24528" y="66131"/>
                </a:lnTo>
                <a:lnTo>
                  <a:pt x="24151" y="66225"/>
                </a:lnTo>
                <a:lnTo>
                  <a:pt x="23679" y="66320"/>
                </a:lnTo>
                <a:lnTo>
                  <a:pt x="23018" y="66414"/>
                </a:lnTo>
                <a:lnTo>
                  <a:pt x="23490" y="66225"/>
                </a:lnTo>
                <a:lnTo>
                  <a:pt x="22075" y="65942"/>
                </a:lnTo>
                <a:lnTo>
                  <a:pt x="20943" y="65659"/>
                </a:lnTo>
                <a:lnTo>
                  <a:pt x="20000" y="65282"/>
                </a:lnTo>
                <a:lnTo>
                  <a:pt x="19056" y="64810"/>
                </a:lnTo>
                <a:lnTo>
                  <a:pt x="19056" y="64810"/>
                </a:lnTo>
                <a:lnTo>
                  <a:pt x="19717" y="64999"/>
                </a:lnTo>
                <a:lnTo>
                  <a:pt x="19151" y="64716"/>
                </a:lnTo>
                <a:lnTo>
                  <a:pt x="18962" y="64810"/>
                </a:lnTo>
                <a:lnTo>
                  <a:pt x="19151" y="64905"/>
                </a:lnTo>
                <a:lnTo>
                  <a:pt x="18490" y="64905"/>
                </a:lnTo>
                <a:lnTo>
                  <a:pt x="17830" y="64716"/>
                </a:lnTo>
                <a:lnTo>
                  <a:pt x="17264" y="64527"/>
                </a:lnTo>
                <a:lnTo>
                  <a:pt x="16698" y="64150"/>
                </a:lnTo>
                <a:lnTo>
                  <a:pt x="16981" y="64056"/>
                </a:lnTo>
                <a:lnTo>
                  <a:pt x="17264" y="64150"/>
                </a:lnTo>
                <a:lnTo>
                  <a:pt x="17264" y="64150"/>
                </a:lnTo>
                <a:lnTo>
                  <a:pt x="15188" y="63207"/>
                </a:lnTo>
                <a:lnTo>
                  <a:pt x="14622" y="62829"/>
                </a:lnTo>
                <a:lnTo>
                  <a:pt x="14717" y="62924"/>
                </a:lnTo>
                <a:lnTo>
                  <a:pt x="13773" y="62546"/>
                </a:lnTo>
                <a:lnTo>
                  <a:pt x="12924" y="62075"/>
                </a:lnTo>
                <a:lnTo>
                  <a:pt x="12358" y="61697"/>
                </a:lnTo>
                <a:lnTo>
                  <a:pt x="12264" y="61508"/>
                </a:lnTo>
                <a:lnTo>
                  <a:pt x="12170" y="61320"/>
                </a:lnTo>
                <a:lnTo>
                  <a:pt x="11698" y="60942"/>
                </a:lnTo>
                <a:lnTo>
                  <a:pt x="11132" y="60471"/>
                </a:lnTo>
                <a:lnTo>
                  <a:pt x="9906" y="59244"/>
                </a:lnTo>
                <a:lnTo>
                  <a:pt x="9906" y="59244"/>
                </a:lnTo>
                <a:lnTo>
                  <a:pt x="10566" y="59527"/>
                </a:lnTo>
                <a:lnTo>
                  <a:pt x="9434" y="58584"/>
                </a:lnTo>
                <a:lnTo>
                  <a:pt x="8207" y="57546"/>
                </a:lnTo>
                <a:lnTo>
                  <a:pt x="7547" y="56886"/>
                </a:lnTo>
                <a:lnTo>
                  <a:pt x="6981" y="56131"/>
                </a:lnTo>
                <a:lnTo>
                  <a:pt x="6226" y="55094"/>
                </a:lnTo>
                <a:lnTo>
                  <a:pt x="6415" y="55377"/>
                </a:lnTo>
                <a:lnTo>
                  <a:pt x="6038" y="54905"/>
                </a:lnTo>
                <a:lnTo>
                  <a:pt x="5472" y="54244"/>
                </a:lnTo>
                <a:lnTo>
                  <a:pt x="5283" y="53961"/>
                </a:lnTo>
                <a:lnTo>
                  <a:pt x="5094" y="53867"/>
                </a:lnTo>
                <a:lnTo>
                  <a:pt x="5377" y="54622"/>
                </a:lnTo>
                <a:lnTo>
                  <a:pt x="5849" y="55282"/>
                </a:lnTo>
                <a:lnTo>
                  <a:pt x="6321" y="55943"/>
                </a:lnTo>
                <a:lnTo>
                  <a:pt x="6698" y="56603"/>
                </a:lnTo>
                <a:lnTo>
                  <a:pt x="6226" y="56226"/>
                </a:lnTo>
                <a:lnTo>
                  <a:pt x="5943" y="55848"/>
                </a:lnTo>
                <a:lnTo>
                  <a:pt x="6038" y="56037"/>
                </a:lnTo>
                <a:lnTo>
                  <a:pt x="5943" y="55943"/>
                </a:lnTo>
                <a:lnTo>
                  <a:pt x="5377" y="55188"/>
                </a:lnTo>
                <a:lnTo>
                  <a:pt x="5000" y="54716"/>
                </a:lnTo>
                <a:lnTo>
                  <a:pt x="4717" y="54150"/>
                </a:lnTo>
                <a:lnTo>
                  <a:pt x="4528" y="53678"/>
                </a:lnTo>
                <a:lnTo>
                  <a:pt x="4528" y="53584"/>
                </a:lnTo>
                <a:lnTo>
                  <a:pt x="4623" y="53395"/>
                </a:lnTo>
                <a:lnTo>
                  <a:pt x="5094" y="54244"/>
                </a:lnTo>
                <a:lnTo>
                  <a:pt x="4717" y="53301"/>
                </a:lnTo>
                <a:lnTo>
                  <a:pt x="4528" y="53018"/>
                </a:lnTo>
                <a:lnTo>
                  <a:pt x="4151" y="52263"/>
                </a:lnTo>
                <a:lnTo>
                  <a:pt x="4151" y="52169"/>
                </a:lnTo>
                <a:lnTo>
                  <a:pt x="3774" y="51509"/>
                </a:lnTo>
                <a:lnTo>
                  <a:pt x="3396" y="50660"/>
                </a:lnTo>
                <a:lnTo>
                  <a:pt x="3585" y="51603"/>
                </a:lnTo>
                <a:lnTo>
                  <a:pt x="3396" y="51226"/>
                </a:lnTo>
                <a:lnTo>
                  <a:pt x="3208" y="50848"/>
                </a:lnTo>
                <a:lnTo>
                  <a:pt x="3208" y="50471"/>
                </a:lnTo>
                <a:lnTo>
                  <a:pt x="3208" y="50094"/>
                </a:lnTo>
                <a:lnTo>
                  <a:pt x="3585" y="50754"/>
                </a:lnTo>
                <a:lnTo>
                  <a:pt x="3868" y="51509"/>
                </a:lnTo>
                <a:lnTo>
                  <a:pt x="3868" y="51509"/>
                </a:lnTo>
                <a:lnTo>
                  <a:pt x="3208" y="49528"/>
                </a:lnTo>
                <a:lnTo>
                  <a:pt x="3208" y="49528"/>
                </a:lnTo>
                <a:lnTo>
                  <a:pt x="3868" y="50754"/>
                </a:lnTo>
                <a:lnTo>
                  <a:pt x="3208" y="48962"/>
                </a:lnTo>
                <a:lnTo>
                  <a:pt x="3585" y="49339"/>
                </a:lnTo>
                <a:lnTo>
                  <a:pt x="3774" y="49433"/>
                </a:lnTo>
                <a:lnTo>
                  <a:pt x="3962" y="49528"/>
                </a:lnTo>
                <a:lnTo>
                  <a:pt x="4057" y="49905"/>
                </a:lnTo>
                <a:lnTo>
                  <a:pt x="3868" y="48962"/>
                </a:lnTo>
                <a:lnTo>
                  <a:pt x="3491" y="47924"/>
                </a:lnTo>
                <a:lnTo>
                  <a:pt x="2641" y="45565"/>
                </a:lnTo>
                <a:lnTo>
                  <a:pt x="2170" y="43867"/>
                </a:lnTo>
                <a:lnTo>
                  <a:pt x="1698" y="41886"/>
                </a:lnTo>
                <a:lnTo>
                  <a:pt x="1698" y="41886"/>
                </a:lnTo>
                <a:lnTo>
                  <a:pt x="1887" y="42075"/>
                </a:lnTo>
                <a:lnTo>
                  <a:pt x="1981" y="41981"/>
                </a:lnTo>
                <a:lnTo>
                  <a:pt x="2075" y="42075"/>
                </a:lnTo>
                <a:lnTo>
                  <a:pt x="2264" y="42169"/>
                </a:lnTo>
                <a:lnTo>
                  <a:pt x="2170" y="40283"/>
                </a:lnTo>
                <a:lnTo>
                  <a:pt x="2075" y="38301"/>
                </a:lnTo>
                <a:lnTo>
                  <a:pt x="2170" y="36415"/>
                </a:lnTo>
                <a:lnTo>
                  <a:pt x="2358" y="35566"/>
                </a:lnTo>
                <a:lnTo>
                  <a:pt x="2453" y="34811"/>
                </a:lnTo>
                <a:lnTo>
                  <a:pt x="2830" y="32830"/>
                </a:lnTo>
                <a:lnTo>
                  <a:pt x="2830" y="33207"/>
                </a:lnTo>
                <a:lnTo>
                  <a:pt x="2924" y="33490"/>
                </a:lnTo>
                <a:lnTo>
                  <a:pt x="2924" y="32453"/>
                </a:lnTo>
                <a:lnTo>
                  <a:pt x="3019" y="31415"/>
                </a:lnTo>
                <a:lnTo>
                  <a:pt x="3396" y="29245"/>
                </a:lnTo>
                <a:lnTo>
                  <a:pt x="3868" y="27075"/>
                </a:lnTo>
                <a:lnTo>
                  <a:pt x="4623" y="25000"/>
                </a:lnTo>
                <a:lnTo>
                  <a:pt x="5566" y="22830"/>
                </a:lnTo>
                <a:lnTo>
                  <a:pt x="6604" y="20849"/>
                </a:lnTo>
                <a:lnTo>
                  <a:pt x="7830" y="18868"/>
                </a:lnTo>
                <a:lnTo>
                  <a:pt x="9151" y="16887"/>
                </a:lnTo>
                <a:lnTo>
                  <a:pt x="10566" y="15094"/>
                </a:lnTo>
                <a:lnTo>
                  <a:pt x="12075" y="13302"/>
                </a:lnTo>
                <a:lnTo>
                  <a:pt x="13773" y="11698"/>
                </a:lnTo>
                <a:lnTo>
                  <a:pt x="15377" y="10095"/>
                </a:lnTo>
                <a:lnTo>
                  <a:pt x="17170" y="8679"/>
                </a:lnTo>
                <a:lnTo>
                  <a:pt x="18962" y="7453"/>
                </a:lnTo>
                <a:lnTo>
                  <a:pt x="20754" y="6321"/>
                </a:lnTo>
                <a:lnTo>
                  <a:pt x="22547" y="5378"/>
                </a:lnTo>
                <a:lnTo>
                  <a:pt x="21603" y="6227"/>
                </a:lnTo>
                <a:lnTo>
                  <a:pt x="22641" y="5472"/>
                </a:lnTo>
                <a:lnTo>
                  <a:pt x="23302" y="5095"/>
                </a:lnTo>
                <a:lnTo>
                  <a:pt x="25377" y="4151"/>
                </a:lnTo>
                <a:lnTo>
                  <a:pt x="24811" y="4151"/>
                </a:lnTo>
                <a:lnTo>
                  <a:pt x="25660" y="3774"/>
                </a:lnTo>
                <a:lnTo>
                  <a:pt x="26886" y="3208"/>
                </a:lnTo>
                <a:lnTo>
                  <a:pt x="26603" y="3585"/>
                </a:lnTo>
                <a:lnTo>
                  <a:pt x="26886" y="3585"/>
                </a:lnTo>
                <a:lnTo>
                  <a:pt x="26886" y="3680"/>
                </a:lnTo>
                <a:lnTo>
                  <a:pt x="26792" y="3774"/>
                </a:lnTo>
                <a:lnTo>
                  <a:pt x="28301" y="3302"/>
                </a:lnTo>
                <a:lnTo>
                  <a:pt x="29622" y="2736"/>
                </a:lnTo>
                <a:lnTo>
                  <a:pt x="31037" y="2264"/>
                </a:lnTo>
                <a:lnTo>
                  <a:pt x="31792" y="2076"/>
                </a:lnTo>
                <a:lnTo>
                  <a:pt x="32641" y="1981"/>
                </a:lnTo>
                <a:lnTo>
                  <a:pt x="32547" y="2076"/>
                </a:lnTo>
                <a:lnTo>
                  <a:pt x="32924" y="1981"/>
                </a:lnTo>
                <a:lnTo>
                  <a:pt x="34245" y="1793"/>
                </a:lnTo>
                <a:lnTo>
                  <a:pt x="35848" y="1415"/>
                </a:lnTo>
                <a:lnTo>
                  <a:pt x="36981" y="1132"/>
                </a:lnTo>
                <a:lnTo>
                  <a:pt x="36981" y="1415"/>
                </a:lnTo>
                <a:lnTo>
                  <a:pt x="40943" y="1227"/>
                </a:lnTo>
                <a:lnTo>
                  <a:pt x="41509" y="1038"/>
                </a:lnTo>
                <a:lnTo>
                  <a:pt x="41697" y="1132"/>
                </a:lnTo>
                <a:lnTo>
                  <a:pt x="41509" y="1227"/>
                </a:lnTo>
                <a:lnTo>
                  <a:pt x="41320" y="1321"/>
                </a:lnTo>
                <a:lnTo>
                  <a:pt x="42263" y="1321"/>
                </a:lnTo>
                <a:lnTo>
                  <a:pt x="43113" y="1227"/>
                </a:lnTo>
                <a:lnTo>
                  <a:pt x="43396" y="1415"/>
                </a:lnTo>
                <a:lnTo>
                  <a:pt x="44056" y="1604"/>
                </a:lnTo>
                <a:lnTo>
                  <a:pt x="45943" y="2076"/>
                </a:lnTo>
                <a:lnTo>
                  <a:pt x="48018" y="2359"/>
                </a:lnTo>
                <a:lnTo>
                  <a:pt x="49622" y="2736"/>
                </a:lnTo>
                <a:lnTo>
                  <a:pt x="47641" y="1981"/>
                </a:lnTo>
                <a:lnTo>
                  <a:pt x="45282" y="1321"/>
                </a:lnTo>
                <a:lnTo>
                  <a:pt x="42735" y="755"/>
                </a:lnTo>
                <a:lnTo>
                  <a:pt x="40188" y="283"/>
                </a:lnTo>
                <a:lnTo>
                  <a:pt x="37735" y="95"/>
                </a:lnTo>
                <a:lnTo>
                  <a:pt x="35471" y="0"/>
                </a:lnTo>
                <a:close/>
              </a:path>
            </a:pathLst>
          </a:custGeom>
          <a:solidFill>
            <a:srgbClr val="87CBD8">
              <a:alpha val="60000"/>
            </a:srgbClr>
          </a:solidFill>
          <a:ln w="0">
            <a:solidFill>
              <a:srgbClr val="87CBD8">
                <a:alpha val="61000"/>
              </a:srgbClr>
            </a:solidFill>
          </a:ln>
        </p:spPr>
        <p:txBody>
          <a:bodyPr spcFirstLastPara="1" wrap="square" lIns="91425" tIns="91425" rIns="91425" bIns="91425" anchor="ctr" anchorCtr="0">
            <a:noAutofit/>
          </a:bodyPr>
          <a:lstStyle/>
          <a:p>
            <a:pPr marL="0" lvl="0" indent="0">
              <a:spcBef>
                <a:spcPts val="0"/>
              </a:spcBef>
              <a:spcAft>
                <a:spcPts val="0"/>
              </a:spcAft>
              <a:buNone/>
            </a:pPr>
            <a:endParaRPr sz="1200" dirty="0">
              <a:latin typeface="Comic Sans MS" panose="030F0902030302020204" pitchFamily="66" charset="0"/>
            </a:endParaRPr>
          </a:p>
        </p:txBody>
      </p:sp>
      <p:cxnSp>
        <p:nvCxnSpPr>
          <p:cNvPr id="135" name="Curved Connector 134">
            <a:extLst>
              <a:ext uri="{FF2B5EF4-FFF2-40B4-BE49-F238E27FC236}">
                <a16:creationId xmlns:a16="http://schemas.microsoft.com/office/drawing/2014/main" id="{1885B0EB-0E5C-7E4F-B7F2-684F9E468E0A}"/>
              </a:ext>
            </a:extLst>
          </p:cNvPr>
          <p:cNvCxnSpPr>
            <a:cxnSpLocks/>
            <a:endCxn id="127" idx="3"/>
          </p:cNvCxnSpPr>
          <p:nvPr/>
        </p:nvCxnSpPr>
        <p:spPr>
          <a:xfrm rot="16200000" flipH="1">
            <a:off x="7002371" y="4559335"/>
            <a:ext cx="270134" cy="113707"/>
          </a:xfrm>
          <a:prstGeom prst="curvedConnector4">
            <a:avLst>
              <a:gd name="adj1" fmla="val 30061"/>
              <a:gd name="adj2" fmla="val 301043"/>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36" name="Curved Connector 135">
            <a:extLst>
              <a:ext uri="{FF2B5EF4-FFF2-40B4-BE49-F238E27FC236}">
                <a16:creationId xmlns:a16="http://schemas.microsoft.com/office/drawing/2014/main" id="{2D750023-2021-4A42-8967-BAB085C1E0F8}"/>
              </a:ext>
            </a:extLst>
          </p:cNvPr>
          <p:cNvCxnSpPr>
            <a:cxnSpLocks/>
            <a:stCxn id="127" idx="0"/>
          </p:cNvCxnSpPr>
          <p:nvPr/>
        </p:nvCxnSpPr>
        <p:spPr>
          <a:xfrm rot="5400000" flipH="1" flipV="1">
            <a:off x="6905761" y="4572892"/>
            <a:ext cx="122941" cy="18344"/>
          </a:xfrm>
          <a:prstGeom prst="curvedConnector3">
            <a:avLst>
              <a:gd name="adj1" fmla="val 50000"/>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37" name="Curved Connector 136">
            <a:extLst>
              <a:ext uri="{FF2B5EF4-FFF2-40B4-BE49-F238E27FC236}">
                <a16:creationId xmlns:a16="http://schemas.microsoft.com/office/drawing/2014/main" id="{EF1C5558-BF0D-2648-BA50-9C9A1E424219}"/>
              </a:ext>
            </a:extLst>
          </p:cNvPr>
          <p:cNvCxnSpPr>
            <a:cxnSpLocks/>
            <a:stCxn id="127" idx="2"/>
          </p:cNvCxnSpPr>
          <p:nvPr/>
        </p:nvCxnSpPr>
        <p:spPr>
          <a:xfrm rot="16200000" flipH="1">
            <a:off x="6994473" y="4822564"/>
            <a:ext cx="142730" cy="215558"/>
          </a:xfrm>
          <a:prstGeom prst="curvedConnector2">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38" name="Curved Connector 137">
            <a:extLst>
              <a:ext uri="{FF2B5EF4-FFF2-40B4-BE49-F238E27FC236}">
                <a16:creationId xmlns:a16="http://schemas.microsoft.com/office/drawing/2014/main" id="{8C381C2C-468A-0445-AAE7-91153E8E4892}"/>
              </a:ext>
            </a:extLst>
          </p:cNvPr>
          <p:cNvCxnSpPr>
            <a:cxnSpLocks/>
          </p:cNvCxnSpPr>
          <p:nvPr/>
        </p:nvCxnSpPr>
        <p:spPr>
          <a:xfrm rot="10800000" flipV="1">
            <a:off x="6807279" y="4919523"/>
            <a:ext cx="138498" cy="87295"/>
          </a:xfrm>
          <a:prstGeom prst="curvedConnector3">
            <a:avLst>
              <a:gd name="adj1" fmla="val 50000"/>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39" name="Curved Connector 138">
            <a:extLst>
              <a:ext uri="{FF2B5EF4-FFF2-40B4-BE49-F238E27FC236}">
                <a16:creationId xmlns:a16="http://schemas.microsoft.com/office/drawing/2014/main" id="{96DC55C6-841B-7F45-B497-5A48A48E5354}"/>
              </a:ext>
            </a:extLst>
          </p:cNvPr>
          <p:cNvCxnSpPr>
            <a:cxnSpLocks/>
            <a:endCxn id="127" idx="3"/>
          </p:cNvCxnSpPr>
          <p:nvPr/>
        </p:nvCxnSpPr>
        <p:spPr>
          <a:xfrm rot="16200000" flipV="1">
            <a:off x="7114035" y="4831513"/>
            <a:ext cx="209786" cy="49271"/>
          </a:xfrm>
          <a:prstGeom prst="curvedConnector2">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41" name="Curved Connector 140">
            <a:extLst>
              <a:ext uri="{FF2B5EF4-FFF2-40B4-BE49-F238E27FC236}">
                <a16:creationId xmlns:a16="http://schemas.microsoft.com/office/drawing/2014/main" id="{A975B55F-E912-1E4A-AC60-4FA0BD11A14B}"/>
              </a:ext>
            </a:extLst>
          </p:cNvPr>
          <p:cNvCxnSpPr>
            <a:cxnSpLocks/>
            <a:stCxn id="127" idx="1"/>
          </p:cNvCxnSpPr>
          <p:nvPr/>
        </p:nvCxnSpPr>
        <p:spPr>
          <a:xfrm rot="10800000">
            <a:off x="6612545" y="4639380"/>
            <a:ext cx="109281" cy="111877"/>
          </a:xfrm>
          <a:prstGeom prst="curvedConnector2">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42" name="Curved Connector 141">
            <a:extLst>
              <a:ext uri="{FF2B5EF4-FFF2-40B4-BE49-F238E27FC236}">
                <a16:creationId xmlns:a16="http://schemas.microsoft.com/office/drawing/2014/main" id="{3E6369EA-C8C7-EC4A-9CE4-820BF167A176}"/>
              </a:ext>
            </a:extLst>
          </p:cNvPr>
          <p:cNvCxnSpPr>
            <a:cxnSpLocks/>
            <a:stCxn id="127" idx="2"/>
          </p:cNvCxnSpPr>
          <p:nvPr/>
        </p:nvCxnSpPr>
        <p:spPr>
          <a:xfrm rot="16200000" flipH="1">
            <a:off x="6794160" y="5022877"/>
            <a:ext cx="389794" cy="61996"/>
          </a:xfrm>
          <a:prstGeom prst="curvedConnector3">
            <a:avLst>
              <a:gd name="adj1" fmla="val 50000"/>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43" name="Curved Connector 142">
            <a:extLst>
              <a:ext uri="{FF2B5EF4-FFF2-40B4-BE49-F238E27FC236}">
                <a16:creationId xmlns:a16="http://schemas.microsoft.com/office/drawing/2014/main" id="{F277F159-C6D4-6D41-B2A3-10F6B2055D22}"/>
              </a:ext>
            </a:extLst>
          </p:cNvPr>
          <p:cNvCxnSpPr>
            <a:cxnSpLocks/>
            <a:endCxn id="127" idx="2"/>
          </p:cNvCxnSpPr>
          <p:nvPr/>
        </p:nvCxnSpPr>
        <p:spPr>
          <a:xfrm rot="16200000" flipV="1">
            <a:off x="6845463" y="4971574"/>
            <a:ext cx="404278" cy="179086"/>
          </a:xfrm>
          <a:prstGeom prst="curvedConnector3">
            <a:avLst>
              <a:gd name="adj1" fmla="val 50000"/>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44" name="Curved Connector 143">
            <a:extLst>
              <a:ext uri="{FF2B5EF4-FFF2-40B4-BE49-F238E27FC236}">
                <a16:creationId xmlns:a16="http://schemas.microsoft.com/office/drawing/2014/main" id="{661FC559-C74E-4540-A59A-B368A63277D1}"/>
              </a:ext>
            </a:extLst>
          </p:cNvPr>
          <p:cNvCxnSpPr>
            <a:cxnSpLocks/>
            <a:stCxn id="127" idx="1"/>
          </p:cNvCxnSpPr>
          <p:nvPr/>
        </p:nvCxnSpPr>
        <p:spPr>
          <a:xfrm rot="10800000" flipV="1">
            <a:off x="6590757" y="4751256"/>
            <a:ext cx="131069" cy="408038"/>
          </a:xfrm>
          <a:prstGeom prst="curvedConnector2">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45" name="Curved Connector 144">
            <a:extLst>
              <a:ext uri="{FF2B5EF4-FFF2-40B4-BE49-F238E27FC236}">
                <a16:creationId xmlns:a16="http://schemas.microsoft.com/office/drawing/2014/main" id="{3AB7BA62-1D14-3B4D-BB45-EBAE50B353A7}"/>
              </a:ext>
            </a:extLst>
          </p:cNvPr>
          <p:cNvCxnSpPr>
            <a:cxnSpLocks/>
          </p:cNvCxnSpPr>
          <p:nvPr/>
        </p:nvCxnSpPr>
        <p:spPr>
          <a:xfrm rot="5400000" flipH="1" flipV="1">
            <a:off x="6550679" y="4981342"/>
            <a:ext cx="309132" cy="112382"/>
          </a:xfrm>
          <a:prstGeom prst="curvedConnector3">
            <a:avLst>
              <a:gd name="adj1" fmla="val 50000"/>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56" name="Curved Connector 155">
            <a:extLst>
              <a:ext uri="{FF2B5EF4-FFF2-40B4-BE49-F238E27FC236}">
                <a16:creationId xmlns:a16="http://schemas.microsoft.com/office/drawing/2014/main" id="{AA41DF77-4556-294B-8075-C4C044C07D2A}"/>
              </a:ext>
            </a:extLst>
          </p:cNvPr>
          <p:cNvCxnSpPr>
            <a:cxnSpLocks/>
          </p:cNvCxnSpPr>
          <p:nvPr/>
        </p:nvCxnSpPr>
        <p:spPr>
          <a:xfrm>
            <a:off x="6649054" y="4527070"/>
            <a:ext cx="170686" cy="106969"/>
          </a:xfrm>
          <a:prstGeom prst="curvedConnector3">
            <a:avLst>
              <a:gd name="adj1" fmla="val 96584"/>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49" name="Straight Connector 148">
            <a:extLst>
              <a:ext uri="{FF2B5EF4-FFF2-40B4-BE49-F238E27FC236}">
                <a16:creationId xmlns:a16="http://schemas.microsoft.com/office/drawing/2014/main" id="{32E867BD-E046-0F43-933C-B4274FA6268E}"/>
              </a:ext>
            </a:extLst>
          </p:cNvPr>
          <p:cNvCxnSpPr>
            <a:cxnSpLocks/>
          </p:cNvCxnSpPr>
          <p:nvPr/>
        </p:nvCxnSpPr>
        <p:spPr>
          <a:xfrm>
            <a:off x="5118515" y="3343591"/>
            <a:ext cx="591206" cy="327177"/>
          </a:xfrm>
          <a:prstGeom prst="line">
            <a:avLst/>
          </a:prstGeom>
          <a:ln w="12700">
            <a:solidFill>
              <a:srgbClr val="0079D1"/>
            </a:solidFill>
          </a:ln>
        </p:spPr>
        <p:style>
          <a:lnRef idx="1">
            <a:schemeClr val="accent1"/>
          </a:lnRef>
          <a:fillRef idx="0">
            <a:schemeClr val="accent1"/>
          </a:fillRef>
          <a:effectRef idx="0">
            <a:schemeClr val="accent1"/>
          </a:effectRef>
          <a:fontRef idx="minor">
            <a:schemeClr val="tx1"/>
          </a:fontRef>
        </p:style>
      </p:cxnSp>
      <p:cxnSp>
        <p:nvCxnSpPr>
          <p:cNvPr id="173" name="Straight Connector 172">
            <a:extLst>
              <a:ext uri="{FF2B5EF4-FFF2-40B4-BE49-F238E27FC236}">
                <a16:creationId xmlns:a16="http://schemas.microsoft.com/office/drawing/2014/main" id="{FBB1E9B5-52A4-CE44-8F42-8050CE146744}"/>
              </a:ext>
            </a:extLst>
          </p:cNvPr>
          <p:cNvCxnSpPr>
            <a:cxnSpLocks/>
          </p:cNvCxnSpPr>
          <p:nvPr/>
        </p:nvCxnSpPr>
        <p:spPr>
          <a:xfrm>
            <a:off x="5074723" y="3518780"/>
            <a:ext cx="550608" cy="285630"/>
          </a:xfrm>
          <a:prstGeom prst="line">
            <a:avLst/>
          </a:prstGeom>
          <a:ln w="12700">
            <a:solidFill>
              <a:srgbClr val="0079D1"/>
            </a:solidFill>
          </a:ln>
        </p:spPr>
        <p:style>
          <a:lnRef idx="1">
            <a:schemeClr val="accent1"/>
          </a:lnRef>
          <a:fillRef idx="0">
            <a:schemeClr val="accent1"/>
          </a:fillRef>
          <a:effectRef idx="0">
            <a:schemeClr val="accent1"/>
          </a:effectRef>
          <a:fontRef idx="minor">
            <a:schemeClr val="tx1"/>
          </a:fontRef>
        </p:style>
      </p:cxnSp>
      <p:cxnSp>
        <p:nvCxnSpPr>
          <p:cNvPr id="179" name="Straight Connector 178">
            <a:extLst>
              <a:ext uri="{FF2B5EF4-FFF2-40B4-BE49-F238E27FC236}">
                <a16:creationId xmlns:a16="http://schemas.microsoft.com/office/drawing/2014/main" id="{A9D83007-4706-4E48-8CB9-FEBB6002EF08}"/>
              </a:ext>
            </a:extLst>
          </p:cNvPr>
          <p:cNvCxnSpPr>
            <a:cxnSpLocks/>
          </p:cNvCxnSpPr>
          <p:nvPr/>
        </p:nvCxnSpPr>
        <p:spPr>
          <a:xfrm flipH="1">
            <a:off x="5878539" y="3240620"/>
            <a:ext cx="430328" cy="420975"/>
          </a:xfrm>
          <a:prstGeom prst="line">
            <a:avLst/>
          </a:prstGeom>
          <a:ln w="12700">
            <a:solidFill>
              <a:srgbClr val="0079D1"/>
            </a:solidFill>
          </a:ln>
        </p:spPr>
        <p:style>
          <a:lnRef idx="1">
            <a:schemeClr val="accent1"/>
          </a:lnRef>
          <a:fillRef idx="0">
            <a:schemeClr val="accent1"/>
          </a:fillRef>
          <a:effectRef idx="0">
            <a:schemeClr val="accent1"/>
          </a:effectRef>
          <a:fontRef idx="minor">
            <a:schemeClr val="tx1"/>
          </a:fontRef>
        </p:style>
      </p:cxnSp>
      <p:cxnSp>
        <p:nvCxnSpPr>
          <p:cNvPr id="180" name="Straight Connector 179">
            <a:extLst>
              <a:ext uri="{FF2B5EF4-FFF2-40B4-BE49-F238E27FC236}">
                <a16:creationId xmlns:a16="http://schemas.microsoft.com/office/drawing/2014/main" id="{27ADEDD9-6275-F241-9EF8-06AB06F383F9}"/>
              </a:ext>
            </a:extLst>
          </p:cNvPr>
          <p:cNvCxnSpPr>
            <a:cxnSpLocks/>
          </p:cNvCxnSpPr>
          <p:nvPr/>
        </p:nvCxnSpPr>
        <p:spPr>
          <a:xfrm flipV="1">
            <a:off x="6012471" y="3328916"/>
            <a:ext cx="429107" cy="430398"/>
          </a:xfrm>
          <a:prstGeom prst="line">
            <a:avLst/>
          </a:prstGeom>
          <a:ln w="12700">
            <a:solidFill>
              <a:srgbClr val="0079D1"/>
            </a:solidFill>
          </a:ln>
        </p:spPr>
        <p:style>
          <a:lnRef idx="1">
            <a:schemeClr val="accent1"/>
          </a:lnRef>
          <a:fillRef idx="0">
            <a:schemeClr val="accent1"/>
          </a:fillRef>
          <a:effectRef idx="0">
            <a:schemeClr val="accent1"/>
          </a:effectRef>
          <a:fontRef idx="minor">
            <a:schemeClr val="tx1"/>
          </a:fontRef>
        </p:style>
      </p:cxnSp>
      <p:cxnSp>
        <p:nvCxnSpPr>
          <p:cNvPr id="195" name="Straight Connector 194">
            <a:extLst>
              <a:ext uri="{FF2B5EF4-FFF2-40B4-BE49-F238E27FC236}">
                <a16:creationId xmlns:a16="http://schemas.microsoft.com/office/drawing/2014/main" id="{F406152F-C0C9-8D47-B9BA-A6514E9F45EB}"/>
              </a:ext>
            </a:extLst>
          </p:cNvPr>
          <p:cNvCxnSpPr>
            <a:cxnSpLocks/>
          </p:cNvCxnSpPr>
          <p:nvPr/>
        </p:nvCxnSpPr>
        <p:spPr>
          <a:xfrm>
            <a:off x="6033594" y="4012671"/>
            <a:ext cx="572541" cy="433975"/>
          </a:xfrm>
          <a:prstGeom prst="line">
            <a:avLst/>
          </a:prstGeom>
          <a:ln w="12700">
            <a:solidFill>
              <a:srgbClr val="0079D1"/>
            </a:solidFill>
          </a:ln>
        </p:spPr>
        <p:style>
          <a:lnRef idx="1">
            <a:schemeClr val="accent1"/>
          </a:lnRef>
          <a:fillRef idx="0">
            <a:schemeClr val="accent1"/>
          </a:fillRef>
          <a:effectRef idx="0">
            <a:schemeClr val="accent1"/>
          </a:effectRef>
          <a:fontRef idx="minor">
            <a:schemeClr val="tx1"/>
          </a:fontRef>
        </p:style>
      </p:cxnSp>
      <p:cxnSp>
        <p:nvCxnSpPr>
          <p:cNvPr id="198" name="Straight Connector 197">
            <a:extLst>
              <a:ext uri="{FF2B5EF4-FFF2-40B4-BE49-F238E27FC236}">
                <a16:creationId xmlns:a16="http://schemas.microsoft.com/office/drawing/2014/main" id="{D3132AD8-060E-0549-B545-C00B91B09E16}"/>
              </a:ext>
            </a:extLst>
          </p:cNvPr>
          <p:cNvCxnSpPr>
            <a:cxnSpLocks/>
          </p:cNvCxnSpPr>
          <p:nvPr/>
        </p:nvCxnSpPr>
        <p:spPr>
          <a:xfrm>
            <a:off x="5929414" y="4125279"/>
            <a:ext cx="581322" cy="432717"/>
          </a:xfrm>
          <a:prstGeom prst="line">
            <a:avLst/>
          </a:prstGeom>
          <a:ln w="12700">
            <a:solidFill>
              <a:srgbClr val="0079D1"/>
            </a:solidFill>
          </a:ln>
        </p:spPr>
        <p:style>
          <a:lnRef idx="1">
            <a:schemeClr val="accent1"/>
          </a:lnRef>
          <a:fillRef idx="0">
            <a:schemeClr val="accent1"/>
          </a:fillRef>
          <a:effectRef idx="0">
            <a:schemeClr val="accent1"/>
          </a:effectRef>
          <a:fontRef idx="minor">
            <a:schemeClr val="tx1"/>
          </a:fontRef>
        </p:style>
      </p:cxnSp>
      <p:cxnSp>
        <p:nvCxnSpPr>
          <p:cNvPr id="206" name="Straight Connector 205">
            <a:extLst>
              <a:ext uri="{FF2B5EF4-FFF2-40B4-BE49-F238E27FC236}">
                <a16:creationId xmlns:a16="http://schemas.microsoft.com/office/drawing/2014/main" id="{719ADB63-1C8B-4D46-80EE-903CA415DD0F}"/>
              </a:ext>
            </a:extLst>
          </p:cNvPr>
          <p:cNvCxnSpPr>
            <a:cxnSpLocks/>
          </p:cNvCxnSpPr>
          <p:nvPr/>
        </p:nvCxnSpPr>
        <p:spPr>
          <a:xfrm flipV="1">
            <a:off x="7608693" y="1815360"/>
            <a:ext cx="485592" cy="310298"/>
          </a:xfrm>
          <a:prstGeom prst="line">
            <a:avLst/>
          </a:prstGeom>
          <a:ln w="12700">
            <a:solidFill>
              <a:schemeClr val="tx1">
                <a:lumMod val="50000"/>
              </a:schemeClr>
            </a:solidFill>
            <a:headEnd type="oval"/>
          </a:ln>
        </p:spPr>
        <p:style>
          <a:lnRef idx="1">
            <a:schemeClr val="accent1"/>
          </a:lnRef>
          <a:fillRef idx="0">
            <a:schemeClr val="accent1"/>
          </a:fillRef>
          <a:effectRef idx="0">
            <a:schemeClr val="accent1"/>
          </a:effectRef>
          <a:fontRef idx="minor">
            <a:schemeClr val="tx1"/>
          </a:fontRef>
        </p:style>
      </p:cxnSp>
      <p:sp>
        <p:nvSpPr>
          <p:cNvPr id="209" name="TextBox 208">
            <a:extLst>
              <a:ext uri="{FF2B5EF4-FFF2-40B4-BE49-F238E27FC236}">
                <a16:creationId xmlns:a16="http://schemas.microsoft.com/office/drawing/2014/main" id="{6946BF85-8F04-D64D-9CA7-1CE90A5D7AE0}"/>
              </a:ext>
            </a:extLst>
          </p:cNvPr>
          <p:cNvSpPr txBox="1"/>
          <p:nvPr/>
        </p:nvSpPr>
        <p:spPr>
          <a:xfrm>
            <a:off x="8019032" y="1615942"/>
            <a:ext cx="641522" cy="335646"/>
          </a:xfrm>
          <a:prstGeom prst="rect">
            <a:avLst/>
          </a:prstGeom>
          <a:noFill/>
        </p:spPr>
        <p:txBody>
          <a:bodyPr wrap="none" tIns="90000" bIns="90000" rtlCol="0" anchor="t">
            <a:spAutoFit/>
          </a:bodyPr>
          <a:lstStyle/>
          <a:p>
            <a:pPr algn="ctr"/>
            <a:r>
              <a:rPr lang="en-US" sz="1000" dirty="0">
                <a:solidFill>
                  <a:schemeClr val="tx1">
                    <a:lumMod val="50000"/>
                  </a:schemeClr>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UI Tier</a:t>
            </a:r>
          </a:p>
        </p:txBody>
      </p:sp>
      <p:cxnSp>
        <p:nvCxnSpPr>
          <p:cNvPr id="210" name="Straight Connector 209">
            <a:extLst>
              <a:ext uri="{FF2B5EF4-FFF2-40B4-BE49-F238E27FC236}">
                <a16:creationId xmlns:a16="http://schemas.microsoft.com/office/drawing/2014/main" id="{B240F58A-F78C-5A41-B2A2-3615E39A9C9D}"/>
              </a:ext>
            </a:extLst>
          </p:cNvPr>
          <p:cNvCxnSpPr>
            <a:cxnSpLocks/>
          </p:cNvCxnSpPr>
          <p:nvPr/>
        </p:nvCxnSpPr>
        <p:spPr>
          <a:xfrm>
            <a:off x="7478234" y="4949384"/>
            <a:ext cx="707724" cy="121314"/>
          </a:xfrm>
          <a:prstGeom prst="line">
            <a:avLst/>
          </a:prstGeom>
          <a:ln w="12700">
            <a:solidFill>
              <a:schemeClr val="tx1">
                <a:lumMod val="50000"/>
              </a:schemeClr>
            </a:solidFill>
            <a:headEnd type="oval"/>
          </a:ln>
        </p:spPr>
        <p:style>
          <a:lnRef idx="1">
            <a:schemeClr val="accent1"/>
          </a:lnRef>
          <a:fillRef idx="0">
            <a:schemeClr val="accent1"/>
          </a:fillRef>
          <a:effectRef idx="0">
            <a:schemeClr val="accent1"/>
          </a:effectRef>
          <a:fontRef idx="minor">
            <a:schemeClr val="tx1"/>
          </a:fontRef>
        </p:style>
      </p:cxnSp>
      <p:sp>
        <p:nvSpPr>
          <p:cNvPr id="211" name="TextBox 210">
            <a:extLst>
              <a:ext uri="{FF2B5EF4-FFF2-40B4-BE49-F238E27FC236}">
                <a16:creationId xmlns:a16="http://schemas.microsoft.com/office/drawing/2014/main" id="{703C6966-741E-654A-873B-A17FDFC0E9D1}"/>
              </a:ext>
            </a:extLst>
          </p:cNvPr>
          <p:cNvSpPr txBox="1"/>
          <p:nvPr/>
        </p:nvSpPr>
        <p:spPr>
          <a:xfrm>
            <a:off x="8126387" y="4897449"/>
            <a:ext cx="837088" cy="335646"/>
          </a:xfrm>
          <a:prstGeom prst="rect">
            <a:avLst/>
          </a:prstGeom>
          <a:noFill/>
        </p:spPr>
        <p:txBody>
          <a:bodyPr wrap="none" tIns="90000" bIns="90000" rtlCol="0" anchor="t">
            <a:spAutoFit/>
          </a:bodyPr>
          <a:lstStyle/>
          <a:p>
            <a:pPr algn="ctr"/>
            <a:r>
              <a:rPr lang="en-US" sz="1000" dirty="0">
                <a:solidFill>
                  <a:schemeClr val="tx1">
                    <a:lumMod val="50000"/>
                  </a:schemeClr>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Event Only</a:t>
            </a:r>
          </a:p>
        </p:txBody>
      </p:sp>
      <p:sp>
        <p:nvSpPr>
          <p:cNvPr id="215" name="Google Shape;431;p39">
            <a:extLst>
              <a:ext uri="{FF2B5EF4-FFF2-40B4-BE49-F238E27FC236}">
                <a16:creationId xmlns:a16="http://schemas.microsoft.com/office/drawing/2014/main" id="{1F3A0C26-F3D8-A14B-A832-3719CF43675C}"/>
              </a:ext>
            </a:extLst>
          </p:cNvPr>
          <p:cNvSpPr/>
          <p:nvPr/>
        </p:nvSpPr>
        <p:spPr>
          <a:xfrm rot="21011211">
            <a:off x="6023408" y="1623516"/>
            <a:ext cx="1828927" cy="1778400"/>
          </a:xfrm>
          <a:custGeom>
            <a:avLst/>
            <a:gdLst/>
            <a:ahLst/>
            <a:cxnLst/>
            <a:rect l="0" t="0" r="0" b="0"/>
            <a:pathLst>
              <a:path w="67641" h="69056" extrusionOk="0">
                <a:moveTo>
                  <a:pt x="49622" y="2736"/>
                </a:moveTo>
                <a:lnTo>
                  <a:pt x="49622" y="2736"/>
                </a:lnTo>
                <a:lnTo>
                  <a:pt x="49622" y="2736"/>
                </a:lnTo>
                <a:close/>
                <a:moveTo>
                  <a:pt x="59622" y="55565"/>
                </a:moveTo>
                <a:lnTo>
                  <a:pt x="59622" y="55565"/>
                </a:lnTo>
                <a:lnTo>
                  <a:pt x="59622" y="55565"/>
                </a:lnTo>
                <a:close/>
                <a:moveTo>
                  <a:pt x="35471" y="0"/>
                </a:moveTo>
                <a:lnTo>
                  <a:pt x="34433" y="95"/>
                </a:lnTo>
                <a:lnTo>
                  <a:pt x="33584" y="189"/>
                </a:lnTo>
                <a:lnTo>
                  <a:pt x="32735" y="378"/>
                </a:lnTo>
                <a:lnTo>
                  <a:pt x="32169" y="566"/>
                </a:lnTo>
                <a:lnTo>
                  <a:pt x="31509" y="472"/>
                </a:lnTo>
                <a:lnTo>
                  <a:pt x="30754" y="472"/>
                </a:lnTo>
                <a:lnTo>
                  <a:pt x="29339" y="566"/>
                </a:lnTo>
                <a:lnTo>
                  <a:pt x="27830" y="849"/>
                </a:lnTo>
                <a:lnTo>
                  <a:pt x="26320" y="1321"/>
                </a:lnTo>
                <a:lnTo>
                  <a:pt x="24811" y="1981"/>
                </a:lnTo>
                <a:lnTo>
                  <a:pt x="23207" y="2736"/>
                </a:lnTo>
                <a:lnTo>
                  <a:pt x="21698" y="3585"/>
                </a:lnTo>
                <a:lnTo>
                  <a:pt x="20188" y="4623"/>
                </a:lnTo>
                <a:lnTo>
                  <a:pt x="18679" y="5661"/>
                </a:lnTo>
                <a:lnTo>
                  <a:pt x="17170" y="6793"/>
                </a:lnTo>
                <a:lnTo>
                  <a:pt x="15754" y="8019"/>
                </a:lnTo>
                <a:lnTo>
                  <a:pt x="14434" y="9151"/>
                </a:lnTo>
                <a:lnTo>
                  <a:pt x="11981" y="11510"/>
                </a:lnTo>
                <a:lnTo>
                  <a:pt x="10000" y="13774"/>
                </a:lnTo>
                <a:lnTo>
                  <a:pt x="7736" y="16981"/>
                </a:lnTo>
                <a:lnTo>
                  <a:pt x="8019" y="16321"/>
                </a:lnTo>
                <a:lnTo>
                  <a:pt x="8302" y="15660"/>
                </a:lnTo>
                <a:lnTo>
                  <a:pt x="7736" y="16604"/>
                </a:lnTo>
                <a:lnTo>
                  <a:pt x="7075" y="17642"/>
                </a:lnTo>
                <a:lnTo>
                  <a:pt x="7170" y="17830"/>
                </a:lnTo>
                <a:lnTo>
                  <a:pt x="6509" y="18868"/>
                </a:lnTo>
                <a:lnTo>
                  <a:pt x="7075" y="17359"/>
                </a:lnTo>
                <a:lnTo>
                  <a:pt x="6132" y="19057"/>
                </a:lnTo>
                <a:lnTo>
                  <a:pt x="5189" y="20849"/>
                </a:lnTo>
                <a:lnTo>
                  <a:pt x="4434" y="22736"/>
                </a:lnTo>
                <a:lnTo>
                  <a:pt x="3679" y="24622"/>
                </a:lnTo>
                <a:lnTo>
                  <a:pt x="2453" y="28490"/>
                </a:lnTo>
                <a:lnTo>
                  <a:pt x="1321" y="32169"/>
                </a:lnTo>
                <a:lnTo>
                  <a:pt x="1509" y="32264"/>
                </a:lnTo>
                <a:lnTo>
                  <a:pt x="1604" y="32453"/>
                </a:lnTo>
                <a:lnTo>
                  <a:pt x="1604" y="32641"/>
                </a:lnTo>
                <a:lnTo>
                  <a:pt x="1509" y="32924"/>
                </a:lnTo>
                <a:lnTo>
                  <a:pt x="1226" y="33396"/>
                </a:lnTo>
                <a:lnTo>
                  <a:pt x="1038" y="33585"/>
                </a:lnTo>
                <a:lnTo>
                  <a:pt x="1038" y="33773"/>
                </a:lnTo>
                <a:lnTo>
                  <a:pt x="1038" y="35000"/>
                </a:lnTo>
                <a:lnTo>
                  <a:pt x="849" y="36132"/>
                </a:lnTo>
                <a:lnTo>
                  <a:pt x="660" y="37358"/>
                </a:lnTo>
                <a:lnTo>
                  <a:pt x="472" y="38867"/>
                </a:lnTo>
                <a:lnTo>
                  <a:pt x="283" y="38301"/>
                </a:lnTo>
                <a:lnTo>
                  <a:pt x="94" y="39811"/>
                </a:lnTo>
                <a:lnTo>
                  <a:pt x="0" y="41509"/>
                </a:lnTo>
                <a:lnTo>
                  <a:pt x="94" y="43301"/>
                </a:lnTo>
                <a:lnTo>
                  <a:pt x="283" y="44056"/>
                </a:lnTo>
                <a:lnTo>
                  <a:pt x="472" y="44622"/>
                </a:lnTo>
                <a:lnTo>
                  <a:pt x="566" y="45660"/>
                </a:lnTo>
                <a:lnTo>
                  <a:pt x="755" y="46792"/>
                </a:lnTo>
                <a:lnTo>
                  <a:pt x="1226" y="48962"/>
                </a:lnTo>
                <a:lnTo>
                  <a:pt x="1981" y="51037"/>
                </a:lnTo>
                <a:lnTo>
                  <a:pt x="2924" y="53112"/>
                </a:lnTo>
                <a:lnTo>
                  <a:pt x="4057" y="55094"/>
                </a:lnTo>
                <a:lnTo>
                  <a:pt x="5283" y="56980"/>
                </a:lnTo>
                <a:lnTo>
                  <a:pt x="6698" y="58678"/>
                </a:lnTo>
                <a:lnTo>
                  <a:pt x="8113" y="60282"/>
                </a:lnTo>
                <a:lnTo>
                  <a:pt x="9056" y="61131"/>
                </a:lnTo>
                <a:lnTo>
                  <a:pt x="10000" y="61980"/>
                </a:lnTo>
                <a:lnTo>
                  <a:pt x="11038" y="62829"/>
                </a:lnTo>
                <a:lnTo>
                  <a:pt x="12075" y="63584"/>
                </a:lnTo>
                <a:lnTo>
                  <a:pt x="14339" y="64905"/>
                </a:lnTo>
                <a:lnTo>
                  <a:pt x="16604" y="66131"/>
                </a:lnTo>
                <a:lnTo>
                  <a:pt x="19056" y="67169"/>
                </a:lnTo>
                <a:lnTo>
                  <a:pt x="21509" y="67923"/>
                </a:lnTo>
                <a:lnTo>
                  <a:pt x="24056" y="68584"/>
                </a:lnTo>
                <a:lnTo>
                  <a:pt x="26603" y="69055"/>
                </a:lnTo>
                <a:lnTo>
                  <a:pt x="27830" y="69055"/>
                </a:lnTo>
                <a:lnTo>
                  <a:pt x="30188" y="68867"/>
                </a:lnTo>
                <a:lnTo>
                  <a:pt x="33113" y="68678"/>
                </a:lnTo>
                <a:lnTo>
                  <a:pt x="36509" y="68301"/>
                </a:lnTo>
                <a:lnTo>
                  <a:pt x="39811" y="67923"/>
                </a:lnTo>
                <a:lnTo>
                  <a:pt x="42735" y="67452"/>
                </a:lnTo>
                <a:lnTo>
                  <a:pt x="44905" y="66980"/>
                </a:lnTo>
                <a:lnTo>
                  <a:pt x="45565" y="66791"/>
                </a:lnTo>
                <a:lnTo>
                  <a:pt x="45943" y="66508"/>
                </a:lnTo>
                <a:lnTo>
                  <a:pt x="47358" y="65942"/>
                </a:lnTo>
                <a:lnTo>
                  <a:pt x="48018" y="65565"/>
                </a:lnTo>
                <a:lnTo>
                  <a:pt x="48678" y="65188"/>
                </a:lnTo>
                <a:lnTo>
                  <a:pt x="47924" y="65471"/>
                </a:lnTo>
                <a:lnTo>
                  <a:pt x="51509" y="62924"/>
                </a:lnTo>
                <a:lnTo>
                  <a:pt x="53301" y="61508"/>
                </a:lnTo>
                <a:lnTo>
                  <a:pt x="55093" y="59905"/>
                </a:lnTo>
                <a:lnTo>
                  <a:pt x="55093" y="59905"/>
                </a:lnTo>
                <a:lnTo>
                  <a:pt x="54810" y="60376"/>
                </a:lnTo>
                <a:lnTo>
                  <a:pt x="54339" y="60754"/>
                </a:lnTo>
                <a:lnTo>
                  <a:pt x="55376" y="59999"/>
                </a:lnTo>
                <a:lnTo>
                  <a:pt x="56320" y="59056"/>
                </a:lnTo>
                <a:lnTo>
                  <a:pt x="57075" y="58395"/>
                </a:lnTo>
                <a:lnTo>
                  <a:pt x="57169" y="58207"/>
                </a:lnTo>
                <a:lnTo>
                  <a:pt x="57075" y="58207"/>
                </a:lnTo>
                <a:lnTo>
                  <a:pt x="57924" y="57546"/>
                </a:lnTo>
                <a:lnTo>
                  <a:pt x="58678" y="56697"/>
                </a:lnTo>
                <a:lnTo>
                  <a:pt x="59339" y="55754"/>
                </a:lnTo>
                <a:lnTo>
                  <a:pt x="59905" y="54905"/>
                </a:lnTo>
                <a:lnTo>
                  <a:pt x="59716" y="54999"/>
                </a:lnTo>
                <a:lnTo>
                  <a:pt x="59622" y="54999"/>
                </a:lnTo>
                <a:lnTo>
                  <a:pt x="59810" y="54622"/>
                </a:lnTo>
                <a:lnTo>
                  <a:pt x="59150" y="55565"/>
                </a:lnTo>
                <a:lnTo>
                  <a:pt x="59527" y="55094"/>
                </a:lnTo>
                <a:lnTo>
                  <a:pt x="59433" y="55377"/>
                </a:lnTo>
                <a:lnTo>
                  <a:pt x="58867" y="56037"/>
                </a:lnTo>
                <a:lnTo>
                  <a:pt x="59056" y="55660"/>
                </a:lnTo>
                <a:lnTo>
                  <a:pt x="59056" y="55660"/>
                </a:lnTo>
                <a:lnTo>
                  <a:pt x="58678" y="56037"/>
                </a:lnTo>
                <a:lnTo>
                  <a:pt x="59810" y="54339"/>
                </a:lnTo>
                <a:lnTo>
                  <a:pt x="60282" y="53490"/>
                </a:lnTo>
                <a:lnTo>
                  <a:pt x="60282" y="53301"/>
                </a:lnTo>
                <a:lnTo>
                  <a:pt x="60188" y="53395"/>
                </a:lnTo>
                <a:lnTo>
                  <a:pt x="60188" y="53395"/>
                </a:lnTo>
                <a:lnTo>
                  <a:pt x="60565" y="52924"/>
                </a:lnTo>
                <a:lnTo>
                  <a:pt x="61037" y="52452"/>
                </a:lnTo>
                <a:lnTo>
                  <a:pt x="61886" y="51509"/>
                </a:lnTo>
                <a:lnTo>
                  <a:pt x="61508" y="52452"/>
                </a:lnTo>
                <a:lnTo>
                  <a:pt x="60848" y="53584"/>
                </a:lnTo>
                <a:lnTo>
                  <a:pt x="59622" y="55565"/>
                </a:lnTo>
                <a:lnTo>
                  <a:pt x="60376" y="54528"/>
                </a:lnTo>
                <a:lnTo>
                  <a:pt x="60942" y="53678"/>
                </a:lnTo>
                <a:lnTo>
                  <a:pt x="61980" y="51792"/>
                </a:lnTo>
                <a:lnTo>
                  <a:pt x="61886" y="51886"/>
                </a:lnTo>
                <a:lnTo>
                  <a:pt x="61886" y="51697"/>
                </a:lnTo>
                <a:lnTo>
                  <a:pt x="62169" y="51037"/>
                </a:lnTo>
                <a:lnTo>
                  <a:pt x="62735" y="49999"/>
                </a:lnTo>
                <a:lnTo>
                  <a:pt x="61508" y="51603"/>
                </a:lnTo>
                <a:lnTo>
                  <a:pt x="61603" y="51037"/>
                </a:lnTo>
                <a:lnTo>
                  <a:pt x="61697" y="50377"/>
                </a:lnTo>
                <a:lnTo>
                  <a:pt x="62169" y="48962"/>
                </a:lnTo>
                <a:lnTo>
                  <a:pt x="62829" y="47358"/>
                </a:lnTo>
                <a:lnTo>
                  <a:pt x="63678" y="45565"/>
                </a:lnTo>
                <a:lnTo>
                  <a:pt x="65376" y="42169"/>
                </a:lnTo>
                <a:lnTo>
                  <a:pt x="66131" y="40660"/>
                </a:lnTo>
                <a:lnTo>
                  <a:pt x="66697" y="39339"/>
                </a:lnTo>
                <a:lnTo>
                  <a:pt x="66603" y="39528"/>
                </a:lnTo>
                <a:lnTo>
                  <a:pt x="66697" y="39056"/>
                </a:lnTo>
                <a:lnTo>
                  <a:pt x="66791" y="38962"/>
                </a:lnTo>
                <a:lnTo>
                  <a:pt x="66791" y="39056"/>
                </a:lnTo>
                <a:lnTo>
                  <a:pt x="66886" y="38584"/>
                </a:lnTo>
                <a:lnTo>
                  <a:pt x="66791" y="38867"/>
                </a:lnTo>
                <a:lnTo>
                  <a:pt x="66980" y="38207"/>
                </a:lnTo>
                <a:lnTo>
                  <a:pt x="67169" y="37264"/>
                </a:lnTo>
                <a:lnTo>
                  <a:pt x="67263" y="36415"/>
                </a:lnTo>
                <a:lnTo>
                  <a:pt x="67357" y="36509"/>
                </a:lnTo>
                <a:lnTo>
                  <a:pt x="67452" y="36509"/>
                </a:lnTo>
                <a:lnTo>
                  <a:pt x="67546" y="35943"/>
                </a:lnTo>
                <a:lnTo>
                  <a:pt x="67546" y="34811"/>
                </a:lnTo>
                <a:lnTo>
                  <a:pt x="67640" y="31037"/>
                </a:lnTo>
                <a:lnTo>
                  <a:pt x="67640" y="28490"/>
                </a:lnTo>
                <a:lnTo>
                  <a:pt x="67546" y="27736"/>
                </a:lnTo>
                <a:lnTo>
                  <a:pt x="67546" y="27547"/>
                </a:lnTo>
                <a:lnTo>
                  <a:pt x="67452" y="27547"/>
                </a:lnTo>
                <a:lnTo>
                  <a:pt x="67074" y="26792"/>
                </a:lnTo>
                <a:lnTo>
                  <a:pt x="66791" y="25660"/>
                </a:lnTo>
                <a:lnTo>
                  <a:pt x="66508" y="24528"/>
                </a:lnTo>
                <a:lnTo>
                  <a:pt x="66414" y="23585"/>
                </a:lnTo>
                <a:lnTo>
                  <a:pt x="66320" y="23679"/>
                </a:lnTo>
                <a:lnTo>
                  <a:pt x="66320" y="23490"/>
                </a:lnTo>
                <a:lnTo>
                  <a:pt x="65942" y="22924"/>
                </a:lnTo>
                <a:lnTo>
                  <a:pt x="65565" y="22358"/>
                </a:lnTo>
                <a:lnTo>
                  <a:pt x="64527" y="21132"/>
                </a:lnTo>
                <a:lnTo>
                  <a:pt x="63584" y="19906"/>
                </a:lnTo>
                <a:lnTo>
                  <a:pt x="63207" y="19340"/>
                </a:lnTo>
                <a:lnTo>
                  <a:pt x="63018" y="18774"/>
                </a:lnTo>
                <a:lnTo>
                  <a:pt x="63112" y="18962"/>
                </a:lnTo>
                <a:lnTo>
                  <a:pt x="63301" y="19057"/>
                </a:lnTo>
                <a:lnTo>
                  <a:pt x="63301" y="19057"/>
                </a:lnTo>
                <a:lnTo>
                  <a:pt x="63207" y="18868"/>
                </a:lnTo>
                <a:lnTo>
                  <a:pt x="62923" y="18491"/>
                </a:lnTo>
                <a:lnTo>
                  <a:pt x="61980" y="17453"/>
                </a:lnTo>
                <a:lnTo>
                  <a:pt x="61037" y="16509"/>
                </a:lnTo>
                <a:lnTo>
                  <a:pt x="61037" y="16698"/>
                </a:lnTo>
                <a:lnTo>
                  <a:pt x="61037" y="16887"/>
                </a:lnTo>
                <a:lnTo>
                  <a:pt x="60093" y="15943"/>
                </a:lnTo>
                <a:lnTo>
                  <a:pt x="60376" y="16321"/>
                </a:lnTo>
                <a:lnTo>
                  <a:pt x="59527" y="15377"/>
                </a:lnTo>
                <a:lnTo>
                  <a:pt x="59056" y="14906"/>
                </a:lnTo>
                <a:lnTo>
                  <a:pt x="59244" y="14906"/>
                </a:lnTo>
                <a:lnTo>
                  <a:pt x="59905" y="15472"/>
                </a:lnTo>
                <a:lnTo>
                  <a:pt x="59905" y="15472"/>
                </a:lnTo>
                <a:lnTo>
                  <a:pt x="57641" y="13396"/>
                </a:lnTo>
                <a:lnTo>
                  <a:pt x="58112" y="13868"/>
                </a:lnTo>
                <a:lnTo>
                  <a:pt x="56886" y="13019"/>
                </a:lnTo>
                <a:lnTo>
                  <a:pt x="55754" y="12453"/>
                </a:lnTo>
                <a:lnTo>
                  <a:pt x="56603" y="13113"/>
                </a:lnTo>
                <a:lnTo>
                  <a:pt x="57452" y="13774"/>
                </a:lnTo>
                <a:lnTo>
                  <a:pt x="58961" y="15283"/>
                </a:lnTo>
                <a:lnTo>
                  <a:pt x="60376" y="16604"/>
                </a:lnTo>
                <a:lnTo>
                  <a:pt x="61225" y="17264"/>
                </a:lnTo>
                <a:lnTo>
                  <a:pt x="62074" y="17925"/>
                </a:lnTo>
                <a:lnTo>
                  <a:pt x="62074" y="17925"/>
                </a:lnTo>
                <a:lnTo>
                  <a:pt x="61414" y="17547"/>
                </a:lnTo>
                <a:lnTo>
                  <a:pt x="60659" y="16981"/>
                </a:lnTo>
                <a:lnTo>
                  <a:pt x="60754" y="17264"/>
                </a:lnTo>
                <a:lnTo>
                  <a:pt x="60942" y="17642"/>
                </a:lnTo>
                <a:lnTo>
                  <a:pt x="61980" y="19151"/>
                </a:lnTo>
                <a:lnTo>
                  <a:pt x="63301" y="20943"/>
                </a:lnTo>
                <a:lnTo>
                  <a:pt x="63207" y="20943"/>
                </a:lnTo>
                <a:lnTo>
                  <a:pt x="63395" y="21038"/>
                </a:lnTo>
                <a:lnTo>
                  <a:pt x="63490" y="21321"/>
                </a:lnTo>
                <a:lnTo>
                  <a:pt x="63678" y="21604"/>
                </a:lnTo>
                <a:lnTo>
                  <a:pt x="63773" y="21698"/>
                </a:lnTo>
                <a:lnTo>
                  <a:pt x="63584" y="21321"/>
                </a:lnTo>
                <a:lnTo>
                  <a:pt x="63584" y="21321"/>
                </a:lnTo>
                <a:lnTo>
                  <a:pt x="64244" y="22170"/>
                </a:lnTo>
                <a:lnTo>
                  <a:pt x="64716" y="22641"/>
                </a:lnTo>
                <a:lnTo>
                  <a:pt x="64905" y="22830"/>
                </a:lnTo>
                <a:lnTo>
                  <a:pt x="64999" y="22830"/>
                </a:lnTo>
                <a:lnTo>
                  <a:pt x="64999" y="22641"/>
                </a:lnTo>
                <a:lnTo>
                  <a:pt x="64905" y="22358"/>
                </a:lnTo>
                <a:lnTo>
                  <a:pt x="65282" y="23207"/>
                </a:lnTo>
                <a:lnTo>
                  <a:pt x="65565" y="24056"/>
                </a:lnTo>
                <a:lnTo>
                  <a:pt x="66225" y="25943"/>
                </a:lnTo>
                <a:lnTo>
                  <a:pt x="66697" y="27830"/>
                </a:lnTo>
                <a:lnTo>
                  <a:pt x="66886" y="28490"/>
                </a:lnTo>
                <a:lnTo>
                  <a:pt x="66980" y="28868"/>
                </a:lnTo>
                <a:lnTo>
                  <a:pt x="66886" y="28962"/>
                </a:lnTo>
                <a:lnTo>
                  <a:pt x="66697" y="28679"/>
                </a:lnTo>
                <a:lnTo>
                  <a:pt x="66697" y="29245"/>
                </a:lnTo>
                <a:lnTo>
                  <a:pt x="66791" y="29905"/>
                </a:lnTo>
                <a:lnTo>
                  <a:pt x="66886" y="29905"/>
                </a:lnTo>
                <a:lnTo>
                  <a:pt x="66886" y="30094"/>
                </a:lnTo>
                <a:lnTo>
                  <a:pt x="66886" y="30566"/>
                </a:lnTo>
                <a:lnTo>
                  <a:pt x="66697" y="30377"/>
                </a:lnTo>
                <a:lnTo>
                  <a:pt x="66603" y="30188"/>
                </a:lnTo>
                <a:lnTo>
                  <a:pt x="66603" y="30094"/>
                </a:lnTo>
                <a:lnTo>
                  <a:pt x="66697" y="29905"/>
                </a:lnTo>
                <a:lnTo>
                  <a:pt x="66508" y="28679"/>
                </a:lnTo>
                <a:lnTo>
                  <a:pt x="66225" y="27358"/>
                </a:lnTo>
                <a:lnTo>
                  <a:pt x="66603" y="30283"/>
                </a:lnTo>
                <a:lnTo>
                  <a:pt x="66697" y="31792"/>
                </a:lnTo>
                <a:lnTo>
                  <a:pt x="66697" y="33302"/>
                </a:lnTo>
                <a:lnTo>
                  <a:pt x="66603" y="34717"/>
                </a:lnTo>
                <a:lnTo>
                  <a:pt x="66414" y="36226"/>
                </a:lnTo>
                <a:lnTo>
                  <a:pt x="66131" y="37547"/>
                </a:lnTo>
                <a:lnTo>
                  <a:pt x="65659" y="38962"/>
                </a:lnTo>
                <a:lnTo>
                  <a:pt x="65848" y="38584"/>
                </a:lnTo>
                <a:lnTo>
                  <a:pt x="65942" y="38584"/>
                </a:lnTo>
                <a:lnTo>
                  <a:pt x="65848" y="39245"/>
                </a:lnTo>
                <a:lnTo>
                  <a:pt x="65565" y="40188"/>
                </a:lnTo>
                <a:lnTo>
                  <a:pt x="65471" y="40471"/>
                </a:lnTo>
                <a:lnTo>
                  <a:pt x="65282" y="40660"/>
                </a:lnTo>
                <a:lnTo>
                  <a:pt x="65282" y="40566"/>
                </a:lnTo>
                <a:lnTo>
                  <a:pt x="65093" y="41132"/>
                </a:lnTo>
                <a:lnTo>
                  <a:pt x="64433" y="43018"/>
                </a:lnTo>
                <a:lnTo>
                  <a:pt x="63678" y="45282"/>
                </a:lnTo>
                <a:lnTo>
                  <a:pt x="62735" y="47264"/>
                </a:lnTo>
                <a:lnTo>
                  <a:pt x="61697" y="49056"/>
                </a:lnTo>
                <a:lnTo>
                  <a:pt x="60659" y="50943"/>
                </a:lnTo>
                <a:lnTo>
                  <a:pt x="59433" y="52735"/>
                </a:lnTo>
                <a:lnTo>
                  <a:pt x="58207" y="54433"/>
                </a:lnTo>
                <a:lnTo>
                  <a:pt x="56886" y="56037"/>
                </a:lnTo>
                <a:lnTo>
                  <a:pt x="55376" y="57641"/>
                </a:lnTo>
                <a:lnTo>
                  <a:pt x="53867" y="59150"/>
                </a:lnTo>
                <a:lnTo>
                  <a:pt x="52169" y="60376"/>
                </a:lnTo>
                <a:lnTo>
                  <a:pt x="48961" y="62452"/>
                </a:lnTo>
                <a:lnTo>
                  <a:pt x="44528" y="65282"/>
                </a:lnTo>
                <a:lnTo>
                  <a:pt x="44622" y="65188"/>
                </a:lnTo>
                <a:lnTo>
                  <a:pt x="44716" y="65093"/>
                </a:lnTo>
                <a:lnTo>
                  <a:pt x="45094" y="64810"/>
                </a:lnTo>
                <a:lnTo>
                  <a:pt x="45660" y="64527"/>
                </a:lnTo>
                <a:lnTo>
                  <a:pt x="43867" y="65376"/>
                </a:lnTo>
                <a:lnTo>
                  <a:pt x="43113" y="65754"/>
                </a:lnTo>
                <a:lnTo>
                  <a:pt x="42924" y="65754"/>
                </a:lnTo>
                <a:lnTo>
                  <a:pt x="43113" y="65659"/>
                </a:lnTo>
                <a:lnTo>
                  <a:pt x="41603" y="66037"/>
                </a:lnTo>
                <a:lnTo>
                  <a:pt x="39999" y="66320"/>
                </a:lnTo>
                <a:lnTo>
                  <a:pt x="38396" y="66508"/>
                </a:lnTo>
                <a:lnTo>
                  <a:pt x="36792" y="66697"/>
                </a:lnTo>
                <a:lnTo>
                  <a:pt x="33584" y="66980"/>
                </a:lnTo>
                <a:lnTo>
                  <a:pt x="32169" y="67169"/>
                </a:lnTo>
                <a:lnTo>
                  <a:pt x="30754" y="67357"/>
                </a:lnTo>
                <a:lnTo>
                  <a:pt x="30094" y="67357"/>
                </a:lnTo>
                <a:lnTo>
                  <a:pt x="29339" y="67263"/>
                </a:lnTo>
                <a:lnTo>
                  <a:pt x="27830" y="66886"/>
                </a:lnTo>
                <a:lnTo>
                  <a:pt x="26415" y="66508"/>
                </a:lnTo>
                <a:lnTo>
                  <a:pt x="25754" y="66414"/>
                </a:lnTo>
                <a:lnTo>
                  <a:pt x="25094" y="66414"/>
                </a:lnTo>
                <a:lnTo>
                  <a:pt x="25566" y="66980"/>
                </a:lnTo>
                <a:lnTo>
                  <a:pt x="25471" y="67074"/>
                </a:lnTo>
                <a:lnTo>
                  <a:pt x="25188" y="66980"/>
                </a:lnTo>
                <a:lnTo>
                  <a:pt x="24339" y="66791"/>
                </a:lnTo>
                <a:lnTo>
                  <a:pt x="23773" y="66508"/>
                </a:lnTo>
                <a:lnTo>
                  <a:pt x="24245" y="66414"/>
                </a:lnTo>
                <a:lnTo>
                  <a:pt x="24717" y="66603"/>
                </a:lnTo>
                <a:lnTo>
                  <a:pt x="24811" y="66414"/>
                </a:lnTo>
                <a:lnTo>
                  <a:pt x="24811" y="66320"/>
                </a:lnTo>
                <a:lnTo>
                  <a:pt x="24717" y="66225"/>
                </a:lnTo>
                <a:lnTo>
                  <a:pt x="24528" y="66131"/>
                </a:lnTo>
                <a:lnTo>
                  <a:pt x="24151" y="66225"/>
                </a:lnTo>
                <a:lnTo>
                  <a:pt x="23679" y="66320"/>
                </a:lnTo>
                <a:lnTo>
                  <a:pt x="23018" y="66414"/>
                </a:lnTo>
                <a:lnTo>
                  <a:pt x="23490" y="66225"/>
                </a:lnTo>
                <a:lnTo>
                  <a:pt x="22075" y="65942"/>
                </a:lnTo>
                <a:lnTo>
                  <a:pt x="20943" y="65659"/>
                </a:lnTo>
                <a:lnTo>
                  <a:pt x="20000" y="65282"/>
                </a:lnTo>
                <a:lnTo>
                  <a:pt x="19056" y="64810"/>
                </a:lnTo>
                <a:lnTo>
                  <a:pt x="19056" y="64810"/>
                </a:lnTo>
                <a:lnTo>
                  <a:pt x="19717" y="64999"/>
                </a:lnTo>
                <a:lnTo>
                  <a:pt x="19151" y="64716"/>
                </a:lnTo>
                <a:lnTo>
                  <a:pt x="18962" y="64810"/>
                </a:lnTo>
                <a:lnTo>
                  <a:pt x="19151" y="64905"/>
                </a:lnTo>
                <a:lnTo>
                  <a:pt x="18490" y="64905"/>
                </a:lnTo>
                <a:lnTo>
                  <a:pt x="17830" y="64716"/>
                </a:lnTo>
                <a:lnTo>
                  <a:pt x="17264" y="64527"/>
                </a:lnTo>
                <a:lnTo>
                  <a:pt x="16698" y="64150"/>
                </a:lnTo>
                <a:lnTo>
                  <a:pt x="16981" y="64056"/>
                </a:lnTo>
                <a:lnTo>
                  <a:pt x="17264" y="64150"/>
                </a:lnTo>
                <a:lnTo>
                  <a:pt x="17264" y="64150"/>
                </a:lnTo>
                <a:lnTo>
                  <a:pt x="15188" y="63207"/>
                </a:lnTo>
                <a:lnTo>
                  <a:pt x="14622" y="62829"/>
                </a:lnTo>
                <a:lnTo>
                  <a:pt x="14717" y="62924"/>
                </a:lnTo>
                <a:lnTo>
                  <a:pt x="13773" y="62546"/>
                </a:lnTo>
                <a:lnTo>
                  <a:pt x="12924" y="62075"/>
                </a:lnTo>
                <a:lnTo>
                  <a:pt x="12358" y="61697"/>
                </a:lnTo>
                <a:lnTo>
                  <a:pt x="12264" y="61508"/>
                </a:lnTo>
                <a:lnTo>
                  <a:pt x="12170" y="61320"/>
                </a:lnTo>
                <a:lnTo>
                  <a:pt x="11698" y="60942"/>
                </a:lnTo>
                <a:lnTo>
                  <a:pt x="11132" y="60471"/>
                </a:lnTo>
                <a:lnTo>
                  <a:pt x="9906" y="59244"/>
                </a:lnTo>
                <a:lnTo>
                  <a:pt x="9906" y="59244"/>
                </a:lnTo>
                <a:lnTo>
                  <a:pt x="10566" y="59527"/>
                </a:lnTo>
                <a:lnTo>
                  <a:pt x="9434" y="58584"/>
                </a:lnTo>
                <a:lnTo>
                  <a:pt x="8207" y="57546"/>
                </a:lnTo>
                <a:lnTo>
                  <a:pt x="7547" y="56886"/>
                </a:lnTo>
                <a:lnTo>
                  <a:pt x="6981" y="56131"/>
                </a:lnTo>
                <a:lnTo>
                  <a:pt x="6226" y="55094"/>
                </a:lnTo>
                <a:lnTo>
                  <a:pt x="6415" y="55377"/>
                </a:lnTo>
                <a:lnTo>
                  <a:pt x="6038" y="54905"/>
                </a:lnTo>
                <a:lnTo>
                  <a:pt x="5472" y="54244"/>
                </a:lnTo>
                <a:lnTo>
                  <a:pt x="5283" y="53961"/>
                </a:lnTo>
                <a:lnTo>
                  <a:pt x="5094" y="53867"/>
                </a:lnTo>
                <a:lnTo>
                  <a:pt x="5377" y="54622"/>
                </a:lnTo>
                <a:lnTo>
                  <a:pt x="5849" y="55282"/>
                </a:lnTo>
                <a:lnTo>
                  <a:pt x="6321" y="55943"/>
                </a:lnTo>
                <a:lnTo>
                  <a:pt x="6698" y="56603"/>
                </a:lnTo>
                <a:lnTo>
                  <a:pt x="6226" y="56226"/>
                </a:lnTo>
                <a:lnTo>
                  <a:pt x="5943" y="55848"/>
                </a:lnTo>
                <a:lnTo>
                  <a:pt x="6038" y="56037"/>
                </a:lnTo>
                <a:lnTo>
                  <a:pt x="5943" y="55943"/>
                </a:lnTo>
                <a:lnTo>
                  <a:pt x="5377" y="55188"/>
                </a:lnTo>
                <a:lnTo>
                  <a:pt x="5000" y="54716"/>
                </a:lnTo>
                <a:lnTo>
                  <a:pt x="4717" y="54150"/>
                </a:lnTo>
                <a:lnTo>
                  <a:pt x="4528" y="53678"/>
                </a:lnTo>
                <a:lnTo>
                  <a:pt x="4528" y="53584"/>
                </a:lnTo>
                <a:lnTo>
                  <a:pt x="4623" y="53395"/>
                </a:lnTo>
                <a:lnTo>
                  <a:pt x="5094" y="54244"/>
                </a:lnTo>
                <a:lnTo>
                  <a:pt x="4717" y="53301"/>
                </a:lnTo>
                <a:lnTo>
                  <a:pt x="4528" y="53018"/>
                </a:lnTo>
                <a:lnTo>
                  <a:pt x="4151" y="52263"/>
                </a:lnTo>
                <a:lnTo>
                  <a:pt x="4151" y="52169"/>
                </a:lnTo>
                <a:lnTo>
                  <a:pt x="3774" y="51509"/>
                </a:lnTo>
                <a:lnTo>
                  <a:pt x="3396" y="50660"/>
                </a:lnTo>
                <a:lnTo>
                  <a:pt x="3585" y="51603"/>
                </a:lnTo>
                <a:lnTo>
                  <a:pt x="3396" y="51226"/>
                </a:lnTo>
                <a:lnTo>
                  <a:pt x="3208" y="50848"/>
                </a:lnTo>
                <a:lnTo>
                  <a:pt x="3208" y="50471"/>
                </a:lnTo>
                <a:lnTo>
                  <a:pt x="3208" y="50094"/>
                </a:lnTo>
                <a:lnTo>
                  <a:pt x="3585" y="50754"/>
                </a:lnTo>
                <a:lnTo>
                  <a:pt x="3868" y="51509"/>
                </a:lnTo>
                <a:lnTo>
                  <a:pt x="3868" y="51509"/>
                </a:lnTo>
                <a:lnTo>
                  <a:pt x="3208" y="49528"/>
                </a:lnTo>
                <a:lnTo>
                  <a:pt x="3208" y="49528"/>
                </a:lnTo>
                <a:lnTo>
                  <a:pt x="3868" y="50754"/>
                </a:lnTo>
                <a:lnTo>
                  <a:pt x="3208" y="48962"/>
                </a:lnTo>
                <a:lnTo>
                  <a:pt x="3585" y="49339"/>
                </a:lnTo>
                <a:lnTo>
                  <a:pt x="3774" y="49433"/>
                </a:lnTo>
                <a:lnTo>
                  <a:pt x="3962" y="49528"/>
                </a:lnTo>
                <a:lnTo>
                  <a:pt x="4057" y="49905"/>
                </a:lnTo>
                <a:lnTo>
                  <a:pt x="3868" y="48962"/>
                </a:lnTo>
                <a:lnTo>
                  <a:pt x="3491" y="47924"/>
                </a:lnTo>
                <a:lnTo>
                  <a:pt x="2641" y="45565"/>
                </a:lnTo>
                <a:lnTo>
                  <a:pt x="2170" y="43867"/>
                </a:lnTo>
                <a:lnTo>
                  <a:pt x="1698" y="41886"/>
                </a:lnTo>
                <a:lnTo>
                  <a:pt x="1698" y="41886"/>
                </a:lnTo>
                <a:lnTo>
                  <a:pt x="1887" y="42075"/>
                </a:lnTo>
                <a:lnTo>
                  <a:pt x="1981" y="41981"/>
                </a:lnTo>
                <a:lnTo>
                  <a:pt x="2075" y="42075"/>
                </a:lnTo>
                <a:lnTo>
                  <a:pt x="2264" y="42169"/>
                </a:lnTo>
                <a:lnTo>
                  <a:pt x="2170" y="40283"/>
                </a:lnTo>
                <a:lnTo>
                  <a:pt x="2075" y="38301"/>
                </a:lnTo>
                <a:lnTo>
                  <a:pt x="2170" y="36415"/>
                </a:lnTo>
                <a:lnTo>
                  <a:pt x="2358" y="35566"/>
                </a:lnTo>
                <a:lnTo>
                  <a:pt x="2453" y="34811"/>
                </a:lnTo>
                <a:lnTo>
                  <a:pt x="2830" y="32830"/>
                </a:lnTo>
                <a:lnTo>
                  <a:pt x="2830" y="33207"/>
                </a:lnTo>
                <a:lnTo>
                  <a:pt x="2924" y="33490"/>
                </a:lnTo>
                <a:lnTo>
                  <a:pt x="2924" y="32453"/>
                </a:lnTo>
                <a:lnTo>
                  <a:pt x="3019" y="31415"/>
                </a:lnTo>
                <a:lnTo>
                  <a:pt x="3396" y="29245"/>
                </a:lnTo>
                <a:lnTo>
                  <a:pt x="3868" y="27075"/>
                </a:lnTo>
                <a:lnTo>
                  <a:pt x="4623" y="25000"/>
                </a:lnTo>
                <a:lnTo>
                  <a:pt x="5566" y="22830"/>
                </a:lnTo>
                <a:lnTo>
                  <a:pt x="6604" y="20849"/>
                </a:lnTo>
                <a:lnTo>
                  <a:pt x="7830" y="18868"/>
                </a:lnTo>
                <a:lnTo>
                  <a:pt x="9151" y="16887"/>
                </a:lnTo>
                <a:lnTo>
                  <a:pt x="10566" y="15094"/>
                </a:lnTo>
                <a:lnTo>
                  <a:pt x="12075" y="13302"/>
                </a:lnTo>
                <a:lnTo>
                  <a:pt x="13773" y="11698"/>
                </a:lnTo>
                <a:lnTo>
                  <a:pt x="15377" y="10095"/>
                </a:lnTo>
                <a:lnTo>
                  <a:pt x="17170" y="8679"/>
                </a:lnTo>
                <a:lnTo>
                  <a:pt x="18962" y="7453"/>
                </a:lnTo>
                <a:lnTo>
                  <a:pt x="20754" y="6321"/>
                </a:lnTo>
                <a:lnTo>
                  <a:pt x="22547" y="5378"/>
                </a:lnTo>
                <a:lnTo>
                  <a:pt x="21603" y="6227"/>
                </a:lnTo>
                <a:lnTo>
                  <a:pt x="22641" y="5472"/>
                </a:lnTo>
                <a:lnTo>
                  <a:pt x="23302" y="5095"/>
                </a:lnTo>
                <a:lnTo>
                  <a:pt x="25377" y="4151"/>
                </a:lnTo>
                <a:lnTo>
                  <a:pt x="24811" y="4151"/>
                </a:lnTo>
                <a:lnTo>
                  <a:pt x="25660" y="3774"/>
                </a:lnTo>
                <a:lnTo>
                  <a:pt x="26886" y="3208"/>
                </a:lnTo>
                <a:lnTo>
                  <a:pt x="26603" y="3585"/>
                </a:lnTo>
                <a:lnTo>
                  <a:pt x="26886" y="3585"/>
                </a:lnTo>
                <a:lnTo>
                  <a:pt x="26886" y="3680"/>
                </a:lnTo>
                <a:lnTo>
                  <a:pt x="26792" y="3774"/>
                </a:lnTo>
                <a:lnTo>
                  <a:pt x="28301" y="3302"/>
                </a:lnTo>
                <a:lnTo>
                  <a:pt x="29622" y="2736"/>
                </a:lnTo>
                <a:lnTo>
                  <a:pt x="31037" y="2264"/>
                </a:lnTo>
                <a:lnTo>
                  <a:pt x="31792" y="2076"/>
                </a:lnTo>
                <a:lnTo>
                  <a:pt x="32641" y="1981"/>
                </a:lnTo>
                <a:lnTo>
                  <a:pt x="32547" y="2076"/>
                </a:lnTo>
                <a:lnTo>
                  <a:pt x="32924" y="1981"/>
                </a:lnTo>
                <a:lnTo>
                  <a:pt x="34245" y="1793"/>
                </a:lnTo>
                <a:lnTo>
                  <a:pt x="35848" y="1415"/>
                </a:lnTo>
                <a:lnTo>
                  <a:pt x="36981" y="1132"/>
                </a:lnTo>
                <a:lnTo>
                  <a:pt x="36981" y="1415"/>
                </a:lnTo>
                <a:lnTo>
                  <a:pt x="40943" y="1227"/>
                </a:lnTo>
                <a:lnTo>
                  <a:pt x="41509" y="1038"/>
                </a:lnTo>
                <a:lnTo>
                  <a:pt x="41697" y="1132"/>
                </a:lnTo>
                <a:lnTo>
                  <a:pt x="41509" y="1227"/>
                </a:lnTo>
                <a:lnTo>
                  <a:pt x="41320" y="1321"/>
                </a:lnTo>
                <a:lnTo>
                  <a:pt x="42263" y="1321"/>
                </a:lnTo>
                <a:lnTo>
                  <a:pt x="43113" y="1227"/>
                </a:lnTo>
                <a:lnTo>
                  <a:pt x="43396" y="1415"/>
                </a:lnTo>
                <a:lnTo>
                  <a:pt x="44056" y="1604"/>
                </a:lnTo>
                <a:lnTo>
                  <a:pt x="45943" y="2076"/>
                </a:lnTo>
                <a:lnTo>
                  <a:pt x="48018" y="2359"/>
                </a:lnTo>
                <a:lnTo>
                  <a:pt x="49622" y="2736"/>
                </a:lnTo>
                <a:lnTo>
                  <a:pt x="47641" y="1981"/>
                </a:lnTo>
                <a:lnTo>
                  <a:pt x="45282" y="1321"/>
                </a:lnTo>
                <a:lnTo>
                  <a:pt x="42735" y="755"/>
                </a:lnTo>
                <a:lnTo>
                  <a:pt x="40188" y="283"/>
                </a:lnTo>
                <a:lnTo>
                  <a:pt x="37735" y="95"/>
                </a:lnTo>
                <a:lnTo>
                  <a:pt x="35471" y="0"/>
                </a:lnTo>
                <a:close/>
              </a:path>
            </a:pathLst>
          </a:custGeom>
          <a:solidFill>
            <a:srgbClr val="C5277F">
              <a:alpha val="62000"/>
            </a:srgbClr>
          </a:solidFill>
          <a:ln>
            <a:solidFill>
              <a:srgbClr val="C5277F">
                <a:alpha val="60000"/>
              </a:srgbClr>
            </a:solidFill>
          </a:ln>
        </p:spPr>
        <p:txBody>
          <a:bodyPr spcFirstLastPara="1" wrap="square" lIns="91425" tIns="91425" rIns="91425" bIns="91425" anchor="ctr" anchorCtr="0">
            <a:noAutofit/>
          </a:bodyPr>
          <a:lstStyle/>
          <a:p>
            <a:pPr marL="0" lvl="0" indent="0">
              <a:spcBef>
                <a:spcPts val="0"/>
              </a:spcBef>
              <a:spcAft>
                <a:spcPts val="0"/>
              </a:spcAft>
              <a:buNone/>
            </a:pPr>
            <a:endParaRPr sz="1200">
              <a:latin typeface="Comic Sans MS" panose="030F0902030302020204" pitchFamily="66" charset="0"/>
            </a:endParaRPr>
          </a:p>
        </p:txBody>
      </p:sp>
      <p:cxnSp>
        <p:nvCxnSpPr>
          <p:cNvPr id="219" name="Straight Connector 218">
            <a:extLst>
              <a:ext uri="{FF2B5EF4-FFF2-40B4-BE49-F238E27FC236}">
                <a16:creationId xmlns:a16="http://schemas.microsoft.com/office/drawing/2014/main" id="{B1C5D57A-CF39-3440-A251-C8A24E4E43C7}"/>
              </a:ext>
            </a:extLst>
          </p:cNvPr>
          <p:cNvCxnSpPr>
            <a:cxnSpLocks/>
          </p:cNvCxnSpPr>
          <p:nvPr/>
        </p:nvCxnSpPr>
        <p:spPr>
          <a:xfrm flipV="1">
            <a:off x="4607780" y="2175651"/>
            <a:ext cx="466943" cy="429577"/>
          </a:xfrm>
          <a:prstGeom prst="line">
            <a:avLst/>
          </a:prstGeom>
          <a:ln w="12700">
            <a:solidFill>
              <a:schemeClr val="tx1">
                <a:lumMod val="50000"/>
              </a:schemeClr>
            </a:solidFill>
            <a:headEnd type="oval"/>
          </a:ln>
        </p:spPr>
        <p:style>
          <a:lnRef idx="1">
            <a:schemeClr val="accent1"/>
          </a:lnRef>
          <a:fillRef idx="0">
            <a:schemeClr val="accent1"/>
          </a:fillRef>
          <a:effectRef idx="0">
            <a:schemeClr val="accent1"/>
          </a:effectRef>
          <a:fontRef idx="minor">
            <a:schemeClr val="tx1"/>
          </a:fontRef>
        </p:style>
      </p:cxnSp>
      <p:cxnSp>
        <p:nvCxnSpPr>
          <p:cNvPr id="222" name="Straight Connector 221">
            <a:extLst>
              <a:ext uri="{FF2B5EF4-FFF2-40B4-BE49-F238E27FC236}">
                <a16:creationId xmlns:a16="http://schemas.microsoft.com/office/drawing/2014/main" id="{499E7571-831D-A049-8693-686F207A48B2}"/>
              </a:ext>
            </a:extLst>
          </p:cNvPr>
          <p:cNvCxnSpPr>
            <a:cxnSpLocks/>
          </p:cNvCxnSpPr>
          <p:nvPr/>
        </p:nvCxnSpPr>
        <p:spPr>
          <a:xfrm flipH="1" flipV="1">
            <a:off x="5835835" y="1995901"/>
            <a:ext cx="693129" cy="193001"/>
          </a:xfrm>
          <a:prstGeom prst="line">
            <a:avLst/>
          </a:prstGeom>
          <a:ln w="12700">
            <a:solidFill>
              <a:schemeClr val="tx1">
                <a:lumMod val="50000"/>
              </a:schemeClr>
            </a:solidFill>
            <a:headEnd type="oval"/>
          </a:ln>
        </p:spPr>
        <p:style>
          <a:lnRef idx="1">
            <a:schemeClr val="accent1"/>
          </a:lnRef>
          <a:fillRef idx="0">
            <a:schemeClr val="accent1"/>
          </a:fillRef>
          <a:effectRef idx="0">
            <a:schemeClr val="accent1"/>
          </a:effectRef>
          <a:fontRef idx="minor">
            <a:schemeClr val="tx1"/>
          </a:fontRef>
        </p:style>
      </p:cxnSp>
      <p:sp>
        <p:nvSpPr>
          <p:cNvPr id="229" name="TextBox 228">
            <a:extLst>
              <a:ext uri="{FF2B5EF4-FFF2-40B4-BE49-F238E27FC236}">
                <a16:creationId xmlns:a16="http://schemas.microsoft.com/office/drawing/2014/main" id="{F0325C07-016A-5441-B883-01853F7E2FF0}"/>
              </a:ext>
            </a:extLst>
          </p:cNvPr>
          <p:cNvSpPr txBox="1"/>
          <p:nvPr/>
        </p:nvSpPr>
        <p:spPr>
          <a:xfrm rot="20770149">
            <a:off x="4769816" y="1749529"/>
            <a:ext cx="1309974" cy="489534"/>
          </a:xfrm>
          <a:prstGeom prst="rect">
            <a:avLst/>
          </a:prstGeom>
          <a:noFill/>
        </p:spPr>
        <p:txBody>
          <a:bodyPr wrap="none" tIns="90000" bIns="90000" rtlCol="0" anchor="t">
            <a:spAutoFit/>
          </a:bodyPr>
          <a:lstStyle/>
          <a:p>
            <a:pPr algn="ctr"/>
            <a:r>
              <a:rPr lang="en-US" sz="1000" dirty="0">
                <a:solidFill>
                  <a:schemeClr val="tx1">
                    <a:lumMod val="50000"/>
                  </a:schemeClr>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Synchronous Edge </a:t>
            </a:r>
          </a:p>
          <a:p>
            <a:pPr algn="ctr"/>
            <a:r>
              <a:rPr lang="en-US" sz="1000" dirty="0">
                <a:solidFill>
                  <a:schemeClr val="tx1">
                    <a:lumMod val="50000"/>
                  </a:schemeClr>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Service</a:t>
            </a:r>
          </a:p>
        </p:txBody>
      </p:sp>
      <p:cxnSp>
        <p:nvCxnSpPr>
          <p:cNvPr id="230" name="Straight Connector 229">
            <a:extLst>
              <a:ext uri="{FF2B5EF4-FFF2-40B4-BE49-F238E27FC236}">
                <a16:creationId xmlns:a16="http://schemas.microsoft.com/office/drawing/2014/main" id="{E03ED61E-4541-D241-A375-3E5A303395A0}"/>
              </a:ext>
            </a:extLst>
          </p:cNvPr>
          <p:cNvCxnSpPr>
            <a:cxnSpLocks/>
          </p:cNvCxnSpPr>
          <p:nvPr/>
        </p:nvCxnSpPr>
        <p:spPr>
          <a:xfrm>
            <a:off x="6117572" y="3911614"/>
            <a:ext cx="494966" cy="32704"/>
          </a:xfrm>
          <a:prstGeom prst="line">
            <a:avLst/>
          </a:prstGeom>
          <a:ln w="12700">
            <a:solidFill>
              <a:schemeClr val="tx1">
                <a:lumMod val="50000"/>
              </a:schemeClr>
            </a:solidFill>
            <a:headEnd type="oval"/>
          </a:ln>
        </p:spPr>
        <p:style>
          <a:lnRef idx="1">
            <a:schemeClr val="accent1"/>
          </a:lnRef>
          <a:fillRef idx="0">
            <a:schemeClr val="accent1"/>
          </a:fillRef>
          <a:effectRef idx="0">
            <a:schemeClr val="accent1"/>
          </a:effectRef>
          <a:fontRef idx="minor">
            <a:schemeClr val="tx1"/>
          </a:fontRef>
        </p:style>
      </p:cxnSp>
      <p:cxnSp>
        <p:nvCxnSpPr>
          <p:cNvPr id="233" name="Straight Connector 232">
            <a:extLst>
              <a:ext uri="{FF2B5EF4-FFF2-40B4-BE49-F238E27FC236}">
                <a16:creationId xmlns:a16="http://schemas.microsoft.com/office/drawing/2014/main" id="{89B44D90-469E-1446-A13B-0E3BB50C475C}"/>
              </a:ext>
            </a:extLst>
          </p:cNvPr>
          <p:cNvCxnSpPr>
            <a:cxnSpLocks/>
          </p:cNvCxnSpPr>
          <p:nvPr/>
        </p:nvCxnSpPr>
        <p:spPr>
          <a:xfrm>
            <a:off x="6824580" y="2553889"/>
            <a:ext cx="16823" cy="1250521"/>
          </a:xfrm>
          <a:prstGeom prst="line">
            <a:avLst/>
          </a:prstGeom>
          <a:ln w="12700">
            <a:solidFill>
              <a:schemeClr val="tx1">
                <a:lumMod val="50000"/>
              </a:schemeClr>
            </a:solidFill>
            <a:headEnd type="oval"/>
          </a:ln>
        </p:spPr>
        <p:style>
          <a:lnRef idx="1">
            <a:schemeClr val="accent1"/>
          </a:lnRef>
          <a:fillRef idx="0">
            <a:schemeClr val="accent1"/>
          </a:fillRef>
          <a:effectRef idx="0">
            <a:schemeClr val="accent1"/>
          </a:effectRef>
          <a:fontRef idx="minor">
            <a:schemeClr val="tx1"/>
          </a:fontRef>
        </p:style>
      </p:cxnSp>
      <p:sp>
        <p:nvSpPr>
          <p:cNvPr id="236" name="TextBox 235">
            <a:extLst>
              <a:ext uri="{FF2B5EF4-FFF2-40B4-BE49-F238E27FC236}">
                <a16:creationId xmlns:a16="http://schemas.microsoft.com/office/drawing/2014/main" id="{17C13164-D515-5F47-BD57-B434038B2121}"/>
              </a:ext>
            </a:extLst>
          </p:cNvPr>
          <p:cNvSpPr txBox="1"/>
          <p:nvPr/>
        </p:nvSpPr>
        <p:spPr>
          <a:xfrm>
            <a:off x="6579957" y="3724625"/>
            <a:ext cx="913073" cy="504923"/>
          </a:xfrm>
          <a:prstGeom prst="rect">
            <a:avLst/>
          </a:prstGeom>
          <a:noFill/>
        </p:spPr>
        <p:txBody>
          <a:bodyPr wrap="square" tIns="90000" bIns="90000" rtlCol="0" anchor="t">
            <a:spAutoFit/>
          </a:bodyPr>
          <a:lstStyle/>
          <a:p>
            <a:pPr algn="ctr"/>
            <a:r>
              <a:rPr lang="en-US" sz="1000" dirty="0">
                <a:solidFill>
                  <a:schemeClr val="tx1">
                    <a:lumMod val="50000"/>
                  </a:schemeClr>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Event Driver Core</a:t>
            </a:r>
          </a:p>
        </p:txBody>
      </p:sp>
    </p:spTree>
    <p:extLst>
      <p:ext uri="{BB962C8B-B14F-4D97-AF65-F5344CB8AC3E}">
        <p14:creationId xmlns:p14="http://schemas.microsoft.com/office/powerpoint/2010/main" val="190731140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ángulo 4"/>
          <p:cNvSpPr/>
          <p:nvPr/>
        </p:nvSpPr>
        <p:spPr>
          <a:xfrm>
            <a:off x="4581515" y="3028895"/>
            <a:ext cx="3785246" cy="400105"/>
          </a:xfrm>
          <a:prstGeom prst="rect">
            <a:avLst/>
          </a:prstGeom>
          <a:ln w="12700">
            <a:miter lim="400000"/>
          </a:ln>
        </p:spPr>
        <p:txBody>
          <a:bodyPr wrap="square" lIns="45718" tIns="45718" rIns="45718" bIns="45718">
            <a:spAutoFit/>
          </a:bodyPr>
          <a:lstStyle/>
          <a:p>
            <a:pPr defTabSz="914400"/>
            <a:r>
              <a:rPr lang="es-MX" sz="2000" b="1" dirty="0">
                <a:solidFill>
                  <a:srgbClr val="016AA2"/>
                </a:solidFill>
                <a:ea typeface="Arial"/>
                <a:cs typeface="Arial"/>
              </a:rPr>
              <a:t>Needs and Solution Proposal</a:t>
            </a:r>
          </a:p>
        </p:txBody>
      </p:sp>
    </p:spTree>
    <p:extLst>
      <p:ext uri="{BB962C8B-B14F-4D97-AF65-F5344CB8AC3E}">
        <p14:creationId xmlns:p14="http://schemas.microsoft.com/office/powerpoint/2010/main" val="2655740497"/>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tangle 3">
            <a:extLst>
              <a:ext uri="{FF2B5EF4-FFF2-40B4-BE49-F238E27FC236}">
                <a16:creationId xmlns:a16="http://schemas.microsoft.com/office/drawing/2014/main" id="{A27FD23C-A522-0E4F-B70C-CC83BC4542BA}"/>
              </a:ext>
            </a:extLst>
          </p:cNvPr>
          <p:cNvSpPr txBox="1"/>
          <p:nvPr/>
        </p:nvSpPr>
        <p:spPr>
          <a:xfrm>
            <a:off x="404808" y="237462"/>
            <a:ext cx="7585857" cy="400105"/>
          </a:xfrm>
          <a:prstGeom prst="rect">
            <a:avLst/>
          </a:prstGeom>
          <a:ln w="12700">
            <a:miter lim="400000"/>
          </a:ln>
          <a:extLst>
            <a:ext uri="{C572A759-6A51-4108-AA02-DFA0A04FC94B}">
              <ma14:wrappingTextBoxFlag xmlns:ma14="http://schemas.microsoft.com/office/mac/drawingml/2011/main" xmlns="" val="1"/>
            </a:ext>
          </a:extLst>
        </p:spPr>
        <p:txBody>
          <a:bodyPr wrap="square" lIns="45718" tIns="45718" rIns="45718" bIns="45718">
            <a:spAutoFit/>
          </a:bodyPr>
          <a:lstStyle>
            <a:lvl1pPr algn="l" defTabSz="914400">
              <a:defRPr sz="2200" b="1">
                <a:solidFill>
                  <a:srgbClr val="FFFFFF"/>
                </a:solidFill>
                <a:latin typeface="Arial"/>
                <a:ea typeface="Arial"/>
                <a:cs typeface="Arial"/>
                <a:sym typeface="Arial"/>
              </a:defRPr>
            </a:lvl1pPr>
          </a:lstStyle>
          <a:p>
            <a:r>
              <a:rPr lang="en-US" sz="2000" dirty="0">
                <a:solidFill>
                  <a:srgbClr val="016AA2"/>
                </a:solidFill>
              </a:rPr>
              <a:t>Needs and Solution Proposal (I)</a:t>
            </a:r>
          </a:p>
        </p:txBody>
      </p:sp>
      <p:sp>
        <p:nvSpPr>
          <p:cNvPr id="65" name="Rectangle 3"/>
          <p:cNvSpPr txBox="1"/>
          <p:nvPr/>
        </p:nvSpPr>
        <p:spPr>
          <a:xfrm>
            <a:off x="404807" y="610135"/>
            <a:ext cx="4697545" cy="369328"/>
          </a:xfrm>
          <a:prstGeom prst="rect">
            <a:avLst/>
          </a:prstGeom>
          <a:ln w="12700">
            <a:miter lim="400000"/>
          </a:ln>
          <a:extLst>
            <a:ext uri="{C572A759-6A51-4108-AA02-DFA0A04FC94B}">
              <ma14:wrappingTextBoxFlag xmlns="" xmlns:ma14="http://schemas.microsoft.com/office/mac/drawingml/2011/main" val="1"/>
            </a:ext>
          </a:extLst>
        </p:spPr>
        <p:txBody>
          <a:bodyPr wrap="square" lIns="45718" tIns="45718" rIns="45718" bIns="45718">
            <a:spAutoFit/>
          </a:bodyPr>
          <a:lstStyle>
            <a:lvl1pPr algn="l" defTabSz="914400">
              <a:defRPr sz="2000">
                <a:solidFill>
                  <a:srgbClr val="104D6A"/>
                </a:solidFill>
                <a:latin typeface="Arial"/>
                <a:ea typeface="Arial"/>
                <a:cs typeface="Arial"/>
                <a:sym typeface="Arial"/>
              </a:defRPr>
            </a:lvl1pPr>
          </a:lstStyle>
          <a:p>
            <a:pPr>
              <a:defRPr/>
            </a:pPr>
            <a:r>
              <a:rPr lang="es-ES" sz="1800" b="1" dirty="0">
                <a:solidFill>
                  <a:srgbClr val="73C4EF"/>
                </a:solidFill>
              </a:rPr>
              <a:t>Descripción de la solución técnica</a:t>
            </a:r>
            <a:endParaRPr lang="es-ES_tradnl" sz="1800" b="1" dirty="0">
              <a:solidFill>
                <a:srgbClr val="73C4EF"/>
              </a:solidFill>
            </a:endParaRPr>
          </a:p>
        </p:txBody>
      </p:sp>
      <p:sp>
        <p:nvSpPr>
          <p:cNvPr id="4" name="Rectangle 5">
            <a:extLst>
              <a:ext uri="{FF2B5EF4-FFF2-40B4-BE49-F238E27FC236}">
                <a16:creationId xmlns:a16="http://schemas.microsoft.com/office/drawing/2014/main" id="{3355A4A6-7EC1-2A4B-96F1-BEEB1B846054}"/>
              </a:ext>
            </a:extLst>
          </p:cNvPr>
          <p:cNvSpPr>
            <a:spLocks noChangeArrowheads="1"/>
          </p:cNvSpPr>
          <p:nvPr/>
        </p:nvSpPr>
        <p:spPr bwMode="auto">
          <a:xfrm>
            <a:off x="336550" y="1095502"/>
            <a:ext cx="11312906" cy="10746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buClr>
                <a:srgbClr val="FF0000"/>
              </a:buClr>
              <a:buChar char="w"/>
              <a:defRPr sz="2400" b="1">
                <a:solidFill>
                  <a:srgbClr val="FF0000"/>
                </a:solidFill>
                <a:latin typeface="Arial" charset="0"/>
              </a:defRPr>
            </a:lvl1pPr>
            <a:lvl2pPr marL="441325" indent="-261938" eaLnBrk="0" hangingPunct="0">
              <a:buClr>
                <a:schemeClr val="bg2"/>
              </a:buClr>
              <a:buChar char="§"/>
              <a:defRPr sz="2600">
                <a:solidFill>
                  <a:srgbClr val="808080"/>
                </a:solidFill>
                <a:latin typeface="Arial" charset="0"/>
              </a:defRPr>
            </a:lvl2pPr>
            <a:lvl3pPr marL="1050925" indent="-171450" eaLnBrk="0" hangingPunct="0">
              <a:buClr>
                <a:schemeClr val="tx1"/>
              </a:buClr>
              <a:buFont typeface="Arial" charset="0"/>
              <a:buChar char="–"/>
              <a:defRPr sz="2000">
                <a:solidFill>
                  <a:schemeClr val="bg2"/>
                </a:solidFill>
                <a:latin typeface="Arial" charset="0"/>
              </a:defRPr>
            </a:lvl3pPr>
            <a:lvl4pPr marL="1600200" indent="-228600" eaLnBrk="0" hangingPunct="0">
              <a:buClr>
                <a:schemeClr val="tx1"/>
              </a:buClr>
              <a:buFont typeface="Arial" charset="0"/>
              <a:buChar char="–"/>
              <a:defRPr sz="2000">
                <a:solidFill>
                  <a:schemeClr val="bg2"/>
                </a:solidFill>
                <a:latin typeface="Arial" charset="0"/>
              </a:defRPr>
            </a:lvl4pPr>
            <a:lvl5pPr marL="2057400" indent="-228600" eaLnBrk="0" hangingPunct="0">
              <a:buClr>
                <a:schemeClr val="tx1"/>
              </a:buClr>
              <a:buFont typeface="Arial" charset="0"/>
              <a:buChar char="–"/>
              <a:defRPr sz="2000">
                <a:solidFill>
                  <a:schemeClr val="bg2"/>
                </a:solidFill>
                <a:latin typeface="Arial" charset="0"/>
              </a:defRPr>
            </a:lvl5pPr>
            <a:lvl6pPr marL="2514600" indent="-228600" eaLnBrk="0" fontAlgn="base" hangingPunct="0">
              <a:spcBef>
                <a:spcPct val="20000"/>
              </a:spcBef>
              <a:spcAft>
                <a:spcPct val="0"/>
              </a:spcAft>
              <a:buClr>
                <a:schemeClr val="tx1"/>
              </a:buClr>
              <a:buFont typeface="Arial" charset="0"/>
              <a:buChar char="–"/>
              <a:defRPr sz="2000">
                <a:solidFill>
                  <a:schemeClr val="bg2"/>
                </a:solidFill>
                <a:latin typeface="Arial" charset="0"/>
              </a:defRPr>
            </a:lvl6pPr>
            <a:lvl7pPr marL="2971800" indent="-228600" eaLnBrk="0" fontAlgn="base" hangingPunct="0">
              <a:spcBef>
                <a:spcPct val="20000"/>
              </a:spcBef>
              <a:spcAft>
                <a:spcPct val="0"/>
              </a:spcAft>
              <a:buClr>
                <a:schemeClr val="tx1"/>
              </a:buClr>
              <a:buFont typeface="Arial" charset="0"/>
              <a:buChar char="–"/>
              <a:defRPr sz="2000">
                <a:solidFill>
                  <a:schemeClr val="bg2"/>
                </a:solidFill>
                <a:latin typeface="Arial" charset="0"/>
              </a:defRPr>
            </a:lvl7pPr>
            <a:lvl8pPr marL="3429000" indent="-228600" eaLnBrk="0" fontAlgn="base" hangingPunct="0">
              <a:spcBef>
                <a:spcPct val="20000"/>
              </a:spcBef>
              <a:spcAft>
                <a:spcPct val="0"/>
              </a:spcAft>
              <a:buClr>
                <a:schemeClr val="tx1"/>
              </a:buClr>
              <a:buFont typeface="Arial" charset="0"/>
              <a:buChar char="–"/>
              <a:defRPr sz="2000">
                <a:solidFill>
                  <a:schemeClr val="bg2"/>
                </a:solidFill>
                <a:latin typeface="Arial" charset="0"/>
              </a:defRPr>
            </a:lvl8pPr>
            <a:lvl9pPr marL="3886200" indent="-228600" eaLnBrk="0" fontAlgn="base" hangingPunct="0">
              <a:spcBef>
                <a:spcPct val="20000"/>
              </a:spcBef>
              <a:spcAft>
                <a:spcPct val="0"/>
              </a:spcAft>
              <a:buClr>
                <a:schemeClr val="tx1"/>
              </a:buClr>
              <a:buFont typeface="Arial" charset="0"/>
              <a:buChar char="–"/>
              <a:defRPr sz="2000">
                <a:solidFill>
                  <a:schemeClr val="bg2"/>
                </a:solidFill>
                <a:latin typeface="Arial" charset="0"/>
              </a:defRPr>
            </a:lvl9pPr>
          </a:lstStyle>
          <a:p>
            <a:pPr marL="179387" lvl="1" indent="0" algn="just" eaLnBrk="1" hangingPunct="1">
              <a:spcBef>
                <a:spcPct val="20000"/>
              </a:spcBef>
              <a:buClr>
                <a:schemeClr val="accent2"/>
              </a:buClr>
              <a:buSzPct val="65000"/>
              <a:buFont typeface="Wingdings" panose="05000000000000000000" pitchFamily="2" charset="2"/>
              <a:buNone/>
              <a:defRPr/>
            </a:pPr>
            <a:r>
              <a:rPr lang="es-ES_tradnl" altLang="es-MX" sz="1400" b="1" dirty="0" err="1">
                <a:solidFill>
                  <a:srgbClr val="C5277F"/>
                </a:solidFill>
              </a:rPr>
              <a:t>Objective</a:t>
            </a:r>
            <a:endParaRPr lang="es-ES_tradnl" altLang="es-MX" sz="1400" b="1" dirty="0">
              <a:solidFill>
                <a:srgbClr val="C5277F"/>
              </a:solidFill>
            </a:endParaRPr>
          </a:p>
          <a:p>
            <a:pPr marL="179387" lvl="1" indent="0" algn="just" eaLnBrk="1" hangingPunct="1">
              <a:spcBef>
                <a:spcPct val="20000"/>
              </a:spcBef>
              <a:buClr>
                <a:schemeClr val="accent2"/>
              </a:buClr>
              <a:buSzPct val="65000"/>
              <a:buFont typeface="Wingdings" panose="05000000000000000000" pitchFamily="2" charset="2"/>
              <a:buNone/>
              <a:defRPr/>
            </a:pPr>
            <a:endParaRPr lang="es-MX" altLang="es-MX" sz="1400" b="1" dirty="0">
              <a:solidFill>
                <a:srgbClr val="C5277F"/>
              </a:solidFill>
            </a:endParaRPr>
          </a:p>
          <a:p>
            <a:pPr lvl="1" algn="just" eaLnBrk="1" hangingPunct="1">
              <a:spcBef>
                <a:spcPct val="20000"/>
              </a:spcBef>
              <a:buClr>
                <a:srgbClr val="C5277F"/>
              </a:buClr>
              <a:buSzPct val="65000"/>
              <a:buFont typeface="Wingdings" panose="05000000000000000000" pitchFamily="2" charset="2"/>
              <a:buChar char="n"/>
              <a:defRPr/>
            </a:pPr>
            <a:r>
              <a:rPr lang="en-US" sz="1200" dirty="0">
                <a:solidFill>
                  <a:srgbClr val="0079D1"/>
                </a:solidFill>
                <a:latin typeface="Comic Sans MS" panose="030F0902030302020204" pitchFamily="66" charset="0"/>
              </a:rPr>
              <a:t>Define core components, pieces of code for the </a:t>
            </a:r>
            <a:r>
              <a:rPr lang="en-US" sz="1200" dirty="0" err="1">
                <a:solidFill>
                  <a:srgbClr val="0079D1"/>
                </a:solidFill>
                <a:latin typeface="Comic Sans MS" panose="030F0902030302020204" pitchFamily="66" charset="0"/>
              </a:rPr>
              <a:t>CitiBanamex</a:t>
            </a:r>
            <a:r>
              <a:rPr lang="en-US" sz="1200" dirty="0">
                <a:solidFill>
                  <a:srgbClr val="0079D1"/>
                </a:solidFill>
                <a:latin typeface="Comic Sans MS" panose="030F0902030302020204" pitchFamily="66" charset="0"/>
              </a:rPr>
              <a:t> Even Hub Reference Architecture</a:t>
            </a:r>
            <a:endParaRPr lang="es-ES_tradnl" sz="1200" dirty="0">
              <a:solidFill>
                <a:srgbClr val="0079D1"/>
              </a:solidFill>
              <a:latin typeface="Comic Sans MS" panose="030F0902030302020204" pitchFamily="66" charset="0"/>
            </a:endParaRPr>
          </a:p>
        </p:txBody>
      </p:sp>
      <p:sp>
        <p:nvSpPr>
          <p:cNvPr id="5" name="Rectangle 5">
            <a:extLst>
              <a:ext uri="{FF2B5EF4-FFF2-40B4-BE49-F238E27FC236}">
                <a16:creationId xmlns:a16="http://schemas.microsoft.com/office/drawing/2014/main" id="{61DEE32E-173B-864C-9632-1CC8BCE2452A}"/>
              </a:ext>
            </a:extLst>
          </p:cNvPr>
          <p:cNvSpPr>
            <a:spLocks noChangeArrowheads="1"/>
          </p:cNvSpPr>
          <p:nvPr/>
        </p:nvSpPr>
        <p:spPr bwMode="auto">
          <a:xfrm>
            <a:off x="336550" y="2092198"/>
            <a:ext cx="11312906" cy="11996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buClr>
                <a:srgbClr val="FF0000"/>
              </a:buClr>
              <a:buChar char="w"/>
              <a:defRPr sz="2400" b="1">
                <a:solidFill>
                  <a:srgbClr val="FF0000"/>
                </a:solidFill>
                <a:latin typeface="Arial" charset="0"/>
              </a:defRPr>
            </a:lvl1pPr>
            <a:lvl2pPr marL="441325" indent="-261938" eaLnBrk="0" hangingPunct="0">
              <a:buClr>
                <a:schemeClr val="bg2"/>
              </a:buClr>
              <a:buChar char="§"/>
              <a:defRPr sz="2600">
                <a:solidFill>
                  <a:srgbClr val="808080"/>
                </a:solidFill>
                <a:latin typeface="Arial" charset="0"/>
              </a:defRPr>
            </a:lvl2pPr>
            <a:lvl3pPr marL="1050925" indent="-171450" eaLnBrk="0" hangingPunct="0">
              <a:buClr>
                <a:schemeClr val="tx1"/>
              </a:buClr>
              <a:buFont typeface="Arial" charset="0"/>
              <a:buChar char="–"/>
              <a:defRPr sz="2000">
                <a:solidFill>
                  <a:schemeClr val="bg2"/>
                </a:solidFill>
                <a:latin typeface="Arial" charset="0"/>
              </a:defRPr>
            </a:lvl3pPr>
            <a:lvl4pPr marL="1600200" indent="-228600" eaLnBrk="0" hangingPunct="0">
              <a:buClr>
                <a:schemeClr val="tx1"/>
              </a:buClr>
              <a:buFont typeface="Arial" charset="0"/>
              <a:buChar char="–"/>
              <a:defRPr sz="2000">
                <a:solidFill>
                  <a:schemeClr val="bg2"/>
                </a:solidFill>
                <a:latin typeface="Arial" charset="0"/>
              </a:defRPr>
            </a:lvl4pPr>
            <a:lvl5pPr marL="2057400" indent="-228600" eaLnBrk="0" hangingPunct="0">
              <a:buClr>
                <a:schemeClr val="tx1"/>
              </a:buClr>
              <a:buFont typeface="Arial" charset="0"/>
              <a:buChar char="–"/>
              <a:defRPr sz="2000">
                <a:solidFill>
                  <a:schemeClr val="bg2"/>
                </a:solidFill>
                <a:latin typeface="Arial" charset="0"/>
              </a:defRPr>
            </a:lvl5pPr>
            <a:lvl6pPr marL="2514600" indent="-228600" eaLnBrk="0" fontAlgn="base" hangingPunct="0">
              <a:spcBef>
                <a:spcPct val="20000"/>
              </a:spcBef>
              <a:spcAft>
                <a:spcPct val="0"/>
              </a:spcAft>
              <a:buClr>
                <a:schemeClr val="tx1"/>
              </a:buClr>
              <a:buFont typeface="Arial" charset="0"/>
              <a:buChar char="–"/>
              <a:defRPr sz="2000">
                <a:solidFill>
                  <a:schemeClr val="bg2"/>
                </a:solidFill>
                <a:latin typeface="Arial" charset="0"/>
              </a:defRPr>
            </a:lvl6pPr>
            <a:lvl7pPr marL="2971800" indent="-228600" eaLnBrk="0" fontAlgn="base" hangingPunct="0">
              <a:spcBef>
                <a:spcPct val="20000"/>
              </a:spcBef>
              <a:spcAft>
                <a:spcPct val="0"/>
              </a:spcAft>
              <a:buClr>
                <a:schemeClr val="tx1"/>
              </a:buClr>
              <a:buFont typeface="Arial" charset="0"/>
              <a:buChar char="–"/>
              <a:defRPr sz="2000">
                <a:solidFill>
                  <a:schemeClr val="bg2"/>
                </a:solidFill>
                <a:latin typeface="Arial" charset="0"/>
              </a:defRPr>
            </a:lvl7pPr>
            <a:lvl8pPr marL="3429000" indent="-228600" eaLnBrk="0" fontAlgn="base" hangingPunct="0">
              <a:spcBef>
                <a:spcPct val="20000"/>
              </a:spcBef>
              <a:spcAft>
                <a:spcPct val="0"/>
              </a:spcAft>
              <a:buClr>
                <a:schemeClr val="tx1"/>
              </a:buClr>
              <a:buFont typeface="Arial" charset="0"/>
              <a:buChar char="–"/>
              <a:defRPr sz="2000">
                <a:solidFill>
                  <a:schemeClr val="bg2"/>
                </a:solidFill>
                <a:latin typeface="Arial" charset="0"/>
              </a:defRPr>
            </a:lvl8pPr>
            <a:lvl9pPr marL="3886200" indent="-228600" eaLnBrk="0" fontAlgn="base" hangingPunct="0">
              <a:spcBef>
                <a:spcPct val="20000"/>
              </a:spcBef>
              <a:spcAft>
                <a:spcPct val="0"/>
              </a:spcAft>
              <a:buClr>
                <a:schemeClr val="tx1"/>
              </a:buClr>
              <a:buFont typeface="Arial" charset="0"/>
              <a:buChar char="–"/>
              <a:defRPr sz="2000">
                <a:solidFill>
                  <a:schemeClr val="bg2"/>
                </a:solidFill>
                <a:latin typeface="Arial" charset="0"/>
              </a:defRPr>
            </a:lvl9pPr>
          </a:lstStyle>
          <a:p>
            <a:pPr marL="179387" lvl="1" indent="0" algn="just" eaLnBrk="1" hangingPunct="1">
              <a:spcBef>
                <a:spcPct val="20000"/>
              </a:spcBef>
              <a:buClr>
                <a:schemeClr val="accent2"/>
              </a:buClr>
              <a:buSzPct val="65000"/>
              <a:buFont typeface="Wingdings" panose="05000000000000000000" pitchFamily="2" charset="2"/>
              <a:buNone/>
              <a:defRPr/>
            </a:pPr>
            <a:r>
              <a:rPr lang="es-ES_tradnl" altLang="es-MX" sz="1400" b="1" dirty="0" err="1">
                <a:solidFill>
                  <a:srgbClr val="C5277F"/>
                </a:solidFill>
              </a:rPr>
              <a:t>Scope</a:t>
            </a:r>
            <a:endParaRPr lang="es-ES_tradnl" altLang="es-MX" sz="1400" b="1" dirty="0">
              <a:solidFill>
                <a:srgbClr val="C5277F"/>
              </a:solidFill>
            </a:endParaRPr>
          </a:p>
          <a:p>
            <a:pPr marL="179387" lvl="1" indent="0" algn="just" eaLnBrk="1" hangingPunct="1">
              <a:spcBef>
                <a:spcPct val="20000"/>
              </a:spcBef>
              <a:buClr>
                <a:schemeClr val="accent2"/>
              </a:buClr>
              <a:buSzPct val="65000"/>
              <a:buFont typeface="Wingdings" panose="05000000000000000000" pitchFamily="2" charset="2"/>
              <a:buNone/>
              <a:defRPr/>
            </a:pPr>
            <a:endParaRPr lang="es-MX" altLang="es-MX" sz="1400" b="1" dirty="0">
              <a:solidFill>
                <a:srgbClr val="C5277F"/>
              </a:solidFill>
            </a:endParaRPr>
          </a:p>
          <a:p>
            <a:pPr lvl="1" algn="just" eaLnBrk="1" hangingPunct="1">
              <a:spcBef>
                <a:spcPct val="20000"/>
              </a:spcBef>
              <a:buClr>
                <a:srgbClr val="C5277F"/>
              </a:buClr>
              <a:buSzPct val="65000"/>
              <a:buFont typeface="Wingdings" panose="05000000000000000000" pitchFamily="2" charset="2"/>
              <a:buChar char="n"/>
              <a:defRPr/>
            </a:pPr>
            <a:r>
              <a:rPr lang="en-US" sz="1200" dirty="0">
                <a:solidFill>
                  <a:srgbClr val="0079D1"/>
                </a:solidFill>
                <a:latin typeface="Comic Sans MS" panose="030F0902030302020204" pitchFamily="66" charset="0"/>
              </a:rPr>
              <a:t>Graphically represent the components, their integrations and the use of good practices in the development of software engineering processes.</a:t>
            </a:r>
          </a:p>
        </p:txBody>
      </p:sp>
      <p:sp>
        <p:nvSpPr>
          <p:cNvPr id="6" name="Rectangle 5">
            <a:extLst>
              <a:ext uri="{FF2B5EF4-FFF2-40B4-BE49-F238E27FC236}">
                <a16:creationId xmlns:a16="http://schemas.microsoft.com/office/drawing/2014/main" id="{B9706FCB-C68B-6243-9224-CCA16EC27866}"/>
              </a:ext>
            </a:extLst>
          </p:cNvPr>
          <p:cNvSpPr>
            <a:spLocks noChangeArrowheads="1"/>
          </p:cNvSpPr>
          <p:nvPr/>
        </p:nvSpPr>
        <p:spPr bwMode="auto">
          <a:xfrm>
            <a:off x="333502" y="3305302"/>
            <a:ext cx="11312906" cy="29034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buClr>
                <a:srgbClr val="FF0000"/>
              </a:buClr>
              <a:buChar char="w"/>
              <a:defRPr sz="2400" b="1">
                <a:solidFill>
                  <a:srgbClr val="FF0000"/>
                </a:solidFill>
                <a:latin typeface="Arial" charset="0"/>
              </a:defRPr>
            </a:lvl1pPr>
            <a:lvl2pPr marL="441325" indent="-261938" eaLnBrk="0" hangingPunct="0">
              <a:buClr>
                <a:schemeClr val="bg2"/>
              </a:buClr>
              <a:buChar char="§"/>
              <a:defRPr sz="2600">
                <a:solidFill>
                  <a:srgbClr val="808080"/>
                </a:solidFill>
                <a:latin typeface="Arial" charset="0"/>
              </a:defRPr>
            </a:lvl2pPr>
            <a:lvl3pPr marL="1050925" indent="-171450" eaLnBrk="0" hangingPunct="0">
              <a:buClr>
                <a:schemeClr val="tx1"/>
              </a:buClr>
              <a:buFont typeface="Arial" charset="0"/>
              <a:buChar char="–"/>
              <a:defRPr sz="2000">
                <a:solidFill>
                  <a:schemeClr val="bg2"/>
                </a:solidFill>
                <a:latin typeface="Arial" charset="0"/>
              </a:defRPr>
            </a:lvl3pPr>
            <a:lvl4pPr marL="1600200" indent="-228600" eaLnBrk="0" hangingPunct="0">
              <a:buClr>
                <a:schemeClr val="tx1"/>
              </a:buClr>
              <a:buFont typeface="Arial" charset="0"/>
              <a:buChar char="–"/>
              <a:defRPr sz="2000">
                <a:solidFill>
                  <a:schemeClr val="bg2"/>
                </a:solidFill>
                <a:latin typeface="Arial" charset="0"/>
              </a:defRPr>
            </a:lvl4pPr>
            <a:lvl5pPr marL="2057400" indent="-228600" eaLnBrk="0" hangingPunct="0">
              <a:buClr>
                <a:schemeClr val="tx1"/>
              </a:buClr>
              <a:buFont typeface="Arial" charset="0"/>
              <a:buChar char="–"/>
              <a:defRPr sz="2000">
                <a:solidFill>
                  <a:schemeClr val="bg2"/>
                </a:solidFill>
                <a:latin typeface="Arial" charset="0"/>
              </a:defRPr>
            </a:lvl5pPr>
            <a:lvl6pPr marL="2514600" indent="-228600" eaLnBrk="0" fontAlgn="base" hangingPunct="0">
              <a:spcBef>
                <a:spcPct val="20000"/>
              </a:spcBef>
              <a:spcAft>
                <a:spcPct val="0"/>
              </a:spcAft>
              <a:buClr>
                <a:schemeClr val="tx1"/>
              </a:buClr>
              <a:buFont typeface="Arial" charset="0"/>
              <a:buChar char="–"/>
              <a:defRPr sz="2000">
                <a:solidFill>
                  <a:schemeClr val="bg2"/>
                </a:solidFill>
                <a:latin typeface="Arial" charset="0"/>
              </a:defRPr>
            </a:lvl6pPr>
            <a:lvl7pPr marL="2971800" indent="-228600" eaLnBrk="0" fontAlgn="base" hangingPunct="0">
              <a:spcBef>
                <a:spcPct val="20000"/>
              </a:spcBef>
              <a:spcAft>
                <a:spcPct val="0"/>
              </a:spcAft>
              <a:buClr>
                <a:schemeClr val="tx1"/>
              </a:buClr>
              <a:buFont typeface="Arial" charset="0"/>
              <a:buChar char="–"/>
              <a:defRPr sz="2000">
                <a:solidFill>
                  <a:schemeClr val="bg2"/>
                </a:solidFill>
                <a:latin typeface="Arial" charset="0"/>
              </a:defRPr>
            </a:lvl7pPr>
            <a:lvl8pPr marL="3429000" indent="-228600" eaLnBrk="0" fontAlgn="base" hangingPunct="0">
              <a:spcBef>
                <a:spcPct val="20000"/>
              </a:spcBef>
              <a:spcAft>
                <a:spcPct val="0"/>
              </a:spcAft>
              <a:buClr>
                <a:schemeClr val="tx1"/>
              </a:buClr>
              <a:buFont typeface="Arial" charset="0"/>
              <a:buChar char="–"/>
              <a:defRPr sz="2000">
                <a:solidFill>
                  <a:schemeClr val="bg2"/>
                </a:solidFill>
                <a:latin typeface="Arial" charset="0"/>
              </a:defRPr>
            </a:lvl8pPr>
            <a:lvl9pPr marL="3886200" indent="-228600" eaLnBrk="0" fontAlgn="base" hangingPunct="0">
              <a:spcBef>
                <a:spcPct val="20000"/>
              </a:spcBef>
              <a:spcAft>
                <a:spcPct val="0"/>
              </a:spcAft>
              <a:buClr>
                <a:schemeClr val="tx1"/>
              </a:buClr>
              <a:buFont typeface="Arial" charset="0"/>
              <a:buChar char="–"/>
              <a:defRPr sz="2000">
                <a:solidFill>
                  <a:schemeClr val="bg2"/>
                </a:solidFill>
                <a:latin typeface="Arial" charset="0"/>
              </a:defRPr>
            </a:lvl9pPr>
          </a:lstStyle>
          <a:p>
            <a:pPr marL="179387" lvl="1" indent="0" algn="just" eaLnBrk="1" hangingPunct="1">
              <a:spcBef>
                <a:spcPct val="20000"/>
              </a:spcBef>
              <a:buClr>
                <a:schemeClr val="accent2"/>
              </a:buClr>
              <a:buSzPct val="65000"/>
              <a:buFont typeface="Wingdings" panose="05000000000000000000" pitchFamily="2" charset="2"/>
              <a:buNone/>
              <a:defRPr/>
            </a:pPr>
            <a:r>
              <a:rPr lang="es-ES_tradnl" altLang="es-MX" sz="1400" b="1" dirty="0" err="1">
                <a:solidFill>
                  <a:srgbClr val="C5277F"/>
                </a:solidFill>
              </a:rPr>
              <a:t>Description</a:t>
            </a:r>
            <a:endParaRPr lang="es-ES_tradnl" altLang="es-MX" sz="1400" b="1" dirty="0">
              <a:solidFill>
                <a:srgbClr val="C5277F"/>
              </a:solidFill>
            </a:endParaRPr>
          </a:p>
          <a:p>
            <a:pPr marL="179387" lvl="1" indent="0" algn="just" eaLnBrk="1" hangingPunct="1">
              <a:spcBef>
                <a:spcPct val="20000"/>
              </a:spcBef>
              <a:buClr>
                <a:schemeClr val="accent2"/>
              </a:buClr>
              <a:buSzPct val="65000"/>
              <a:buFont typeface="Wingdings" panose="05000000000000000000" pitchFamily="2" charset="2"/>
              <a:buNone/>
              <a:defRPr/>
            </a:pPr>
            <a:endParaRPr lang="es-MX" altLang="es-MX" sz="1400" b="1" dirty="0">
              <a:solidFill>
                <a:srgbClr val="C5277F"/>
              </a:solidFill>
            </a:endParaRPr>
          </a:p>
          <a:p>
            <a:pPr lvl="1" algn="just" eaLnBrk="1" hangingPunct="1">
              <a:spcBef>
                <a:spcPct val="20000"/>
              </a:spcBef>
              <a:buClr>
                <a:srgbClr val="C5277F"/>
              </a:buClr>
              <a:buSzPct val="65000"/>
              <a:buFont typeface="Wingdings" panose="05000000000000000000" pitchFamily="2" charset="2"/>
              <a:buChar char="n"/>
              <a:defRPr/>
            </a:pPr>
            <a:r>
              <a:rPr lang="en-US" sz="1200" dirty="0">
                <a:solidFill>
                  <a:srgbClr val="0079D1"/>
                </a:solidFill>
                <a:latin typeface="Comic Sans MS" panose="030F0902030302020204" pitchFamily="66" charset="0"/>
              </a:rPr>
              <a:t>Event Hub is a highly scalable data streaming platform and event ingestion service, capable of receiving and procession millions of events per second. Event Hub can process and store events, data or telemetry produced by distributed software and devices. Data sent to an event hub can be transformed and stored using any real-time analytics provider or batching/storage adapters. With the ability to provide publish-subscribe capabilities with low latency and at massive scale, Event Hubs services as the “on-ramp” for Big Data.</a:t>
            </a:r>
          </a:p>
          <a:p>
            <a:pPr lvl="1" algn="just" eaLnBrk="1" hangingPunct="1">
              <a:spcBef>
                <a:spcPct val="20000"/>
              </a:spcBef>
              <a:buClr>
                <a:srgbClr val="C5277F"/>
              </a:buClr>
              <a:buSzPct val="65000"/>
              <a:buFont typeface="Wingdings" panose="05000000000000000000" pitchFamily="2" charset="2"/>
              <a:buChar char="n"/>
              <a:defRPr/>
            </a:pPr>
            <a:r>
              <a:rPr lang="en-US" sz="1200" dirty="0">
                <a:solidFill>
                  <a:srgbClr val="0079D1"/>
                </a:solidFill>
                <a:latin typeface="Comic Sans MS" panose="030F0902030302020204" pitchFamily="66" charset="0"/>
              </a:rPr>
              <a:t>Even Hub and telemetry handling capabilities make it especially useful for:</a:t>
            </a:r>
          </a:p>
          <a:p>
            <a:pPr lvl="2" algn="just" eaLnBrk="1" hangingPunct="1">
              <a:spcBef>
                <a:spcPct val="20000"/>
              </a:spcBef>
              <a:buClr>
                <a:srgbClr val="C5277F"/>
              </a:buClr>
              <a:buSzPct val="80000"/>
              <a:buFont typeface="Wingdings" pitchFamily="2" charset="2"/>
              <a:buChar char="ü"/>
              <a:defRPr/>
            </a:pPr>
            <a:r>
              <a:rPr lang="en-US" sz="1200" dirty="0">
                <a:solidFill>
                  <a:srgbClr val="0079D1"/>
                </a:solidFill>
                <a:latin typeface="Comic Sans MS" panose="030F0902030302020204" pitchFamily="66" charset="0"/>
              </a:rPr>
              <a:t>Application instrumentation</a:t>
            </a:r>
          </a:p>
          <a:p>
            <a:pPr lvl="2" algn="just" eaLnBrk="1" hangingPunct="1">
              <a:spcBef>
                <a:spcPct val="20000"/>
              </a:spcBef>
              <a:buClr>
                <a:srgbClr val="C5277F"/>
              </a:buClr>
              <a:buSzPct val="80000"/>
              <a:buFont typeface="Wingdings" pitchFamily="2" charset="2"/>
              <a:buChar char="ü"/>
              <a:defRPr/>
            </a:pPr>
            <a:r>
              <a:rPr lang="en-US" sz="1200" dirty="0">
                <a:solidFill>
                  <a:srgbClr val="0079D1"/>
                </a:solidFill>
                <a:latin typeface="Comic Sans MS" panose="030F0902030302020204" pitchFamily="66" charset="0"/>
              </a:rPr>
              <a:t>User expediencies or workflow processing</a:t>
            </a:r>
          </a:p>
          <a:p>
            <a:pPr lvl="2" algn="just" eaLnBrk="1" hangingPunct="1">
              <a:spcBef>
                <a:spcPct val="20000"/>
              </a:spcBef>
              <a:buClr>
                <a:srgbClr val="C5277F"/>
              </a:buClr>
              <a:buSzPct val="80000"/>
              <a:buFont typeface="Wingdings" pitchFamily="2" charset="2"/>
              <a:buChar char="ü"/>
              <a:defRPr/>
            </a:pPr>
            <a:r>
              <a:rPr lang="en-US" sz="1200" dirty="0">
                <a:solidFill>
                  <a:srgbClr val="0079D1"/>
                </a:solidFill>
                <a:latin typeface="Comic Sans MS" panose="030F0902030302020204" pitchFamily="66" charset="0"/>
              </a:rPr>
              <a:t>Enable behavior tracking in mobile apps, traffic information from web farms, connected with other devices</a:t>
            </a:r>
          </a:p>
          <a:p>
            <a:pPr lvl="2" algn="just" eaLnBrk="1" hangingPunct="1">
              <a:spcBef>
                <a:spcPct val="20000"/>
              </a:spcBef>
              <a:buClr>
                <a:srgbClr val="C5277F"/>
              </a:buClr>
              <a:buSzPct val="65000"/>
              <a:buFont typeface="Wingdings" panose="05000000000000000000" pitchFamily="2" charset="2"/>
              <a:buChar char="n"/>
              <a:defRPr/>
            </a:pPr>
            <a:endParaRPr lang="en-US" sz="800" dirty="0">
              <a:solidFill>
                <a:srgbClr val="0079D1"/>
              </a:solidFill>
            </a:endParaRPr>
          </a:p>
        </p:txBody>
      </p:sp>
    </p:spTree>
    <p:extLst>
      <p:ext uri="{BB962C8B-B14F-4D97-AF65-F5344CB8AC3E}">
        <p14:creationId xmlns:p14="http://schemas.microsoft.com/office/powerpoint/2010/main" val="3818838742"/>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tangle 3">
            <a:extLst>
              <a:ext uri="{FF2B5EF4-FFF2-40B4-BE49-F238E27FC236}">
                <a16:creationId xmlns:a16="http://schemas.microsoft.com/office/drawing/2014/main" id="{A27FD23C-A522-0E4F-B70C-CC83BC4542BA}"/>
              </a:ext>
            </a:extLst>
          </p:cNvPr>
          <p:cNvSpPr txBox="1"/>
          <p:nvPr/>
        </p:nvSpPr>
        <p:spPr>
          <a:xfrm>
            <a:off x="404808" y="237462"/>
            <a:ext cx="7585857" cy="400105"/>
          </a:xfrm>
          <a:prstGeom prst="rect">
            <a:avLst/>
          </a:prstGeom>
          <a:ln w="12700">
            <a:miter lim="400000"/>
          </a:ln>
          <a:extLst>
            <a:ext uri="{C572A759-6A51-4108-AA02-DFA0A04FC94B}">
              <ma14:wrappingTextBoxFlag xmlns:ma14="http://schemas.microsoft.com/office/mac/drawingml/2011/main" xmlns="" val="1"/>
            </a:ext>
          </a:extLst>
        </p:spPr>
        <p:txBody>
          <a:bodyPr wrap="square" lIns="45718" tIns="45718" rIns="45718" bIns="45718">
            <a:spAutoFit/>
          </a:bodyPr>
          <a:lstStyle>
            <a:lvl1pPr algn="l" defTabSz="914400">
              <a:defRPr sz="2200" b="1">
                <a:solidFill>
                  <a:srgbClr val="FFFFFF"/>
                </a:solidFill>
                <a:latin typeface="Arial"/>
                <a:ea typeface="Arial"/>
                <a:cs typeface="Arial"/>
                <a:sym typeface="Arial"/>
              </a:defRPr>
            </a:lvl1pPr>
          </a:lstStyle>
          <a:p>
            <a:r>
              <a:rPr lang="en-US" sz="2000" dirty="0">
                <a:solidFill>
                  <a:srgbClr val="016AA2"/>
                </a:solidFill>
              </a:rPr>
              <a:t>Needs and Solution Proposal (II)</a:t>
            </a:r>
          </a:p>
        </p:txBody>
      </p:sp>
      <p:sp>
        <p:nvSpPr>
          <p:cNvPr id="65" name="Rectangle 3"/>
          <p:cNvSpPr txBox="1"/>
          <p:nvPr/>
        </p:nvSpPr>
        <p:spPr>
          <a:xfrm>
            <a:off x="404806" y="610135"/>
            <a:ext cx="8775769" cy="369328"/>
          </a:xfrm>
          <a:prstGeom prst="rect">
            <a:avLst/>
          </a:prstGeom>
          <a:ln w="12700">
            <a:miter lim="400000"/>
          </a:ln>
          <a:extLst>
            <a:ext uri="{C572A759-6A51-4108-AA02-DFA0A04FC94B}">
              <ma14:wrappingTextBoxFlag xmlns="" xmlns:ma14="http://schemas.microsoft.com/office/mac/drawingml/2011/main" val="1"/>
            </a:ext>
          </a:extLst>
        </p:spPr>
        <p:txBody>
          <a:bodyPr wrap="square" lIns="45718" tIns="45718" rIns="45718" bIns="45718">
            <a:spAutoFit/>
          </a:bodyPr>
          <a:lstStyle>
            <a:lvl1pPr algn="l" defTabSz="914400">
              <a:defRPr sz="2000">
                <a:solidFill>
                  <a:srgbClr val="104D6A"/>
                </a:solidFill>
                <a:latin typeface="Arial"/>
                <a:ea typeface="Arial"/>
                <a:cs typeface="Arial"/>
                <a:sym typeface="Arial"/>
              </a:defRPr>
            </a:lvl1pPr>
          </a:lstStyle>
          <a:p>
            <a:pPr>
              <a:defRPr/>
            </a:pPr>
            <a:r>
              <a:rPr lang="en-US" sz="1800" b="1" dirty="0">
                <a:solidFill>
                  <a:srgbClr val="73C4EF"/>
                </a:solidFill>
              </a:rPr>
              <a:t>Event Hub Architecture</a:t>
            </a:r>
          </a:p>
        </p:txBody>
      </p:sp>
      <p:sp>
        <p:nvSpPr>
          <p:cNvPr id="172" name="Google Shape;61;p12">
            <a:extLst>
              <a:ext uri="{FF2B5EF4-FFF2-40B4-BE49-F238E27FC236}">
                <a16:creationId xmlns:a16="http://schemas.microsoft.com/office/drawing/2014/main" id="{0EFBBAA4-8D65-4144-B8C9-1FC61504C6D6}"/>
              </a:ext>
            </a:extLst>
          </p:cNvPr>
          <p:cNvSpPr txBox="1">
            <a:spLocks/>
          </p:cNvSpPr>
          <p:nvPr/>
        </p:nvSpPr>
        <p:spPr>
          <a:xfrm>
            <a:off x="422538" y="1093871"/>
            <a:ext cx="10980028" cy="430887"/>
          </a:xfrm>
          <a:prstGeom prst="rect">
            <a:avLst/>
          </a:prstGeom>
          <a:noFill/>
        </p:spPr>
        <p:txBody>
          <a:bodyPr wrap="square" rtlCol="0">
            <a:spAutoFit/>
          </a:bodyPr>
          <a:lstStyle>
            <a:defPPr>
              <a:defRPr lang="en-US"/>
            </a:defPPr>
            <a:lvl1pPr algn="ctr" defTabSz="457200">
              <a:defRPr sz="90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defRPr>
            </a:lvl1pPr>
          </a:lstStyle>
          <a:p>
            <a:pPr algn="l"/>
            <a:r>
              <a:rPr lang="en-US" sz="1050" dirty="0">
                <a:latin typeface="Comic Sans MS" panose="030F0902030302020204" pitchFamily="66" charset="0"/>
              </a:rPr>
              <a:t>Event Hub channels the events. So Event Hub is a component or services that is located between event editors and event consumers to decouple the production of event flow from the consumption of those events. The following figure represents this architecture:</a:t>
            </a:r>
            <a:endParaRPr lang="es-ES_tradnl" sz="1050" dirty="0">
              <a:latin typeface="Comic Sans MS" panose="030F0902030302020204" pitchFamily="66" charset="0"/>
            </a:endParaRPr>
          </a:p>
        </p:txBody>
      </p:sp>
      <p:sp>
        <p:nvSpPr>
          <p:cNvPr id="2" name="Rectangle 1">
            <a:extLst>
              <a:ext uri="{FF2B5EF4-FFF2-40B4-BE49-F238E27FC236}">
                <a16:creationId xmlns:a16="http://schemas.microsoft.com/office/drawing/2014/main" id="{5DC6176E-0CB5-7148-8DC4-14539A4E9672}"/>
              </a:ext>
            </a:extLst>
          </p:cNvPr>
          <p:cNvSpPr/>
          <p:nvPr/>
        </p:nvSpPr>
        <p:spPr>
          <a:xfrm>
            <a:off x="505819" y="2558973"/>
            <a:ext cx="1112640" cy="3187201"/>
          </a:xfrm>
          <a:prstGeom prst="rect">
            <a:avLst/>
          </a:prstGeom>
          <a:solidFill>
            <a:srgbClr val="85CCD9">
              <a:alpha val="60000"/>
            </a:srgbClr>
          </a:solidFill>
          <a:ln w="9525">
            <a:solidFill>
              <a:srgbClr val="0079D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algn="ctr"/>
            <a:endParaRPr lang="en-US" sz="1050" dirty="0">
              <a:solidFill>
                <a:srgbClr val="002D72"/>
              </a:solidFill>
              <a:latin typeface="Comic Sans MS" panose="030F0902030302020204" pitchFamily="66" charset="0"/>
              <a:cs typeface="Arial" pitchFamily="34" charset="0"/>
            </a:endParaRPr>
          </a:p>
        </p:txBody>
      </p:sp>
      <p:sp>
        <p:nvSpPr>
          <p:cNvPr id="3" name="Pentagon 2">
            <a:extLst>
              <a:ext uri="{FF2B5EF4-FFF2-40B4-BE49-F238E27FC236}">
                <a16:creationId xmlns:a16="http://schemas.microsoft.com/office/drawing/2014/main" id="{912B0E2E-C15A-E44F-B058-627CC171D8CE}"/>
              </a:ext>
            </a:extLst>
          </p:cNvPr>
          <p:cNvSpPr/>
          <p:nvPr/>
        </p:nvSpPr>
        <p:spPr>
          <a:xfrm>
            <a:off x="505818" y="1910954"/>
            <a:ext cx="1413985" cy="614987"/>
          </a:xfrm>
          <a:prstGeom prst="homePlate">
            <a:avLst/>
          </a:prstGeom>
          <a:solidFill>
            <a:srgbClr val="85CCD9">
              <a:alpha val="60000"/>
            </a:srgbClr>
          </a:solidFill>
          <a:ln w="9525">
            <a:solidFill>
              <a:srgbClr val="0079D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900" b="1" dirty="0">
                <a:solidFill>
                  <a:srgbClr val="0067B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Even Produces</a:t>
            </a:r>
          </a:p>
        </p:txBody>
      </p:sp>
      <p:grpSp>
        <p:nvGrpSpPr>
          <p:cNvPr id="25" name="Group 24">
            <a:extLst>
              <a:ext uri="{FF2B5EF4-FFF2-40B4-BE49-F238E27FC236}">
                <a16:creationId xmlns:a16="http://schemas.microsoft.com/office/drawing/2014/main" id="{1D487C54-1B2B-D94A-B17C-D36EB9010C89}"/>
              </a:ext>
            </a:extLst>
          </p:cNvPr>
          <p:cNvGrpSpPr/>
          <p:nvPr/>
        </p:nvGrpSpPr>
        <p:grpSpPr>
          <a:xfrm>
            <a:off x="800471" y="2630175"/>
            <a:ext cx="723275" cy="635842"/>
            <a:chOff x="5881636" y="3470564"/>
            <a:chExt cx="723275" cy="635842"/>
          </a:xfrm>
        </p:grpSpPr>
        <p:sp>
          <p:nvSpPr>
            <p:cNvPr id="5" name="TextBox 4">
              <a:extLst>
                <a:ext uri="{FF2B5EF4-FFF2-40B4-BE49-F238E27FC236}">
                  <a16:creationId xmlns:a16="http://schemas.microsoft.com/office/drawing/2014/main" id="{6AC060CD-454C-4141-8CFF-A6143AB1E19F}"/>
                </a:ext>
              </a:extLst>
            </p:cNvPr>
            <p:cNvSpPr txBox="1"/>
            <p:nvPr/>
          </p:nvSpPr>
          <p:spPr>
            <a:xfrm>
              <a:off x="5881636" y="3801538"/>
              <a:ext cx="723275" cy="304868"/>
            </a:xfrm>
            <a:prstGeom prst="rect">
              <a:avLst/>
            </a:prstGeom>
            <a:noFill/>
          </p:spPr>
          <p:txBody>
            <a:bodyPr wrap="none" tIns="90000" bIns="90000" rtlCol="0" anchor="t">
              <a:spAutoFit/>
            </a:bodyPr>
            <a:lstStyle/>
            <a:p>
              <a:pPr algn="ctr"/>
              <a:r>
                <a:rPr lang="en-US" sz="800" b="1" dirty="0">
                  <a:solidFill>
                    <a:srgbClr val="0079D1"/>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Application</a:t>
              </a:r>
            </a:p>
          </p:txBody>
        </p:sp>
        <p:pic>
          <p:nvPicPr>
            <p:cNvPr id="8" name="Picture 7">
              <a:extLst>
                <a:ext uri="{FF2B5EF4-FFF2-40B4-BE49-F238E27FC236}">
                  <a16:creationId xmlns:a16="http://schemas.microsoft.com/office/drawing/2014/main" id="{7DA24DD6-5808-7347-818C-DF40F86569B4}"/>
                </a:ext>
              </a:extLst>
            </p:cNvPr>
            <p:cNvPicPr>
              <a:picLocks noChangeAspect="1"/>
            </p:cNvPicPr>
            <p:nvPr/>
          </p:nvPicPr>
          <p:blipFill>
            <a:blip r:embed="rId2">
              <a:alphaModFix amt="40000"/>
            </a:blip>
            <a:stretch>
              <a:fillRect/>
            </a:stretch>
          </p:blipFill>
          <p:spPr>
            <a:xfrm>
              <a:off x="5954586" y="3470564"/>
              <a:ext cx="540031" cy="465485"/>
            </a:xfrm>
            <a:prstGeom prst="rect">
              <a:avLst/>
            </a:prstGeom>
          </p:spPr>
        </p:pic>
      </p:grpSp>
      <p:grpSp>
        <p:nvGrpSpPr>
          <p:cNvPr id="29" name="Group 28">
            <a:extLst>
              <a:ext uri="{FF2B5EF4-FFF2-40B4-BE49-F238E27FC236}">
                <a16:creationId xmlns:a16="http://schemas.microsoft.com/office/drawing/2014/main" id="{35A77C44-E515-FC45-B49B-9D35E53E4885}"/>
              </a:ext>
            </a:extLst>
          </p:cNvPr>
          <p:cNvGrpSpPr/>
          <p:nvPr/>
        </p:nvGrpSpPr>
        <p:grpSpPr>
          <a:xfrm>
            <a:off x="881598" y="3307349"/>
            <a:ext cx="563027" cy="583936"/>
            <a:chOff x="4382863" y="3543072"/>
            <a:chExt cx="563027" cy="583936"/>
          </a:xfrm>
        </p:grpSpPr>
        <p:sp>
          <p:nvSpPr>
            <p:cNvPr id="28" name="TextBox 27">
              <a:extLst>
                <a:ext uri="{FF2B5EF4-FFF2-40B4-BE49-F238E27FC236}">
                  <a16:creationId xmlns:a16="http://schemas.microsoft.com/office/drawing/2014/main" id="{156CBD37-6DEE-424F-A4EE-03C77F0EE42E}"/>
                </a:ext>
              </a:extLst>
            </p:cNvPr>
            <p:cNvSpPr txBox="1"/>
            <p:nvPr/>
          </p:nvSpPr>
          <p:spPr>
            <a:xfrm>
              <a:off x="4385405" y="3822140"/>
              <a:ext cx="551753" cy="304868"/>
            </a:xfrm>
            <a:prstGeom prst="rect">
              <a:avLst/>
            </a:prstGeom>
            <a:noFill/>
          </p:spPr>
          <p:txBody>
            <a:bodyPr wrap="none" tIns="90000" bIns="90000" rtlCol="0" anchor="t">
              <a:spAutoFit/>
            </a:bodyPr>
            <a:lstStyle/>
            <a:p>
              <a:pPr algn="ctr"/>
              <a:r>
                <a:rPr lang="en-US" sz="800" dirty="0">
                  <a:solidFill>
                    <a:srgbClr val="0079D1"/>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Devices</a:t>
              </a:r>
            </a:p>
          </p:txBody>
        </p:sp>
        <p:pic>
          <p:nvPicPr>
            <p:cNvPr id="27" name="Picture 26">
              <a:extLst>
                <a:ext uri="{FF2B5EF4-FFF2-40B4-BE49-F238E27FC236}">
                  <a16:creationId xmlns:a16="http://schemas.microsoft.com/office/drawing/2014/main" id="{6C059FD6-C154-F44A-8AD2-83ED39C1CC29}"/>
                </a:ext>
              </a:extLst>
            </p:cNvPr>
            <p:cNvPicPr>
              <a:picLocks noChangeAspect="1"/>
            </p:cNvPicPr>
            <p:nvPr/>
          </p:nvPicPr>
          <p:blipFill>
            <a:blip r:embed="rId3">
              <a:alphaModFix amt="74000"/>
            </a:blip>
            <a:stretch>
              <a:fillRect/>
            </a:stretch>
          </p:blipFill>
          <p:spPr>
            <a:xfrm>
              <a:off x="4382863" y="3543072"/>
              <a:ext cx="563027" cy="367610"/>
            </a:xfrm>
            <a:prstGeom prst="rect">
              <a:avLst/>
            </a:prstGeom>
          </p:spPr>
        </p:pic>
      </p:grpSp>
      <p:grpSp>
        <p:nvGrpSpPr>
          <p:cNvPr id="33" name="Group 32">
            <a:extLst>
              <a:ext uri="{FF2B5EF4-FFF2-40B4-BE49-F238E27FC236}">
                <a16:creationId xmlns:a16="http://schemas.microsoft.com/office/drawing/2014/main" id="{ADFEDADE-75F4-DF4A-9297-BB32DB804F60}"/>
              </a:ext>
            </a:extLst>
          </p:cNvPr>
          <p:cNvGrpSpPr/>
          <p:nvPr/>
        </p:nvGrpSpPr>
        <p:grpSpPr>
          <a:xfrm>
            <a:off x="671744" y="3906513"/>
            <a:ext cx="976549" cy="598428"/>
            <a:chOff x="5652884" y="3302000"/>
            <a:chExt cx="976549" cy="598428"/>
          </a:xfrm>
        </p:grpSpPr>
        <p:pic>
          <p:nvPicPr>
            <p:cNvPr id="32" name="Picture 31">
              <a:extLst>
                <a:ext uri="{FF2B5EF4-FFF2-40B4-BE49-F238E27FC236}">
                  <a16:creationId xmlns:a16="http://schemas.microsoft.com/office/drawing/2014/main" id="{73AEB43C-AE8B-7D48-AEBD-FBBEBCD705D6}"/>
                </a:ext>
              </a:extLst>
            </p:cNvPr>
            <p:cNvPicPr>
              <a:picLocks noChangeAspect="1"/>
            </p:cNvPicPr>
            <p:nvPr/>
          </p:nvPicPr>
          <p:blipFill>
            <a:blip r:embed="rId4">
              <a:alphaModFix amt="30000"/>
            </a:blip>
            <a:stretch>
              <a:fillRect/>
            </a:stretch>
          </p:blipFill>
          <p:spPr>
            <a:xfrm>
              <a:off x="5969000" y="3302000"/>
              <a:ext cx="379845" cy="390236"/>
            </a:xfrm>
            <a:prstGeom prst="rect">
              <a:avLst/>
            </a:prstGeom>
          </p:spPr>
        </p:pic>
        <p:sp>
          <p:nvSpPr>
            <p:cNvPr id="38" name="TextBox 37">
              <a:extLst>
                <a:ext uri="{FF2B5EF4-FFF2-40B4-BE49-F238E27FC236}">
                  <a16:creationId xmlns:a16="http://schemas.microsoft.com/office/drawing/2014/main" id="{5B672A5E-DFDA-3E4D-8306-0AB973EB6DDF}"/>
                </a:ext>
              </a:extLst>
            </p:cNvPr>
            <p:cNvSpPr txBox="1"/>
            <p:nvPr/>
          </p:nvSpPr>
          <p:spPr>
            <a:xfrm>
              <a:off x="5652884" y="3595560"/>
              <a:ext cx="976549" cy="304868"/>
            </a:xfrm>
            <a:prstGeom prst="rect">
              <a:avLst/>
            </a:prstGeom>
            <a:noFill/>
          </p:spPr>
          <p:txBody>
            <a:bodyPr wrap="none" tIns="90000" bIns="90000" rtlCol="0" anchor="t">
              <a:spAutoFit/>
            </a:bodyPr>
            <a:lstStyle/>
            <a:p>
              <a:pPr algn="ctr"/>
              <a:r>
                <a:rPr lang="en-US" sz="800" b="1" dirty="0">
                  <a:solidFill>
                    <a:srgbClr val="0079D1"/>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Legacy Systems</a:t>
              </a:r>
            </a:p>
          </p:txBody>
        </p:sp>
      </p:grpSp>
      <p:grpSp>
        <p:nvGrpSpPr>
          <p:cNvPr id="37" name="Group 36">
            <a:extLst>
              <a:ext uri="{FF2B5EF4-FFF2-40B4-BE49-F238E27FC236}">
                <a16:creationId xmlns:a16="http://schemas.microsoft.com/office/drawing/2014/main" id="{B3C37DE8-CA9A-C54B-815A-6E97269A61A7}"/>
              </a:ext>
            </a:extLst>
          </p:cNvPr>
          <p:cNvGrpSpPr/>
          <p:nvPr/>
        </p:nvGrpSpPr>
        <p:grpSpPr>
          <a:xfrm>
            <a:off x="945911" y="4560492"/>
            <a:ext cx="455690" cy="469897"/>
            <a:chOff x="5415174" y="2089076"/>
            <a:chExt cx="455690" cy="469897"/>
          </a:xfrm>
        </p:grpSpPr>
        <p:pic>
          <p:nvPicPr>
            <p:cNvPr id="35" name="Picture 34">
              <a:extLst>
                <a:ext uri="{FF2B5EF4-FFF2-40B4-BE49-F238E27FC236}">
                  <a16:creationId xmlns:a16="http://schemas.microsoft.com/office/drawing/2014/main" id="{B507C380-4F42-E34B-9444-B3101CAF286E}"/>
                </a:ext>
              </a:extLst>
            </p:cNvPr>
            <p:cNvPicPr>
              <a:picLocks noChangeAspect="1"/>
            </p:cNvPicPr>
            <p:nvPr/>
          </p:nvPicPr>
          <p:blipFill>
            <a:blip r:embed="rId5">
              <a:alphaModFix amt="68000"/>
            </a:blip>
            <a:stretch>
              <a:fillRect/>
            </a:stretch>
          </p:blipFill>
          <p:spPr>
            <a:xfrm>
              <a:off x="5556352" y="2236623"/>
              <a:ext cx="314512" cy="322350"/>
            </a:xfrm>
            <a:prstGeom prst="rect">
              <a:avLst/>
            </a:prstGeom>
          </p:spPr>
        </p:pic>
        <p:pic>
          <p:nvPicPr>
            <p:cNvPr id="42" name="Picture 41">
              <a:extLst>
                <a:ext uri="{FF2B5EF4-FFF2-40B4-BE49-F238E27FC236}">
                  <a16:creationId xmlns:a16="http://schemas.microsoft.com/office/drawing/2014/main" id="{99AB5CBA-BBFA-094B-AC2F-92291FC7D26B}"/>
                </a:ext>
              </a:extLst>
            </p:cNvPr>
            <p:cNvPicPr>
              <a:picLocks noChangeAspect="1"/>
            </p:cNvPicPr>
            <p:nvPr/>
          </p:nvPicPr>
          <p:blipFill>
            <a:blip r:embed="rId5">
              <a:alphaModFix amt="65000"/>
            </a:blip>
            <a:stretch>
              <a:fillRect/>
            </a:stretch>
          </p:blipFill>
          <p:spPr>
            <a:xfrm>
              <a:off x="5415174" y="2089076"/>
              <a:ext cx="314512" cy="322350"/>
            </a:xfrm>
            <a:prstGeom prst="rect">
              <a:avLst/>
            </a:prstGeom>
          </p:spPr>
        </p:pic>
      </p:grpSp>
      <p:sp>
        <p:nvSpPr>
          <p:cNvPr id="44" name="TextBox 43">
            <a:extLst>
              <a:ext uri="{FF2B5EF4-FFF2-40B4-BE49-F238E27FC236}">
                <a16:creationId xmlns:a16="http://schemas.microsoft.com/office/drawing/2014/main" id="{445B2A36-BC16-D148-94DF-A0EC0E735B91}"/>
              </a:ext>
            </a:extLst>
          </p:cNvPr>
          <p:cNvSpPr txBox="1"/>
          <p:nvPr/>
        </p:nvSpPr>
        <p:spPr>
          <a:xfrm>
            <a:off x="736664" y="4903323"/>
            <a:ext cx="957313" cy="427979"/>
          </a:xfrm>
          <a:prstGeom prst="rect">
            <a:avLst/>
          </a:prstGeom>
          <a:noFill/>
        </p:spPr>
        <p:txBody>
          <a:bodyPr wrap="none" tIns="90000" bIns="90000" rtlCol="0" anchor="t">
            <a:spAutoFit/>
          </a:bodyPr>
          <a:lstStyle/>
          <a:p>
            <a:pPr algn="ctr"/>
            <a:r>
              <a:rPr lang="en-US" sz="800" b="1" dirty="0">
                <a:solidFill>
                  <a:srgbClr val="0079D1"/>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Heterogeneous </a:t>
            </a:r>
          </a:p>
          <a:p>
            <a:pPr algn="ctr"/>
            <a:r>
              <a:rPr lang="en-US" sz="800" b="1" dirty="0">
                <a:solidFill>
                  <a:srgbClr val="0079D1"/>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Data Sources </a:t>
            </a:r>
          </a:p>
        </p:txBody>
      </p:sp>
      <p:sp>
        <p:nvSpPr>
          <p:cNvPr id="46" name="Rectangle 45">
            <a:extLst>
              <a:ext uri="{FF2B5EF4-FFF2-40B4-BE49-F238E27FC236}">
                <a16:creationId xmlns:a16="http://schemas.microsoft.com/office/drawing/2014/main" id="{E04B0023-762A-5748-88E8-82CE473168D9}"/>
              </a:ext>
            </a:extLst>
          </p:cNvPr>
          <p:cNvSpPr/>
          <p:nvPr/>
        </p:nvSpPr>
        <p:spPr>
          <a:xfrm>
            <a:off x="1766677" y="2558973"/>
            <a:ext cx="1158711" cy="3187201"/>
          </a:xfrm>
          <a:prstGeom prst="rect">
            <a:avLst/>
          </a:prstGeom>
          <a:solidFill>
            <a:srgbClr val="85CCD9">
              <a:alpha val="60000"/>
            </a:srgbClr>
          </a:solidFill>
          <a:ln w="9525">
            <a:solidFill>
              <a:srgbClr val="0079D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algn="ctr"/>
            <a:endParaRPr lang="en-US" sz="1050" dirty="0">
              <a:solidFill>
                <a:srgbClr val="002D72"/>
              </a:solidFill>
              <a:latin typeface="Comic Sans MS" panose="030F0902030302020204" pitchFamily="66" charset="0"/>
              <a:cs typeface="Arial" pitchFamily="34" charset="0"/>
            </a:endParaRPr>
          </a:p>
        </p:txBody>
      </p:sp>
      <p:sp>
        <p:nvSpPr>
          <p:cNvPr id="47" name="Pentagon 46">
            <a:extLst>
              <a:ext uri="{FF2B5EF4-FFF2-40B4-BE49-F238E27FC236}">
                <a16:creationId xmlns:a16="http://schemas.microsoft.com/office/drawing/2014/main" id="{27CA6C75-6268-9C40-B627-711BEF6B30C3}"/>
              </a:ext>
            </a:extLst>
          </p:cNvPr>
          <p:cNvSpPr/>
          <p:nvPr/>
        </p:nvSpPr>
        <p:spPr>
          <a:xfrm>
            <a:off x="1766676" y="1910954"/>
            <a:ext cx="1458743" cy="614987"/>
          </a:xfrm>
          <a:prstGeom prst="homePlate">
            <a:avLst/>
          </a:prstGeom>
          <a:solidFill>
            <a:srgbClr val="85CCD9">
              <a:alpha val="60000"/>
            </a:srgbClr>
          </a:solidFill>
          <a:ln w="9525">
            <a:solidFill>
              <a:srgbClr val="0079D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900" b="1" dirty="0">
                <a:solidFill>
                  <a:srgbClr val="0067B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Collection</a:t>
            </a:r>
          </a:p>
        </p:txBody>
      </p:sp>
      <p:sp>
        <p:nvSpPr>
          <p:cNvPr id="48" name="Rectangle 47">
            <a:extLst>
              <a:ext uri="{FF2B5EF4-FFF2-40B4-BE49-F238E27FC236}">
                <a16:creationId xmlns:a16="http://schemas.microsoft.com/office/drawing/2014/main" id="{23EDF03C-AADB-B242-874A-C447AF13795F}"/>
              </a:ext>
            </a:extLst>
          </p:cNvPr>
          <p:cNvSpPr/>
          <p:nvPr/>
        </p:nvSpPr>
        <p:spPr>
          <a:xfrm>
            <a:off x="3069972" y="2567505"/>
            <a:ext cx="1176404" cy="3187201"/>
          </a:xfrm>
          <a:prstGeom prst="rect">
            <a:avLst/>
          </a:prstGeom>
          <a:solidFill>
            <a:srgbClr val="85CCD9">
              <a:alpha val="60000"/>
            </a:srgbClr>
          </a:solidFill>
          <a:ln w="9525">
            <a:solidFill>
              <a:srgbClr val="0079D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algn="ctr"/>
            <a:endParaRPr lang="en-US" sz="1050" dirty="0">
              <a:solidFill>
                <a:srgbClr val="002D72"/>
              </a:solidFill>
              <a:latin typeface="Comic Sans MS" panose="030F0902030302020204" pitchFamily="66" charset="0"/>
              <a:cs typeface="Arial" pitchFamily="34" charset="0"/>
            </a:endParaRPr>
          </a:p>
        </p:txBody>
      </p:sp>
      <p:sp>
        <p:nvSpPr>
          <p:cNvPr id="49" name="Pentagon 48">
            <a:extLst>
              <a:ext uri="{FF2B5EF4-FFF2-40B4-BE49-F238E27FC236}">
                <a16:creationId xmlns:a16="http://schemas.microsoft.com/office/drawing/2014/main" id="{D531BE32-CEDB-2A4C-8DB2-FB017F1862E5}"/>
              </a:ext>
            </a:extLst>
          </p:cNvPr>
          <p:cNvSpPr/>
          <p:nvPr/>
        </p:nvSpPr>
        <p:spPr>
          <a:xfrm>
            <a:off x="3069971" y="1919486"/>
            <a:ext cx="1458743" cy="614987"/>
          </a:xfrm>
          <a:prstGeom prst="homePlate">
            <a:avLst/>
          </a:prstGeom>
          <a:solidFill>
            <a:srgbClr val="85CCD9">
              <a:alpha val="60000"/>
            </a:srgbClr>
          </a:solidFill>
          <a:ln w="9525">
            <a:solidFill>
              <a:srgbClr val="0079D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900" b="1" dirty="0">
                <a:solidFill>
                  <a:srgbClr val="0067B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Ingress</a:t>
            </a:r>
          </a:p>
        </p:txBody>
      </p:sp>
      <p:sp>
        <p:nvSpPr>
          <p:cNvPr id="50" name="Rectangle 49">
            <a:extLst>
              <a:ext uri="{FF2B5EF4-FFF2-40B4-BE49-F238E27FC236}">
                <a16:creationId xmlns:a16="http://schemas.microsoft.com/office/drawing/2014/main" id="{AAB02DB2-DF3C-C04C-9C1B-750003FFBE9A}"/>
              </a:ext>
            </a:extLst>
          </p:cNvPr>
          <p:cNvSpPr/>
          <p:nvPr/>
        </p:nvSpPr>
        <p:spPr>
          <a:xfrm>
            <a:off x="4382410" y="2576928"/>
            <a:ext cx="1180995" cy="3187201"/>
          </a:xfrm>
          <a:prstGeom prst="rect">
            <a:avLst/>
          </a:prstGeom>
          <a:solidFill>
            <a:srgbClr val="85CCD9">
              <a:alpha val="60000"/>
            </a:srgbClr>
          </a:solidFill>
          <a:ln w="9525">
            <a:solidFill>
              <a:srgbClr val="0079D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algn="ctr"/>
            <a:endParaRPr lang="en-US" sz="1050" dirty="0">
              <a:solidFill>
                <a:srgbClr val="002D72"/>
              </a:solidFill>
              <a:latin typeface="Comic Sans MS" panose="030F0902030302020204" pitchFamily="66" charset="0"/>
              <a:cs typeface="Arial" pitchFamily="34" charset="0"/>
            </a:endParaRPr>
          </a:p>
        </p:txBody>
      </p:sp>
      <p:sp>
        <p:nvSpPr>
          <p:cNvPr id="51" name="Pentagon 50">
            <a:extLst>
              <a:ext uri="{FF2B5EF4-FFF2-40B4-BE49-F238E27FC236}">
                <a16:creationId xmlns:a16="http://schemas.microsoft.com/office/drawing/2014/main" id="{1094A95B-7190-D042-8784-779CC276B790}"/>
              </a:ext>
            </a:extLst>
          </p:cNvPr>
          <p:cNvSpPr/>
          <p:nvPr/>
        </p:nvSpPr>
        <p:spPr>
          <a:xfrm>
            <a:off x="4382410" y="1919486"/>
            <a:ext cx="1491323" cy="614987"/>
          </a:xfrm>
          <a:prstGeom prst="homePlate">
            <a:avLst/>
          </a:prstGeom>
          <a:solidFill>
            <a:srgbClr val="85CCD9">
              <a:alpha val="60000"/>
            </a:srgbClr>
          </a:solidFill>
          <a:ln w="9525">
            <a:solidFill>
              <a:srgbClr val="0079D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900" b="1" dirty="0">
                <a:solidFill>
                  <a:srgbClr val="0067B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Stream </a:t>
            </a:r>
          </a:p>
          <a:p>
            <a:pPr algn="ctr"/>
            <a:r>
              <a:rPr lang="en-US" sz="900" b="1" dirty="0">
                <a:solidFill>
                  <a:srgbClr val="0067B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Processing</a:t>
            </a:r>
          </a:p>
        </p:txBody>
      </p:sp>
      <p:sp>
        <p:nvSpPr>
          <p:cNvPr id="52" name="Rectangle 51">
            <a:extLst>
              <a:ext uri="{FF2B5EF4-FFF2-40B4-BE49-F238E27FC236}">
                <a16:creationId xmlns:a16="http://schemas.microsoft.com/office/drawing/2014/main" id="{DB0CFC72-A2E8-954D-B8BD-B5EB7D65052C}"/>
              </a:ext>
            </a:extLst>
          </p:cNvPr>
          <p:cNvSpPr/>
          <p:nvPr/>
        </p:nvSpPr>
        <p:spPr>
          <a:xfrm>
            <a:off x="5687333" y="2576928"/>
            <a:ext cx="1180995" cy="3187201"/>
          </a:xfrm>
          <a:prstGeom prst="rect">
            <a:avLst/>
          </a:prstGeom>
          <a:solidFill>
            <a:srgbClr val="85CCD9">
              <a:alpha val="60000"/>
            </a:srgbClr>
          </a:solidFill>
          <a:ln w="9525">
            <a:solidFill>
              <a:srgbClr val="0079D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algn="ctr"/>
            <a:endParaRPr lang="en-US" sz="1050" dirty="0">
              <a:solidFill>
                <a:srgbClr val="002D72"/>
              </a:solidFill>
              <a:latin typeface="Comic Sans MS" panose="030F0902030302020204" pitchFamily="66" charset="0"/>
              <a:cs typeface="Arial" pitchFamily="34" charset="0"/>
            </a:endParaRPr>
          </a:p>
        </p:txBody>
      </p:sp>
      <p:sp>
        <p:nvSpPr>
          <p:cNvPr id="53" name="Pentagon 52">
            <a:extLst>
              <a:ext uri="{FF2B5EF4-FFF2-40B4-BE49-F238E27FC236}">
                <a16:creationId xmlns:a16="http://schemas.microsoft.com/office/drawing/2014/main" id="{2ABF7BB6-9823-374F-A2BB-975719E22C59}"/>
              </a:ext>
            </a:extLst>
          </p:cNvPr>
          <p:cNvSpPr/>
          <p:nvPr/>
        </p:nvSpPr>
        <p:spPr>
          <a:xfrm>
            <a:off x="5687333" y="1928909"/>
            <a:ext cx="1458744" cy="614987"/>
          </a:xfrm>
          <a:prstGeom prst="homePlate">
            <a:avLst/>
          </a:prstGeom>
          <a:solidFill>
            <a:srgbClr val="85CCD9">
              <a:alpha val="60000"/>
            </a:srgbClr>
          </a:solidFill>
          <a:ln w="9525">
            <a:solidFill>
              <a:srgbClr val="0079D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900" b="1" dirty="0">
                <a:solidFill>
                  <a:srgbClr val="0067B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Long-term</a:t>
            </a:r>
          </a:p>
          <a:p>
            <a:pPr algn="ctr"/>
            <a:r>
              <a:rPr lang="en-US" sz="900" b="1" dirty="0">
                <a:solidFill>
                  <a:srgbClr val="0067B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storage</a:t>
            </a:r>
          </a:p>
        </p:txBody>
      </p:sp>
      <p:sp>
        <p:nvSpPr>
          <p:cNvPr id="54" name="Rectangle 53">
            <a:extLst>
              <a:ext uri="{FF2B5EF4-FFF2-40B4-BE49-F238E27FC236}">
                <a16:creationId xmlns:a16="http://schemas.microsoft.com/office/drawing/2014/main" id="{DABFB6D7-1314-EC4C-81A7-D0144C3678D7}"/>
              </a:ext>
            </a:extLst>
          </p:cNvPr>
          <p:cNvSpPr/>
          <p:nvPr/>
        </p:nvSpPr>
        <p:spPr>
          <a:xfrm>
            <a:off x="6979233" y="2576927"/>
            <a:ext cx="1168116" cy="3187201"/>
          </a:xfrm>
          <a:prstGeom prst="rect">
            <a:avLst/>
          </a:prstGeom>
          <a:solidFill>
            <a:srgbClr val="85CCD9">
              <a:alpha val="60000"/>
            </a:srgbClr>
          </a:solidFill>
          <a:ln w="9525">
            <a:solidFill>
              <a:srgbClr val="0079D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algn="ctr"/>
            <a:endParaRPr lang="en-US" sz="1050" dirty="0">
              <a:solidFill>
                <a:srgbClr val="002D72"/>
              </a:solidFill>
              <a:latin typeface="Comic Sans MS" panose="030F0902030302020204" pitchFamily="66" charset="0"/>
              <a:cs typeface="Arial" pitchFamily="34" charset="0"/>
            </a:endParaRPr>
          </a:p>
        </p:txBody>
      </p:sp>
      <p:sp>
        <p:nvSpPr>
          <p:cNvPr id="55" name="Pentagon 54">
            <a:extLst>
              <a:ext uri="{FF2B5EF4-FFF2-40B4-BE49-F238E27FC236}">
                <a16:creationId xmlns:a16="http://schemas.microsoft.com/office/drawing/2014/main" id="{95D96952-4016-A949-8568-D1312977814B}"/>
              </a:ext>
            </a:extLst>
          </p:cNvPr>
          <p:cNvSpPr/>
          <p:nvPr/>
        </p:nvSpPr>
        <p:spPr>
          <a:xfrm>
            <a:off x="6988245" y="1928909"/>
            <a:ext cx="1458744" cy="614987"/>
          </a:xfrm>
          <a:prstGeom prst="homePlate">
            <a:avLst/>
          </a:prstGeom>
          <a:solidFill>
            <a:srgbClr val="85CCD9">
              <a:alpha val="60000"/>
            </a:srgbClr>
          </a:solidFill>
          <a:ln w="9525">
            <a:solidFill>
              <a:srgbClr val="0079D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900" b="1" dirty="0">
                <a:solidFill>
                  <a:srgbClr val="0067B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Presentation /</a:t>
            </a:r>
          </a:p>
          <a:p>
            <a:pPr algn="ctr"/>
            <a:r>
              <a:rPr lang="en-US" sz="900" b="1" dirty="0">
                <a:solidFill>
                  <a:srgbClr val="0067B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Action</a:t>
            </a:r>
          </a:p>
        </p:txBody>
      </p:sp>
      <p:grpSp>
        <p:nvGrpSpPr>
          <p:cNvPr id="41" name="Group 40">
            <a:extLst>
              <a:ext uri="{FF2B5EF4-FFF2-40B4-BE49-F238E27FC236}">
                <a16:creationId xmlns:a16="http://schemas.microsoft.com/office/drawing/2014/main" id="{E1B6E77D-C8A5-384A-AC39-B68A719B4B47}"/>
              </a:ext>
            </a:extLst>
          </p:cNvPr>
          <p:cNvGrpSpPr/>
          <p:nvPr/>
        </p:nvGrpSpPr>
        <p:grpSpPr>
          <a:xfrm>
            <a:off x="2078206" y="2961149"/>
            <a:ext cx="488354" cy="529849"/>
            <a:chOff x="3699164" y="3095660"/>
            <a:chExt cx="488354" cy="529849"/>
          </a:xfrm>
        </p:grpSpPr>
        <p:pic>
          <p:nvPicPr>
            <p:cNvPr id="40" name="Picture 39">
              <a:extLst>
                <a:ext uri="{FF2B5EF4-FFF2-40B4-BE49-F238E27FC236}">
                  <a16:creationId xmlns:a16="http://schemas.microsoft.com/office/drawing/2014/main" id="{9563C06D-C2F7-6141-B6BE-D96B1FC1D42A}"/>
                </a:ext>
              </a:extLst>
            </p:cNvPr>
            <p:cNvPicPr>
              <a:picLocks noChangeAspect="1"/>
            </p:cNvPicPr>
            <p:nvPr/>
          </p:nvPicPr>
          <p:blipFill>
            <a:blip r:embed="rId6">
              <a:alphaModFix amt="27000"/>
            </a:blip>
            <a:stretch>
              <a:fillRect/>
            </a:stretch>
          </p:blipFill>
          <p:spPr>
            <a:xfrm>
              <a:off x="3699164" y="3095660"/>
              <a:ext cx="488354" cy="333340"/>
            </a:xfrm>
            <a:prstGeom prst="rect">
              <a:avLst/>
            </a:prstGeom>
          </p:spPr>
        </p:pic>
        <p:sp>
          <p:nvSpPr>
            <p:cNvPr id="58" name="TextBox 57">
              <a:extLst>
                <a:ext uri="{FF2B5EF4-FFF2-40B4-BE49-F238E27FC236}">
                  <a16:creationId xmlns:a16="http://schemas.microsoft.com/office/drawing/2014/main" id="{CEBF0040-BE49-FD46-B4A0-3A4EA6474274}"/>
                </a:ext>
              </a:extLst>
            </p:cNvPr>
            <p:cNvSpPr txBox="1"/>
            <p:nvPr/>
          </p:nvSpPr>
          <p:spPr>
            <a:xfrm>
              <a:off x="3733186" y="3320641"/>
              <a:ext cx="420308" cy="304868"/>
            </a:xfrm>
            <a:prstGeom prst="rect">
              <a:avLst/>
            </a:prstGeom>
            <a:noFill/>
          </p:spPr>
          <p:txBody>
            <a:bodyPr wrap="none" tIns="90000" bIns="90000" rtlCol="0" anchor="t">
              <a:spAutoFit/>
            </a:bodyPr>
            <a:lstStyle/>
            <a:p>
              <a:pPr algn="ctr"/>
              <a:r>
                <a:rPr lang="en-US" sz="800" b="1" dirty="0">
                  <a:solidFill>
                    <a:srgbClr val="0079D1"/>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APIs</a:t>
              </a:r>
            </a:p>
          </p:txBody>
        </p:sp>
      </p:grpSp>
      <p:grpSp>
        <p:nvGrpSpPr>
          <p:cNvPr id="59" name="Group 58">
            <a:extLst>
              <a:ext uri="{FF2B5EF4-FFF2-40B4-BE49-F238E27FC236}">
                <a16:creationId xmlns:a16="http://schemas.microsoft.com/office/drawing/2014/main" id="{4AF97B09-40C5-6A4B-BEC0-B5F81F05E4A8}"/>
              </a:ext>
            </a:extLst>
          </p:cNvPr>
          <p:cNvGrpSpPr/>
          <p:nvPr/>
        </p:nvGrpSpPr>
        <p:grpSpPr>
          <a:xfrm>
            <a:off x="3423593" y="3428998"/>
            <a:ext cx="696023" cy="749109"/>
            <a:chOff x="3410985" y="3562501"/>
            <a:chExt cx="696023" cy="749109"/>
          </a:xfrm>
        </p:grpSpPr>
        <p:grpSp>
          <p:nvGrpSpPr>
            <p:cNvPr id="56" name="Group 55">
              <a:extLst>
                <a:ext uri="{FF2B5EF4-FFF2-40B4-BE49-F238E27FC236}">
                  <a16:creationId xmlns:a16="http://schemas.microsoft.com/office/drawing/2014/main" id="{52FAB31B-AA53-8B48-881C-4E52F35A007E}"/>
                </a:ext>
              </a:extLst>
            </p:cNvPr>
            <p:cNvGrpSpPr/>
            <p:nvPr/>
          </p:nvGrpSpPr>
          <p:grpSpPr>
            <a:xfrm>
              <a:off x="3452213" y="3562501"/>
              <a:ext cx="611064" cy="523220"/>
              <a:chOff x="5790468" y="2967335"/>
              <a:chExt cx="611066" cy="743945"/>
            </a:xfrm>
          </p:grpSpPr>
          <p:sp>
            <p:nvSpPr>
              <p:cNvPr id="43" name="Rectangle 42">
                <a:extLst>
                  <a:ext uri="{FF2B5EF4-FFF2-40B4-BE49-F238E27FC236}">
                    <a16:creationId xmlns:a16="http://schemas.microsoft.com/office/drawing/2014/main" id="{20C3CFE5-2DCB-7D41-85B4-3DA86CE6666F}"/>
                  </a:ext>
                </a:extLst>
              </p:cNvPr>
              <p:cNvSpPr/>
              <p:nvPr/>
            </p:nvSpPr>
            <p:spPr>
              <a:xfrm>
                <a:off x="5891455" y="2967335"/>
                <a:ext cx="409087" cy="743945"/>
              </a:xfrm>
              <a:prstGeom prst="rect">
                <a:avLst/>
              </a:prstGeom>
              <a:noFill/>
            </p:spPr>
            <p:txBody>
              <a:bodyPr wrap="none" lIns="91440" tIns="45720" rIns="91440" bIns="45720">
                <a:spAutoFit/>
              </a:bodyPr>
              <a:lstStyle/>
              <a:p>
                <a:pPr algn="ctr"/>
                <a:r>
                  <a:rPr lang="en-US" sz="2800" b="1" dirty="0">
                    <a:ln w="22225">
                      <a:solidFill>
                        <a:schemeClr val="bg1"/>
                      </a:solidFill>
                      <a:prstDash val="solid"/>
                    </a:ln>
                    <a:solidFill>
                      <a:schemeClr val="accent2">
                        <a:lumMod val="50000"/>
                      </a:schemeClr>
                    </a:solidFill>
                    <a:latin typeface="Comic Sans MS" panose="030F0902030302020204" pitchFamily="66" charset="0"/>
                    <a:ea typeface="Brush Script MT" panose="03060802040406070304" pitchFamily="66" charset="-122"/>
                    <a:cs typeface="Brush Script MT" panose="03060802040406070304" pitchFamily="66" charset="-122"/>
                  </a:rPr>
                  <a:t>E</a:t>
                </a:r>
                <a:endParaRPr lang="en-US" sz="2800" b="1" cap="none" spc="0" dirty="0">
                  <a:ln w="22225">
                    <a:solidFill>
                      <a:schemeClr val="bg1"/>
                    </a:solidFill>
                    <a:prstDash val="solid"/>
                  </a:ln>
                  <a:solidFill>
                    <a:schemeClr val="accent2">
                      <a:lumMod val="50000"/>
                    </a:schemeClr>
                  </a:solidFill>
                  <a:effectLst/>
                  <a:latin typeface="Comic Sans MS" panose="030F0902030302020204" pitchFamily="66" charset="0"/>
                  <a:ea typeface="Brush Script MT" panose="03060802040406070304" pitchFamily="66" charset="-122"/>
                  <a:cs typeface="Brush Script MT" panose="03060802040406070304" pitchFamily="66" charset="-122"/>
                </a:endParaRPr>
              </a:p>
            </p:txBody>
          </p:sp>
          <p:sp>
            <p:nvSpPr>
              <p:cNvPr id="45" name="Rectangle 44">
                <a:extLst>
                  <a:ext uri="{FF2B5EF4-FFF2-40B4-BE49-F238E27FC236}">
                    <a16:creationId xmlns:a16="http://schemas.microsoft.com/office/drawing/2014/main" id="{D96969D2-BF0D-474D-84A2-FA0768486415}"/>
                  </a:ext>
                </a:extLst>
              </p:cNvPr>
              <p:cNvSpPr/>
              <p:nvPr/>
            </p:nvSpPr>
            <p:spPr>
              <a:xfrm>
                <a:off x="5790468" y="2967335"/>
                <a:ext cx="611066" cy="656422"/>
              </a:xfrm>
              <a:prstGeom prst="rect">
                <a:avLst/>
              </a:prstGeom>
              <a:noFill/>
            </p:spPr>
            <p:txBody>
              <a:bodyPr wrap="square" lIns="91440" tIns="45720" rIns="91440" bIns="45720">
                <a:spAutoFit/>
              </a:bodyPr>
              <a:lstStyle/>
              <a:p>
                <a:pPr algn="ctr"/>
                <a:r>
                  <a:rPr lang="en-US" sz="2400" b="1" cap="none" spc="0" dirty="0">
                    <a:ln w="9525">
                      <a:solidFill>
                        <a:schemeClr val="accent6">
                          <a:lumMod val="60000"/>
                          <a:lumOff val="40000"/>
                        </a:schemeClr>
                      </a:solidFill>
                      <a:prstDash val="solid"/>
                    </a:ln>
                    <a:solidFill>
                      <a:schemeClr val="accent2">
                        <a:lumMod val="50000"/>
                      </a:schemeClr>
                    </a:solidFill>
                    <a:effectLst>
                      <a:outerShdw blurRad="12700" dist="38100" dir="2700000" algn="tl" rotWithShape="0">
                        <a:schemeClr val="bg1">
                          <a:lumMod val="50000"/>
                        </a:schemeClr>
                      </a:outerShdw>
                    </a:effectLst>
                    <a:latin typeface="Comic Sans MS" panose="030F0902030302020204" pitchFamily="66" charset="0"/>
                    <a:ea typeface="Brush Script MT" panose="03060802040406070304" pitchFamily="66" charset="-122"/>
                    <a:cs typeface="Brush Script MT" panose="03060802040406070304" pitchFamily="66" charset="-122"/>
                  </a:rPr>
                  <a:t>E</a:t>
                </a:r>
                <a:endParaRPr lang="en-US" sz="2800" b="1" cap="none" spc="0" dirty="0">
                  <a:ln w="9525">
                    <a:solidFill>
                      <a:schemeClr val="accent6">
                        <a:lumMod val="60000"/>
                        <a:lumOff val="40000"/>
                      </a:schemeClr>
                    </a:solidFill>
                    <a:prstDash val="solid"/>
                  </a:ln>
                  <a:solidFill>
                    <a:schemeClr val="accent2">
                      <a:lumMod val="50000"/>
                    </a:schemeClr>
                  </a:solidFill>
                  <a:effectLst>
                    <a:outerShdw blurRad="12700" dist="38100" dir="2700000" algn="tl" rotWithShape="0">
                      <a:schemeClr val="bg1">
                        <a:lumMod val="50000"/>
                      </a:schemeClr>
                    </a:outerShdw>
                  </a:effectLst>
                  <a:latin typeface="Comic Sans MS" panose="030F0902030302020204" pitchFamily="66" charset="0"/>
                </a:endParaRPr>
              </a:p>
            </p:txBody>
          </p:sp>
        </p:grpSp>
        <p:sp>
          <p:nvSpPr>
            <p:cNvPr id="64" name="TextBox 63">
              <a:extLst>
                <a:ext uri="{FF2B5EF4-FFF2-40B4-BE49-F238E27FC236}">
                  <a16:creationId xmlns:a16="http://schemas.microsoft.com/office/drawing/2014/main" id="{79C4E740-36FC-5245-8EDA-DF5FB8211614}"/>
                </a:ext>
              </a:extLst>
            </p:cNvPr>
            <p:cNvSpPr txBox="1"/>
            <p:nvPr/>
          </p:nvSpPr>
          <p:spPr>
            <a:xfrm>
              <a:off x="3410985" y="4006742"/>
              <a:ext cx="696023" cy="304868"/>
            </a:xfrm>
            <a:prstGeom prst="rect">
              <a:avLst/>
            </a:prstGeom>
            <a:noFill/>
          </p:spPr>
          <p:txBody>
            <a:bodyPr wrap="none" tIns="90000" bIns="90000" rtlCol="0" anchor="t">
              <a:spAutoFit/>
            </a:bodyPr>
            <a:lstStyle/>
            <a:p>
              <a:pPr algn="ctr"/>
              <a:r>
                <a:rPr lang="en-US" sz="800" b="1" dirty="0">
                  <a:solidFill>
                    <a:srgbClr val="0079D1"/>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Event Hub</a:t>
              </a:r>
            </a:p>
          </p:txBody>
        </p:sp>
      </p:grpSp>
      <p:cxnSp>
        <p:nvCxnSpPr>
          <p:cNvPr id="61" name="Elbow Connector 60">
            <a:extLst>
              <a:ext uri="{FF2B5EF4-FFF2-40B4-BE49-F238E27FC236}">
                <a16:creationId xmlns:a16="http://schemas.microsoft.com/office/drawing/2014/main" id="{E0959690-C3AF-D947-B66C-F5E5D965ACAD}"/>
              </a:ext>
            </a:extLst>
          </p:cNvPr>
          <p:cNvCxnSpPr>
            <a:cxnSpLocks/>
            <a:stCxn id="8" idx="3"/>
            <a:endCxn id="45" idx="0"/>
          </p:cNvCxnSpPr>
          <p:nvPr/>
        </p:nvCxnSpPr>
        <p:spPr>
          <a:xfrm>
            <a:off x="1413452" y="2862918"/>
            <a:ext cx="2356901" cy="566080"/>
          </a:xfrm>
          <a:prstGeom prst="bentConnector2">
            <a:avLst/>
          </a:prstGeom>
          <a:ln>
            <a:solidFill>
              <a:srgbClr val="0079D1"/>
            </a:solidFill>
            <a:headEnd type="oval"/>
            <a:tailEnd type="triangle"/>
          </a:ln>
        </p:spPr>
        <p:style>
          <a:lnRef idx="1">
            <a:schemeClr val="accent1"/>
          </a:lnRef>
          <a:fillRef idx="0">
            <a:schemeClr val="accent1"/>
          </a:fillRef>
          <a:effectRef idx="0">
            <a:schemeClr val="accent1"/>
          </a:effectRef>
          <a:fontRef idx="minor">
            <a:schemeClr val="tx1"/>
          </a:fontRef>
        </p:style>
      </p:cxnSp>
      <p:cxnSp>
        <p:nvCxnSpPr>
          <p:cNvPr id="68" name="Elbow Connector 67">
            <a:extLst>
              <a:ext uri="{FF2B5EF4-FFF2-40B4-BE49-F238E27FC236}">
                <a16:creationId xmlns:a16="http://schemas.microsoft.com/office/drawing/2014/main" id="{148110B3-9048-764B-BC68-B7C2C4599CFE}"/>
              </a:ext>
            </a:extLst>
          </p:cNvPr>
          <p:cNvCxnSpPr>
            <a:cxnSpLocks/>
            <a:stCxn id="35" idx="3"/>
            <a:endCxn id="64" idx="2"/>
          </p:cNvCxnSpPr>
          <p:nvPr/>
        </p:nvCxnSpPr>
        <p:spPr>
          <a:xfrm flipV="1">
            <a:off x="1401601" y="4178107"/>
            <a:ext cx="2370004" cy="691107"/>
          </a:xfrm>
          <a:prstGeom prst="bentConnector2">
            <a:avLst/>
          </a:prstGeom>
          <a:ln>
            <a:solidFill>
              <a:srgbClr val="0079D1"/>
            </a:solidFill>
            <a:headEnd type="oval"/>
            <a:tailEnd type="triangle"/>
          </a:ln>
        </p:spPr>
        <p:style>
          <a:lnRef idx="1">
            <a:schemeClr val="accent1"/>
          </a:lnRef>
          <a:fillRef idx="0">
            <a:schemeClr val="accent1"/>
          </a:fillRef>
          <a:effectRef idx="0">
            <a:schemeClr val="accent1"/>
          </a:effectRef>
          <a:fontRef idx="minor">
            <a:schemeClr val="tx1"/>
          </a:fontRef>
        </p:style>
      </p:cxnSp>
      <p:sp>
        <p:nvSpPr>
          <p:cNvPr id="72" name="Pentagon 71">
            <a:extLst>
              <a:ext uri="{FF2B5EF4-FFF2-40B4-BE49-F238E27FC236}">
                <a16:creationId xmlns:a16="http://schemas.microsoft.com/office/drawing/2014/main" id="{5CFBE8E8-6FB3-4245-A5AB-B382B2B9F69E}"/>
              </a:ext>
            </a:extLst>
          </p:cNvPr>
          <p:cNvSpPr/>
          <p:nvPr/>
        </p:nvSpPr>
        <p:spPr>
          <a:xfrm>
            <a:off x="5164906" y="2961149"/>
            <a:ext cx="1172164" cy="377369"/>
          </a:xfrm>
          <a:prstGeom prst="homePlate">
            <a:avLst/>
          </a:prstGeom>
          <a:solidFill>
            <a:schemeClr val="bg1">
              <a:lumMod val="50000"/>
              <a:alpha val="60000"/>
            </a:schemeClr>
          </a:solidFill>
          <a:ln w="9525">
            <a:solidFill>
              <a:schemeClr val="bg1">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000" b="1" dirty="0">
                <a:solidFill>
                  <a:schemeClr val="bg1">
                    <a:lumMod val="95000"/>
                  </a:schemeClr>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Service bus </a:t>
            </a:r>
          </a:p>
        </p:txBody>
      </p:sp>
      <p:sp>
        <p:nvSpPr>
          <p:cNvPr id="73" name="Pentagon 72">
            <a:extLst>
              <a:ext uri="{FF2B5EF4-FFF2-40B4-BE49-F238E27FC236}">
                <a16:creationId xmlns:a16="http://schemas.microsoft.com/office/drawing/2014/main" id="{70DEA42D-1092-EC47-8AB3-FCADAC8C7376}"/>
              </a:ext>
            </a:extLst>
          </p:cNvPr>
          <p:cNvSpPr/>
          <p:nvPr/>
        </p:nvSpPr>
        <p:spPr>
          <a:xfrm>
            <a:off x="5158625" y="3877006"/>
            <a:ext cx="1172164" cy="377369"/>
          </a:xfrm>
          <a:prstGeom prst="homePlate">
            <a:avLst/>
          </a:prstGeom>
          <a:solidFill>
            <a:schemeClr val="bg1">
              <a:lumMod val="50000"/>
              <a:alpha val="60000"/>
            </a:schemeClr>
          </a:solidFill>
          <a:ln w="9525">
            <a:solidFill>
              <a:schemeClr val="bg1">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000" b="1" dirty="0">
                <a:solidFill>
                  <a:schemeClr val="bg1">
                    <a:lumMod val="95000"/>
                  </a:schemeClr>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Storage</a:t>
            </a:r>
          </a:p>
        </p:txBody>
      </p:sp>
      <p:sp>
        <p:nvSpPr>
          <p:cNvPr id="74" name="Pentagon 73">
            <a:extLst>
              <a:ext uri="{FF2B5EF4-FFF2-40B4-BE49-F238E27FC236}">
                <a16:creationId xmlns:a16="http://schemas.microsoft.com/office/drawing/2014/main" id="{57FE9F92-F583-AD47-82B7-BDE9E7E5153F}"/>
              </a:ext>
            </a:extLst>
          </p:cNvPr>
          <p:cNvSpPr/>
          <p:nvPr/>
        </p:nvSpPr>
        <p:spPr>
          <a:xfrm>
            <a:off x="5158625" y="4344298"/>
            <a:ext cx="1172164" cy="377369"/>
          </a:xfrm>
          <a:prstGeom prst="homePlate">
            <a:avLst/>
          </a:prstGeom>
          <a:solidFill>
            <a:schemeClr val="bg1">
              <a:lumMod val="50000"/>
              <a:alpha val="60000"/>
            </a:schemeClr>
          </a:solidFill>
          <a:ln w="9525">
            <a:solidFill>
              <a:schemeClr val="bg1">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000" b="1" dirty="0">
                <a:solidFill>
                  <a:schemeClr val="bg1">
                    <a:lumMod val="95000"/>
                  </a:schemeClr>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Data Lake</a:t>
            </a:r>
          </a:p>
        </p:txBody>
      </p:sp>
      <p:sp>
        <p:nvSpPr>
          <p:cNvPr id="75" name="Pentagon 74">
            <a:extLst>
              <a:ext uri="{FF2B5EF4-FFF2-40B4-BE49-F238E27FC236}">
                <a16:creationId xmlns:a16="http://schemas.microsoft.com/office/drawing/2014/main" id="{E4B6C460-8C9B-8A48-A1F4-67FC4B19E1FD}"/>
              </a:ext>
            </a:extLst>
          </p:cNvPr>
          <p:cNvSpPr/>
          <p:nvPr/>
        </p:nvSpPr>
        <p:spPr>
          <a:xfrm>
            <a:off x="5158625" y="3417212"/>
            <a:ext cx="1172164" cy="377369"/>
          </a:xfrm>
          <a:prstGeom prst="homePlate">
            <a:avLst/>
          </a:prstGeom>
          <a:solidFill>
            <a:schemeClr val="bg1">
              <a:lumMod val="50000"/>
              <a:alpha val="60000"/>
            </a:schemeClr>
          </a:solidFill>
          <a:ln w="9525">
            <a:solidFill>
              <a:schemeClr val="bg1">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000" b="1" dirty="0">
                <a:solidFill>
                  <a:schemeClr val="bg1">
                    <a:lumMod val="95000"/>
                  </a:schemeClr>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DBs</a:t>
            </a:r>
          </a:p>
        </p:txBody>
      </p:sp>
      <p:grpSp>
        <p:nvGrpSpPr>
          <p:cNvPr id="71" name="Group 70">
            <a:extLst>
              <a:ext uri="{FF2B5EF4-FFF2-40B4-BE49-F238E27FC236}">
                <a16:creationId xmlns:a16="http://schemas.microsoft.com/office/drawing/2014/main" id="{14249EB8-C494-3149-8E2C-13045B7F5988}"/>
              </a:ext>
            </a:extLst>
          </p:cNvPr>
          <p:cNvGrpSpPr/>
          <p:nvPr/>
        </p:nvGrpSpPr>
        <p:grpSpPr>
          <a:xfrm>
            <a:off x="4442578" y="4066048"/>
            <a:ext cx="801839" cy="676484"/>
            <a:chOff x="10480929" y="3862848"/>
            <a:chExt cx="801839" cy="676484"/>
          </a:xfrm>
        </p:grpSpPr>
        <p:grpSp>
          <p:nvGrpSpPr>
            <p:cNvPr id="70" name="Group 69">
              <a:extLst>
                <a:ext uri="{FF2B5EF4-FFF2-40B4-BE49-F238E27FC236}">
                  <a16:creationId xmlns:a16="http://schemas.microsoft.com/office/drawing/2014/main" id="{135554A8-8E9D-2641-9B87-11226E33A60D}"/>
                </a:ext>
              </a:extLst>
            </p:cNvPr>
            <p:cNvGrpSpPr/>
            <p:nvPr/>
          </p:nvGrpSpPr>
          <p:grpSpPr>
            <a:xfrm>
              <a:off x="10480929" y="3862848"/>
              <a:ext cx="684955" cy="508895"/>
              <a:chOff x="10775913" y="3873239"/>
              <a:chExt cx="684955" cy="508895"/>
            </a:xfrm>
          </p:grpSpPr>
          <p:grpSp>
            <p:nvGrpSpPr>
              <p:cNvPr id="67" name="Group 66">
                <a:extLst>
                  <a:ext uri="{FF2B5EF4-FFF2-40B4-BE49-F238E27FC236}">
                    <a16:creationId xmlns:a16="http://schemas.microsoft.com/office/drawing/2014/main" id="{9F97DBCE-8973-5C49-B983-5E924E34D4DB}"/>
                  </a:ext>
                </a:extLst>
              </p:cNvPr>
              <p:cNvGrpSpPr/>
              <p:nvPr/>
            </p:nvGrpSpPr>
            <p:grpSpPr>
              <a:xfrm>
                <a:off x="10920837" y="3873239"/>
                <a:ext cx="540031" cy="463547"/>
                <a:chOff x="10268463" y="4122915"/>
                <a:chExt cx="540031" cy="463547"/>
              </a:xfrm>
            </p:grpSpPr>
            <p:pic>
              <p:nvPicPr>
                <p:cNvPr id="86" name="Picture 85">
                  <a:extLst>
                    <a:ext uri="{FF2B5EF4-FFF2-40B4-BE49-F238E27FC236}">
                      <a16:creationId xmlns:a16="http://schemas.microsoft.com/office/drawing/2014/main" id="{24FAF744-7414-6C45-BF58-D37162704186}"/>
                    </a:ext>
                  </a:extLst>
                </p:cNvPr>
                <p:cNvPicPr>
                  <a:picLocks noChangeAspect="1"/>
                </p:cNvPicPr>
                <p:nvPr/>
              </p:nvPicPr>
              <p:blipFill>
                <a:blip r:embed="rId7">
                  <a:alphaModFix amt="27000"/>
                </a:blip>
                <a:stretch>
                  <a:fillRect/>
                </a:stretch>
              </p:blipFill>
              <p:spPr>
                <a:xfrm>
                  <a:off x="10268463" y="4122915"/>
                  <a:ext cx="540031" cy="463547"/>
                </a:xfrm>
                <a:prstGeom prst="rect">
                  <a:avLst/>
                </a:prstGeom>
              </p:spPr>
            </p:pic>
            <p:pic>
              <p:nvPicPr>
                <p:cNvPr id="84" name="Picture 83">
                  <a:extLst>
                    <a:ext uri="{FF2B5EF4-FFF2-40B4-BE49-F238E27FC236}">
                      <a16:creationId xmlns:a16="http://schemas.microsoft.com/office/drawing/2014/main" id="{202158E7-EEB3-1F4F-B2E2-591EB53FFE2A}"/>
                    </a:ext>
                  </a:extLst>
                </p:cNvPr>
                <p:cNvPicPr>
                  <a:picLocks noChangeAspect="1"/>
                </p:cNvPicPr>
                <p:nvPr/>
              </p:nvPicPr>
              <p:blipFill>
                <a:blip r:embed="rId8">
                  <a:alphaModFix amt="30000"/>
                </a:blip>
                <a:stretch>
                  <a:fillRect/>
                </a:stretch>
              </p:blipFill>
              <p:spPr>
                <a:xfrm>
                  <a:off x="10394524" y="4198676"/>
                  <a:ext cx="267129" cy="308247"/>
                </a:xfrm>
                <a:prstGeom prst="rect">
                  <a:avLst/>
                </a:prstGeom>
              </p:spPr>
            </p:pic>
          </p:grpSp>
          <p:pic>
            <p:nvPicPr>
              <p:cNvPr id="88" name="Picture 87">
                <a:extLst>
                  <a:ext uri="{FF2B5EF4-FFF2-40B4-BE49-F238E27FC236}">
                    <a16:creationId xmlns:a16="http://schemas.microsoft.com/office/drawing/2014/main" id="{EBAE5D20-7EF6-2245-8B6D-12761C9D6F55}"/>
                  </a:ext>
                </a:extLst>
              </p:cNvPr>
              <p:cNvPicPr>
                <a:picLocks noChangeAspect="1"/>
              </p:cNvPicPr>
              <p:nvPr/>
            </p:nvPicPr>
            <p:blipFill>
              <a:blip r:embed="rId7">
                <a:alphaModFix amt="27000"/>
              </a:blip>
              <a:stretch>
                <a:fillRect/>
              </a:stretch>
            </p:blipFill>
            <p:spPr>
              <a:xfrm>
                <a:off x="10775913" y="4186850"/>
                <a:ext cx="227505" cy="195284"/>
              </a:xfrm>
              <a:prstGeom prst="rect">
                <a:avLst/>
              </a:prstGeom>
            </p:spPr>
          </p:pic>
          <p:sp>
            <p:nvSpPr>
              <p:cNvPr id="69" name="Oval 68">
                <a:extLst>
                  <a:ext uri="{FF2B5EF4-FFF2-40B4-BE49-F238E27FC236}">
                    <a16:creationId xmlns:a16="http://schemas.microsoft.com/office/drawing/2014/main" id="{C703AEA6-5ABC-D245-8D14-FE44625E1C48}"/>
                  </a:ext>
                </a:extLst>
              </p:cNvPr>
              <p:cNvSpPr/>
              <p:nvPr/>
            </p:nvSpPr>
            <p:spPr>
              <a:xfrm>
                <a:off x="10853910" y="4252324"/>
                <a:ext cx="66380" cy="48322"/>
              </a:xfrm>
              <a:prstGeom prst="ellipse">
                <a:avLst/>
              </a:prstGeom>
              <a:solidFill>
                <a:schemeClr val="bg1">
                  <a:lumMod val="65000"/>
                </a:schemeClr>
              </a:solidFill>
              <a:ln w="9525">
                <a:solidFill>
                  <a:schemeClr val="bg1">
                    <a:lumMod val="6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050" dirty="0">
                  <a:solidFill>
                    <a:srgbClr val="002D72"/>
                  </a:solidFill>
                  <a:latin typeface="Comic Sans MS" panose="030F0902030302020204" pitchFamily="66" charset="0"/>
                  <a:cs typeface="Arial" pitchFamily="34" charset="0"/>
                </a:endParaRPr>
              </a:p>
            </p:txBody>
          </p:sp>
        </p:grpSp>
        <p:sp>
          <p:nvSpPr>
            <p:cNvPr id="91" name="TextBox 90">
              <a:extLst>
                <a:ext uri="{FF2B5EF4-FFF2-40B4-BE49-F238E27FC236}">
                  <a16:creationId xmlns:a16="http://schemas.microsoft.com/office/drawing/2014/main" id="{4D4B01CC-A032-0D41-8E8F-B629ECE4CF51}"/>
                </a:ext>
              </a:extLst>
            </p:cNvPr>
            <p:cNvSpPr txBox="1"/>
            <p:nvPr/>
          </p:nvSpPr>
          <p:spPr>
            <a:xfrm>
              <a:off x="10591553" y="4234464"/>
              <a:ext cx="691215" cy="304868"/>
            </a:xfrm>
            <a:prstGeom prst="rect">
              <a:avLst/>
            </a:prstGeom>
            <a:noFill/>
          </p:spPr>
          <p:txBody>
            <a:bodyPr wrap="none" tIns="90000" bIns="90000" rtlCol="0" anchor="t">
              <a:spAutoFit/>
            </a:bodyPr>
            <a:lstStyle/>
            <a:p>
              <a:pPr algn="ctr"/>
              <a:r>
                <a:rPr lang="en-US" sz="800" b="1" dirty="0">
                  <a:solidFill>
                    <a:srgbClr val="0079D1"/>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Slow Data</a:t>
              </a:r>
            </a:p>
          </p:txBody>
        </p:sp>
      </p:grpSp>
      <p:cxnSp>
        <p:nvCxnSpPr>
          <p:cNvPr id="97" name="Elbow Connector 96">
            <a:extLst>
              <a:ext uri="{FF2B5EF4-FFF2-40B4-BE49-F238E27FC236}">
                <a16:creationId xmlns:a16="http://schemas.microsoft.com/office/drawing/2014/main" id="{9CD2A63E-8891-F843-B809-A778C0291110}"/>
              </a:ext>
            </a:extLst>
          </p:cNvPr>
          <p:cNvCxnSpPr>
            <a:cxnSpLocks/>
            <a:stCxn id="40" idx="3"/>
            <a:endCxn id="45" idx="0"/>
          </p:cNvCxnSpPr>
          <p:nvPr/>
        </p:nvCxnSpPr>
        <p:spPr>
          <a:xfrm>
            <a:off x="2566560" y="3127819"/>
            <a:ext cx="1203793" cy="301179"/>
          </a:xfrm>
          <a:prstGeom prst="bentConnector2">
            <a:avLst/>
          </a:prstGeom>
          <a:ln>
            <a:solidFill>
              <a:srgbClr val="0079D1"/>
            </a:solidFill>
            <a:headEnd type="oval"/>
            <a:tailEnd type="triangle"/>
          </a:ln>
        </p:spPr>
        <p:style>
          <a:lnRef idx="1">
            <a:schemeClr val="accent1"/>
          </a:lnRef>
          <a:fillRef idx="0">
            <a:schemeClr val="accent1"/>
          </a:fillRef>
          <a:effectRef idx="0">
            <a:schemeClr val="accent1"/>
          </a:effectRef>
          <a:fontRef idx="minor">
            <a:schemeClr val="tx1"/>
          </a:fontRef>
        </p:style>
      </p:cxnSp>
      <p:grpSp>
        <p:nvGrpSpPr>
          <p:cNvPr id="98" name="Group 97">
            <a:extLst>
              <a:ext uri="{FF2B5EF4-FFF2-40B4-BE49-F238E27FC236}">
                <a16:creationId xmlns:a16="http://schemas.microsoft.com/office/drawing/2014/main" id="{34D61509-9C14-0B44-857E-FB7447B35204}"/>
              </a:ext>
            </a:extLst>
          </p:cNvPr>
          <p:cNvGrpSpPr/>
          <p:nvPr/>
        </p:nvGrpSpPr>
        <p:grpSpPr>
          <a:xfrm>
            <a:off x="4525204" y="3051244"/>
            <a:ext cx="691215" cy="795735"/>
            <a:chOff x="10845243" y="3443185"/>
            <a:chExt cx="691215" cy="795735"/>
          </a:xfrm>
        </p:grpSpPr>
        <p:grpSp>
          <p:nvGrpSpPr>
            <p:cNvPr id="96" name="Group 95">
              <a:extLst>
                <a:ext uri="{FF2B5EF4-FFF2-40B4-BE49-F238E27FC236}">
                  <a16:creationId xmlns:a16="http://schemas.microsoft.com/office/drawing/2014/main" id="{EF37AEA3-4B5D-6648-99EE-8C4E5788D8D4}"/>
                </a:ext>
              </a:extLst>
            </p:cNvPr>
            <p:cNvGrpSpPr/>
            <p:nvPr/>
          </p:nvGrpSpPr>
          <p:grpSpPr>
            <a:xfrm>
              <a:off x="10920837" y="3443185"/>
              <a:ext cx="540031" cy="463547"/>
              <a:chOff x="10920837" y="3611784"/>
              <a:chExt cx="540031" cy="463547"/>
            </a:xfrm>
          </p:grpSpPr>
          <p:pic>
            <p:nvPicPr>
              <p:cNvPr id="99" name="Picture 98">
                <a:extLst>
                  <a:ext uri="{FF2B5EF4-FFF2-40B4-BE49-F238E27FC236}">
                    <a16:creationId xmlns:a16="http://schemas.microsoft.com/office/drawing/2014/main" id="{23E09A54-FA87-E24B-8EA5-624B91879674}"/>
                  </a:ext>
                </a:extLst>
              </p:cNvPr>
              <p:cNvPicPr>
                <a:picLocks noChangeAspect="1"/>
              </p:cNvPicPr>
              <p:nvPr/>
            </p:nvPicPr>
            <p:blipFill>
              <a:blip r:embed="rId7">
                <a:alphaModFix amt="27000"/>
              </a:blip>
              <a:stretch>
                <a:fillRect/>
              </a:stretch>
            </p:blipFill>
            <p:spPr>
              <a:xfrm>
                <a:off x="10920837" y="3611784"/>
                <a:ext cx="540031" cy="463547"/>
              </a:xfrm>
              <a:prstGeom prst="rect">
                <a:avLst/>
              </a:prstGeom>
            </p:spPr>
          </p:pic>
          <p:pic>
            <p:nvPicPr>
              <p:cNvPr id="95" name="Picture 94">
                <a:extLst>
                  <a:ext uri="{FF2B5EF4-FFF2-40B4-BE49-F238E27FC236}">
                    <a16:creationId xmlns:a16="http://schemas.microsoft.com/office/drawing/2014/main" id="{828035FE-B869-1B4A-92EC-34663A08D827}"/>
                  </a:ext>
                </a:extLst>
              </p:cNvPr>
              <p:cNvPicPr>
                <a:picLocks noChangeAspect="1"/>
              </p:cNvPicPr>
              <p:nvPr/>
            </p:nvPicPr>
            <p:blipFill>
              <a:blip r:embed="rId9">
                <a:alphaModFix amt="14000"/>
              </a:blip>
              <a:stretch>
                <a:fillRect/>
              </a:stretch>
            </p:blipFill>
            <p:spPr>
              <a:xfrm rot="10800000">
                <a:off x="11054848" y="3733734"/>
                <a:ext cx="272008" cy="240312"/>
              </a:xfrm>
              <a:prstGeom prst="rect">
                <a:avLst/>
              </a:prstGeom>
            </p:spPr>
          </p:pic>
        </p:grpSp>
        <p:sp>
          <p:nvSpPr>
            <p:cNvPr id="103" name="TextBox 102">
              <a:extLst>
                <a:ext uri="{FF2B5EF4-FFF2-40B4-BE49-F238E27FC236}">
                  <a16:creationId xmlns:a16="http://schemas.microsoft.com/office/drawing/2014/main" id="{2CB08EA3-A758-2A4B-B884-4A71DB30534B}"/>
                </a:ext>
              </a:extLst>
            </p:cNvPr>
            <p:cNvSpPr txBox="1"/>
            <p:nvPr/>
          </p:nvSpPr>
          <p:spPr>
            <a:xfrm>
              <a:off x="10845243" y="3810941"/>
              <a:ext cx="691215" cy="427979"/>
            </a:xfrm>
            <a:prstGeom prst="rect">
              <a:avLst/>
            </a:prstGeom>
            <a:noFill/>
          </p:spPr>
          <p:txBody>
            <a:bodyPr wrap="none" tIns="90000" bIns="90000" rtlCol="0" anchor="t">
              <a:spAutoFit/>
            </a:bodyPr>
            <a:lstStyle/>
            <a:p>
              <a:pPr algn="ctr"/>
              <a:r>
                <a:rPr lang="en-US" sz="800" b="1" dirty="0">
                  <a:solidFill>
                    <a:srgbClr val="0079D1"/>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Stream</a:t>
              </a:r>
            </a:p>
            <a:p>
              <a:pPr algn="ctr"/>
              <a:r>
                <a:rPr lang="en-US" sz="800" b="1" dirty="0">
                  <a:solidFill>
                    <a:srgbClr val="0079D1"/>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processing</a:t>
              </a:r>
            </a:p>
          </p:txBody>
        </p:sp>
      </p:grpSp>
      <p:cxnSp>
        <p:nvCxnSpPr>
          <p:cNvPr id="114" name="Elbow Connector 113">
            <a:extLst>
              <a:ext uri="{FF2B5EF4-FFF2-40B4-BE49-F238E27FC236}">
                <a16:creationId xmlns:a16="http://schemas.microsoft.com/office/drawing/2014/main" id="{3E0119F2-E122-BB4D-8FBB-B63052050A13}"/>
              </a:ext>
            </a:extLst>
          </p:cNvPr>
          <p:cNvCxnSpPr>
            <a:cxnSpLocks/>
            <a:endCxn id="99" idx="1"/>
          </p:cNvCxnSpPr>
          <p:nvPr/>
        </p:nvCxnSpPr>
        <p:spPr>
          <a:xfrm flipV="1">
            <a:off x="4009599" y="3283018"/>
            <a:ext cx="591199" cy="484817"/>
          </a:xfrm>
          <a:prstGeom prst="bentConnector3">
            <a:avLst>
              <a:gd name="adj1" fmla="val 28346"/>
            </a:avLst>
          </a:prstGeom>
          <a:ln>
            <a:solidFill>
              <a:srgbClr val="0079D1"/>
            </a:solidFill>
            <a:headEnd type="oval"/>
            <a:tailEnd type="triangle"/>
          </a:ln>
        </p:spPr>
        <p:style>
          <a:lnRef idx="1">
            <a:schemeClr val="accent1"/>
          </a:lnRef>
          <a:fillRef idx="0">
            <a:schemeClr val="accent1"/>
          </a:fillRef>
          <a:effectRef idx="0">
            <a:schemeClr val="accent1"/>
          </a:effectRef>
          <a:fontRef idx="minor">
            <a:schemeClr val="tx1"/>
          </a:fontRef>
        </p:style>
      </p:cxnSp>
      <p:cxnSp>
        <p:nvCxnSpPr>
          <p:cNvPr id="119" name="Elbow Connector 118">
            <a:extLst>
              <a:ext uri="{FF2B5EF4-FFF2-40B4-BE49-F238E27FC236}">
                <a16:creationId xmlns:a16="http://schemas.microsoft.com/office/drawing/2014/main" id="{A6A5B2B8-784D-9E4F-9CC2-417948256C5C}"/>
              </a:ext>
            </a:extLst>
          </p:cNvPr>
          <p:cNvCxnSpPr>
            <a:cxnSpLocks/>
            <a:endCxn id="86" idx="1"/>
          </p:cNvCxnSpPr>
          <p:nvPr/>
        </p:nvCxnSpPr>
        <p:spPr>
          <a:xfrm>
            <a:off x="4031305" y="3767835"/>
            <a:ext cx="556197" cy="529987"/>
          </a:xfrm>
          <a:prstGeom prst="bentConnector3">
            <a:avLst>
              <a:gd name="adj1" fmla="val 26984"/>
            </a:avLst>
          </a:prstGeom>
          <a:ln>
            <a:solidFill>
              <a:srgbClr val="0079D1"/>
            </a:solidFill>
            <a:headEnd type="oval"/>
            <a:tailEnd type="triangle"/>
          </a:ln>
        </p:spPr>
        <p:style>
          <a:lnRef idx="1">
            <a:schemeClr val="accent1"/>
          </a:lnRef>
          <a:fillRef idx="0">
            <a:schemeClr val="accent1"/>
          </a:fillRef>
          <a:effectRef idx="0">
            <a:schemeClr val="accent1"/>
          </a:effectRef>
          <a:fontRef idx="minor">
            <a:schemeClr val="tx1"/>
          </a:fontRef>
        </p:style>
      </p:cxnSp>
      <p:pic>
        <p:nvPicPr>
          <p:cNvPr id="125" name="Picture 124">
            <a:extLst>
              <a:ext uri="{FF2B5EF4-FFF2-40B4-BE49-F238E27FC236}">
                <a16:creationId xmlns:a16="http://schemas.microsoft.com/office/drawing/2014/main" id="{0684E7D4-4B7B-0B40-AB7C-BE393971B98D}"/>
              </a:ext>
            </a:extLst>
          </p:cNvPr>
          <p:cNvPicPr>
            <a:picLocks noChangeAspect="1"/>
          </p:cNvPicPr>
          <p:nvPr/>
        </p:nvPicPr>
        <p:blipFill>
          <a:blip r:embed="rId10">
            <a:alphaModFix amt="10000"/>
          </a:blip>
          <a:stretch>
            <a:fillRect/>
          </a:stretch>
        </p:blipFill>
        <p:spPr>
          <a:xfrm>
            <a:off x="6176027" y="3098408"/>
            <a:ext cx="564571" cy="564571"/>
          </a:xfrm>
          <a:prstGeom prst="rect">
            <a:avLst/>
          </a:prstGeom>
        </p:spPr>
      </p:pic>
      <p:pic>
        <p:nvPicPr>
          <p:cNvPr id="130" name="Picture 129">
            <a:extLst>
              <a:ext uri="{FF2B5EF4-FFF2-40B4-BE49-F238E27FC236}">
                <a16:creationId xmlns:a16="http://schemas.microsoft.com/office/drawing/2014/main" id="{0F0F3C64-B87B-4D4C-A02D-B4D76372A0A5}"/>
              </a:ext>
            </a:extLst>
          </p:cNvPr>
          <p:cNvPicPr>
            <a:picLocks noChangeAspect="1"/>
          </p:cNvPicPr>
          <p:nvPr/>
        </p:nvPicPr>
        <p:blipFill>
          <a:blip r:embed="rId10">
            <a:alphaModFix amt="10000"/>
          </a:blip>
          <a:stretch>
            <a:fillRect/>
          </a:stretch>
        </p:blipFill>
        <p:spPr>
          <a:xfrm>
            <a:off x="6189323" y="3581896"/>
            <a:ext cx="564571" cy="564571"/>
          </a:xfrm>
          <a:prstGeom prst="rect">
            <a:avLst/>
          </a:prstGeom>
        </p:spPr>
      </p:pic>
      <p:pic>
        <p:nvPicPr>
          <p:cNvPr id="131" name="Picture 130">
            <a:extLst>
              <a:ext uri="{FF2B5EF4-FFF2-40B4-BE49-F238E27FC236}">
                <a16:creationId xmlns:a16="http://schemas.microsoft.com/office/drawing/2014/main" id="{D814F278-E318-584F-84DD-217DF5D12A9D}"/>
              </a:ext>
            </a:extLst>
          </p:cNvPr>
          <p:cNvPicPr>
            <a:picLocks noChangeAspect="1"/>
          </p:cNvPicPr>
          <p:nvPr/>
        </p:nvPicPr>
        <p:blipFill>
          <a:blip r:embed="rId11">
            <a:alphaModFix amt="12000"/>
          </a:blip>
          <a:stretch>
            <a:fillRect/>
          </a:stretch>
        </p:blipFill>
        <p:spPr>
          <a:xfrm>
            <a:off x="6291719" y="4126089"/>
            <a:ext cx="409334" cy="564571"/>
          </a:xfrm>
          <a:prstGeom prst="rect">
            <a:avLst/>
          </a:prstGeom>
        </p:spPr>
      </p:pic>
      <p:grpSp>
        <p:nvGrpSpPr>
          <p:cNvPr id="138" name="Group 137">
            <a:extLst>
              <a:ext uri="{FF2B5EF4-FFF2-40B4-BE49-F238E27FC236}">
                <a16:creationId xmlns:a16="http://schemas.microsoft.com/office/drawing/2014/main" id="{7298AA87-3D1B-A14F-B668-4ED0A6ABDB7C}"/>
              </a:ext>
            </a:extLst>
          </p:cNvPr>
          <p:cNvGrpSpPr/>
          <p:nvPr/>
        </p:nvGrpSpPr>
        <p:grpSpPr>
          <a:xfrm>
            <a:off x="7220483" y="2808242"/>
            <a:ext cx="669420" cy="652960"/>
            <a:chOff x="3633087" y="3095660"/>
            <a:chExt cx="669420" cy="652960"/>
          </a:xfrm>
        </p:grpSpPr>
        <p:pic>
          <p:nvPicPr>
            <p:cNvPr id="139" name="Picture 138">
              <a:extLst>
                <a:ext uri="{FF2B5EF4-FFF2-40B4-BE49-F238E27FC236}">
                  <a16:creationId xmlns:a16="http://schemas.microsoft.com/office/drawing/2014/main" id="{13B00733-5BC4-CC42-B4CC-7903C3D83DBF}"/>
                </a:ext>
              </a:extLst>
            </p:cNvPr>
            <p:cNvPicPr>
              <a:picLocks noChangeAspect="1"/>
            </p:cNvPicPr>
            <p:nvPr/>
          </p:nvPicPr>
          <p:blipFill>
            <a:blip r:embed="rId6">
              <a:alphaModFix amt="27000"/>
            </a:blip>
            <a:stretch>
              <a:fillRect/>
            </a:stretch>
          </p:blipFill>
          <p:spPr>
            <a:xfrm>
              <a:off x="3699164" y="3095660"/>
              <a:ext cx="488354" cy="333340"/>
            </a:xfrm>
            <a:prstGeom prst="rect">
              <a:avLst/>
            </a:prstGeom>
          </p:spPr>
        </p:pic>
        <p:sp>
          <p:nvSpPr>
            <p:cNvPr id="140" name="TextBox 139">
              <a:extLst>
                <a:ext uri="{FF2B5EF4-FFF2-40B4-BE49-F238E27FC236}">
                  <a16:creationId xmlns:a16="http://schemas.microsoft.com/office/drawing/2014/main" id="{D959325D-658C-354F-A6B9-CB6D785C72E9}"/>
                </a:ext>
              </a:extLst>
            </p:cNvPr>
            <p:cNvSpPr txBox="1"/>
            <p:nvPr/>
          </p:nvSpPr>
          <p:spPr>
            <a:xfrm>
              <a:off x="3633087" y="3320641"/>
              <a:ext cx="669420" cy="427979"/>
            </a:xfrm>
            <a:prstGeom prst="rect">
              <a:avLst/>
            </a:prstGeom>
            <a:noFill/>
          </p:spPr>
          <p:txBody>
            <a:bodyPr wrap="square" tIns="90000" bIns="90000" rtlCol="0" anchor="t">
              <a:spAutoFit/>
            </a:bodyPr>
            <a:lstStyle/>
            <a:p>
              <a:pPr algn="ctr"/>
              <a:r>
                <a:rPr lang="en-US" sz="800" b="1" dirty="0">
                  <a:solidFill>
                    <a:srgbClr val="0079D1"/>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Stream </a:t>
              </a:r>
            </a:p>
            <a:p>
              <a:pPr algn="ctr"/>
              <a:r>
                <a:rPr lang="en-US" sz="800" b="1" dirty="0">
                  <a:solidFill>
                    <a:srgbClr val="0079D1"/>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APIs</a:t>
              </a:r>
            </a:p>
          </p:txBody>
        </p:sp>
      </p:grpSp>
      <p:grpSp>
        <p:nvGrpSpPr>
          <p:cNvPr id="137" name="Group 136">
            <a:extLst>
              <a:ext uri="{FF2B5EF4-FFF2-40B4-BE49-F238E27FC236}">
                <a16:creationId xmlns:a16="http://schemas.microsoft.com/office/drawing/2014/main" id="{ECE1A848-D173-DF4E-BD36-C7C8CB6466E7}"/>
              </a:ext>
            </a:extLst>
          </p:cNvPr>
          <p:cNvGrpSpPr/>
          <p:nvPr/>
        </p:nvGrpSpPr>
        <p:grpSpPr>
          <a:xfrm>
            <a:off x="7024786" y="3546341"/>
            <a:ext cx="1101584" cy="549897"/>
            <a:chOff x="10732895" y="3618404"/>
            <a:chExt cx="1101584" cy="549897"/>
          </a:xfrm>
        </p:grpSpPr>
        <p:pic>
          <p:nvPicPr>
            <p:cNvPr id="134" name="Picture 133">
              <a:extLst>
                <a:ext uri="{FF2B5EF4-FFF2-40B4-BE49-F238E27FC236}">
                  <a16:creationId xmlns:a16="http://schemas.microsoft.com/office/drawing/2014/main" id="{2D9B9F4E-4276-1240-94B0-AFD94DEDF2B7}"/>
                </a:ext>
              </a:extLst>
            </p:cNvPr>
            <p:cNvPicPr>
              <a:picLocks noChangeAspect="1"/>
            </p:cNvPicPr>
            <p:nvPr/>
          </p:nvPicPr>
          <p:blipFill>
            <a:blip r:embed="rId12">
              <a:alphaModFix amt="57000"/>
            </a:blip>
            <a:stretch>
              <a:fillRect/>
            </a:stretch>
          </p:blipFill>
          <p:spPr>
            <a:xfrm>
              <a:off x="11020649" y="3618404"/>
              <a:ext cx="431837" cy="329077"/>
            </a:xfrm>
            <a:prstGeom prst="rect">
              <a:avLst/>
            </a:prstGeom>
          </p:spPr>
        </p:pic>
        <p:sp>
          <p:nvSpPr>
            <p:cNvPr id="144" name="TextBox 143">
              <a:extLst>
                <a:ext uri="{FF2B5EF4-FFF2-40B4-BE49-F238E27FC236}">
                  <a16:creationId xmlns:a16="http://schemas.microsoft.com/office/drawing/2014/main" id="{5BC9BC62-F83E-2E47-98C0-28842424D71C}"/>
                </a:ext>
              </a:extLst>
            </p:cNvPr>
            <p:cNvSpPr txBox="1"/>
            <p:nvPr/>
          </p:nvSpPr>
          <p:spPr>
            <a:xfrm>
              <a:off x="10732895" y="3863433"/>
              <a:ext cx="1101584" cy="304868"/>
            </a:xfrm>
            <a:prstGeom prst="rect">
              <a:avLst/>
            </a:prstGeom>
            <a:noFill/>
          </p:spPr>
          <p:txBody>
            <a:bodyPr wrap="none" tIns="90000" bIns="90000" rtlCol="0" anchor="t">
              <a:spAutoFit/>
            </a:bodyPr>
            <a:lstStyle/>
            <a:p>
              <a:pPr algn="ctr"/>
              <a:r>
                <a:rPr lang="en-US" sz="800" b="1" dirty="0">
                  <a:solidFill>
                    <a:srgbClr val="0079D1"/>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Search and Query</a:t>
              </a:r>
            </a:p>
          </p:txBody>
        </p:sp>
      </p:grpSp>
      <p:grpSp>
        <p:nvGrpSpPr>
          <p:cNvPr id="145" name="Group 144">
            <a:extLst>
              <a:ext uri="{FF2B5EF4-FFF2-40B4-BE49-F238E27FC236}">
                <a16:creationId xmlns:a16="http://schemas.microsoft.com/office/drawing/2014/main" id="{EA5DC93B-F2F4-234A-9DC9-734CE3B1325F}"/>
              </a:ext>
            </a:extLst>
          </p:cNvPr>
          <p:cNvGrpSpPr/>
          <p:nvPr/>
        </p:nvGrpSpPr>
        <p:grpSpPr>
          <a:xfrm>
            <a:off x="7251378" y="4213321"/>
            <a:ext cx="636713" cy="606724"/>
            <a:chOff x="10798370" y="4029511"/>
            <a:chExt cx="636713" cy="606724"/>
          </a:xfrm>
        </p:grpSpPr>
        <p:pic>
          <p:nvPicPr>
            <p:cNvPr id="143" name="Picture 142">
              <a:extLst>
                <a:ext uri="{FF2B5EF4-FFF2-40B4-BE49-F238E27FC236}">
                  <a16:creationId xmlns:a16="http://schemas.microsoft.com/office/drawing/2014/main" id="{F1CB61FB-6CD7-BF47-A5ED-F544615CDA4C}"/>
                </a:ext>
              </a:extLst>
            </p:cNvPr>
            <p:cNvPicPr>
              <a:picLocks noChangeAspect="1"/>
            </p:cNvPicPr>
            <p:nvPr/>
          </p:nvPicPr>
          <p:blipFill>
            <a:blip r:embed="rId13">
              <a:alphaModFix amt="48000"/>
            </a:blip>
            <a:stretch>
              <a:fillRect/>
            </a:stretch>
          </p:blipFill>
          <p:spPr>
            <a:xfrm>
              <a:off x="10878228" y="4029511"/>
              <a:ext cx="425369" cy="384152"/>
            </a:xfrm>
            <a:prstGeom prst="rect">
              <a:avLst/>
            </a:prstGeom>
          </p:spPr>
        </p:pic>
        <p:sp>
          <p:nvSpPr>
            <p:cNvPr id="149" name="TextBox 148">
              <a:extLst>
                <a:ext uri="{FF2B5EF4-FFF2-40B4-BE49-F238E27FC236}">
                  <a16:creationId xmlns:a16="http://schemas.microsoft.com/office/drawing/2014/main" id="{99B278D3-9573-5A4D-8711-B5B48F5A37B1}"/>
                </a:ext>
              </a:extLst>
            </p:cNvPr>
            <p:cNvSpPr txBox="1"/>
            <p:nvPr/>
          </p:nvSpPr>
          <p:spPr>
            <a:xfrm>
              <a:off x="10798370" y="4331367"/>
              <a:ext cx="636713" cy="304868"/>
            </a:xfrm>
            <a:prstGeom prst="rect">
              <a:avLst/>
            </a:prstGeom>
            <a:noFill/>
          </p:spPr>
          <p:txBody>
            <a:bodyPr wrap="none" tIns="90000" bIns="90000" rtlCol="0" anchor="t">
              <a:spAutoFit/>
            </a:bodyPr>
            <a:lstStyle/>
            <a:p>
              <a:pPr algn="ctr"/>
              <a:r>
                <a:rPr lang="en-US" sz="800" b="1" dirty="0">
                  <a:solidFill>
                    <a:srgbClr val="0079D1"/>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Analytics</a:t>
              </a:r>
            </a:p>
          </p:txBody>
        </p:sp>
      </p:grpSp>
      <p:grpSp>
        <p:nvGrpSpPr>
          <p:cNvPr id="148" name="Group 147">
            <a:extLst>
              <a:ext uri="{FF2B5EF4-FFF2-40B4-BE49-F238E27FC236}">
                <a16:creationId xmlns:a16="http://schemas.microsoft.com/office/drawing/2014/main" id="{B014F398-527D-3446-9933-CBD6C025F6F5}"/>
              </a:ext>
            </a:extLst>
          </p:cNvPr>
          <p:cNvGrpSpPr/>
          <p:nvPr/>
        </p:nvGrpSpPr>
        <p:grpSpPr>
          <a:xfrm>
            <a:off x="7308678" y="4924103"/>
            <a:ext cx="564578" cy="719257"/>
            <a:chOff x="11028010" y="3546264"/>
            <a:chExt cx="564578" cy="719257"/>
          </a:xfrm>
        </p:grpSpPr>
        <p:pic>
          <p:nvPicPr>
            <p:cNvPr id="147" name="Picture 146">
              <a:extLst>
                <a:ext uri="{FF2B5EF4-FFF2-40B4-BE49-F238E27FC236}">
                  <a16:creationId xmlns:a16="http://schemas.microsoft.com/office/drawing/2014/main" id="{1E8C71E2-CAFA-3745-A69A-8C2BE27DD31B}"/>
                </a:ext>
              </a:extLst>
            </p:cNvPr>
            <p:cNvPicPr>
              <a:picLocks noChangeAspect="1"/>
            </p:cNvPicPr>
            <p:nvPr/>
          </p:nvPicPr>
          <p:blipFill>
            <a:blip r:embed="rId14">
              <a:alphaModFix amt="50000"/>
            </a:blip>
            <a:stretch>
              <a:fillRect/>
            </a:stretch>
          </p:blipFill>
          <p:spPr>
            <a:xfrm>
              <a:off x="11041322" y="3546264"/>
              <a:ext cx="498883" cy="502431"/>
            </a:xfrm>
            <a:prstGeom prst="rect">
              <a:avLst/>
            </a:prstGeom>
          </p:spPr>
        </p:pic>
        <p:sp>
          <p:nvSpPr>
            <p:cNvPr id="154" name="TextBox 153">
              <a:extLst>
                <a:ext uri="{FF2B5EF4-FFF2-40B4-BE49-F238E27FC236}">
                  <a16:creationId xmlns:a16="http://schemas.microsoft.com/office/drawing/2014/main" id="{E54A82EF-BE2D-F44F-9227-F78A2EDFA118}"/>
                </a:ext>
              </a:extLst>
            </p:cNvPr>
            <p:cNvSpPr txBox="1"/>
            <p:nvPr/>
          </p:nvSpPr>
          <p:spPr>
            <a:xfrm>
              <a:off x="11028010" y="3960653"/>
              <a:ext cx="564578" cy="304868"/>
            </a:xfrm>
            <a:prstGeom prst="rect">
              <a:avLst/>
            </a:prstGeom>
            <a:noFill/>
          </p:spPr>
          <p:txBody>
            <a:bodyPr wrap="none" tIns="90000" bIns="90000" rtlCol="0" anchor="t">
              <a:spAutoFit/>
            </a:bodyPr>
            <a:lstStyle/>
            <a:p>
              <a:pPr algn="ctr"/>
              <a:r>
                <a:rPr lang="en-US" sz="800" b="1" dirty="0">
                  <a:solidFill>
                    <a:srgbClr val="0079D1"/>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Reports</a:t>
              </a:r>
            </a:p>
          </p:txBody>
        </p:sp>
      </p:grpSp>
      <p:cxnSp>
        <p:nvCxnSpPr>
          <p:cNvPr id="156" name="Elbow Connector 155">
            <a:extLst>
              <a:ext uri="{FF2B5EF4-FFF2-40B4-BE49-F238E27FC236}">
                <a16:creationId xmlns:a16="http://schemas.microsoft.com/office/drawing/2014/main" id="{2AFA81EE-0027-774E-B8D2-A923302D348E}"/>
              </a:ext>
            </a:extLst>
          </p:cNvPr>
          <p:cNvCxnSpPr>
            <a:cxnSpLocks/>
            <a:stCxn id="32" idx="3"/>
            <a:endCxn id="64" idx="2"/>
          </p:cNvCxnSpPr>
          <p:nvPr/>
        </p:nvCxnSpPr>
        <p:spPr>
          <a:xfrm>
            <a:off x="1367705" y="4101631"/>
            <a:ext cx="2403900" cy="76476"/>
          </a:xfrm>
          <a:prstGeom prst="bentConnector4">
            <a:avLst>
              <a:gd name="adj1" fmla="val 42762"/>
              <a:gd name="adj2" fmla="val 398917"/>
            </a:avLst>
          </a:prstGeom>
          <a:ln>
            <a:solidFill>
              <a:srgbClr val="0079D1"/>
            </a:solidFill>
            <a:headEnd type="oval"/>
            <a:tailEnd type="triangle"/>
          </a:ln>
        </p:spPr>
        <p:style>
          <a:lnRef idx="1">
            <a:schemeClr val="accent1"/>
          </a:lnRef>
          <a:fillRef idx="0">
            <a:schemeClr val="accent1"/>
          </a:fillRef>
          <a:effectRef idx="0">
            <a:schemeClr val="accent1"/>
          </a:effectRef>
          <a:fontRef idx="minor">
            <a:schemeClr val="tx1"/>
          </a:fontRef>
        </p:style>
      </p:cxnSp>
      <p:cxnSp>
        <p:nvCxnSpPr>
          <p:cNvPr id="189" name="Elbow Connector 188">
            <a:extLst>
              <a:ext uri="{FF2B5EF4-FFF2-40B4-BE49-F238E27FC236}">
                <a16:creationId xmlns:a16="http://schemas.microsoft.com/office/drawing/2014/main" id="{021CC0ED-6D69-744D-8E1D-3BDD35725461}"/>
              </a:ext>
            </a:extLst>
          </p:cNvPr>
          <p:cNvCxnSpPr>
            <a:cxnSpLocks/>
            <a:stCxn id="27" idx="3"/>
          </p:cNvCxnSpPr>
          <p:nvPr/>
        </p:nvCxnSpPr>
        <p:spPr>
          <a:xfrm>
            <a:off x="1444625" y="3491154"/>
            <a:ext cx="2075497" cy="276681"/>
          </a:xfrm>
          <a:prstGeom prst="bentConnector3">
            <a:avLst>
              <a:gd name="adj1" fmla="val 50000"/>
            </a:avLst>
          </a:prstGeom>
          <a:ln>
            <a:solidFill>
              <a:srgbClr val="0079D1"/>
            </a:solidFill>
            <a:headEnd type="oval"/>
            <a:tailEnd type="triangle"/>
          </a:ln>
        </p:spPr>
        <p:style>
          <a:lnRef idx="1">
            <a:schemeClr val="accent1"/>
          </a:lnRef>
          <a:fillRef idx="0">
            <a:schemeClr val="accent1"/>
          </a:fillRef>
          <a:effectRef idx="0">
            <a:schemeClr val="accent1"/>
          </a:effectRef>
          <a:fontRef idx="minor">
            <a:schemeClr val="tx1"/>
          </a:fontRef>
        </p:style>
      </p:cxnSp>
      <p:sp>
        <p:nvSpPr>
          <p:cNvPr id="196" name="Google Shape;61;p12">
            <a:extLst>
              <a:ext uri="{FF2B5EF4-FFF2-40B4-BE49-F238E27FC236}">
                <a16:creationId xmlns:a16="http://schemas.microsoft.com/office/drawing/2014/main" id="{45704102-2436-444E-80D1-CAD98EF5EC36}"/>
              </a:ext>
            </a:extLst>
          </p:cNvPr>
          <p:cNvSpPr txBox="1">
            <a:spLocks/>
          </p:cNvSpPr>
          <p:nvPr/>
        </p:nvSpPr>
        <p:spPr>
          <a:xfrm>
            <a:off x="8388599" y="1999913"/>
            <a:ext cx="3501646" cy="3477875"/>
          </a:xfrm>
          <a:prstGeom prst="rect">
            <a:avLst/>
          </a:prstGeom>
          <a:noFill/>
        </p:spPr>
        <p:txBody>
          <a:bodyPr wrap="square" rtlCol="0">
            <a:spAutoFit/>
          </a:bodyPr>
          <a:lstStyle>
            <a:defPPr>
              <a:defRPr lang="en-US"/>
            </a:defPPr>
            <a:lvl1pPr algn="ctr" defTabSz="457200">
              <a:defRPr sz="90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defRPr>
            </a:lvl1pPr>
          </a:lstStyle>
          <a:p>
            <a:pPr algn="l"/>
            <a:r>
              <a:rPr lang="en-US" sz="1100" dirty="0">
                <a:latin typeface="Comic Sans MS" panose="030F0902030302020204" pitchFamily="66" charset="0"/>
              </a:rPr>
              <a:t>Event Hub  feature following key elements:</a:t>
            </a:r>
          </a:p>
          <a:p>
            <a:pPr algn="l"/>
            <a:endParaRPr lang="en-US" sz="1100" dirty="0">
              <a:latin typeface="Comic Sans MS" panose="030F0902030302020204" pitchFamily="66" charset="0"/>
            </a:endParaRPr>
          </a:p>
          <a:p>
            <a:pPr algn="l"/>
            <a:r>
              <a:rPr lang="en-US" sz="1100" b="1" dirty="0">
                <a:latin typeface="Comic Sans MS" panose="030F0902030302020204" pitchFamily="66" charset="0"/>
              </a:rPr>
              <a:t>Event producers/publishers</a:t>
            </a:r>
            <a:r>
              <a:rPr lang="en-US" sz="1100" dirty="0">
                <a:latin typeface="Comic Sans MS" panose="030F0902030302020204" pitchFamily="66" charset="0"/>
              </a:rPr>
              <a:t>: An entity that sends data to an event hub. </a:t>
            </a:r>
          </a:p>
          <a:p>
            <a:pPr algn="l"/>
            <a:r>
              <a:rPr lang="en-US" sz="1100" b="1" dirty="0">
                <a:latin typeface="Comic Sans MS" panose="030F0902030302020204" pitchFamily="66" charset="0"/>
              </a:rPr>
              <a:t>Capture</a:t>
            </a:r>
            <a:r>
              <a:rPr lang="en-US" sz="1100" dirty="0">
                <a:latin typeface="Comic Sans MS" panose="030F0902030302020204" pitchFamily="66" charset="0"/>
              </a:rPr>
              <a:t>: Enables you to capture Event Hubs streaming data and store it in an Azure Blob storage account</a:t>
            </a:r>
          </a:p>
          <a:p>
            <a:pPr algn="l"/>
            <a:r>
              <a:rPr lang="en-US" sz="1100" b="1" dirty="0">
                <a:latin typeface="Comic Sans MS" panose="030F0902030302020204" pitchFamily="66" charset="0"/>
              </a:rPr>
              <a:t>Partitions</a:t>
            </a:r>
            <a:r>
              <a:rPr lang="en-US" sz="1100" dirty="0">
                <a:latin typeface="Comic Sans MS" panose="030F0902030302020204" pitchFamily="66" charset="0"/>
              </a:rPr>
              <a:t>: Enables each consumer to only read a specific subset, or partition, of the event stream.</a:t>
            </a:r>
          </a:p>
          <a:p>
            <a:pPr algn="l"/>
            <a:r>
              <a:rPr lang="en-US" sz="1100" b="1" dirty="0">
                <a:latin typeface="Comic Sans MS" panose="030F0902030302020204" pitchFamily="66" charset="0"/>
              </a:rPr>
              <a:t>Tokens</a:t>
            </a:r>
            <a:r>
              <a:rPr lang="en-US" sz="1100" dirty="0">
                <a:latin typeface="Comic Sans MS" panose="030F0902030302020204" pitchFamily="66" charset="0"/>
              </a:rPr>
              <a:t>: Identifies and authenticates the event publisher</a:t>
            </a:r>
          </a:p>
          <a:p>
            <a:pPr algn="l"/>
            <a:r>
              <a:rPr lang="en-US" sz="1100" b="1" dirty="0">
                <a:latin typeface="Comic Sans MS" panose="030F0902030302020204" pitchFamily="66" charset="0"/>
              </a:rPr>
              <a:t>Event consumers</a:t>
            </a:r>
            <a:r>
              <a:rPr lang="en-US" sz="1100" dirty="0">
                <a:latin typeface="Comic Sans MS" panose="030F0902030302020204" pitchFamily="66" charset="0"/>
              </a:rPr>
              <a:t>: An entity that reads event data from an event hub</a:t>
            </a:r>
          </a:p>
          <a:p>
            <a:pPr algn="l"/>
            <a:r>
              <a:rPr lang="en-US" sz="1100" b="1" dirty="0">
                <a:latin typeface="Comic Sans MS" panose="030F0902030302020204" pitchFamily="66" charset="0"/>
              </a:rPr>
              <a:t>Consumer groups</a:t>
            </a:r>
            <a:r>
              <a:rPr lang="en-US" sz="1100" dirty="0">
                <a:latin typeface="Comic Sans MS" panose="030F0902030302020204" pitchFamily="66" charset="0"/>
              </a:rPr>
              <a:t> : Provides each multiple consuming application with a separate view of the event stream, enabling those consumers to act independently.</a:t>
            </a:r>
          </a:p>
          <a:p>
            <a:pPr algn="l"/>
            <a:r>
              <a:rPr lang="en-US" sz="1100" b="1" dirty="0">
                <a:latin typeface="Comic Sans MS" panose="030F0902030302020204" pitchFamily="66" charset="0"/>
              </a:rPr>
              <a:t>Throughput units</a:t>
            </a:r>
            <a:r>
              <a:rPr lang="en-US" sz="1100" dirty="0">
                <a:latin typeface="Comic Sans MS" panose="030F0902030302020204" pitchFamily="66" charset="0"/>
              </a:rPr>
              <a:t>: Pre-purchased units of capacity. A single partition has a maximum scale of 1 throughput unit.</a:t>
            </a:r>
          </a:p>
        </p:txBody>
      </p:sp>
    </p:spTree>
    <p:extLst>
      <p:ext uri="{BB962C8B-B14F-4D97-AF65-F5344CB8AC3E}">
        <p14:creationId xmlns:p14="http://schemas.microsoft.com/office/powerpoint/2010/main" val="130413117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tangle 3">
            <a:extLst>
              <a:ext uri="{FF2B5EF4-FFF2-40B4-BE49-F238E27FC236}">
                <a16:creationId xmlns:a16="http://schemas.microsoft.com/office/drawing/2014/main" id="{A27FD23C-A522-0E4F-B70C-CC83BC4542BA}"/>
              </a:ext>
            </a:extLst>
          </p:cNvPr>
          <p:cNvSpPr txBox="1"/>
          <p:nvPr/>
        </p:nvSpPr>
        <p:spPr>
          <a:xfrm>
            <a:off x="404808" y="237462"/>
            <a:ext cx="7585857" cy="400105"/>
          </a:xfrm>
          <a:prstGeom prst="rect">
            <a:avLst/>
          </a:prstGeom>
          <a:ln w="12700">
            <a:miter lim="400000"/>
          </a:ln>
          <a:extLst>
            <a:ext uri="{C572A759-6A51-4108-AA02-DFA0A04FC94B}">
              <ma14:wrappingTextBoxFlag xmlns:ma14="http://schemas.microsoft.com/office/mac/drawingml/2011/main" xmlns="" val="1"/>
            </a:ext>
          </a:extLst>
        </p:spPr>
        <p:txBody>
          <a:bodyPr wrap="square" lIns="45718" tIns="45718" rIns="45718" bIns="45718">
            <a:spAutoFit/>
          </a:bodyPr>
          <a:lstStyle>
            <a:lvl1pPr algn="l" defTabSz="914400">
              <a:defRPr sz="2200" b="1">
                <a:solidFill>
                  <a:srgbClr val="FFFFFF"/>
                </a:solidFill>
                <a:latin typeface="Arial"/>
                <a:ea typeface="Arial"/>
                <a:cs typeface="Arial"/>
                <a:sym typeface="Arial"/>
              </a:defRPr>
            </a:lvl1pPr>
          </a:lstStyle>
          <a:p>
            <a:r>
              <a:rPr lang="en-US" sz="2000" dirty="0">
                <a:solidFill>
                  <a:srgbClr val="016AA2"/>
                </a:solidFill>
              </a:rPr>
              <a:t>Needs and Solution Proposal (III)</a:t>
            </a:r>
          </a:p>
        </p:txBody>
      </p:sp>
      <p:sp>
        <p:nvSpPr>
          <p:cNvPr id="65" name="Rectangle 3"/>
          <p:cNvSpPr txBox="1"/>
          <p:nvPr/>
        </p:nvSpPr>
        <p:spPr>
          <a:xfrm>
            <a:off x="404806" y="610135"/>
            <a:ext cx="8775769" cy="369328"/>
          </a:xfrm>
          <a:prstGeom prst="rect">
            <a:avLst/>
          </a:prstGeom>
          <a:ln w="12700">
            <a:miter lim="400000"/>
          </a:ln>
          <a:extLst>
            <a:ext uri="{C572A759-6A51-4108-AA02-DFA0A04FC94B}">
              <ma14:wrappingTextBoxFlag xmlns="" xmlns:ma14="http://schemas.microsoft.com/office/mac/drawingml/2011/main" val="1"/>
            </a:ext>
          </a:extLst>
        </p:spPr>
        <p:txBody>
          <a:bodyPr wrap="square" lIns="45718" tIns="45718" rIns="45718" bIns="45718">
            <a:spAutoFit/>
          </a:bodyPr>
          <a:lstStyle>
            <a:lvl1pPr algn="l" defTabSz="914400">
              <a:defRPr sz="2000">
                <a:solidFill>
                  <a:srgbClr val="104D6A"/>
                </a:solidFill>
                <a:latin typeface="Arial"/>
                <a:ea typeface="Arial"/>
                <a:cs typeface="Arial"/>
                <a:sym typeface="Arial"/>
              </a:defRPr>
            </a:lvl1pPr>
          </a:lstStyle>
          <a:p>
            <a:pPr>
              <a:defRPr/>
            </a:pPr>
            <a:r>
              <a:rPr lang="en-US" sz="1800" b="1" dirty="0">
                <a:solidFill>
                  <a:srgbClr val="73C4EF"/>
                </a:solidFill>
              </a:rPr>
              <a:t>Event Hub Architecture – The key capabilities of an Event Hub </a:t>
            </a:r>
          </a:p>
        </p:txBody>
      </p:sp>
      <p:graphicFrame>
        <p:nvGraphicFramePr>
          <p:cNvPr id="3" name="Table 2">
            <a:extLst>
              <a:ext uri="{FF2B5EF4-FFF2-40B4-BE49-F238E27FC236}">
                <a16:creationId xmlns:a16="http://schemas.microsoft.com/office/drawing/2014/main" id="{D9271796-9D4D-2E4D-A690-A81564040FDE}"/>
              </a:ext>
            </a:extLst>
          </p:cNvPr>
          <p:cNvGraphicFramePr>
            <a:graphicFrameLocks noGrp="1"/>
          </p:cNvGraphicFramePr>
          <p:nvPr>
            <p:extLst>
              <p:ext uri="{D42A27DB-BD31-4B8C-83A1-F6EECF244321}">
                <p14:modId xmlns:p14="http://schemas.microsoft.com/office/powerpoint/2010/main" val="466572797"/>
              </p:ext>
            </p:extLst>
          </p:nvPr>
        </p:nvGraphicFramePr>
        <p:xfrm>
          <a:off x="512064" y="1688930"/>
          <a:ext cx="11119104" cy="2754038"/>
        </p:xfrm>
        <a:graphic>
          <a:graphicData uri="http://schemas.openxmlformats.org/drawingml/2006/table">
            <a:tbl>
              <a:tblPr firstRow="1" bandRow="1">
                <a:tableStyleId>{5C22544A-7EE6-4342-B048-85BDC9FD1C3A}</a:tableStyleId>
              </a:tblPr>
              <a:tblGrid>
                <a:gridCol w="2478024">
                  <a:extLst>
                    <a:ext uri="{9D8B030D-6E8A-4147-A177-3AD203B41FA5}">
                      <a16:colId xmlns:a16="http://schemas.microsoft.com/office/drawing/2014/main" val="256165452"/>
                    </a:ext>
                  </a:extLst>
                </a:gridCol>
                <a:gridCol w="8641080">
                  <a:extLst>
                    <a:ext uri="{9D8B030D-6E8A-4147-A177-3AD203B41FA5}">
                      <a16:colId xmlns:a16="http://schemas.microsoft.com/office/drawing/2014/main" val="1456316919"/>
                    </a:ext>
                  </a:extLst>
                </a:gridCol>
              </a:tblGrid>
              <a:tr h="370840">
                <a:tc>
                  <a:txBody>
                    <a:bodyPr/>
                    <a:lstStyle/>
                    <a:p>
                      <a:pPr marL="0" algn="ctr" defTabSz="457200" rtl="0" eaLnBrk="1" latinLnBrk="0" hangingPunct="1"/>
                      <a:r>
                        <a:rPr lang="en-US" sz="1000" b="1" kern="1200" dirty="0">
                          <a:solidFill>
                            <a:srgbClr val="0067B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Event Hub</a:t>
                      </a:r>
                    </a:p>
                  </a:txBody>
                  <a:tcPr>
                    <a:solidFill>
                      <a:schemeClr val="accent6">
                        <a:lumMod val="40000"/>
                        <a:lumOff val="60000"/>
                      </a:schemeClr>
                    </a:solidFill>
                  </a:tcPr>
                </a:tc>
                <a:tc>
                  <a:txBody>
                    <a:bodyPr/>
                    <a:lstStyle/>
                    <a:p>
                      <a:pPr marL="0" algn="ctr" defTabSz="457200" rtl="0" eaLnBrk="1" latinLnBrk="0" hangingPunct="1"/>
                      <a:r>
                        <a:rPr lang="en-US" sz="1000" b="1" kern="1200" dirty="0">
                          <a:solidFill>
                            <a:srgbClr val="0067B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Description</a:t>
                      </a:r>
                    </a:p>
                  </a:txBody>
                  <a:tcPr>
                    <a:solidFill>
                      <a:schemeClr val="accent6">
                        <a:lumMod val="40000"/>
                        <a:lumOff val="60000"/>
                      </a:schemeClr>
                    </a:solidFill>
                  </a:tcPr>
                </a:tc>
                <a:extLst>
                  <a:ext uri="{0D108BD9-81ED-4DB2-BD59-A6C34878D82A}">
                    <a16:rowId xmlns:a16="http://schemas.microsoft.com/office/drawing/2014/main" val="2201773304"/>
                  </a:ext>
                </a:extLst>
              </a:tr>
              <a:tr h="466006">
                <a:tc>
                  <a:txBody>
                    <a:bodyPr/>
                    <a:lstStyle/>
                    <a:p>
                      <a:pPr marL="0" algn="ctr" defTabSz="457200" rtl="0" eaLnBrk="1" latinLnBrk="0" hangingPunct="1"/>
                      <a:endParaRPr lang="es-ES" sz="1000" b="0" kern="1200" dirty="0">
                        <a:solidFill>
                          <a:srgbClr val="C5277F"/>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endParaRPr>
                    </a:p>
                    <a:p>
                      <a:pPr marL="0" algn="ctr" defTabSz="457200" rtl="0" eaLnBrk="1" latinLnBrk="0" hangingPunct="1"/>
                      <a:r>
                        <a:rPr lang="es-ES" sz="1000" b="0" kern="1200" dirty="0">
                          <a:solidFill>
                            <a:srgbClr val="C5277F"/>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Pub / Sub</a:t>
                      </a:r>
                      <a:endParaRPr lang="en-US" sz="1000" b="0" kern="1200" dirty="0">
                        <a:solidFill>
                          <a:srgbClr val="C5277F"/>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endParaRPr>
                    </a:p>
                  </a:txBody>
                  <a:tcPr>
                    <a:solidFill>
                      <a:schemeClr val="accent6">
                        <a:lumMod val="40000"/>
                        <a:lumOff val="60000"/>
                      </a:schemeClr>
                    </a:solidFill>
                  </a:tcPr>
                </a:tc>
                <a:tc>
                  <a:txBody>
                    <a:bodyPr/>
                    <a:lstStyle/>
                    <a:p>
                      <a:pPr marL="0" algn="l" defTabSz="457200" rtl="0" eaLnBrk="1" latinLnBrk="0" hangingPunct="1"/>
                      <a:r>
                        <a:rPr lang="en-US" sz="1000" b="0" kern="1200" dirty="0">
                          <a:solidFill>
                            <a:srgbClr val="0067B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Enable real-time publishing and subscribing to data streams at scale, in particular:</a:t>
                      </a:r>
                    </a:p>
                    <a:p>
                      <a:pPr marL="285750" indent="-285750" algn="l" defTabSz="457200" rtl="0" eaLnBrk="1" latinLnBrk="0" hangingPunct="1">
                        <a:buSzPct val="66000"/>
                        <a:buFont typeface="Arial" panose="020B0604020202020204" pitchFamily="34" charset="0"/>
                        <a:buChar char="•"/>
                      </a:pPr>
                      <a:r>
                        <a:rPr lang="en-US" sz="1000" b="0" kern="1200" dirty="0">
                          <a:solidFill>
                            <a:srgbClr val="0067B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Provide single-digit latency so it is usable by real-time applications</a:t>
                      </a:r>
                    </a:p>
                    <a:p>
                      <a:pPr marL="285750" indent="-285750" algn="l" defTabSz="457200" rtl="0" eaLnBrk="1" latinLnBrk="0" hangingPunct="1">
                        <a:buSzPct val="66000"/>
                        <a:buFont typeface="Arial" panose="020B0604020202020204" pitchFamily="34" charset="0"/>
                        <a:buChar char="•"/>
                      </a:pPr>
                      <a:r>
                        <a:rPr lang="en-US" sz="1000" b="0" kern="1200" dirty="0">
                          <a:solidFill>
                            <a:srgbClr val="0067B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Able to handle high volume data streams such as are common for log data, or other usage across many applications</a:t>
                      </a:r>
                    </a:p>
                    <a:p>
                      <a:pPr marL="285750" indent="-285750" algn="l" defTabSz="457200" rtl="0" eaLnBrk="1" latinLnBrk="0" hangingPunct="1">
                        <a:buSzPct val="66000"/>
                        <a:buFont typeface="Arial" panose="020B0604020202020204" pitchFamily="34" charset="0"/>
                        <a:buChar char="•"/>
                      </a:pPr>
                      <a:r>
                        <a:rPr lang="en-US" sz="1000" b="0" kern="1200" dirty="0">
                          <a:solidFill>
                            <a:srgbClr val="0067B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Enable integration with passive data systems such as databases as well as applications that actively publish events</a:t>
                      </a:r>
                    </a:p>
                  </a:txBody>
                  <a:tcPr>
                    <a:solidFill>
                      <a:schemeClr val="accent6">
                        <a:lumMod val="40000"/>
                        <a:lumOff val="60000"/>
                      </a:schemeClr>
                    </a:solidFill>
                  </a:tcPr>
                </a:tc>
                <a:extLst>
                  <a:ext uri="{0D108BD9-81ED-4DB2-BD59-A6C34878D82A}">
                    <a16:rowId xmlns:a16="http://schemas.microsoft.com/office/drawing/2014/main" val="4268366016"/>
                  </a:ext>
                </a:extLst>
              </a:tr>
              <a:tr h="676318">
                <a:tc>
                  <a:txBody>
                    <a:bodyPr/>
                    <a:lstStyle/>
                    <a:p>
                      <a:pPr marL="0" algn="ctr" defTabSz="457200" rtl="0" eaLnBrk="1" latinLnBrk="0" hangingPunct="1"/>
                      <a:endParaRPr lang="en-US" sz="1000" b="0" kern="1200" dirty="0">
                        <a:solidFill>
                          <a:srgbClr val="C5277F"/>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endParaRPr>
                    </a:p>
                    <a:p>
                      <a:pPr marL="0" algn="ctr" defTabSz="457200" rtl="0" eaLnBrk="1" latinLnBrk="0" hangingPunct="1"/>
                      <a:r>
                        <a:rPr lang="en-US" sz="1000" b="0" kern="1200" dirty="0">
                          <a:solidFill>
                            <a:srgbClr val="C5277F"/>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Process</a:t>
                      </a:r>
                    </a:p>
                  </a:txBody>
                  <a:tcPr>
                    <a:solidFill>
                      <a:schemeClr val="accent6">
                        <a:lumMod val="40000"/>
                        <a:lumOff val="60000"/>
                      </a:schemeClr>
                    </a:solidFill>
                  </a:tcPr>
                </a:tc>
                <a:tc>
                  <a:txBody>
                    <a:bodyPr/>
                    <a:lstStyle/>
                    <a:p>
                      <a:pPr marL="0" indent="0" algn="l" defTabSz="457200" rtl="0" eaLnBrk="1" latinLnBrk="0" hangingPunct="1">
                        <a:buSzPct val="66000"/>
                        <a:buFont typeface="Arial" panose="020B0604020202020204" pitchFamily="34" charset="0"/>
                        <a:buNone/>
                      </a:pPr>
                      <a:r>
                        <a:rPr lang="en-US" sz="1000" b="0" kern="1200" dirty="0">
                          <a:solidFill>
                            <a:srgbClr val="0067B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Enable the real-time stream processing of streams at scale</a:t>
                      </a:r>
                    </a:p>
                    <a:p>
                      <a:pPr marL="0" indent="0" algn="l" defTabSz="457200" rtl="0" eaLnBrk="1" latinLnBrk="0" hangingPunct="1">
                        <a:buSzPct val="66000"/>
                        <a:buFont typeface="Arial" panose="020B0604020202020204" pitchFamily="34" charset="0"/>
                        <a:buNone/>
                      </a:pPr>
                      <a:r>
                        <a:rPr lang="en-US" sz="1000" b="0" kern="1200" dirty="0">
                          <a:solidFill>
                            <a:srgbClr val="0067B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Support modern stream processing capabilities to power real-time applications or streaming transformations</a:t>
                      </a:r>
                    </a:p>
                    <a:p>
                      <a:pPr marL="0" indent="0" algn="l" defTabSz="457200" rtl="0" eaLnBrk="1" latinLnBrk="0" hangingPunct="1">
                        <a:buSzPct val="66000"/>
                        <a:buFont typeface="Arial" panose="020B0604020202020204" pitchFamily="34" charset="0"/>
                        <a:buNone/>
                      </a:pPr>
                      <a:endParaRPr lang="en-US" sz="1000" b="0" kern="1200" dirty="0">
                        <a:solidFill>
                          <a:srgbClr val="0067B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endParaRPr>
                    </a:p>
                  </a:txBody>
                  <a:tcPr>
                    <a:solidFill>
                      <a:schemeClr val="accent6">
                        <a:lumMod val="40000"/>
                        <a:lumOff val="60000"/>
                      </a:schemeClr>
                    </a:solidFill>
                  </a:tcPr>
                </a:tc>
                <a:extLst>
                  <a:ext uri="{0D108BD9-81ED-4DB2-BD59-A6C34878D82A}">
                    <a16:rowId xmlns:a16="http://schemas.microsoft.com/office/drawing/2014/main" val="1897712080"/>
                  </a:ext>
                </a:extLst>
              </a:tr>
              <a:tr h="370840">
                <a:tc>
                  <a:txBody>
                    <a:bodyPr/>
                    <a:lstStyle/>
                    <a:p>
                      <a:pPr marL="0" algn="ctr" defTabSz="457200" rtl="0" eaLnBrk="1" latinLnBrk="0" hangingPunct="1"/>
                      <a:endParaRPr lang="en-US" sz="1000" b="0" kern="1200" dirty="0">
                        <a:solidFill>
                          <a:srgbClr val="C5277F"/>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endParaRPr>
                    </a:p>
                    <a:p>
                      <a:pPr marL="0" algn="ctr" defTabSz="457200" rtl="0" eaLnBrk="1" latinLnBrk="0" hangingPunct="1"/>
                      <a:endParaRPr lang="en-US" sz="1000" b="0" kern="1200" dirty="0">
                        <a:solidFill>
                          <a:srgbClr val="C5277F"/>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endParaRPr>
                    </a:p>
                    <a:p>
                      <a:pPr marL="0" algn="ctr" defTabSz="457200" rtl="0" eaLnBrk="1" latinLnBrk="0" hangingPunct="1"/>
                      <a:r>
                        <a:rPr lang="en-US" sz="1000" b="0" kern="1200" dirty="0">
                          <a:solidFill>
                            <a:srgbClr val="C5277F"/>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Store</a:t>
                      </a:r>
                    </a:p>
                  </a:txBody>
                  <a:tcPr>
                    <a:solidFill>
                      <a:schemeClr val="accent6">
                        <a:lumMod val="40000"/>
                        <a:lumOff val="60000"/>
                      </a:schemeClr>
                    </a:solidFill>
                  </a:tcPr>
                </a:tc>
                <a:tc>
                  <a:txBody>
                    <a:bodyPr/>
                    <a:lstStyle/>
                    <a:p>
                      <a:pPr marL="0" indent="0" algn="l" defTabSz="457200" rtl="0" eaLnBrk="1" latinLnBrk="0" hangingPunct="1">
                        <a:buSzPct val="66000"/>
                        <a:buFont typeface="Arial" panose="020B0604020202020204" pitchFamily="34" charset="0"/>
                        <a:buNone/>
                      </a:pPr>
                      <a:r>
                        <a:rPr lang="en-US" sz="1000" b="0" kern="1200" dirty="0">
                          <a:solidFill>
                            <a:srgbClr val="0067B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Be able to reliably store streams of data at scale. In particular:</a:t>
                      </a:r>
                    </a:p>
                    <a:p>
                      <a:pPr marL="0" indent="0" algn="l" defTabSz="457200" rtl="0" eaLnBrk="1" latinLnBrk="0" hangingPunct="1">
                        <a:buSzPct val="66000"/>
                        <a:buFont typeface="Arial" panose="020B0604020202020204" pitchFamily="34" charset="0"/>
                        <a:buNone/>
                      </a:pPr>
                      <a:r>
                        <a:rPr lang="en-US" sz="1000" b="0" kern="1200" dirty="0">
                          <a:solidFill>
                            <a:srgbClr val="0067B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It provides solid guarantees of replication and order to handle critical updates, such as replicating the record of changes in a database in a replica store as a search index, delivering this data in order and without loss.</a:t>
                      </a:r>
                      <a:br>
                        <a:rPr lang="en-US" sz="1000" b="0" kern="1200" dirty="0">
                          <a:solidFill>
                            <a:srgbClr val="0067B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br>
                      <a:r>
                        <a:rPr lang="en-US" sz="1000" b="0" kern="1200" dirty="0">
                          <a:solidFill>
                            <a:srgbClr val="0067B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It is capable of storing or storing data for long periods of time. This allows integration with batch systems (such as a data warehouse) that only load data periodically, as well as allowing the flow processing systems to reprocess the sources when their logic changes.</a:t>
                      </a:r>
                      <a:br>
                        <a:rPr lang="en-US" sz="1000" b="0" kern="1200" dirty="0">
                          <a:solidFill>
                            <a:srgbClr val="0067B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br>
                      <a:r>
                        <a:rPr lang="en-US" sz="1000" b="0" kern="1200" dirty="0">
                          <a:solidFill>
                            <a:srgbClr val="0067B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Storage must be economical enough for the platform to be viable at scale.</a:t>
                      </a:r>
                    </a:p>
                  </a:txBody>
                  <a:tcPr>
                    <a:solidFill>
                      <a:schemeClr val="accent6">
                        <a:lumMod val="40000"/>
                        <a:lumOff val="60000"/>
                      </a:schemeClr>
                    </a:solidFill>
                  </a:tcPr>
                </a:tc>
                <a:extLst>
                  <a:ext uri="{0D108BD9-81ED-4DB2-BD59-A6C34878D82A}">
                    <a16:rowId xmlns:a16="http://schemas.microsoft.com/office/drawing/2014/main" val="3920239261"/>
                  </a:ext>
                </a:extLst>
              </a:tr>
            </a:tbl>
          </a:graphicData>
        </a:graphic>
      </p:graphicFrame>
    </p:spTree>
    <p:extLst>
      <p:ext uri="{BB962C8B-B14F-4D97-AF65-F5344CB8AC3E}">
        <p14:creationId xmlns:p14="http://schemas.microsoft.com/office/powerpoint/2010/main" val="228270837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Group 5">
            <a:extLst>
              <a:ext uri="{FF2B5EF4-FFF2-40B4-BE49-F238E27FC236}">
                <a16:creationId xmlns:a16="http://schemas.microsoft.com/office/drawing/2014/main" id="{16AA3C4F-7ADF-A541-9CA1-7E264F7DADDC}"/>
              </a:ext>
            </a:extLst>
          </p:cNvPr>
          <p:cNvGraphicFramePr>
            <a:graphicFrameLocks noGrp="1"/>
          </p:cNvGraphicFramePr>
          <p:nvPr>
            <p:extLst>
              <p:ext uri="{D42A27DB-BD31-4B8C-83A1-F6EECF244321}">
                <p14:modId xmlns:p14="http://schemas.microsoft.com/office/powerpoint/2010/main" val="2562955"/>
              </p:ext>
            </p:extLst>
          </p:nvPr>
        </p:nvGraphicFramePr>
        <p:xfrm>
          <a:off x="1938528" y="1553100"/>
          <a:ext cx="9430386" cy="4075927"/>
        </p:xfrm>
        <a:graphic>
          <a:graphicData uri="http://schemas.openxmlformats.org/drawingml/2006/table">
            <a:tbl>
              <a:tblPr/>
              <a:tblGrid>
                <a:gridCol w="1005840">
                  <a:extLst>
                    <a:ext uri="{9D8B030D-6E8A-4147-A177-3AD203B41FA5}">
                      <a16:colId xmlns:a16="http://schemas.microsoft.com/office/drawing/2014/main" val="20000"/>
                    </a:ext>
                  </a:extLst>
                </a:gridCol>
                <a:gridCol w="1316736">
                  <a:extLst>
                    <a:ext uri="{9D8B030D-6E8A-4147-A177-3AD203B41FA5}">
                      <a16:colId xmlns:a16="http://schemas.microsoft.com/office/drawing/2014/main" val="20001"/>
                    </a:ext>
                  </a:extLst>
                </a:gridCol>
                <a:gridCol w="4233353">
                  <a:extLst>
                    <a:ext uri="{9D8B030D-6E8A-4147-A177-3AD203B41FA5}">
                      <a16:colId xmlns:a16="http://schemas.microsoft.com/office/drawing/2014/main" val="20002"/>
                    </a:ext>
                  </a:extLst>
                </a:gridCol>
                <a:gridCol w="2874457">
                  <a:extLst>
                    <a:ext uri="{9D8B030D-6E8A-4147-A177-3AD203B41FA5}">
                      <a16:colId xmlns:a16="http://schemas.microsoft.com/office/drawing/2014/main" val="20003"/>
                    </a:ext>
                  </a:extLst>
                </a:gridCol>
              </a:tblGrid>
              <a:tr h="412130">
                <a:tc>
                  <a:txBody>
                    <a:bodyPr/>
                    <a:lstStyle/>
                    <a:p>
                      <a:pPr marL="0" marR="0" lvl="0" indent="0" algn="ctr" defTabSz="914400" rtl="0" eaLnBrk="1" fontAlgn="base" latinLnBrk="0" hangingPunct="1">
                        <a:lnSpc>
                          <a:spcPct val="100000"/>
                        </a:lnSpc>
                        <a:spcBef>
                          <a:spcPct val="20000"/>
                        </a:spcBef>
                        <a:spcAft>
                          <a:spcPct val="0"/>
                        </a:spcAft>
                        <a:buClrTx/>
                        <a:buSzPct val="25000"/>
                        <a:buFont typeface="Times" pitchFamily="18" charset="0"/>
                        <a:buNone/>
                        <a:tabLst>
                          <a:tab pos="450850" algn="l"/>
                          <a:tab pos="900113" algn="l"/>
                          <a:tab pos="1349375" algn="l"/>
                          <a:tab pos="2251075" algn="l"/>
                        </a:tabLst>
                      </a:pPr>
                      <a:r>
                        <a:rPr kumimoji="0" lang="es-MX" sz="1200" b="1" i="0" u="none" strike="noStrike" cap="none" normalizeH="0" baseline="0" noProof="0" dirty="0">
                          <a:ln>
                            <a:noFill/>
                          </a:ln>
                          <a:solidFill>
                            <a:schemeClr val="bg1"/>
                          </a:solidFill>
                          <a:effectLst/>
                          <a:latin typeface="Arial" charset="0"/>
                        </a:rPr>
                        <a:t>Versión</a:t>
                      </a:r>
                    </a:p>
                  </a:txBody>
                  <a:tcPr marL="72000" marR="72000" marT="71860" marB="71860" anchor="ctr" horzOverflow="overflow">
                    <a:lnL w="12700" cap="flat" cmpd="sng" algn="ctr">
                      <a:solidFill>
                        <a:srgbClr val="000000"/>
                      </a:solidFill>
                      <a:prstDash val="solid"/>
                      <a:round/>
                      <a:headEnd type="none" w="med" len="med"/>
                      <a:tailEnd type="none" w="med" len="med"/>
                    </a:lnL>
                    <a:lnR w="12700" cap="flat" cmpd="sng" algn="ctr">
                      <a:solidFill>
                        <a:srgbClr val="87CBD8"/>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6AA2"/>
                      </a:solidFill>
                      <a:prstDash val="solid"/>
                      <a:round/>
                      <a:headEnd type="none" w="med" len="med"/>
                      <a:tailEnd type="none" w="med" len="med"/>
                    </a:lnB>
                    <a:lnTlToBr>
                      <a:noFill/>
                    </a:lnTlToBr>
                    <a:lnBlToTr>
                      <a:noFill/>
                    </a:lnBlToTr>
                    <a:solidFill>
                      <a:srgbClr val="006AA2"/>
                    </a:solidFill>
                  </a:tcPr>
                </a:tc>
                <a:tc>
                  <a:txBody>
                    <a:bodyPr/>
                    <a:lstStyle/>
                    <a:p>
                      <a:pPr marL="0" marR="0" lvl="0" indent="0" algn="ctr" defTabSz="914400" rtl="0" eaLnBrk="1" fontAlgn="base" latinLnBrk="0" hangingPunct="1">
                        <a:lnSpc>
                          <a:spcPct val="100000"/>
                        </a:lnSpc>
                        <a:spcBef>
                          <a:spcPct val="20000"/>
                        </a:spcBef>
                        <a:spcAft>
                          <a:spcPct val="0"/>
                        </a:spcAft>
                        <a:buClrTx/>
                        <a:buSzPct val="25000"/>
                        <a:buFont typeface="Times" pitchFamily="18" charset="0"/>
                        <a:buNone/>
                        <a:tabLst>
                          <a:tab pos="450850" algn="l"/>
                          <a:tab pos="900113" algn="l"/>
                          <a:tab pos="1349375" algn="l"/>
                          <a:tab pos="2251075" algn="l"/>
                        </a:tabLst>
                      </a:pPr>
                      <a:r>
                        <a:rPr kumimoji="0" lang="es-MX" sz="1200" b="1" i="0" u="none" strike="noStrike" cap="none" normalizeH="0" baseline="0" noProof="0" dirty="0">
                          <a:ln>
                            <a:noFill/>
                          </a:ln>
                          <a:solidFill>
                            <a:schemeClr val="bg1"/>
                          </a:solidFill>
                          <a:effectLst/>
                          <a:latin typeface="Arial" charset="0"/>
                        </a:rPr>
                        <a:t>Fecha</a:t>
                      </a:r>
                      <a:endParaRPr kumimoji="0" lang="es-MX" sz="1200" b="1" i="0" u="none" strike="noStrike" cap="none" normalizeH="0" baseline="0" noProof="0" dirty="0">
                        <a:ln>
                          <a:noFill/>
                        </a:ln>
                        <a:solidFill>
                          <a:schemeClr val="bg1"/>
                        </a:solidFill>
                        <a:effectLst/>
                        <a:latin typeface="Times New Roman" pitchFamily="18" charset="0"/>
                      </a:endParaRPr>
                    </a:p>
                  </a:txBody>
                  <a:tcPr marL="72000" marR="72000" marT="71860" marB="71860" anchor="ctr" horzOverflow="overflow">
                    <a:lnL w="12700" cap="flat" cmpd="sng" algn="ctr">
                      <a:solidFill>
                        <a:srgbClr val="87CBD8"/>
                      </a:solidFill>
                      <a:prstDash val="solid"/>
                      <a:round/>
                      <a:headEnd type="none" w="med" len="med"/>
                      <a:tailEnd type="none" w="med" len="med"/>
                    </a:lnL>
                    <a:lnR w="12700" cap="flat" cmpd="sng" algn="ctr">
                      <a:solidFill>
                        <a:srgbClr val="87CBD8"/>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6AA2"/>
                      </a:solidFill>
                      <a:prstDash val="solid"/>
                      <a:round/>
                      <a:headEnd type="none" w="med" len="med"/>
                      <a:tailEnd type="none" w="med" len="med"/>
                    </a:lnB>
                    <a:lnTlToBr>
                      <a:noFill/>
                    </a:lnTlToBr>
                    <a:lnBlToTr>
                      <a:noFill/>
                    </a:lnBlToTr>
                    <a:solidFill>
                      <a:srgbClr val="006AA2"/>
                    </a:solidFill>
                  </a:tcPr>
                </a:tc>
                <a:tc>
                  <a:txBody>
                    <a:bodyPr/>
                    <a:lstStyle/>
                    <a:p>
                      <a:pPr marL="0" marR="0" lvl="0" indent="0" algn="ctr" defTabSz="914400" rtl="0" eaLnBrk="1" fontAlgn="base" latinLnBrk="0" hangingPunct="1">
                        <a:lnSpc>
                          <a:spcPct val="100000"/>
                        </a:lnSpc>
                        <a:spcBef>
                          <a:spcPct val="20000"/>
                        </a:spcBef>
                        <a:spcAft>
                          <a:spcPct val="0"/>
                        </a:spcAft>
                        <a:buClrTx/>
                        <a:buSzPct val="25000"/>
                        <a:buFont typeface="Times" pitchFamily="18" charset="0"/>
                        <a:buNone/>
                        <a:tabLst>
                          <a:tab pos="450850" algn="l"/>
                          <a:tab pos="900113" algn="l"/>
                          <a:tab pos="1349375" algn="l"/>
                          <a:tab pos="2251075" algn="l"/>
                        </a:tabLst>
                      </a:pPr>
                      <a:r>
                        <a:rPr kumimoji="0" lang="es-MX" sz="1200" b="1" i="0" u="none" strike="noStrike" cap="none" normalizeH="0" baseline="0" noProof="0" dirty="0">
                          <a:ln>
                            <a:noFill/>
                          </a:ln>
                          <a:solidFill>
                            <a:schemeClr val="bg1"/>
                          </a:solidFill>
                          <a:effectLst/>
                          <a:latin typeface="Arial" charset="0"/>
                        </a:rPr>
                        <a:t>Descripción del Cambio</a:t>
                      </a:r>
                    </a:p>
                  </a:txBody>
                  <a:tcPr marL="72000" marR="72000" marT="71860" marB="71860" anchor="ctr" horzOverflow="overflow">
                    <a:lnL w="12700" cap="flat" cmpd="sng" algn="ctr">
                      <a:solidFill>
                        <a:srgbClr val="87CBD8"/>
                      </a:solidFill>
                      <a:prstDash val="solid"/>
                      <a:round/>
                      <a:headEnd type="none" w="med" len="med"/>
                      <a:tailEnd type="none" w="med" len="med"/>
                    </a:lnL>
                    <a:lnR w="12700" cap="flat" cmpd="sng" algn="ctr">
                      <a:solidFill>
                        <a:srgbClr val="87CBD8"/>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6AA2"/>
                      </a:solidFill>
                      <a:prstDash val="solid"/>
                      <a:round/>
                      <a:headEnd type="none" w="med" len="med"/>
                      <a:tailEnd type="none" w="med" len="med"/>
                    </a:lnB>
                    <a:lnTlToBr>
                      <a:noFill/>
                    </a:lnTlToBr>
                    <a:lnBlToTr>
                      <a:noFill/>
                    </a:lnBlToTr>
                    <a:solidFill>
                      <a:srgbClr val="006AA2"/>
                    </a:solidFill>
                  </a:tcPr>
                </a:tc>
                <a:tc>
                  <a:txBody>
                    <a:bodyPr/>
                    <a:lstStyle/>
                    <a:p>
                      <a:pPr marL="0" marR="0" lvl="0" indent="0" algn="ctr" defTabSz="914400" rtl="0" eaLnBrk="1" fontAlgn="base" latinLnBrk="0" hangingPunct="1">
                        <a:lnSpc>
                          <a:spcPct val="100000"/>
                        </a:lnSpc>
                        <a:spcBef>
                          <a:spcPct val="20000"/>
                        </a:spcBef>
                        <a:spcAft>
                          <a:spcPct val="0"/>
                        </a:spcAft>
                        <a:buClrTx/>
                        <a:buSzPct val="25000"/>
                        <a:buFont typeface="Times" pitchFamily="18" charset="0"/>
                        <a:buNone/>
                        <a:tabLst>
                          <a:tab pos="450850" algn="l"/>
                          <a:tab pos="900113" algn="l"/>
                          <a:tab pos="1349375" algn="l"/>
                          <a:tab pos="2251075" algn="l"/>
                        </a:tabLst>
                      </a:pPr>
                      <a:r>
                        <a:rPr kumimoji="0" lang="es-MX" sz="1200" b="1" i="0" u="none" strike="noStrike" cap="none" normalizeH="0" baseline="0" noProof="0" dirty="0">
                          <a:ln>
                            <a:noFill/>
                          </a:ln>
                          <a:solidFill>
                            <a:schemeClr val="bg1"/>
                          </a:solidFill>
                          <a:effectLst/>
                          <a:latin typeface="Arial" charset="0"/>
                        </a:rPr>
                        <a:t>Autor/Departamento</a:t>
                      </a:r>
                      <a:endParaRPr kumimoji="0" lang="es-MX" sz="1200" b="1" i="0" u="none" strike="noStrike" cap="none" normalizeH="0" baseline="0" noProof="0" dirty="0">
                        <a:ln>
                          <a:noFill/>
                        </a:ln>
                        <a:solidFill>
                          <a:schemeClr val="bg1"/>
                        </a:solidFill>
                        <a:effectLst/>
                        <a:latin typeface="Times New Roman" pitchFamily="18" charset="0"/>
                      </a:endParaRPr>
                    </a:p>
                  </a:txBody>
                  <a:tcPr marL="72000" marR="72000" marT="71860" marB="71860" anchor="ctr" horzOverflow="overflow">
                    <a:lnL w="12700" cap="flat" cmpd="sng" algn="ctr">
                      <a:solidFill>
                        <a:srgbClr val="87CBD8"/>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6AA2"/>
                      </a:solidFill>
                      <a:prstDash val="solid"/>
                      <a:round/>
                      <a:headEnd type="none" w="med" len="med"/>
                      <a:tailEnd type="none" w="med" len="med"/>
                    </a:lnB>
                    <a:lnTlToBr>
                      <a:noFill/>
                    </a:lnTlToBr>
                    <a:lnBlToTr>
                      <a:noFill/>
                    </a:lnBlToTr>
                    <a:solidFill>
                      <a:srgbClr val="006AA2"/>
                    </a:solidFill>
                  </a:tcPr>
                </a:tc>
                <a:extLst>
                  <a:ext uri="{0D108BD9-81ED-4DB2-BD59-A6C34878D82A}">
                    <a16:rowId xmlns:a16="http://schemas.microsoft.com/office/drawing/2014/main" val="10000"/>
                  </a:ext>
                </a:extLst>
              </a:tr>
              <a:tr h="607004">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pPr>
                      <a:r>
                        <a:rPr kumimoji="0" lang="es-MX" sz="1200" b="0" i="0" u="none" strike="noStrike" cap="none" normalizeH="0" baseline="0" noProof="0" dirty="0">
                          <a:ln>
                            <a:noFill/>
                          </a:ln>
                          <a:solidFill>
                            <a:srgbClr val="0079D1"/>
                          </a:solidFill>
                          <a:effectLst/>
                          <a:latin typeface="Arial" charset="0"/>
                        </a:rPr>
                        <a:t>1.5</a:t>
                      </a:r>
                    </a:p>
                  </a:txBody>
                  <a:tcPr marL="72000" marR="72000" marT="71860" marB="71860" anchor="ctr" horzOverflow="overflow">
                    <a:lnL w="12700" cap="flat" cmpd="sng" algn="ctr">
                      <a:solidFill>
                        <a:srgbClr val="000000"/>
                      </a:solidFill>
                      <a:prstDash val="solid"/>
                      <a:round/>
                      <a:headEnd type="none" w="med" len="med"/>
                      <a:tailEnd type="none" w="med" len="med"/>
                    </a:lnL>
                    <a:lnR w="12700" cap="flat" cmpd="sng" algn="ctr">
                      <a:solidFill>
                        <a:srgbClr val="006AA2"/>
                      </a:solidFill>
                      <a:prstDash val="solid"/>
                      <a:round/>
                      <a:headEnd type="none" w="med" len="med"/>
                      <a:tailEnd type="none" w="med" len="med"/>
                    </a:lnR>
                    <a:lnT w="12700" cap="flat" cmpd="sng" algn="ctr">
                      <a:solidFill>
                        <a:srgbClr val="006AA2"/>
                      </a:solidFill>
                      <a:prstDash val="solid"/>
                      <a:round/>
                      <a:headEnd type="none" w="med" len="med"/>
                      <a:tailEnd type="none" w="med" len="med"/>
                    </a:lnT>
                    <a:lnB w="12700" cap="flat" cmpd="sng" algn="ctr">
                      <a:solidFill>
                        <a:srgbClr val="006AA2"/>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pPr>
                      <a:r>
                        <a:rPr kumimoji="0" lang="es-MX" sz="1200" b="0" i="0" u="none" strike="noStrike" cap="none" normalizeH="0" baseline="0" noProof="0" dirty="0">
                          <a:ln>
                            <a:noFill/>
                          </a:ln>
                          <a:solidFill>
                            <a:srgbClr val="0079D1"/>
                          </a:solidFill>
                          <a:effectLst/>
                          <a:latin typeface="Arial" charset="0"/>
                        </a:rPr>
                        <a:t>10/08/2019</a:t>
                      </a:r>
                    </a:p>
                  </a:txBody>
                  <a:tcPr marL="72000" marR="72000" marT="71860" marB="71860" anchor="ctr" horzOverflow="overflow">
                    <a:lnL w="12700" cap="flat" cmpd="sng" algn="ctr">
                      <a:solidFill>
                        <a:srgbClr val="006AA2"/>
                      </a:solidFill>
                      <a:prstDash val="solid"/>
                      <a:round/>
                      <a:headEnd type="none" w="med" len="med"/>
                      <a:tailEnd type="none" w="med" len="med"/>
                    </a:lnL>
                    <a:lnR w="12700" cap="flat" cmpd="sng" algn="ctr">
                      <a:solidFill>
                        <a:srgbClr val="006AA2"/>
                      </a:solidFill>
                      <a:prstDash val="solid"/>
                      <a:round/>
                      <a:headEnd type="none" w="med" len="med"/>
                      <a:tailEnd type="none" w="med" len="med"/>
                    </a:lnR>
                    <a:lnT w="12700" cap="flat" cmpd="sng" algn="ctr">
                      <a:solidFill>
                        <a:srgbClr val="006AA2"/>
                      </a:solidFill>
                      <a:prstDash val="solid"/>
                      <a:round/>
                      <a:headEnd type="none" w="med" len="med"/>
                      <a:tailEnd type="none" w="med" len="med"/>
                    </a:lnT>
                    <a:lnB w="12700" cap="flat" cmpd="sng" algn="ctr">
                      <a:solidFill>
                        <a:srgbClr val="006AA2"/>
                      </a:solidFill>
                      <a:prstDash val="solid"/>
                      <a:round/>
                      <a:headEnd type="none" w="med" len="med"/>
                      <a:tailEnd type="none" w="med" len="med"/>
                    </a:lnB>
                    <a:lnTlToBr>
                      <a:noFill/>
                    </a:lnTlToBr>
                    <a:lnBlToTr>
                      <a:noFill/>
                    </a:lnBlToTr>
                    <a:noFill/>
                  </a:tcPr>
                </a:tc>
                <a:tc>
                  <a:txBody>
                    <a:bodyPr/>
                    <a:lstStyle/>
                    <a:p>
                      <a:pPr marL="0" marR="0" lvl="0" indent="0" algn="l" defTabSz="449263" rtl="0" eaLnBrk="1" fontAlgn="base" latinLnBrk="0" hangingPunct="1">
                        <a:lnSpc>
                          <a:spcPct val="93000"/>
                        </a:lnSpc>
                        <a:spcBef>
                          <a:spcPts val="350"/>
                        </a:spcBef>
                        <a:spcAft>
                          <a:spcPct val="0"/>
                        </a:spcAft>
                        <a:buClrTx/>
                        <a:buSzPct val="25000"/>
                        <a:buFontTx/>
                        <a:buNone/>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r>
                        <a:rPr kumimoji="0" lang="es-MX" sz="1200" b="0" i="0" u="none" strike="noStrike" cap="none" normalizeH="0" baseline="0" noProof="0" dirty="0">
                          <a:ln>
                            <a:noFill/>
                          </a:ln>
                          <a:solidFill>
                            <a:srgbClr val="0079D1"/>
                          </a:solidFill>
                          <a:effectLst/>
                          <a:latin typeface="Arial" charset="0"/>
                          <a:ea typeface="SimSun" pitchFamily="2" charset="-122"/>
                        </a:rPr>
                        <a:t>Include a pattern of API Producer Service, API layers diagram</a:t>
                      </a:r>
                    </a:p>
                  </a:txBody>
                  <a:tcPr marL="72000" marR="72000" marT="71860" marB="71860" anchor="ctr" horzOverflow="overflow">
                    <a:lnL w="12700" cap="flat" cmpd="sng" algn="ctr">
                      <a:solidFill>
                        <a:srgbClr val="006AA2"/>
                      </a:solidFill>
                      <a:prstDash val="solid"/>
                      <a:round/>
                      <a:headEnd type="none" w="med" len="med"/>
                      <a:tailEnd type="none" w="med" len="med"/>
                    </a:lnL>
                    <a:lnR w="12700" cap="flat" cmpd="sng" algn="ctr">
                      <a:solidFill>
                        <a:srgbClr val="006AA2"/>
                      </a:solidFill>
                      <a:prstDash val="solid"/>
                      <a:round/>
                      <a:headEnd type="none" w="med" len="med"/>
                      <a:tailEnd type="none" w="med" len="med"/>
                    </a:lnR>
                    <a:lnT w="12700" cap="flat" cmpd="sng" algn="ctr">
                      <a:solidFill>
                        <a:srgbClr val="006AA2"/>
                      </a:solidFill>
                      <a:prstDash val="solid"/>
                      <a:round/>
                      <a:headEnd type="none" w="med" len="med"/>
                      <a:tailEnd type="none" w="med" len="med"/>
                    </a:lnT>
                    <a:lnB w="12700" cap="flat" cmpd="sng" algn="ctr">
                      <a:solidFill>
                        <a:srgbClr val="006AA2"/>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defRPr/>
                      </a:pPr>
                      <a:r>
                        <a:rPr kumimoji="0" lang="es-MX" sz="1200" b="0" i="0" u="none" strike="noStrike" cap="none" normalizeH="0" baseline="0" noProof="0" dirty="0">
                          <a:ln>
                            <a:noFill/>
                          </a:ln>
                          <a:solidFill>
                            <a:srgbClr val="0079D1"/>
                          </a:solidFill>
                          <a:effectLst/>
                          <a:latin typeface="Arial" pitchFamily="34" charset="0"/>
                        </a:rPr>
                        <a:t>[Big Data Architecture]</a:t>
                      </a:r>
                    </a:p>
                  </a:txBody>
                  <a:tcPr marL="72000" marR="72000" marT="71860" marB="71860" anchor="ctr" horzOverflow="overflow">
                    <a:lnL w="12700" cap="flat" cmpd="sng" algn="ctr">
                      <a:solidFill>
                        <a:srgbClr val="006AA2"/>
                      </a:solidFill>
                      <a:prstDash val="solid"/>
                      <a:round/>
                      <a:headEnd type="none" w="med" len="med"/>
                      <a:tailEnd type="none" w="med" len="med"/>
                    </a:lnL>
                    <a:lnR w="12700" cap="flat" cmpd="sng" algn="ctr">
                      <a:solidFill>
                        <a:srgbClr val="006AA2"/>
                      </a:solidFill>
                      <a:prstDash val="solid"/>
                      <a:round/>
                      <a:headEnd type="none" w="med" len="med"/>
                      <a:tailEnd type="none" w="med" len="med"/>
                    </a:lnR>
                    <a:lnT w="12700" cap="flat" cmpd="sng" algn="ctr">
                      <a:solidFill>
                        <a:srgbClr val="006AA2"/>
                      </a:solidFill>
                      <a:prstDash val="solid"/>
                      <a:round/>
                      <a:headEnd type="none" w="med" len="med"/>
                      <a:tailEnd type="none" w="med" len="med"/>
                    </a:lnT>
                    <a:lnB w="12700" cap="flat" cmpd="sng" algn="ctr">
                      <a:solidFill>
                        <a:srgbClr val="006AA2"/>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726827">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defRPr/>
                      </a:pPr>
                      <a:r>
                        <a:rPr kumimoji="0" lang="es-MX" sz="1200" b="0" i="0" u="none" strike="noStrike" kern="1200" cap="none" normalizeH="0" baseline="0" noProof="0" dirty="0">
                          <a:ln>
                            <a:noFill/>
                          </a:ln>
                          <a:solidFill>
                            <a:srgbClr val="0079D1"/>
                          </a:solidFill>
                          <a:effectLst/>
                          <a:latin typeface="Arial" pitchFamily="34" charset="0"/>
                          <a:ea typeface="+mn-ea"/>
                          <a:cs typeface="+mn-cs"/>
                        </a:rPr>
                        <a:t>1.6</a:t>
                      </a:r>
                    </a:p>
                  </a:txBody>
                  <a:tcPr marL="72000" marR="72000" marT="71860" marB="71860" anchor="ctr" horzOverflow="overflow">
                    <a:lnL w="12700" cap="flat" cmpd="sng" algn="ctr">
                      <a:solidFill>
                        <a:srgbClr val="000000"/>
                      </a:solidFill>
                      <a:prstDash val="solid"/>
                      <a:round/>
                      <a:headEnd type="none" w="med" len="med"/>
                      <a:tailEnd type="none" w="med" len="med"/>
                    </a:lnL>
                    <a:lnR w="12700" cap="flat" cmpd="sng" algn="ctr">
                      <a:solidFill>
                        <a:srgbClr val="006AA2"/>
                      </a:solidFill>
                      <a:prstDash val="solid"/>
                      <a:round/>
                      <a:headEnd type="none" w="med" len="med"/>
                      <a:tailEnd type="none" w="med" len="med"/>
                    </a:lnR>
                    <a:lnT w="12700" cap="flat" cmpd="sng" algn="ctr">
                      <a:solidFill>
                        <a:srgbClr val="006AA2"/>
                      </a:solidFill>
                      <a:prstDash val="solid"/>
                      <a:round/>
                      <a:headEnd type="none" w="med" len="med"/>
                      <a:tailEnd type="none" w="med" len="med"/>
                    </a:lnT>
                    <a:lnB w="12700" cap="flat" cmpd="sng" algn="ctr">
                      <a:solidFill>
                        <a:srgbClr val="006AA2"/>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defRPr/>
                      </a:pPr>
                      <a:r>
                        <a:rPr kumimoji="0" lang="es-MX" sz="1200" b="0" i="0" u="none" strike="noStrike" kern="1200" cap="none" normalizeH="0" baseline="0" noProof="0" dirty="0">
                          <a:ln>
                            <a:noFill/>
                          </a:ln>
                          <a:solidFill>
                            <a:srgbClr val="0079D1"/>
                          </a:solidFill>
                          <a:effectLst/>
                          <a:latin typeface="Arial" pitchFamily="34" charset="0"/>
                          <a:ea typeface="+mn-ea"/>
                          <a:cs typeface="+mn-cs"/>
                        </a:rPr>
                        <a:t>06/08/2019</a:t>
                      </a:r>
                    </a:p>
                  </a:txBody>
                  <a:tcPr marL="72000" marR="72000" marT="71860" marB="71860" anchor="ctr" horzOverflow="overflow">
                    <a:lnL w="12700" cap="flat" cmpd="sng" algn="ctr">
                      <a:solidFill>
                        <a:srgbClr val="006AA2"/>
                      </a:solidFill>
                      <a:prstDash val="solid"/>
                      <a:round/>
                      <a:headEnd type="none" w="med" len="med"/>
                      <a:tailEnd type="none" w="med" len="med"/>
                    </a:lnL>
                    <a:lnR w="12700" cap="flat" cmpd="sng" algn="ctr">
                      <a:solidFill>
                        <a:srgbClr val="006AA2"/>
                      </a:solidFill>
                      <a:prstDash val="solid"/>
                      <a:round/>
                      <a:headEnd type="none" w="med" len="med"/>
                      <a:tailEnd type="none" w="med" len="med"/>
                    </a:lnR>
                    <a:lnT w="12700" cap="flat" cmpd="sng" algn="ctr">
                      <a:solidFill>
                        <a:srgbClr val="006AA2"/>
                      </a:solidFill>
                      <a:prstDash val="solid"/>
                      <a:round/>
                      <a:headEnd type="none" w="med" len="med"/>
                      <a:tailEnd type="none" w="med" len="med"/>
                    </a:lnT>
                    <a:lnB w="12700" cap="flat" cmpd="sng" algn="ctr">
                      <a:solidFill>
                        <a:srgbClr val="006AA2"/>
                      </a:solidFill>
                      <a:prstDash val="solid"/>
                      <a:round/>
                      <a:headEnd type="none" w="med" len="med"/>
                      <a:tailEnd type="none" w="med" len="med"/>
                    </a:lnB>
                    <a:lnTlToBr>
                      <a:noFill/>
                    </a:lnTlToBr>
                    <a:lnBlToTr>
                      <a:noFill/>
                    </a:lnBlToTr>
                    <a:noFill/>
                  </a:tcPr>
                </a:tc>
                <a:tc>
                  <a:txBody>
                    <a:bodyPr/>
                    <a:lstStyle/>
                    <a:p>
                      <a:pPr marL="0" marR="0" lvl="0" indent="0" algn="l" defTabSz="449263" rtl="0" eaLnBrk="1" fontAlgn="base" latinLnBrk="0" hangingPunct="1">
                        <a:lnSpc>
                          <a:spcPct val="93000"/>
                        </a:lnSpc>
                        <a:spcBef>
                          <a:spcPts val="350"/>
                        </a:spcBef>
                        <a:spcAft>
                          <a:spcPct val="0"/>
                        </a:spcAft>
                        <a:buClrTx/>
                        <a:buSzPct val="25000"/>
                        <a:buFontTx/>
                        <a:buNone/>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pPr>
                      <a:r>
                        <a:rPr kumimoji="0" lang="en-US" sz="1200" b="0" i="0" u="none" strike="noStrike" kern="1200" cap="none" normalizeH="0" baseline="0" dirty="0">
                          <a:ln>
                            <a:noFill/>
                          </a:ln>
                          <a:solidFill>
                            <a:srgbClr val="0079D1"/>
                          </a:solidFill>
                          <a:effectLst/>
                          <a:latin typeface="Arial" charset="0"/>
                          <a:ea typeface="SimSun" pitchFamily="2" charset="-122"/>
                          <a:cs typeface="+mn-cs"/>
                        </a:rPr>
                        <a:t>Internal structure of the </a:t>
                      </a:r>
                      <a:r>
                        <a:rPr kumimoji="0" lang="en-US" sz="1200" b="0" i="0" u="none" strike="noStrike" kern="1200" cap="none" normalizeH="0" baseline="0" dirty="0" err="1">
                          <a:ln>
                            <a:noFill/>
                          </a:ln>
                          <a:solidFill>
                            <a:srgbClr val="0079D1"/>
                          </a:solidFill>
                          <a:effectLst/>
                          <a:latin typeface="Arial" charset="0"/>
                          <a:ea typeface="SimSun" pitchFamily="2" charset="-122"/>
                          <a:cs typeface="+mn-cs"/>
                        </a:rPr>
                        <a:t>ProducerService</a:t>
                      </a:r>
                      <a:r>
                        <a:rPr kumimoji="0" lang="en-US" sz="1200" b="0" i="0" u="none" strike="noStrike" kern="1200" cap="none" normalizeH="0" baseline="0" dirty="0">
                          <a:ln>
                            <a:noFill/>
                          </a:ln>
                          <a:solidFill>
                            <a:srgbClr val="0079D1"/>
                          </a:solidFill>
                          <a:effectLst/>
                          <a:latin typeface="Arial" charset="0"/>
                          <a:ea typeface="SimSun" pitchFamily="2" charset="-122"/>
                          <a:cs typeface="+mn-cs"/>
                        </a:rPr>
                        <a:t> API is included</a:t>
                      </a:r>
                      <a:endParaRPr kumimoji="0" lang="es-MX" sz="1200" b="0" i="0" u="none" strike="noStrike" kern="1200" cap="none" normalizeH="0" baseline="0" noProof="0" dirty="0">
                        <a:ln>
                          <a:noFill/>
                        </a:ln>
                        <a:solidFill>
                          <a:srgbClr val="0079D1"/>
                        </a:solidFill>
                        <a:effectLst/>
                        <a:latin typeface="Arial" charset="0"/>
                        <a:ea typeface="SimSun" pitchFamily="2" charset="-122"/>
                        <a:cs typeface="+mn-cs"/>
                      </a:endParaRPr>
                    </a:p>
                  </a:txBody>
                  <a:tcPr marL="72000" marR="72000" marT="71860" marB="71860" anchor="ctr" horzOverflow="overflow">
                    <a:lnL w="12700" cap="flat" cmpd="sng" algn="ctr">
                      <a:solidFill>
                        <a:srgbClr val="006AA2"/>
                      </a:solidFill>
                      <a:prstDash val="solid"/>
                      <a:round/>
                      <a:headEnd type="none" w="med" len="med"/>
                      <a:tailEnd type="none" w="med" len="med"/>
                    </a:lnL>
                    <a:lnR w="12700" cap="flat" cmpd="sng" algn="ctr">
                      <a:solidFill>
                        <a:srgbClr val="006AA2"/>
                      </a:solidFill>
                      <a:prstDash val="solid"/>
                      <a:round/>
                      <a:headEnd type="none" w="med" len="med"/>
                      <a:tailEnd type="none" w="med" len="med"/>
                    </a:lnR>
                    <a:lnT w="12700" cap="flat" cmpd="sng" algn="ctr">
                      <a:solidFill>
                        <a:srgbClr val="006AA2"/>
                      </a:solidFill>
                      <a:prstDash val="solid"/>
                      <a:round/>
                      <a:headEnd type="none" w="med" len="med"/>
                      <a:tailEnd type="none" w="med" len="med"/>
                    </a:lnT>
                    <a:lnB w="12700" cap="flat" cmpd="sng" algn="ctr">
                      <a:solidFill>
                        <a:srgbClr val="006AA2"/>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defRPr/>
                      </a:pPr>
                      <a:r>
                        <a:rPr kumimoji="0" lang="es-MX" sz="1200" b="0" i="0" u="none" strike="noStrike" cap="none" normalizeH="0" baseline="0" noProof="0">
                          <a:ln>
                            <a:noFill/>
                          </a:ln>
                          <a:solidFill>
                            <a:srgbClr val="0079D1"/>
                          </a:solidFill>
                          <a:effectLst/>
                          <a:latin typeface="Arial" pitchFamily="34" charset="0"/>
                        </a:rPr>
                        <a:t>[Big Data Architecture]</a:t>
                      </a:r>
                    </a:p>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defRPr/>
                      </a:pPr>
                      <a:endParaRPr kumimoji="0" lang="es-MX" sz="1200" b="0" i="0" u="none" strike="noStrike" cap="none" normalizeH="0" baseline="0" noProof="0" dirty="0">
                        <a:ln>
                          <a:noFill/>
                        </a:ln>
                        <a:solidFill>
                          <a:srgbClr val="0079D1"/>
                        </a:solidFill>
                        <a:effectLst/>
                        <a:latin typeface="Arial" pitchFamily="34" charset="0"/>
                      </a:endParaRPr>
                    </a:p>
                  </a:txBody>
                  <a:tcPr marL="72000" marR="72000" marT="71860" marB="71860" anchor="ctr" horzOverflow="overflow">
                    <a:lnL w="12700" cap="flat" cmpd="sng" algn="ctr">
                      <a:solidFill>
                        <a:srgbClr val="006AA2"/>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6AA2"/>
                      </a:solidFill>
                      <a:prstDash val="solid"/>
                      <a:round/>
                      <a:headEnd type="none" w="med" len="med"/>
                      <a:tailEnd type="none" w="med" len="med"/>
                    </a:lnT>
                    <a:lnB w="12700" cap="flat" cmpd="sng" algn="ctr">
                      <a:solidFill>
                        <a:srgbClr val="006AA2"/>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726827">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defRPr/>
                      </a:pPr>
                      <a:endParaRPr kumimoji="0" lang="es-MX" sz="1200" b="0" i="0" u="none" strike="noStrike" kern="1200" cap="none" normalizeH="0" baseline="0" noProof="0" dirty="0">
                        <a:ln>
                          <a:noFill/>
                        </a:ln>
                        <a:solidFill>
                          <a:srgbClr val="0079D1"/>
                        </a:solidFill>
                        <a:effectLst/>
                        <a:latin typeface="Arial" pitchFamily="34" charset="0"/>
                        <a:ea typeface="+mn-ea"/>
                        <a:cs typeface="+mn-cs"/>
                      </a:endParaRPr>
                    </a:p>
                  </a:txBody>
                  <a:tcPr marL="72000" marR="72000" marT="71860" marB="71860" anchor="ctr" horzOverflow="overflow">
                    <a:lnL w="12700" cap="flat" cmpd="sng" algn="ctr">
                      <a:solidFill>
                        <a:srgbClr val="000000"/>
                      </a:solidFill>
                      <a:prstDash val="solid"/>
                      <a:round/>
                      <a:headEnd type="none" w="med" len="med"/>
                      <a:tailEnd type="none" w="med" len="med"/>
                    </a:lnL>
                    <a:lnR w="12700" cap="flat" cmpd="sng" algn="ctr">
                      <a:solidFill>
                        <a:srgbClr val="006AA2"/>
                      </a:solidFill>
                      <a:prstDash val="solid"/>
                      <a:round/>
                      <a:headEnd type="none" w="med" len="med"/>
                      <a:tailEnd type="none" w="med" len="med"/>
                    </a:lnR>
                    <a:lnT w="12700" cap="flat" cmpd="sng" algn="ctr">
                      <a:solidFill>
                        <a:srgbClr val="006AA2"/>
                      </a:solidFill>
                      <a:prstDash val="solid"/>
                      <a:round/>
                      <a:headEnd type="none" w="med" len="med"/>
                      <a:tailEnd type="none" w="med" len="med"/>
                    </a:lnT>
                    <a:lnB w="12700" cap="flat" cmpd="sng" algn="ctr">
                      <a:solidFill>
                        <a:srgbClr val="006AA2"/>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defRPr/>
                      </a:pPr>
                      <a:endParaRPr kumimoji="0" lang="es-MX" sz="1200" b="0" i="0" u="none" strike="noStrike" kern="1200" cap="none" normalizeH="0" baseline="0" noProof="0" dirty="0">
                        <a:ln>
                          <a:noFill/>
                        </a:ln>
                        <a:solidFill>
                          <a:srgbClr val="0079D1"/>
                        </a:solidFill>
                        <a:effectLst/>
                        <a:latin typeface="Arial" pitchFamily="34" charset="0"/>
                        <a:ea typeface="+mn-ea"/>
                        <a:cs typeface="+mn-cs"/>
                      </a:endParaRPr>
                    </a:p>
                  </a:txBody>
                  <a:tcPr marL="72000" marR="72000" marT="71860" marB="71860" anchor="ctr" horzOverflow="overflow">
                    <a:lnL w="12700" cap="flat" cmpd="sng" algn="ctr">
                      <a:solidFill>
                        <a:srgbClr val="006AA2"/>
                      </a:solidFill>
                      <a:prstDash val="solid"/>
                      <a:round/>
                      <a:headEnd type="none" w="med" len="med"/>
                      <a:tailEnd type="none" w="med" len="med"/>
                    </a:lnL>
                    <a:lnR w="12700" cap="flat" cmpd="sng" algn="ctr">
                      <a:solidFill>
                        <a:srgbClr val="006AA2"/>
                      </a:solidFill>
                      <a:prstDash val="solid"/>
                      <a:round/>
                      <a:headEnd type="none" w="med" len="med"/>
                      <a:tailEnd type="none" w="med" len="med"/>
                    </a:lnR>
                    <a:lnT w="12700" cap="flat" cmpd="sng" algn="ctr">
                      <a:solidFill>
                        <a:srgbClr val="006AA2"/>
                      </a:solidFill>
                      <a:prstDash val="solid"/>
                      <a:round/>
                      <a:headEnd type="none" w="med" len="med"/>
                      <a:tailEnd type="none" w="med" len="med"/>
                    </a:lnT>
                    <a:lnB w="12700" cap="flat" cmpd="sng" algn="ctr">
                      <a:solidFill>
                        <a:srgbClr val="006AA2"/>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defRPr/>
                      </a:pPr>
                      <a:endParaRPr kumimoji="0" lang="es-MX" sz="1200" b="0" i="0" u="none" strike="noStrike" kern="1200" cap="none" normalizeH="0" baseline="0" noProof="0" dirty="0">
                        <a:ln>
                          <a:noFill/>
                        </a:ln>
                        <a:solidFill>
                          <a:srgbClr val="0079D1"/>
                        </a:solidFill>
                        <a:effectLst/>
                        <a:latin typeface="Arial" pitchFamily="34" charset="0"/>
                        <a:ea typeface="+mn-ea"/>
                        <a:cs typeface="+mn-cs"/>
                      </a:endParaRPr>
                    </a:p>
                  </a:txBody>
                  <a:tcPr marL="72000" marR="72000" marT="71860" marB="71860" anchor="ctr" horzOverflow="overflow">
                    <a:lnL w="12700" cap="flat" cmpd="sng" algn="ctr">
                      <a:solidFill>
                        <a:srgbClr val="006AA2"/>
                      </a:solidFill>
                      <a:prstDash val="solid"/>
                      <a:round/>
                      <a:headEnd type="none" w="med" len="med"/>
                      <a:tailEnd type="none" w="med" len="med"/>
                    </a:lnL>
                    <a:lnR w="12700" cap="flat" cmpd="sng" algn="ctr">
                      <a:solidFill>
                        <a:srgbClr val="006AA2"/>
                      </a:solidFill>
                      <a:prstDash val="solid"/>
                      <a:round/>
                      <a:headEnd type="none" w="med" len="med"/>
                      <a:tailEnd type="none" w="med" len="med"/>
                    </a:lnR>
                    <a:lnT w="12700" cap="flat" cmpd="sng" algn="ctr">
                      <a:solidFill>
                        <a:srgbClr val="006AA2"/>
                      </a:solidFill>
                      <a:prstDash val="solid"/>
                      <a:round/>
                      <a:headEnd type="none" w="med" len="med"/>
                      <a:tailEnd type="none" w="med" len="med"/>
                    </a:lnT>
                    <a:lnB w="12700" cap="flat" cmpd="sng" algn="ctr">
                      <a:solidFill>
                        <a:srgbClr val="006AA2"/>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defRPr/>
                      </a:pPr>
                      <a:endParaRPr kumimoji="0" lang="es-MX" sz="1200" b="0" i="0" u="none" strike="noStrike" cap="none" normalizeH="0" baseline="0" noProof="0" dirty="0">
                        <a:ln>
                          <a:noFill/>
                        </a:ln>
                        <a:solidFill>
                          <a:srgbClr val="0079D1"/>
                        </a:solidFill>
                        <a:effectLst/>
                        <a:latin typeface="Arial" pitchFamily="34" charset="0"/>
                      </a:endParaRPr>
                    </a:p>
                  </a:txBody>
                  <a:tcPr marL="72000" marR="72000" marT="71860" marB="71860" anchor="ctr" horzOverflow="overflow">
                    <a:lnL w="12700" cap="flat" cmpd="sng" algn="ctr">
                      <a:solidFill>
                        <a:srgbClr val="006AA2"/>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6AA2"/>
                      </a:solidFill>
                      <a:prstDash val="solid"/>
                      <a:round/>
                      <a:headEnd type="none" w="med" len="med"/>
                      <a:tailEnd type="none" w="med" len="med"/>
                    </a:lnT>
                    <a:lnB w="12700" cap="flat" cmpd="sng" algn="ctr">
                      <a:solidFill>
                        <a:srgbClr val="006AA2"/>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3342971020"/>
                  </a:ext>
                </a:extLst>
              </a:tr>
              <a:tr h="876312">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defRPr/>
                      </a:pPr>
                      <a:endParaRPr kumimoji="0" lang="es-MX" sz="1200" b="0" i="0" u="none" strike="noStrike" kern="1200" cap="none" normalizeH="0" baseline="0" noProof="0" dirty="0">
                        <a:ln>
                          <a:noFill/>
                        </a:ln>
                        <a:solidFill>
                          <a:srgbClr val="0079D1"/>
                        </a:solidFill>
                        <a:effectLst/>
                        <a:latin typeface="Arial" pitchFamily="34" charset="0"/>
                        <a:ea typeface="+mn-ea"/>
                        <a:cs typeface="+mn-cs"/>
                      </a:endParaRPr>
                    </a:p>
                  </a:txBody>
                  <a:tcPr marL="72000" marR="72000" marT="71860" marB="71860" anchor="ctr" horzOverflow="overflow">
                    <a:lnL w="12700" cap="flat" cmpd="sng" algn="ctr">
                      <a:solidFill>
                        <a:srgbClr val="000000"/>
                      </a:solidFill>
                      <a:prstDash val="solid"/>
                      <a:round/>
                      <a:headEnd type="none" w="med" len="med"/>
                      <a:tailEnd type="none" w="med" len="med"/>
                    </a:lnL>
                    <a:lnR w="12700" cap="flat" cmpd="sng" algn="ctr">
                      <a:solidFill>
                        <a:srgbClr val="006AA2"/>
                      </a:solidFill>
                      <a:prstDash val="solid"/>
                      <a:round/>
                      <a:headEnd type="none" w="med" len="med"/>
                      <a:tailEnd type="none" w="med" len="med"/>
                    </a:lnR>
                    <a:lnT w="12700" cap="flat" cmpd="sng" algn="ctr">
                      <a:solidFill>
                        <a:srgbClr val="006AA2"/>
                      </a:solidFill>
                      <a:prstDash val="solid"/>
                      <a:round/>
                      <a:headEnd type="none" w="med" len="med"/>
                      <a:tailEnd type="none" w="med" len="med"/>
                    </a:lnT>
                    <a:lnB w="12700" cap="flat" cmpd="sng" algn="ctr">
                      <a:solidFill>
                        <a:srgbClr val="006AA2"/>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defRPr/>
                      </a:pPr>
                      <a:endParaRPr kumimoji="0" lang="es-MX" sz="1200" b="0" i="0" u="none" strike="noStrike" kern="1200" cap="none" normalizeH="0" baseline="0" noProof="0" dirty="0">
                        <a:ln>
                          <a:noFill/>
                        </a:ln>
                        <a:solidFill>
                          <a:srgbClr val="0079D1"/>
                        </a:solidFill>
                        <a:effectLst/>
                        <a:latin typeface="Arial" pitchFamily="34" charset="0"/>
                        <a:ea typeface="+mn-ea"/>
                        <a:cs typeface="+mn-cs"/>
                      </a:endParaRPr>
                    </a:p>
                  </a:txBody>
                  <a:tcPr marL="72000" marR="72000" marT="71860" marB="71860" anchor="ctr" horzOverflow="overflow">
                    <a:lnL w="12700" cap="flat" cmpd="sng" algn="ctr">
                      <a:solidFill>
                        <a:srgbClr val="006AA2"/>
                      </a:solidFill>
                      <a:prstDash val="solid"/>
                      <a:round/>
                      <a:headEnd type="none" w="med" len="med"/>
                      <a:tailEnd type="none" w="med" len="med"/>
                    </a:lnL>
                    <a:lnR w="12700" cap="flat" cmpd="sng" algn="ctr">
                      <a:solidFill>
                        <a:srgbClr val="006AA2"/>
                      </a:solidFill>
                      <a:prstDash val="solid"/>
                      <a:round/>
                      <a:headEnd type="none" w="med" len="med"/>
                      <a:tailEnd type="none" w="med" len="med"/>
                    </a:lnR>
                    <a:lnT w="12700" cap="flat" cmpd="sng" algn="ctr">
                      <a:solidFill>
                        <a:srgbClr val="006AA2"/>
                      </a:solidFill>
                      <a:prstDash val="solid"/>
                      <a:round/>
                      <a:headEnd type="none" w="med" len="med"/>
                      <a:tailEnd type="none" w="med" len="med"/>
                    </a:lnT>
                    <a:lnB w="12700" cap="flat" cmpd="sng" algn="ctr">
                      <a:solidFill>
                        <a:srgbClr val="006AA2"/>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defRPr/>
                      </a:pPr>
                      <a:endParaRPr kumimoji="0" lang="es-MX" sz="1200" b="0" i="0" u="none" strike="noStrike" kern="1200" cap="none" normalizeH="0" baseline="0" noProof="0" dirty="0">
                        <a:ln>
                          <a:noFill/>
                        </a:ln>
                        <a:solidFill>
                          <a:srgbClr val="0079D1"/>
                        </a:solidFill>
                        <a:effectLst/>
                        <a:latin typeface="Arial" pitchFamily="34" charset="0"/>
                        <a:ea typeface="+mn-ea"/>
                        <a:cs typeface="+mn-cs"/>
                      </a:endParaRPr>
                    </a:p>
                  </a:txBody>
                  <a:tcPr marL="72000" marR="72000" marT="71860" marB="71860" anchor="ctr" horzOverflow="overflow">
                    <a:lnL w="12700" cap="flat" cmpd="sng" algn="ctr">
                      <a:solidFill>
                        <a:srgbClr val="006AA2"/>
                      </a:solidFill>
                      <a:prstDash val="solid"/>
                      <a:round/>
                      <a:headEnd type="none" w="med" len="med"/>
                      <a:tailEnd type="none" w="med" len="med"/>
                    </a:lnL>
                    <a:lnR w="12700" cap="flat" cmpd="sng" algn="ctr">
                      <a:solidFill>
                        <a:srgbClr val="006AA2"/>
                      </a:solidFill>
                      <a:prstDash val="solid"/>
                      <a:round/>
                      <a:headEnd type="none" w="med" len="med"/>
                      <a:tailEnd type="none" w="med" len="med"/>
                    </a:lnR>
                    <a:lnT w="12700" cap="flat" cmpd="sng" algn="ctr">
                      <a:solidFill>
                        <a:srgbClr val="006AA2"/>
                      </a:solidFill>
                      <a:prstDash val="solid"/>
                      <a:round/>
                      <a:headEnd type="none" w="med" len="med"/>
                      <a:tailEnd type="none" w="med" len="med"/>
                    </a:lnT>
                    <a:lnB w="12700" cap="flat" cmpd="sng" algn="ctr">
                      <a:solidFill>
                        <a:srgbClr val="006AA2"/>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defRPr/>
                      </a:pPr>
                      <a:endParaRPr kumimoji="0" lang="es-MX" sz="1200" b="0" i="0" u="none" strike="noStrike" cap="none" normalizeH="0" baseline="0" noProof="0" dirty="0">
                        <a:ln>
                          <a:noFill/>
                        </a:ln>
                        <a:solidFill>
                          <a:srgbClr val="0079D1"/>
                        </a:solidFill>
                        <a:effectLst/>
                        <a:latin typeface="Arial" pitchFamily="34" charset="0"/>
                      </a:endParaRPr>
                    </a:p>
                  </a:txBody>
                  <a:tcPr marL="72000" marR="72000" marT="71860" marB="71860" anchor="ctr" horzOverflow="overflow">
                    <a:lnL w="12700" cap="flat" cmpd="sng" algn="ctr">
                      <a:solidFill>
                        <a:srgbClr val="006AA2"/>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6AA2"/>
                      </a:solidFill>
                      <a:prstDash val="solid"/>
                      <a:round/>
                      <a:headEnd type="none" w="med" len="med"/>
                      <a:tailEnd type="none" w="med" len="med"/>
                    </a:lnT>
                    <a:lnB w="12700" cap="flat" cmpd="sng" algn="ctr">
                      <a:solidFill>
                        <a:srgbClr val="006AA2"/>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3524266419"/>
                  </a:ext>
                </a:extLst>
              </a:tr>
              <a:tr h="726827">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defRPr/>
                      </a:pPr>
                      <a:endParaRPr kumimoji="0" lang="es-MX" sz="1200" b="0" i="0" u="none" strike="noStrike" kern="1200" cap="none" normalizeH="0" baseline="0" noProof="0" dirty="0">
                        <a:ln>
                          <a:noFill/>
                        </a:ln>
                        <a:solidFill>
                          <a:srgbClr val="0079D1"/>
                        </a:solidFill>
                        <a:effectLst/>
                        <a:latin typeface="Arial" pitchFamily="34" charset="0"/>
                        <a:ea typeface="+mn-ea"/>
                        <a:cs typeface="+mn-cs"/>
                      </a:endParaRPr>
                    </a:p>
                  </a:txBody>
                  <a:tcPr marL="72000" marR="72000" marT="71860" marB="71860" anchor="ctr" horzOverflow="overflow">
                    <a:lnL w="12700" cap="flat" cmpd="sng" algn="ctr">
                      <a:solidFill>
                        <a:srgbClr val="000000"/>
                      </a:solidFill>
                      <a:prstDash val="solid"/>
                      <a:round/>
                      <a:headEnd type="none" w="med" len="med"/>
                      <a:tailEnd type="none" w="med" len="med"/>
                    </a:lnL>
                    <a:lnR w="12700" cap="flat" cmpd="sng" algn="ctr">
                      <a:solidFill>
                        <a:srgbClr val="006AA2"/>
                      </a:solidFill>
                      <a:prstDash val="solid"/>
                      <a:round/>
                      <a:headEnd type="none" w="med" len="med"/>
                      <a:tailEnd type="none" w="med" len="med"/>
                    </a:lnR>
                    <a:lnT w="12700" cap="flat" cmpd="sng" algn="ctr">
                      <a:solidFill>
                        <a:srgbClr val="006AA2"/>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defRPr/>
                      </a:pPr>
                      <a:endParaRPr kumimoji="0" lang="es-MX" sz="1200" b="0" i="0" u="none" strike="noStrike" kern="1200" cap="none" normalizeH="0" baseline="0" noProof="0" dirty="0">
                        <a:ln>
                          <a:noFill/>
                        </a:ln>
                        <a:solidFill>
                          <a:srgbClr val="0079D1"/>
                        </a:solidFill>
                        <a:effectLst/>
                        <a:latin typeface="Arial" pitchFamily="34" charset="0"/>
                        <a:ea typeface="+mn-ea"/>
                        <a:cs typeface="+mn-cs"/>
                      </a:endParaRPr>
                    </a:p>
                  </a:txBody>
                  <a:tcPr marL="72000" marR="72000" marT="71860" marB="71860" anchor="ctr" horzOverflow="overflow">
                    <a:lnL w="12700" cap="flat" cmpd="sng" algn="ctr">
                      <a:solidFill>
                        <a:srgbClr val="006AA2"/>
                      </a:solidFill>
                      <a:prstDash val="solid"/>
                      <a:round/>
                      <a:headEnd type="none" w="med" len="med"/>
                      <a:tailEnd type="none" w="med" len="med"/>
                    </a:lnL>
                    <a:lnR w="12700" cap="flat" cmpd="sng" algn="ctr">
                      <a:solidFill>
                        <a:srgbClr val="006AA2"/>
                      </a:solidFill>
                      <a:prstDash val="solid"/>
                      <a:round/>
                      <a:headEnd type="none" w="med" len="med"/>
                      <a:tailEnd type="none" w="med" len="med"/>
                    </a:lnR>
                    <a:lnT w="12700" cap="flat" cmpd="sng" algn="ctr">
                      <a:solidFill>
                        <a:srgbClr val="006AA2"/>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defRPr/>
                      </a:pPr>
                      <a:endParaRPr kumimoji="0" lang="es-MX" sz="1200" b="0" i="0" u="none" strike="noStrike" kern="1200" cap="none" normalizeH="0" baseline="0" noProof="0" dirty="0">
                        <a:ln>
                          <a:noFill/>
                        </a:ln>
                        <a:solidFill>
                          <a:srgbClr val="0079D1"/>
                        </a:solidFill>
                        <a:effectLst/>
                        <a:latin typeface="Arial" pitchFamily="34" charset="0"/>
                        <a:ea typeface="+mn-ea"/>
                        <a:cs typeface="+mn-cs"/>
                      </a:endParaRPr>
                    </a:p>
                  </a:txBody>
                  <a:tcPr marL="72000" marR="72000" marT="71860" marB="71860" anchor="ctr" horzOverflow="overflow">
                    <a:lnL w="12700" cap="flat" cmpd="sng" algn="ctr">
                      <a:solidFill>
                        <a:srgbClr val="006AA2"/>
                      </a:solidFill>
                      <a:prstDash val="solid"/>
                      <a:round/>
                      <a:headEnd type="none" w="med" len="med"/>
                      <a:tailEnd type="none" w="med" len="med"/>
                    </a:lnL>
                    <a:lnR w="12700" cap="flat" cmpd="sng" algn="ctr">
                      <a:solidFill>
                        <a:srgbClr val="006AA2"/>
                      </a:solidFill>
                      <a:prstDash val="solid"/>
                      <a:round/>
                      <a:headEnd type="none" w="med" len="med"/>
                      <a:tailEnd type="none" w="med" len="med"/>
                    </a:lnR>
                    <a:lnT w="12700" cap="flat" cmpd="sng" algn="ctr">
                      <a:solidFill>
                        <a:srgbClr val="006AA2"/>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defRPr/>
                      </a:pPr>
                      <a:endParaRPr kumimoji="0" lang="es-MX" sz="1200" b="0" i="0" u="none" strike="noStrike" cap="none" normalizeH="0" baseline="0" noProof="0" dirty="0">
                        <a:ln>
                          <a:noFill/>
                        </a:ln>
                        <a:solidFill>
                          <a:srgbClr val="0079D1"/>
                        </a:solidFill>
                        <a:effectLst/>
                        <a:latin typeface="Arial" pitchFamily="34" charset="0"/>
                      </a:endParaRPr>
                    </a:p>
                  </a:txBody>
                  <a:tcPr marL="72000" marR="72000" marT="71860" marB="71860" anchor="ctr" horzOverflow="overflow">
                    <a:lnL w="12700" cap="flat" cmpd="sng" algn="ctr">
                      <a:solidFill>
                        <a:srgbClr val="006AA2"/>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6AA2"/>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2894362487"/>
                  </a:ext>
                </a:extLst>
              </a:tr>
            </a:tbl>
          </a:graphicData>
        </a:graphic>
      </p:graphicFrame>
      <p:sp>
        <p:nvSpPr>
          <p:cNvPr id="3" name="Rectangle 2">
            <a:extLst>
              <a:ext uri="{FF2B5EF4-FFF2-40B4-BE49-F238E27FC236}">
                <a16:creationId xmlns:a16="http://schemas.microsoft.com/office/drawing/2014/main" id="{3FA47EE3-533E-C348-9389-41C10829E2F0}"/>
              </a:ext>
            </a:extLst>
          </p:cNvPr>
          <p:cNvSpPr txBox="1">
            <a:spLocks noChangeArrowheads="1"/>
          </p:cNvSpPr>
          <p:nvPr/>
        </p:nvSpPr>
        <p:spPr>
          <a:xfrm>
            <a:off x="1916113" y="381000"/>
            <a:ext cx="8408987" cy="552450"/>
          </a:xfrm>
          <a:prstGeom prst="rect">
            <a:avLst/>
          </a:prstGeom>
        </p:spPr>
        <p:txBody>
          <a:bodyPr/>
          <a:lstStyle>
            <a:lvl1pPr algn="l" defTabSz="844083" rtl="0" eaLnBrk="1" latinLnBrk="0" hangingPunct="1">
              <a:spcBef>
                <a:spcPct val="0"/>
              </a:spcBef>
              <a:buNone/>
              <a:defRPr sz="1846" b="1" kern="1200" baseline="0">
                <a:solidFill>
                  <a:srgbClr val="4472C4"/>
                </a:solidFill>
                <a:latin typeface="Arial"/>
                <a:ea typeface="+mj-ea"/>
                <a:cs typeface="Arial"/>
                <a:sym typeface="Arial"/>
              </a:defRPr>
            </a:lvl1pPr>
          </a:lstStyle>
          <a:p>
            <a:r>
              <a:rPr lang="en-US" altLang="es-MX" dirty="0">
                <a:solidFill>
                  <a:srgbClr val="0079D1"/>
                </a:solidFill>
              </a:rPr>
              <a:t>Change control</a:t>
            </a:r>
          </a:p>
        </p:txBody>
      </p:sp>
    </p:spTree>
    <p:extLst>
      <p:ext uri="{BB962C8B-B14F-4D97-AF65-F5344CB8AC3E}">
        <p14:creationId xmlns:p14="http://schemas.microsoft.com/office/powerpoint/2010/main" val="3379095348"/>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tangle 3">
            <a:extLst>
              <a:ext uri="{FF2B5EF4-FFF2-40B4-BE49-F238E27FC236}">
                <a16:creationId xmlns:a16="http://schemas.microsoft.com/office/drawing/2014/main" id="{A27FD23C-A522-0E4F-B70C-CC83BC4542BA}"/>
              </a:ext>
            </a:extLst>
          </p:cNvPr>
          <p:cNvSpPr txBox="1"/>
          <p:nvPr/>
        </p:nvSpPr>
        <p:spPr>
          <a:xfrm>
            <a:off x="404808" y="237462"/>
            <a:ext cx="7585857" cy="400105"/>
          </a:xfrm>
          <a:prstGeom prst="rect">
            <a:avLst/>
          </a:prstGeom>
          <a:ln w="12700">
            <a:miter lim="400000"/>
          </a:ln>
          <a:extLst>
            <a:ext uri="{C572A759-6A51-4108-AA02-DFA0A04FC94B}">
              <ma14:wrappingTextBoxFlag xmlns:ma14="http://schemas.microsoft.com/office/mac/drawingml/2011/main" xmlns="" val="1"/>
            </a:ext>
          </a:extLst>
        </p:spPr>
        <p:txBody>
          <a:bodyPr wrap="square" lIns="45718" tIns="45718" rIns="45718" bIns="45718">
            <a:spAutoFit/>
          </a:bodyPr>
          <a:lstStyle>
            <a:lvl1pPr algn="l" defTabSz="914400">
              <a:defRPr sz="2200" b="1">
                <a:solidFill>
                  <a:srgbClr val="FFFFFF"/>
                </a:solidFill>
                <a:latin typeface="Arial"/>
                <a:ea typeface="Arial"/>
                <a:cs typeface="Arial"/>
                <a:sym typeface="Arial"/>
              </a:defRPr>
            </a:lvl1pPr>
          </a:lstStyle>
          <a:p>
            <a:r>
              <a:rPr lang="en-US" sz="2000" dirty="0">
                <a:solidFill>
                  <a:srgbClr val="016AA2"/>
                </a:solidFill>
              </a:rPr>
              <a:t>Needs and Solution Proposal (IV)</a:t>
            </a:r>
          </a:p>
        </p:txBody>
      </p:sp>
      <p:sp>
        <p:nvSpPr>
          <p:cNvPr id="65" name="Rectangle 3"/>
          <p:cNvSpPr txBox="1"/>
          <p:nvPr/>
        </p:nvSpPr>
        <p:spPr>
          <a:xfrm>
            <a:off x="404806" y="610135"/>
            <a:ext cx="8775769" cy="369328"/>
          </a:xfrm>
          <a:prstGeom prst="rect">
            <a:avLst/>
          </a:prstGeom>
          <a:ln w="12700">
            <a:miter lim="400000"/>
          </a:ln>
          <a:extLst>
            <a:ext uri="{C572A759-6A51-4108-AA02-DFA0A04FC94B}">
              <ma14:wrappingTextBoxFlag xmlns="" xmlns:ma14="http://schemas.microsoft.com/office/mac/drawingml/2011/main" val="1"/>
            </a:ext>
          </a:extLst>
        </p:spPr>
        <p:txBody>
          <a:bodyPr wrap="square" lIns="45718" tIns="45718" rIns="45718" bIns="45718">
            <a:spAutoFit/>
          </a:bodyPr>
          <a:lstStyle>
            <a:lvl1pPr algn="l" defTabSz="914400">
              <a:defRPr sz="2000">
                <a:solidFill>
                  <a:srgbClr val="104D6A"/>
                </a:solidFill>
                <a:latin typeface="Arial"/>
                <a:ea typeface="Arial"/>
                <a:cs typeface="Arial"/>
                <a:sym typeface="Arial"/>
              </a:defRPr>
            </a:lvl1pPr>
          </a:lstStyle>
          <a:p>
            <a:pPr>
              <a:defRPr/>
            </a:pPr>
            <a:r>
              <a:rPr lang="en-US" sz="1800" b="1" dirty="0">
                <a:solidFill>
                  <a:srgbClr val="73C4EF"/>
                </a:solidFill>
              </a:rPr>
              <a:t>Event Hub Architecture – The key capabilities of an Event Hub </a:t>
            </a:r>
          </a:p>
        </p:txBody>
      </p:sp>
      <p:graphicFrame>
        <p:nvGraphicFramePr>
          <p:cNvPr id="3" name="Table 2">
            <a:extLst>
              <a:ext uri="{FF2B5EF4-FFF2-40B4-BE49-F238E27FC236}">
                <a16:creationId xmlns:a16="http://schemas.microsoft.com/office/drawing/2014/main" id="{D9271796-9D4D-2E4D-A690-A81564040FDE}"/>
              </a:ext>
            </a:extLst>
          </p:cNvPr>
          <p:cNvGraphicFramePr>
            <a:graphicFrameLocks noGrp="1"/>
          </p:cNvGraphicFramePr>
          <p:nvPr>
            <p:extLst>
              <p:ext uri="{D42A27DB-BD31-4B8C-83A1-F6EECF244321}">
                <p14:modId xmlns:p14="http://schemas.microsoft.com/office/powerpoint/2010/main" val="463999018"/>
              </p:ext>
            </p:extLst>
          </p:nvPr>
        </p:nvGraphicFramePr>
        <p:xfrm>
          <a:off x="512064" y="1359746"/>
          <a:ext cx="10991088" cy="3616960"/>
        </p:xfrm>
        <a:graphic>
          <a:graphicData uri="http://schemas.openxmlformats.org/drawingml/2006/table">
            <a:tbl>
              <a:tblPr firstRow="1" bandRow="1">
                <a:tableStyleId>{5C22544A-7EE6-4342-B048-85BDC9FD1C3A}</a:tableStyleId>
              </a:tblPr>
              <a:tblGrid>
                <a:gridCol w="2861473">
                  <a:extLst>
                    <a:ext uri="{9D8B030D-6E8A-4147-A177-3AD203B41FA5}">
                      <a16:colId xmlns:a16="http://schemas.microsoft.com/office/drawing/2014/main" val="256165452"/>
                    </a:ext>
                  </a:extLst>
                </a:gridCol>
                <a:gridCol w="8129615">
                  <a:extLst>
                    <a:ext uri="{9D8B030D-6E8A-4147-A177-3AD203B41FA5}">
                      <a16:colId xmlns:a16="http://schemas.microsoft.com/office/drawing/2014/main" val="1456316919"/>
                    </a:ext>
                  </a:extLst>
                </a:gridCol>
              </a:tblGrid>
              <a:tr h="370840">
                <a:tc>
                  <a:txBody>
                    <a:bodyPr/>
                    <a:lstStyle/>
                    <a:p>
                      <a:pPr marL="0" algn="ctr" defTabSz="457200" rtl="0" eaLnBrk="1" latinLnBrk="0" hangingPunct="1"/>
                      <a:r>
                        <a:rPr lang="en-US" sz="1050" b="0" kern="1200" dirty="0">
                          <a:solidFill>
                            <a:srgbClr val="0067B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System</a:t>
                      </a:r>
                    </a:p>
                  </a:txBody>
                  <a:tcPr>
                    <a:solidFill>
                      <a:schemeClr val="accent6">
                        <a:lumMod val="40000"/>
                        <a:lumOff val="60000"/>
                      </a:schemeClr>
                    </a:solidFill>
                  </a:tcPr>
                </a:tc>
                <a:tc>
                  <a:txBody>
                    <a:bodyPr/>
                    <a:lstStyle/>
                    <a:p>
                      <a:pPr marL="0" algn="ctr" defTabSz="457200" rtl="0" eaLnBrk="1" latinLnBrk="0" hangingPunct="1"/>
                      <a:r>
                        <a:rPr lang="en-US" sz="1050" b="0" kern="1200" dirty="0">
                          <a:solidFill>
                            <a:srgbClr val="0067B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Description</a:t>
                      </a:r>
                    </a:p>
                  </a:txBody>
                  <a:tcPr>
                    <a:solidFill>
                      <a:schemeClr val="accent6">
                        <a:lumMod val="40000"/>
                        <a:lumOff val="60000"/>
                      </a:schemeClr>
                    </a:solidFill>
                  </a:tcPr>
                </a:tc>
                <a:extLst>
                  <a:ext uri="{0D108BD9-81ED-4DB2-BD59-A6C34878D82A}">
                    <a16:rowId xmlns:a16="http://schemas.microsoft.com/office/drawing/2014/main" val="2201773304"/>
                  </a:ext>
                </a:extLst>
              </a:tr>
              <a:tr h="466006">
                <a:tc>
                  <a:txBody>
                    <a:bodyPr/>
                    <a:lstStyle/>
                    <a:p>
                      <a:pPr marL="0" indent="0" algn="ctr" defTabSz="457200" rtl="0" eaLnBrk="1" latinLnBrk="0" hangingPunct="1">
                        <a:buSzPct val="66000"/>
                        <a:buFont typeface="Arial" panose="020B0604020202020204" pitchFamily="34" charset="0"/>
                        <a:buNone/>
                      </a:pPr>
                      <a:endParaRPr lang="en-US" sz="1050" b="0" kern="1200" noProof="0" dirty="0">
                        <a:solidFill>
                          <a:srgbClr val="C5277F"/>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endParaRPr>
                    </a:p>
                    <a:p>
                      <a:pPr marL="0" indent="0" algn="ctr" defTabSz="457200" rtl="0" eaLnBrk="1" latinLnBrk="0" hangingPunct="1">
                        <a:buSzPct val="66000"/>
                        <a:buFont typeface="Arial" panose="020B0604020202020204" pitchFamily="34" charset="0"/>
                        <a:buNone/>
                      </a:pPr>
                      <a:endParaRPr lang="en-US" sz="1050" b="0" kern="1200" noProof="0" dirty="0">
                        <a:solidFill>
                          <a:srgbClr val="C5277F"/>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endParaRPr>
                    </a:p>
                    <a:p>
                      <a:pPr marL="0" indent="0" algn="ctr" defTabSz="457200" rtl="0" eaLnBrk="1" latinLnBrk="0" hangingPunct="1">
                        <a:buSzPct val="66000"/>
                        <a:buFont typeface="Arial" panose="020B0604020202020204" pitchFamily="34" charset="0"/>
                        <a:buNone/>
                      </a:pPr>
                      <a:endParaRPr lang="en-US" sz="1050" b="0" kern="1200" noProof="0" dirty="0">
                        <a:solidFill>
                          <a:srgbClr val="C5277F"/>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endParaRPr>
                    </a:p>
                    <a:p>
                      <a:pPr marL="0" indent="0" algn="ctr" defTabSz="457200" rtl="0" eaLnBrk="1" latinLnBrk="0" hangingPunct="1">
                        <a:buSzPct val="66000"/>
                        <a:buFont typeface="Arial" panose="020B0604020202020204" pitchFamily="34" charset="0"/>
                        <a:buNone/>
                      </a:pPr>
                      <a:r>
                        <a:rPr lang="en-US" sz="1050" b="0" kern="1200" noProof="0" dirty="0">
                          <a:solidFill>
                            <a:srgbClr val="C5277F"/>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Messaging</a:t>
                      </a:r>
                    </a:p>
                  </a:txBody>
                  <a:tcPr>
                    <a:solidFill>
                      <a:schemeClr val="accent6">
                        <a:lumMod val="40000"/>
                        <a:lumOff val="60000"/>
                      </a:schemeClr>
                    </a:solidFill>
                  </a:tcPr>
                </a:tc>
                <a:tc>
                  <a:txBody>
                    <a:bodyPr/>
                    <a:lstStyle/>
                    <a:p>
                      <a:pPr marL="0" indent="0" algn="l" defTabSz="457200" rtl="0" eaLnBrk="1" latinLnBrk="0" hangingPunct="1">
                        <a:buSzPct val="66000"/>
                        <a:buFont typeface="Arial" panose="020B0604020202020204" pitchFamily="34" charset="0"/>
                        <a:buNone/>
                      </a:pPr>
                      <a:r>
                        <a:rPr lang="en-US" sz="1050" b="0" kern="1200" dirty="0">
                          <a:solidFill>
                            <a:srgbClr val="0067B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Even Hub is similar to an enterprise messaging system: it receives messages and distributes to interested subscribers. It is considered as a type of messaging 2.0. There are three important differences:</a:t>
                      </a:r>
                    </a:p>
                    <a:p>
                      <a:pPr marL="285750" indent="-285750" algn="l" defTabSz="457200" rtl="0" eaLnBrk="1" latinLnBrk="0" hangingPunct="1">
                        <a:buSzPct val="66000"/>
                        <a:buFont typeface="Arial" panose="020B0604020202020204" pitchFamily="34" charset="0"/>
                        <a:buChar char="•"/>
                      </a:pPr>
                      <a:r>
                        <a:rPr lang="en-US" sz="1050" b="0" kern="1200" dirty="0">
                          <a:solidFill>
                            <a:srgbClr val="0067B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Messaging systems usually run in single implementations for different applications. Because Even Hub runs as a cluster and can be scaled, a central instance can support a complete data center</a:t>
                      </a:r>
                    </a:p>
                    <a:p>
                      <a:pPr marL="285750" indent="-285750" algn="l" defTabSz="457200" rtl="0" eaLnBrk="1" latinLnBrk="0" hangingPunct="1">
                        <a:buSzPct val="66000"/>
                        <a:buFont typeface="Arial" panose="020B0604020202020204" pitchFamily="34" charset="0"/>
                        <a:buChar char="•"/>
                      </a:pPr>
                      <a:r>
                        <a:rPr lang="en-US" sz="1050" b="0" kern="1200" dirty="0">
                          <a:solidFill>
                            <a:srgbClr val="0067B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The messaging systems have limitations in the work of data storage and this limits them to flows that only have consumption in real time. However, many integrations require more than this</a:t>
                      </a:r>
                    </a:p>
                    <a:p>
                      <a:pPr marL="285750" indent="-285750" algn="l" defTabSz="457200" rtl="0" eaLnBrk="1" latinLnBrk="0" hangingPunct="1">
                        <a:buSzPct val="66000"/>
                        <a:buFont typeface="Arial" panose="020B0604020202020204" pitchFamily="34" charset="0"/>
                        <a:buChar char="•"/>
                      </a:pPr>
                      <a:r>
                        <a:rPr lang="en-US" sz="1050" b="0" kern="1200" dirty="0">
                          <a:solidFill>
                            <a:srgbClr val="0067B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The semantics of messaging systems are not easily compatible with rich flow processing, so they really can not be used as the basis for the processing of Even Hub</a:t>
                      </a:r>
                    </a:p>
                  </a:txBody>
                  <a:tcPr>
                    <a:solidFill>
                      <a:schemeClr val="accent6">
                        <a:lumMod val="40000"/>
                        <a:lumOff val="60000"/>
                      </a:schemeClr>
                    </a:solidFill>
                  </a:tcPr>
                </a:tc>
                <a:extLst>
                  <a:ext uri="{0D108BD9-81ED-4DB2-BD59-A6C34878D82A}">
                    <a16:rowId xmlns:a16="http://schemas.microsoft.com/office/drawing/2014/main" val="4268366016"/>
                  </a:ext>
                </a:extLst>
              </a:tr>
              <a:tr h="676318">
                <a:tc>
                  <a:txBody>
                    <a:bodyPr/>
                    <a:lstStyle/>
                    <a:p>
                      <a:pPr marL="0" algn="ctr" defTabSz="457200" rtl="0" eaLnBrk="1" latinLnBrk="0" hangingPunct="1"/>
                      <a:endParaRPr lang="en-US" sz="1050" b="0" kern="1200" dirty="0">
                        <a:solidFill>
                          <a:srgbClr val="C5277F"/>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endParaRPr>
                    </a:p>
                    <a:p>
                      <a:pPr marL="0" algn="ctr" defTabSz="457200" rtl="0" eaLnBrk="1" latinLnBrk="0" hangingPunct="1"/>
                      <a:r>
                        <a:rPr lang="en-US" sz="1050" b="0" kern="1200" dirty="0">
                          <a:solidFill>
                            <a:srgbClr val="C5277F"/>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Data Integration Tools</a:t>
                      </a:r>
                    </a:p>
                  </a:txBody>
                  <a:tcPr>
                    <a:solidFill>
                      <a:schemeClr val="accent6">
                        <a:lumMod val="40000"/>
                        <a:lumOff val="60000"/>
                      </a:schemeClr>
                    </a:solidFill>
                  </a:tcPr>
                </a:tc>
                <a:tc>
                  <a:txBody>
                    <a:bodyPr/>
                    <a:lstStyle/>
                    <a:p>
                      <a:pPr marL="0" indent="0" algn="l" defTabSz="457200" rtl="0" eaLnBrk="1" latinLnBrk="0" hangingPunct="1">
                        <a:buSzPct val="66000"/>
                        <a:buFont typeface="Arial" panose="020B0604020202020204" pitchFamily="34" charset="0"/>
                        <a:buNone/>
                      </a:pPr>
                      <a:r>
                        <a:rPr lang="en-US" sz="1050" b="0" kern="1200" dirty="0">
                          <a:solidFill>
                            <a:srgbClr val="0067B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Enable the real-time stream processing of streams at scale</a:t>
                      </a:r>
                    </a:p>
                    <a:p>
                      <a:pPr marL="0" indent="0" algn="l" defTabSz="457200" rtl="0" eaLnBrk="1" latinLnBrk="0" hangingPunct="1">
                        <a:buSzPct val="66000"/>
                        <a:buFont typeface="Arial" panose="020B0604020202020204" pitchFamily="34" charset="0"/>
                        <a:buNone/>
                      </a:pPr>
                      <a:r>
                        <a:rPr lang="en-US" sz="1050" b="0" kern="1200" dirty="0">
                          <a:solidFill>
                            <a:srgbClr val="0067B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Support modern stream processing capabilities to power real-time applications or streaming transformations</a:t>
                      </a:r>
                    </a:p>
                    <a:p>
                      <a:pPr marL="0" indent="0" algn="l" defTabSz="457200" rtl="0" eaLnBrk="1" latinLnBrk="0" hangingPunct="1">
                        <a:buSzPct val="66000"/>
                        <a:buFont typeface="Arial" panose="020B0604020202020204" pitchFamily="34" charset="0"/>
                        <a:buNone/>
                      </a:pPr>
                      <a:r>
                        <a:rPr lang="en-US" sz="1050" b="0" kern="1200" dirty="0">
                          <a:solidFill>
                            <a:srgbClr val="0067B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One practical area of overlap is that by making the data available in a uniform format in one place with a common abstraction stream, many of the routine data cleaning tasks can be completely avoided</a:t>
                      </a:r>
                    </a:p>
                  </a:txBody>
                  <a:tcPr>
                    <a:solidFill>
                      <a:schemeClr val="accent6">
                        <a:lumMod val="40000"/>
                        <a:lumOff val="60000"/>
                      </a:schemeClr>
                    </a:solidFill>
                  </a:tcPr>
                </a:tc>
                <a:extLst>
                  <a:ext uri="{0D108BD9-81ED-4DB2-BD59-A6C34878D82A}">
                    <a16:rowId xmlns:a16="http://schemas.microsoft.com/office/drawing/2014/main" val="1897712080"/>
                  </a:ext>
                </a:extLst>
              </a:tr>
              <a:tr h="386758">
                <a:tc>
                  <a:txBody>
                    <a:bodyPr/>
                    <a:lstStyle/>
                    <a:p>
                      <a:pPr marL="0" algn="ctr" defTabSz="457200" rtl="0" eaLnBrk="1" latinLnBrk="0" hangingPunct="1"/>
                      <a:endParaRPr lang="en-US" sz="1050" b="0" kern="1200" dirty="0">
                        <a:solidFill>
                          <a:srgbClr val="C5277F"/>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endParaRPr>
                    </a:p>
                    <a:p>
                      <a:pPr marL="0" algn="ctr" defTabSz="457200" rtl="0" eaLnBrk="1" latinLnBrk="0" hangingPunct="1"/>
                      <a:r>
                        <a:rPr lang="en-US" sz="1050" b="0" kern="1200" dirty="0">
                          <a:solidFill>
                            <a:srgbClr val="C5277F"/>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Enterprise Service Buses</a:t>
                      </a:r>
                    </a:p>
                  </a:txBody>
                  <a:tcPr>
                    <a:solidFill>
                      <a:schemeClr val="accent6">
                        <a:lumMod val="40000"/>
                        <a:lumOff val="60000"/>
                      </a:schemeClr>
                    </a:solidFill>
                  </a:tcPr>
                </a:tc>
                <a:tc>
                  <a:txBody>
                    <a:bodyPr/>
                    <a:lstStyle/>
                    <a:p>
                      <a:pPr marL="0" indent="0" algn="l" defTabSz="457200" rtl="0" eaLnBrk="1" latinLnBrk="0" hangingPunct="1">
                        <a:buSzPct val="66000"/>
                        <a:buFont typeface="Arial" panose="020B0604020202020204" pitchFamily="34" charset="0"/>
                        <a:buNone/>
                      </a:pPr>
                      <a:r>
                        <a:rPr lang="en-US" sz="1050" b="0" kern="1200" dirty="0">
                          <a:solidFill>
                            <a:srgbClr val="0067B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The advantage of Even Hub is that the transformation is fundamentally decoupled from the flow itself. This code can live in applications or transmit processing tasks, allowing teams to go their own pace without a central bottleneck for the development of the application.</a:t>
                      </a:r>
                    </a:p>
                  </a:txBody>
                  <a:tcPr>
                    <a:solidFill>
                      <a:schemeClr val="accent6">
                        <a:lumMod val="40000"/>
                        <a:lumOff val="60000"/>
                      </a:schemeClr>
                    </a:solidFill>
                  </a:tcPr>
                </a:tc>
                <a:extLst>
                  <a:ext uri="{0D108BD9-81ED-4DB2-BD59-A6C34878D82A}">
                    <a16:rowId xmlns:a16="http://schemas.microsoft.com/office/drawing/2014/main" val="3920239261"/>
                  </a:ext>
                </a:extLst>
              </a:tr>
              <a:tr h="386758">
                <a:tc>
                  <a:txBody>
                    <a:bodyPr/>
                    <a:lstStyle/>
                    <a:p>
                      <a:pPr marL="0" algn="ctr" defTabSz="457200" rtl="0" eaLnBrk="1" latinLnBrk="0" hangingPunct="1"/>
                      <a:endParaRPr lang="en-US" sz="1050" b="0" kern="1200" dirty="0">
                        <a:solidFill>
                          <a:srgbClr val="C5277F"/>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endParaRPr>
                    </a:p>
                    <a:p>
                      <a:pPr marL="0" algn="ctr" defTabSz="457200" rtl="0" eaLnBrk="1" latinLnBrk="0" hangingPunct="1"/>
                      <a:r>
                        <a:rPr lang="en-US" sz="1050" b="0" kern="1200" dirty="0">
                          <a:solidFill>
                            <a:srgbClr val="C5277F"/>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Change Capture Systems</a:t>
                      </a:r>
                    </a:p>
                  </a:txBody>
                  <a:tcPr>
                    <a:solidFill>
                      <a:schemeClr val="accent6">
                        <a:lumMod val="40000"/>
                        <a:lumOff val="60000"/>
                      </a:schemeClr>
                    </a:solidFill>
                  </a:tcPr>
                </a:tc>
                <a:tc>
                  <a:txBody>
                    <a:bodyPr/>
                    <a:lstStyle/>
                    <a:p>
                      <a:pPr marL="0" indent="0" algn="l" defTabSz="457200" rtl="0" eaLnBrk="1" latinLnBrk="0" hangingPunct="1">
                        <a:buSzPct val="66000"/>
                        <a:buFont typeface="Arial" panose="020B0604020202020204" pitchFamily="34" charset="0"/>
                        <a:buNone/>
                      </a:pPr>
                      <a:r>
                        <a:rPr lang="en-US" sz="1050" b="0" kern="1200" dirty="0">
                          <a:solidFill>
                            <a:srgbClr val="0067B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Databases have long had similar log mechanisms such as Golden Gate. However these mechanisms are limited to database changes only and are not a general purpose event capture platform. They tend to focus primarily on the replication between databases, often between instances of the same database system (e.g. Oracle-to-Oracle).</a:t>
                      </a:r>
                    </a:p>
                  </a:txBody>
                  <a:tcPr>
                    <a:solidFill>
                      <a:schemeClr val="accent6">
                        <a:lumMod val="40000"/>
                        <a:lumOff val="60000"/>
                      </a:schemeClr>
                    </a:solidFill>
                  </a:tcPr>
                </a:tc>
                <a:extLst>
                  <a:ext uri="{0D108BD9-81ED-4DB2-BD59-A6C34878D82A}">
                    <a16:rowId xmlns:a16="http://schemas.microsoft.com/office/drawing/2014/main" val="2380553410"/>
                  </a:ext>
                </a:extLst>
              </a:tr>
            </a:tbl>
          </a:graphicData>
        </a:graphic>
      </p:graphicFrame>
      <p:sp>
        <p:nvSpPr>
          <p:cNvPr id="5" name="Google Shape;61;p12">
            <a:extLst>
              <a:ext uri="{FF2B5EF4-FFF2-40B4-BE49-F238E27FC236}">
                <a16:creationId xmlns:a16="http://schemas.microsoft.com/office/drawing/2014/main" id="{ACC6FDB7-010C-1C47-8B8E-FDE34C67029F}"/>
              </a:ext>
            </a:extLst>
          </p:cNvPr>
          <p:cNvSpPr txBox="1">
            <a:spLocks/>
          </p:cNvSpPr>
          <p:nvPr/>
        </p:nvSpPr>
        <p:spPr>
          <a:xfrm>
            <a:off x="422538" y="974999"/>
            <a:ext cx="11080614" cy="261610"/>
          </a:xfrm>
          <a:prstGeom prst="rect">
            <a:avLst/>
          </a:prstGeom>
          <a:noFill/>
        </p:spPr>
        <p:txBody>
          <a:bodyPr wrap="square" rtlCol="0">
            <a:spAutoFit/>
          </a:bodyPr>
          <a:lstStyle>
            <a:defPPr>
              <a:defRPr lang="en-US"/>
            </a:defPPr>
            <a:lvl1pPr algn="ctr" defTabSz="457200">
              <a:defRPr sz="90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defRPr>
            </a:lvl1pPr>
          </a:lstStyle>
          <a:p>
            <a:pPr algn="l"/>
            <a:r>
              <a:rPr lang="en-US" sz="1100" dirty="0">
                <a:latin typeface="Comic Sans MS" panose="030F0902030302020204" pitchFamily="66" charset="0"/>
              </a:rPr>
              <a:t>Points to highlight about the relationship this event streaming platform concept has with other.</a:t>
            </a:r>
            <a:endParaRPr lang="es-ES_tradnl" sz="1100" dirty="0">
              <a:latin typeface="Comic Sans MS" panose="030F0902030302020204" pitchFamily="66" charset="0"/>
            </a:endParaRPr>
          </a:p>
        </p:txBody>
      </p:sp>
    </p:spTree>
    <p:extLst>
      <p:ext uri="{BB962C8B-B14F-4D97-AF65-F5344CB8AC3E}">
        <p14:creationId xmlns:p14="http://schemas.microsoft.com/office/powerpoint/2010/main" val="939392181"/>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tangle 3">
            <a:extLst>
              <a:ext uri="{FF2B5EF4-FFF2-40B4-BE49-F238E27FC236}">
                <a16:creationId xmlns:a16="http://schemas.microsoft.com/office/drawing/2014/main" id="{A27FD23C-A522-0E4F-B70C-CC83BC4542BA}"/>
              </a:ext>
            </a:extLst>
          </p:cNvPr>
          <p:cNvSpPr txBox="1"/>
          <p:nvPr/>
        </p:nvSpPr>
        <p:spPr>
          <a:xfrm>
            <a:off x="404808" y="237462"/>
            <a:ext cx="7585857" cy="400105"/>
          </a:xfrm>
          <a:prstGeom prst="rect">
            <a:avLst/>
          </a:prstGeom>
          <a:ln w="12700">
            <a:miter lim="400000"/>
          </a:ln>
          <a:extLst>
            <a:ext uri="{C572A759-6A51-4108-AA02-DFA0A04FC94B}">
              <ma14:wrappingTextBoxFlag xmlns:ma14="http://schemas.microsoft.com/office/mac/drawingml/2011/main" xmlns="" val="1"/>
            </a:ext>
          </a:extLst>
        </p:spPr>
        <p:txBody>
          <a:bodyPr wrap="square" lIns="45718" tIns="45718" rIns="45718" bIns="45718">
            <a:spAutoFit/>
          </a:bodyPr>
          <a:lstStyle>
            <a:lvl1pPr algn="l" defTabSz="914400">
              <a:defRPr sz="2200" b="1">
                <a:solidFill>
                  <a:srgbClr val="FFFFFF"/>
                </a:solidFill>
                <a:latin typeface="Arial"/>
                <a:ea typeface="Arial"/>
                <a:cs typeface="Arial"/>
                <a:sym typeface="Arial"/>
              </a:defRPr>
            </a:lvl1pPr>
          </a:lstStyle>
          <a:p>
            <a:r>
              <a:rPr lang="en-US" sz="2000" dirty="0">
                <a:solidFill>
                  <a:srgbClr val="016AA2"/>
                </a:solidFill>
              </a:rPr>
              <a:t>Needs and Solution Proposal (V)</a:t>
            </a:r>
          </a:p>
        </p:txBody>
      </p:sp>
      <p:sp>
        <p:nvSpPr>
          <p:cNvPr id="65" name="Rectangle 3"/>
          <p:cNvSpPr txBox="1"/>
          <p:nvPr/>
        </p:nvSpPr>
        <p:spPr>
          <a:xfrm>
            <a:off x="404806" y="610135"/>
            <a:ext cx="8775769" cy="369328"/>
          </a:xfrm>
          <a:prstGeom prst="rect">
            <a:avLst/>
          </a:prstGeom>
          <a:ln w="12700">
            <a:miter lim="400000"/>
          </a:ln>
          <a:extLst>
            <a:ext uri="{C572A759-6A51-4108-AA02-DFA0A04FC94B}">
              <ma14:wrappingTextBoxFlag xmlns="" xmlns:ma14="http://schemas.microsoft.com/office/mac/drawingml/2011/main" val="1"/>
            </a:ext>
          </a:extLst>
        </p:spPr>
        <p:txBody>
          <a:bodyPr wrap="square" lIns="45718" tIns="45718" rIns="45718" bIns="45718">
            <a:spAutoFit/>
          </a:bodyPr>
          <a:lstStyle>
            <a:lvl1pPr algn="l" defTabSz="914400">
              <a:defRPr sz="2000">
                <a:solidFill>
                  <a:srgbClr val="104D6A"/>
                </a:solidFill>
                <a:latin typeface="Arial"/>
                <a:ea typeface="Arial"/>
                <a:cs typeface="Arial"/>
                <a:sym typeface="Arial"/>
              </a:defRPr>
            </a:lvl1pPr>
          </a:lstStyle>
          <a:p>
            <a:pPr>
              <a:defRPr/>
            </a:pPr>
            <a:r>
              <a:rPr lang="en-US" sz="1800" b="1" dirty="0">
                <a:solidFill>
                  <a:srgbClr val="73C4EF"/>
                </a:solidFill>
              </a:rPr>
              <a:t>Event Hub Architecture – The key capabilities of an Event Hub </a:t>
            </a:r>
          </a:p>
        </p:txBody>
      </p:sp>
      <p:graphicFrame>
        <p:nvGraphicFramePr>
          <p:cNvPr id="3" name="Table 2">
            <a:extLst>
              <a:ext uri="{FF2B5EF4-FFF2-40B4-BE49-F238E27FC236}">
                <a16:creationId xmlns:a16="http://schemas.microsoft.com/office/drawing/2014/main" id="{D9271796-9D4D-2E4D-A690-A81564040FDE}"/>
              </a:ext>
            </a:extLst>
          </p:cNvPr>
          <p:cNvGraphicFramePr>
            <a:graphicFrameLocks noGrp="1"/>
          </p:cNvGraphicFramePr>
          <p:nvPr>
            <p:extLst>
              <p:ext uri="{D42A27DB-BD31-4B8C-83A1-F6EECF244321}">
                <p14:modId xmlns:p14="http://schemas.microsoft.com/office/powerpoint/2010/main" val="2547351619"/>
              </p:ext>
            </p:extLst>
          </p:nvPr>
        </p:nvGraphicFramePr>
        <p:xfrm>
          <a:off x="512064" y="1359746"/>
          <a:ext cx="10991088" cy="1595798"/>
        </p:xfrm>
        <a:graphic>
          <a:graphicData uri="http://schemas.openxmlformats.org/drawingml/2006/table">
            <a:tbl>
              <a:tblPr firstRow="1" bandRow="1">
                <a:tableStyleId>{5C22544A-7EE6-4342-B048-85BDC9FD1C3A}</a:tableStyleId>
              </a:tblPr>
              <a:tblGrid>
                <a:gridCol w="2861473">
                  <a:extLst>
                    <a:ext uri="{9D8B030D-6E8A-4147-A177-3AD203B41FA5}">
                      <a16:colId xmlns:a16="http://schemas.microsoft.com/office/drawing/2014/main" val="256165452"/>
                    </a:ext>
                  </a:extLst>
                </a:gridCol>
                <a:gridCol w="8129615">
                  <a:extLst>
                    <a:ext uri="{9D8B030D-6E8A-4147-A177-3AD203B41FA5}">
                      <a16:colId xmlns:a16="http://schemas.microsoft.com/office/drawing/2014/main" val="1456316919"/>
                    </a:ext>
                  </a:extLst>
                </a:gridCol>
              </a:tblGrid>
              <a:tr h="370840">
                <a:tc>
                  <a:txBody>
                    <a:bodyPr/>
                    <a:lstStyle/>
                    <a:p>
                      <a:pPr marL="0" algn="ctr" defTabSz="457200" rtl="0" eaLnBrk="1" latinLnBrk="0" hangingPunct="1"/>
                      <a:r>
                        <a:rPr lang="en-US" sz="1000" b="1" kern="1200" dirty="0">
                          <a:solidFill>
                            <a:srgbClr val="0067B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System</a:t>
                      </a:r>
                    </a:p>
                  </a:txBody>
                  <a:tcPr>
                    <a:solidFill>
                      <a:schemeClr val="accent6">
                        <a:lumMod val="40000"/>
                        <a:lumOff val="60000"/>
                      </a:schemeClr>
                    </a:solidFill>
                  </a:tcPr>
                </a:tc>
                <a:tc>
                  <a:txBody>
                    <a:bodyPr/>
                    <a:lstStyle/>
                    <a:p>
                      <a:pPr marL="0" algn="ctr" defTabSz="457200" rtl="0" eaLnBrk="1" latinLnBrk="0" hangingPunct="1"/>
                      <a:r>
                        <a:rPr lang="en-US" sz="1000" b="1" kern="1200" dirty="0">
                          <a:solidFill>
                            <a:srgbClr val="0067B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Description</a:t>
                      </a:r>
                    </a:p>
                  </a:txBody>
                  <a:tcPr>
                    <a:solidFill>
                      <a:schemeClr val="accent6">
                        <a:lumMod val="40000"/>
                        <a:lumOff val="60000"/>
                      </a:schemeClr>
                    </a:solidFill>
                  </a:tcPr>
                </a:tc>
                <a:extLst>
                  <a:ext uri="{0D108BD9-81ED-4DB2-BD59-A6C34878D82A}">
                    <a16:rowId xmlns:a16="http://schemas.microsoft.com/office/drawing/2014/main" val="2201773304"/>
                  </a:ext>
                </a:extLst>
              </a:tr>
              <a:tr h="466006">
                <a:tc>
                  <a:txBody>
                    <a:bodyPr/>
                    <a:lstStyle/>
                    <a:p>
                      <a:pPr marL="0" indent="0" algn="ctr" defTabSz="457200" rtl="0" eaLnBrk="1" latinLnBrk="0" hangingPunct="1">
                        <a:buSzPct val="66000"/>
                        <a:buFont typeface="Arial" panose="020B0604020202020204" pitchFamily="34" charset="0"/>
                        <a:buNone/>
                      </a:pPr>
                      <a:endParaRPr lang="en-US" sz="1000" b="0" kern="1200" dirty="0">
                        <a:solidFill>
                          <a:srgbClr val="C5277F"/>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endParaRPr>
                    </a:p>
                    <a:p>
                      <a:pPr marL="0" indent="0" algn="ctr" defTabSz="457200" rtl="0" eaLnBrk="1" latinLnBrk="0" hangingPunct="1">
                        <a:buSzPct val="66000"/>
                        <a:buFont typeface="Arial" panose="020B0604020202020204" pitchFamily="34" charset="0"/>
                        <a:buNone/>
                      </a:pPr>
                      <a:r>
                        <a:rPr lang="en-US" sz="1000" b="0" kern="1200" dirty="0">
                          <a:solidFill>
                            <a:srgbClr val="C5277F"/>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Data Warehouses and Apache Hadoop</a:t>
                      </a:r>
                    </a:p>
                  </a:txBody>
                  <a:tcPr>
                    <a:solidFill>
                      <a:schemeClr val="accent6">
                        <a:lumMod val="40000"/>
                        <a:lumOff val="60000"/>
                      </a:schemeClr>
                    </a:solidFill>
                  </a:tcPr>
                </a:tc>
                <a:tc>
                  <a:txBody>
                    <a:bodyPr/>
                    <a:lstStyle/>
                    <a:p>
                      <a:pPr marL="0" indent="0" algn="l" defTabSz="457200" rtl="0" eaLnBrk="1" latinLnBrk="0" hangingPunct="1">
                        <a:buSzPct val="66000"/>
                        <a:buFont typeface="Arial" panose="020B0604020202020204" pitchFamily="34" charset="0"/>
                        <a:buNone/>
                      </a:pPr>
                      <a:r>
                        <a:rPr lang="en-US" sz="1000" b="0" kern="1200" dirty="0">
                          <a:solidFill>
                            <a:srgbClr val="0067B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Event Hub does not replace data warehouse; It acts as a conduit for data to flow quickly for long-term retention, ad hoc analysis and batch processing. That same channel can be executed in reverse to publish the results derived from the processing by night or hourly batches.</a:t>
                      </a:r>
                    </a:p>
                  </a:txBody>
                  <a:tcPr>
                    <a:solidFill>
                      <a:schemeClr val="accent6">
                        <a:lumMod val="40000"/>
                        <a:lumOff val="60000"/>
                      </a:schemeClr>
                    </a:solidFill>
                  </a:tcPr>
                </a:tc>
                <a:extLst>
                  <a:ext uri="{0D108BD9-81ED-4DB2-BD59-A6C34878D82A}">
                    <a16:rowId xmlns:a16="http://schemas.microsoft.com/office/drawing/2014/main" val="4268366016"/>
                  </a:ext>
                </a:extLst>
              </a:tr>
              <a:tr h="676318">
                <a:tc>
                  <a:txBody>
                    <a:bodyPr/>
                    <a:lstStyle/>
                    <a:p>
                      <a:pPr marL="0" algn="ctr" defTabSz="457200" rtl="0" eaLnBrk="1" latinLnBrk="0" hangingPunct="1"/>
                      <a:endParaRPr lang="en-US" sz="1000" b="0" kern="1200" dirty="0">
                        <a:solidFill>
                          <a:srgbClr val="C5277F"/>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endParaRPr>
                    </a:p>
                    <a:p>
                      <a:pPr marL="0" algn="ctr" defTabSz="457200" rtl="0" eaLnBrk="1" latinLnBrk="0" hangingPunct="1"/>
                      <a:r>
                        <a:rPr lang="en-US" sz="1000" b="0" kern="1200" dirty="0">
                          <a:solidFill>
                            <a:srgbClr val="C5277F"/>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Stream Processing Systems</a:t>
                      </a:r>
                    </a:p>
                  </a:txBody>
                  <a:tcPr>
                    <a:solidFill>
                      <a:schemeClr val="accent6">
                        <a:lumMod val="40000"/>
                        <a:lumOff val="60000"/>
                      </a:schemeClr>
                    </a:solidFill>
                  </a:tcPr>
                </a:tc>
                <a:tc>
                  <a:txBody>
                    <a:bodyPr/>
                    <a:lstStyle/>
                    <a:p>
                      <a:pPr marL="0" indent="0" algn="l" defTabSz="457200" rtl="0" eaLnBrk="1" latinLnBrk="0" hangingPunct="1">
                        <a:buSzPct val="66000"/>
                        <a:buFont typeface="Arial" panose="020B0604020202020204" pitchFamily="34" charset="0"/>
                        <a:buNone/>
                      </a:pPr>
                      <a:r>
                        <a:rPr lang="en-US" sz="1000" b="0" kern="1200" dirty="0">
                          <a:solidFill>
                            <a:srgbClr val="0067B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External flow processing structures, such as Storm, </a:t>
                      </a:r>
                      <a:r>
                        <a:rPr lang="en-US" sz="1000" b="0" kern="1200" dirty="0" err="1">
                          <a:solidFill>
                            <a:srgbClr val="0067B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Samza</a:t>
                      </a:r>
                      <a:r>
                        <a:rPr lang="en-US" sz="1000" b="0" kern="1200" dirty="0">
                          <a:solidFill>
                            <a:srgbClr val="0067B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 </a:t>
                      </a:r>
                      <a:r>
                        <a:rPr lang="en-US" sz="1000" b="0" kern="1200" dirty="0" err="1">
                          <a:solidFill>
                            <a:srgbClr val="0067B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Flink</a:t>
                      </a:r>
                      <a:r>
                        <a:rPr lang="en-US" sz="1000" b="0" kern="1200" dirty="0">
                          <a:solidFill>
                            <a:srgbClr val="0067B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 or Spark Streaming, can be used to provide the capacity of a transmission platform. They try to add additional processing for transformations in real time</a:t>
                      </a:r>
                    </a:p>
                  </a:txBody>
                  <a:tcPr>
                    <a:solidFill>
                      <a:schemeClr val="accent6">
                        <a:lumMod val="40000"/>
                        <a:lumOff val="60000"/>
                      </a:schemeClr>
                    </a:solidFill>
                  </a:tcPr>
                </a:tc>
                <a:extLst>
                  <a:ext uri="{0D108BD9-81ED-4DB2-BD59-A6C34878D82A}">
                    <a16:rowId xmlns:a16="http://schemas.microsoft.com/office/drawing/2014/main" val="1897712080"/>
                  </a:ext>
                </a:extLst>
              </a:tr>
            </a:tbl>
          </a:graphicData>
        </a:graphic>
      </p:graphicFrame>
      <p:sp>
        <p:nvSpPr>
          <p:cNvPr id="5" name="Google Shape;61;p12">
            <a:extLst>
              <a:ext uri="{FF2B5EF4-FFF2-40B4-BE49-F238E27FC236}">
                <a16:creationId xmlns:a16="http://schemas.microsoft.com/office/drawing/2014/main" id="{ACC6FDB7-010C-1C47-8B8E-FDE34C67029F}"/>
              </a:ext>
            </a:extLst>
          </p:cNvPr>
          <p:cNvSpPr txBox="1">
            <a:spLocks/>
          </p:cNvSpPr>
          <p:nvPr/>
        </p:nvSpPr>
        <p:spPr>
          <a:xfrm>
            <a:off x="422538" y="974999"/>
            <a:ext cx="11080614" cy="261610"/>
          </a:xfrm>
          <a:prstGeom prst="rect">
            <a:avLst/>
          </a:prstGeom>
          <a:noFill/>
        </p:spPr>
        <p:txBody>
          <a:bodyPr wrap="square" rtlCol="0">
            <a:spAutoFit/>
          </a:bodyPr>
          <a:lstStyle>
            <a:defPPr>
              <a:defRPr lang="en-US"/>
            </a:defPPr>
            <a:lvl1pPr algn="ctr" defTabSz="457200">
              <a:defRPr sz="90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defRPr>
            </a:lvl1pPr>
          </a:lstStyle>
          <a:p>
            <a:pPr algn="l"/>
            <a:r>
              <a:rPr lang="en-US" sz="1100" dirty="0">
                <a:latin typeface="+mn-lt"/>
              </a:rPr>
              <a:t>Points to highlight about the relationship this event streaming platform concept has with other.</a:t>
            </a:r>
            <a:endParaRPr lang="es-ES_tradnl" sz="1100" dirty="0">
              <a:latin typeface="+mn-lt"/>
            </a:endParaRPr>
          </a:p>
        </p:txBody>
      </p:sp>
    </p:spTree>
    <p:extLst>
      <p:ext uri="{BB962C8B-B14F-4D97-AF65-F5344CB8AC3E}">
        <p14:creationId xmlns:p14="http://schemas.microsoft.com/office/powerpoint/2010/main" val="2317660526"/>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07" name="Curved Connector 206">
            <a:extLst>
              <a:ext uri="{FF2B5EF4-FFF2-40B4-BE49-F238E27FC236}">
                <a16:creationId xmlns:a16="http://schemas.microsoft.com/office/drawing/2014/main" id="{5182D168-8CDE-7D4B-879D-A92D5A9B86C2}"/>
              </a:ext>
            </a:extLst>
          </p:cNvPr>
          <p:cNvCxnSpPr>
            <a:cxnSpLocks/>
            <a:stCxn id="228" idx="2"/>
            <a:endCxn id="154" idx="0"/>
          </p:cNvCxnSpPr>
          <p:nvPr/>
        </p:nvCxnSpPr>
        <p:spPr>
          <a:xfrm rot="5400000">
            <a:off x="5498085" y="1546524"/>
            <a:ext cx="1200001" cy="747149"/>
          </a:xfrm>
          <a:prstGeom prst="curvedConnector3">
            <a:avLst>
              <a:gd name="adj1" fmla="val 50000"/>
            </a:avLst>
          </a:prstGeom>
          <a:ln>
            <a:solidFill>
              <a:srgbClr val="0079D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53" name="Curved Connector 52">
            <a:extLst>
              <a:ext uri="{FF2B5EF4-FFF2-40B4-BE49-F238E27FC236}">
                <a16:creationId xmlns:a16="http://schemas.microsoft.com/office/drawing/2014/main" id="{06AA5AF8-B38B-504D-9CD6-6B8D2BD7CA07}"/>
              </a:ext>
            </a:extLst>
          </p:cNvPr>
          <p:cNvCxnSpPr>
            <a:cxnSpLocks/>
            <a:stCxn id="224" idx="2"/>
            <a:endCxn id="154" idx="0"/>
          </p:cNvCxnSpPr>
          <p:nvPr/>
        </p:nvCxnSpPr>
        <p:spPr>
          <a:xfrm rot="16200000" flipH="1">
            <a:off x="4917272" y="1712860"/>
            <a:ext cx="1200001" cy="414476"/>
          </a:xfrm>
          <a:prstGeom prst="curvedConnector3">
            <a:avLst>
              <a:gd name="adj1" fmla="val 50000"/>
            </a:avLst>
          </a:prstGeom>
          <a:ln>
            <a:solidFill>
              <a:srgbClr val="0079D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31" name="Rectangle 3">
            <a:extLst>
              <a:ext uri="{FF2B5EF4-FFF2-40B4-BE49-F238E27FC236}">
                <a16:creationId xmlns:a16="http://schemas.microsoft.com/office/drawing/2014/main" id="{A27FD23C-A522-0E4F-B70C-CC83BC4542BA}"/>
              </a:ext>
            </a:extLst>
          </p:cNvPr>
          <p:cNvSpPr txBox="1"/>
          <p:nvPr/>
        </p:nvSpPr>
        <p:spPr>
          <a:xfrm>
            <a:off x="404808" y="237462"/>
            <a:ext cx="7585857" cy="400105"/>
          </a:xfrm>
          <a:prstGeom prst="rect">
            <a:avLst/>
          </a:prstGeom>
          <a:ln w="12700">
            <a:miter lim="400000"/>
          </a:ln>
          <a:extLst>
            <a:ext uri="{C572A759-6A51-4108-AA02-DFA0A04FC94B}">
              <ma14:wrappingTextBoxFlag xmlns:ma14="http://schemas.microsoft.com/office/mac/drawingml/2011/main" xmlns="" val="1"/>
            </a:ext>
          </a:extLst>
        </p:spPr>
        <p:txBody>
          <a:bodyPr wrap="square" lIns="45718" tIns="45718" rIns="45718" bIns="45718">
            <a:spAutoFit/>
          </a:bodyPr>
          <a:lstStyle>
            <a:lvl1pPr algn="l" defTabSz="914400">
              <a:defRPr sz="2200" b="1">
                <a:solidFill>
                  <a:srgbClr val="FFFFFF"/>
                </a:solidFill>
                <a:latin typeface="Arial"/>
                <a:ea typeface="Arial"/>
                <a:cs typeface="Arial"/>
                <a:sym typeface="Arial"/>
              </a:defRPr>
            </a:lvl1pPr>
          </a:lstStyle>
          <a:p>
            <a:r>
              <a:rPr lang="en-US" sz="2000" dirty="0">
                <a:solidFill>
                  <a:srgbClr val="016AA2"/>
                </a:solidFill>
              </a:rPr>
              <a:t>Needs and Solution Proposal (VI)</a:t>
            </a:r>
          </a:p>
        </p:txBody>
      </p:sp>
      <p:sp>
        <p:nvSpPr>
          <p:cNvPr id="65" name="Rectangle 3"/>
          <p:cNvSpPr txBox="1"/>
          <p:nvPr/>
        </p:nvSpPr>
        <p:spPr>
          <a:xfrm>
            <a:off x="404806" y="590471"/>
            <a:ext cx="8775769" cy="369328"/>
          </a:xfrm>
          <a:prstGeom prst="rect">
            <a:avLst/>
          </a:prstGeom>
          <a:ln w="12700">
            <a:miter lim="400000"/>
          </a:ln>
          <a:extLst>
            <a:ext uri="{C572A759-6A51-4108-AA02-DFA0A04FC94B}">
              <ma14:wrappingTextBoxFlag xmlns="" xmlns:ma14="http://schemas.microsoft.com/office/mac/drawingml/2011/main" val="1"/>
            </a:ext>
          </a:extLst>
        </p:spPr>
        <p:txBody>
          <a:bodyPr wrap="square" lIns="45718" tIns="45718" rIns="45718" bIns="45718">
            <a:spAutoFit/>
          </a:bodyPr>
          <a:lstStyle>
            <a:lvl1pPr algn="l" defTabSz="914400">
              <a:defRPr sz="2000">
                <a:solidFill>
                  <a:srgbClr val="104D6A"/>
                </a:solidFill>
                <a:latin typeface="Arial"/>
                <a:ea typeface="Arial"/>
                <a:cs typeface="Arial"/>
                <a:sym typeface="Arial"/>
              </a:defRPr>
            </a:lvl1pPr>
          </a:lstStyle>
          <a:p>
            <a:pPr>
              <a:defRPr/>
            </a:pPr>
            <a:r>
              <a:rPr lang="en-US" sz="1800" b="1" dirty="0">
                <a:solidFill>
                  <a:srgbClr val="73C4EF"/>
                </a:solidFill>
              </a:rPr>
              <a:t>Event Hub Architecture – Event streaming platform</a:t>
            </a:r>
          </a:p>
        </p:txBody>
      </p:sp>
      <p:sp>
        <p:nvSpPr>
          <p:cNvPr id="104" name="Google Shape;61;p12">
            <a:extLst>
              <a:ext uri="{FF2B5EF4-FFF2-40B4-BE49-F238E27FC236}">
                <a16:creationId xmlns:a16="http://schemas.microsoft.com/office/drawing/2014/main" id="{2B7DCE73-3061-0144-9C0E-639391D3E0E2}"/>
              </a:ext>
            </a:extLst>
          </p:cNvPr>
          <p:cNvSpPr txBox="1">
            <a:spLocks/>
          </p:cNvSpPr>
          <p:nvPr/>
        </p:nvSpPr>
        <p:spPr>
          <a:xfrm>
            <a:off x="404806" y="1486632"/>
            <a:ext cx="2938552" cy="253916"/>
          </a:xfrm>
          <a:prstGeom prst="rect">
            <a:avLst/>
          </a:prstGeom>
          <a:noFill/>
        </p:spPr>
        <p:txBody>
          <a:bodyPr wrap="square" rtlCol="0">
            <a:spAutoFit/>
          </a:bodyPr>
          <a:lstStyle>
            <a:defPPr>
              <a:defRPr lang="en-US"/>
            </a:defPPr>
            <a:lvl1pPr algn="ctr" defTabSz="457200">
              <a:defRPr sz="90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defRPr>
            </a:lvl1pPr>
          </a:lstStyle>
          <a:p>
            <a:pPr algn="l"/>
            <a:r>
              <a:rPr lang="en-US" sz="1050" dirty="0">
                <a:solidFill>
                  <a:srgbClr val="C5277F"/>
                </a:solidFill>
                <a:latin typeface="Comic Sans MS" panose="030F0902030302020204" pitchFamily="66" charset="0"/>
              </a:rPr>
              <a:t>A modern stream-centric data architecture</a:t>
            </a:r>
            <a:endParaRPr lang="es-ES_tradnl" sz="1050" dirty="0">
              <a:solidFill>
                <a:srgbClr val="C5277F"/>
              </a:solidFill>
              <a:latin typeface="Comic Sans MS" panose="030F0902030302020204" pitchFamily="66" charset="0"/>
            </a:endParaRPr>
          </a:p>
        </p:txBody>
      </p:sp>
      <p:sp>
        <p:nvSpPr>
          <p:cNvPr id="2" name="Rectangle 1">
            <a:extLst>
              <a:ext uri="{FF2B5EF4-FFF2-40B4-BE49-F238E27FC236}">
                <a16:creationId xmlns:a16="http://schemas.microsoft.com/office/drawing/2014/main" id="{0A2549CB-8848-2F4D-8C13-164EC42DD081}"/>
              </a:ext>
            </a:extLst>
          </p:cNvPr>
          <p:cNvSpPr/>
          <p:nvPr/>
        </p:nvSpPr>
        <p:spPr>
          <a:xfrm>
            <a:off x="3597798" y="1096920"/>
            <a:ext cx="1109394" cy="225032"/>
          </a:xfrm>
          <a:prstGeom prst="rect">
            <a:avLst/>
          </a:prstGeom>
          <a:solidFill>
            <a:srgbClr val="87CBD8">
              <a:alpha val="95000"/>
            </a:srgb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algn="ctr" defTabSz="457200"/>
            <a:r>
              <a:rPr lang="es-ES_tradnl" sz="1000" dirty="0">
                <a:solidFill>
                  <a:srgbClr val="0067B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App</a:t>
            </a:r>
          </a:p>
        </p:txBody>
      </p:sp>
      <p:sp>
        <p:nvSpPr>
          <p:cNvPr id="131" name="Rectangle 130">
            <a:extLst>
              <a:ext uri="{FF2B5EF4-FFF2-40B4-BE49-F238E27FC236}">
                <a16:creationId xmlns:a16="http://schemas.microsoft.com/office/drawing/2014/main" id="{2DEE9A99-4CDC-9D40-982B-6A31ACDD8C85}"/>
              </a:ext>
            </a:extLst>
          </p:cNvPr>
          <p:cNvSpPr/>
          <p:nvPr/>
        </p:nvSpPr>
        <p:spPr>
          <a:xfrm>
            <a:off x="3607948" y="1676768"/>
            <a:ext cx="667512" cy="502401"/>
          </a:xfrm>
          <a:prstGeom prst="rect">
            <a:avLst/>
          </a:prstGeom>
          <a:solidFill>
            <a:srgbClr val="87CBD8">
              <a:alpha val="95000"/>
            </a:srgb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algn="ctr" defTabSz="457200"/>
            <a:r>
              <a:rPr lang="en-US" sz="800" dirty="0">
                <a:solidFill>
                  <a:srgbClr val="0067B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Social Graph</a:t>
            </a:r>
          </a:p>
        </p:txBody>
      </p:sp>
      <p:cxnSp>
        <p:nvCxnSpPr>
          <p:cNvPr id="132" name="Straight Connector 131">
            <a:extLst>
              <a:ext uri="{FF2B5EF4-FFF2-40B4-BE49-F238E27FC236}">
                <a16:creationId xmlns:a16="http://schemas.microsoft.com/office/drawing/2014/main" id="{0E867891-5B87-D249-9A2D-9867404B5977}"/>
              </a:ext>
            </a:extLst>
          </p:cNvPr>
          <p:cNvCxnSpPr>
            <a:cxnSpLocks/>
            <a:stCxn id="131" idx="0"/>
            <a:endCxn id="2" idx="2"/>
          </p:cNvCxnSpPr>
          <p:nvPr/>
        </p:nvCxnSpPr>
        <p:spPr>
          <a:xfrm flipV="1">
            <a:off x="3941704" y="1321952"/>
            <a:ext cx="210791" cy="354816"/>
          </a:xfrm>
          <a:prstGeom prst="line">
            <a:avLst/>
          </a:prstGeom>
          <a:ln w="12700">
            <a:solidFill>
              <a:srgbClr val="0079D1"/>
            </a:solidFill>
            <a:headEnd type="triangle"/>
          </a:ln>
        </p:spPr>
        <p:style>
          <a:lnRef idx="1">
            <a:schemeClr val="accent1"/>
          </a:lnRef>
          <a:fillRef idx="0">
            <a:schemeClr val="accent1"/>
          </a:fillRef>
          <a:effectRef idx="0">
            <a:schemeClr val="accent1"/>
          </a:effectRef>
          <a:fontRef idx="minor">
            <a:schemeClr val="tx1"/>
          </a:fontRef>
        </p:style>
      </p:cxnSp>
      <p:sp>
        <p:nvSpPr>
          <p:cNvPr id="140" name="Rectangle 139">
            <a:extLst>
              <a:ext uri="{FF2B5EF4-FFF2-40B4-BE49-F238E27FC236}">
                <a16:creationId xmlns:a16="http://schemas.microsoft.com/office/drawing/2014/main" id="{DAFC0BE2-12A6-5147-A63A-44B955C59E0B}"/>
              </a:ext>
            </a:extLst>
          </p:cNvPr>
          <p:cNvSpPr/>
          <p:nvPr/>
        </p:nvSpPr>
        <p:spPr>
          <a:xfrm>
            <a:off x="4342394" y="1676768"/>
            <a:ext cx="667512" cy="502401"/>
          </a:xfrm>
          <a:prstGeom prst="rect">
            <a:avLst/>
          </a:prstGeom>
          <a:solidFill>
            <a:srgbClr val="87CBD8">
              <a:alpha val="95000"/>
            </a:srgb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algn="ctr" defTabSz="457200"/>
            <a:r>
              <a:rPr lang="en-US" sz="800" dirty="0">
                <a:solidFill>
                  <a:srgbClr val="0067B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Search</a:t>
            </a:r>
          </a:p>
        </p:txBody>
      </p:sp>
      <p:cxnSp>
        <p:nvCxnSpPr>
          <p:cNvPr id="146" name="Straight Connector 145">
            <a:extLst>
              <a:ext uri="{FF2B5EF4-FFF2-40B4-BE49-F238E27FC236}">
                <a16:creationId xmlns:a16="http://schemas.microsoft.com/office/drawing/2014/main" id="{12345FB2-7403-EA4E-A826-1630FA684BB5}"/>
              </a:ext>
            </a:extLst>
          </p:cNvPr>
          <p:cNvCxnSpPr>
            <a:cxnSpLocks/>
            <a:stCxn id="140" idx="0"/>
            <a:endCxn id="2" idx="2"/>
          </p:cNvCxnSpPr>
          <p:nvPr/>
        </p:nvCxnSpPr>
        <p:spPr>
          <a:xfrm flipH="1" flipV="1">
            <a:off x="4152495" y="1321952"/>
            <a:ext cx="523655" cy="354816"/>
          </a:xfrm>
          <a:prstGeom prst="line">
            <a:avLst/>
          </a:prstGeom>
          <a:ln w="12700">
            <a:solidFill>
              <a:srgbClr val="0079D1"/>
            </a:solidFill>
            <a:headEnd type="triangle"/>
          </a:ln>
        </p:spPr>
        <p:style>
          <a:lnRef idx="1">
            <a:schemeClr val="accent1"/>
          </a:lnRef>
          <a:fillRef idx="0">
            <a:schemeClr val="accent1"/>
          </a:fillRef>
          <a:effectRef idx="0">
            <a:schemeClr val="accent1"/>
          </a:effectRef>
          <a:fontRef idx="minor">
            <a:schemeClr val="tx1"/>
          </a:fontRef>
        </p:style>
      </p:cxnSp>
      <p:cxnSp>
        <p:nvCxnSpPr>
          <p:cNvPr id="147" name="Straight Connector 146">
            <a:extLst>
              <a:ext uri="{FF2B5EF4-FFF2-40B4-BE49-F238E27FC236}">
                <a16:creationId xmlns:a16="http://schemas.microsoft.com/office/drawing/2014/main" id="{FA7E114D-4FA5-1344-8C69-B1726C266BAD}"/>
              </a:ext>
            </a:extLst>
          </p:cNvPr>
          <p:cNvCxnSpPr>
            <a:cxnSpLocks/>
            <a:stCxn id="140" idx="0"/>
            <a:endCxn id="224" idx="2"/>
          </p:cNvCxnSpPr>
          <p:nvPr/>
        </p:nvCxnSpPr>
        <p:spPr>
          <a:xfrm flipV="1">
            <a:off x="4676150" y="1320098"/>
            <a:ext cx="633884" cy="356670"/>
          </a:xfrm>
          <a:prstGeom prst="line">
            <a:avLst/>
          </a:prstGeom>
          <a:ln w="12700">
            <a:solidFill>
              <a:srgbClr val="0079D1"/>
            </a:solidFill>
            <a:headEnd type="triangle"/>
          </a:ln>
        </p:spPr>
        <p:style>
          <a:lnRef idx="1">
            <a:schemeClr val="accent1"/>
          </a:lnRef>
          <a:fillRef idx="0">
            <a:schemeClr val="accent1"/>
          </a:fillRef>
          <a:effectRef idx="0">
            <a:schemeClr val="accent1"/>
          </a:effectRef>
          <a:fontRef idx="minor">
            <a:schemeClr val="tx1"/>
          </a:fontRef>
        </p:style>
      </p:cxnSp>
      <p:cxnSp>
        <p:nvCxnSpPr>
          <p:cNvPr id="150" name="Straight Connector 149">
            <a:extLst>
              <a:ext uri="{FF2B5EF4-FFF2-40B4-BE49-F238E27FC236}">
                <a16:creationId xmlns:a16="http://schemas.microsoft.com/office/drawing/2014/main" id="{E1BBA37D-2210-EF41-AD5B-7C41AB054A50}"/>
              </a:ext>
            </a:extLst>
          </p:cNvPr>
          <p:cNvCxnSpPr>
            <a:cxnSpLocks/>
            <a:stCxn id="11" idx="1"/>
            <a:endCxn id="224" idx="2"/>
          </p:cNvCxnSpPr>
          <p:nvPr/>
        </p:nvCxnSpPr>
        <p:spPr>
          <a:xfrm flipH="1" flipV="1">
            <a:off x="5310034" y="1320098"/>
            <a:ext cx="141131" cy="356670"/>
          </a:xfrm>
          <a:prstGeom prst="line">
            <a:avLst/>
          </a:prstGeom>
          <a:ln w="12700">
            <a:solidFill>
              <a:srgbClr val="0079D1"/>
            </a:solidFill>
            <a:headEnd type="triangle"/>
          </a:ln>
        </p:spPr>
        <p:style>
          <a:lnRef idx="1">
            <a:schemeClr val="accent1"/>
          </a:lnRef>
          <a:fillRef idx="0">
            <a:schemeClr val="accent1"/>
          </a:fillRef>
          <a:effectRef idx="0">
            <a:schemeClr val="accent1"/>
          </a:effectRef>
          <a:fontRef idx="minor">
            <a:schemeClr val="tx1"/>
          </a:fontRef>
        </p:style>
      </p:cxnSp>
      <p:sp>
        <p:nvSpPr>
          <p:cNvPr id="152" name="Can 151">
            <a:extLst>
              <a:ext uri="{FF2B5EF4-FFF2-40B4-BE49-F238E27FC236}">
                <a16:creationId xmlns:a16="http://schemas.microsoft.com/office/drawing/2014/main" id="{4BD815A3-9E72-1E4D-AAE1-4D4B0DE56B42}"/>
              </a:ext>
            </a:extLst>
          </p:cNvPr>
          <p:cNvSpPr/>
          <p:nvPr/>
        </p:nvSpPr>
        <p:spPr>
          <a:xfrm>
            <a:off x="5912876" y="1676767"/>
            <a:ext cx="765414" cy="502401"/>
          </a:xfrm>
          <a:prstGeom prst="can">
            <a:avLst/>
          </a:prstGeom>
          <a:solidFill>
            <a:srgbClr val="87CBD8">
              <a:alpha val="95000"/>
            </a:srgb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algn="ctr" defTabSz="457200"/>
            <a:r>
              <a:rPr lang="en-US" sz="800" dirty="0">
                <a:solidFill>
                  <a:srgbClr val="0067B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Oracle</a:t>
            </a:r>
          </a:p>
        </p:txBody>
      </p:sp>
      <p:cxnSp>
        <p:nvCxnSpPr>
          <p:cNvPr id="153" name="Straight Connector 152">
            <a:extLst>
              <a:ext uri="{FF2B5EF4-FFF2-40B4-BE49-F238E27FC236}">
                <a16:creationId xmlns:a16="http://schemas.microsoft.com/office/drawing/2014/main" id="{115C18C8-B089-A447-A9E5-D0BC7B08AA1C}"/>
              </a:ext>
            </a:extLst>
          </p:cNvPr>
          <p:cNvCxnSpPr>
            <a:cxnSpLocks/>
            <a:stCxn id="152" idx="1"/>
            <a:endCxn id="228" idx="2"/>
          </p:cNvCxnSpPr>
          <p:nvPr/>
        </p:nvCxnSpPr>
        <p:spPr>
          <a:xfrm flipV="1">
            <a:off x="6295583" y="1320098"/>
            <a:ext cx="176076" cy="356669"/>
          </a:xfrm>
          <a:prstGeom prst="line">
            <a:avLst/>
          </a:prstGeom>
          <a:ln w="12700">
            <a:solidFill>
              <a:srgbClr val="0079D1"/>
            </a:solidFill>
            <a:headEnd type="triangle"/>
          </a:ln>
        </p:spPr>
        <p:style>
          <a:lnRef idx="1">
            <a:schemeClr val="accent1"/>
          </a:lnRef>
          <a:fillRef idx="0">
            <a:schemeClr val="accent1"/>
          </a:fillRef>
          <a:effectRef idx="0">
            <a:schemeClr val="accent1"/>
          </a:effectRef>
          <a:fontRef idx="minor">
            <a:schemeClr val="tx1"/>
          </a:fontRef>
        </p:style>
      </p:cxnSp>
      <p:sp>
        <p:nvSpPr>
          <p:cNvPr id="154" name="Rectangle 153">
            <a:extLst>
              <a:ext uri="{FF2B5EF4-FFF2-40B4-BE49-F238E27FC236}">
                <a16:creationId xmlns:a16="http://schemas.microsoft.com/office/drawing/2014/main" id="{6058E9A0-20A3-014E-997D-5F7A4D8367CF}"/>
              </a:ext>
            </a:extLst>
          </p:cNvPr>
          <p:cNvSpPr/>
          <p:nvPr/>
        </p:nvSpPr>
        <p:spPr>
          <a:xfrm>
            <a:off x="5114937" y="2520099"/>
            <a:ext cx="1219145" cy="2368850"/>
          </a:xfrm>
          <a:prstGeom prst="rect">
            <a:avLst/>
          </a:prstGeom>
          <a:solidFill>
            <a:srgbClr val="87CBD8">
              <a:alpha val="95000"/>
            </a:srgb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algn="ctr" defTabSz="457200"/>
            <a:r>
              <a:rPr lang="en-US" sz="1050" dirty="0">
                <a:solidFill>
                  <a:srgbClr val="0067B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Kafka</a:t>
            </a:r>
          </a:p>
          <a:p>
            <a:pPr algn="ctr" defTabSz="457200"/>
            <a:r>
              <a:rPr lang="en-US" sz="1050" dirty="0">
                <a:solidFill>
                  <a:srgbClr val="0067B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Streaming Platform</a:t>
            </a:r>
          </a:p>
        </p:txBody>
      </p:sp>
      <p:sp>
        <p:nvSpPr>
          <p:cNvPr id="155" name="Rectangle 154">
            <a:extLst>
              <a:ext uri="{FF2B5EF4-FFF2-40B4-BE49-F238E27FC236}">
                <a16:creationId xmlns:a16="http://schemas.microsoft.com/office/drawing/2014/main" id="{D033EE7A-FE9A-3745-ADD8-B728EFBD448A}"/>
              </a:ext>
            </a:extLst>
          </p:cNvPr>
          <p:cNvSpPr/>
          <p:nvPr/>
        </p:nvSpPr>
        <p:spPr>
          <a:xfrm>
            <a:off x="3616737" y="2820100"/>
            <a:ext cx="945764" cy="354816"/>
          </a:xfrm>
          <a:prstGeom prst="rect">
            <a:avLst/>
          </a:prstGeom>
          <a:solidFill>
            <a:srgbClr val="87CBD8">
              <a:alpha val="95000"/>
            </a:srgb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algn="ctr" defTabSz="457200"/>
            <a:r>
              <a:rPr lang="en-US" sz="900" dirty="0">
                <a:solidFill>
                  <a:srgbClr val="0067B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Log Search</a:t>
            </a:r>
          </a:p>
        </p:txBody>
      </p:sp>
      <p:cxnSp>
        <p:nvCxnSpPr>
          <p:cNvPr id="163" name="Straight Connector 162">
            <a:extLst>
              <a:ext uri="{FF2B5EF4-FFF2-40B4-BE49-F238E27FC236}">
                <a16:creationId xmlns:a16="http://schemas.microsoft.com/office/drawing/2014/main" id="{8E396D2B-C7F7-9040-84A6-4C3EB8153F22}"/>
              </a:ext>
            </a:extLst>
          </p:cNvPr>
          <p:cNvCxnSpPr>
            <a:cxnSpLocks/>
            <a:stCxn id="155" idx="3"/>
          </p:cNvCxnSpPr>
          <p:nvPr/>
        </p:nvCxnSpPr>
        <p:spPr>
          <a:xfrm>
            <a:off x="4562501" y="2997508"/>
            <a:ext cx="552436" cy="0"/>
          </a:xfrm>
          <a:prstGeom prst="line">
            <a:avLst/>
          </a:prstGeom>
          <a:ln w="12700">
            <a:solidFill>
              <a:srgbClr val="0079D1"/>
            </a:solidFill>
            <a:headEnd type="triangle"/>
          </a:ln>
        </p:spPr>
        <p:style>
          <a:lnRef idx="1">
            <a:schemeClr val="accent1"/>
          </a:lnRef>
          <a:fillRef idx="0">
            <a:schemeClr val="accent1"/>
          </a:fillRef>
          <a:effectRef idx="0">
            <a:schemeClr val="accent1"/>
          </a:effectRef>
          <a:fontRef idx="minor">
            <a:schemeClr val="tx1"/>
          </a:fontRef>
        </p:style>
      </p:cxnSp>
      <p:sp>
        <p:nvSpPr>
          <p:cNvPr id="168" name="Rectangle 167">
            <a:extLst>
              <a:ext uri="{FF2B5EF4-FFF2-40B4-BE49-F238E27FC236}">
                <a16:creationId xmlns:a16="http://schemas.microsoft.com/office/drawing/2014/main" id="{F9A93D49-9B93-DC4C-9ED1-AABC46C21863}"/>
              </a:ext>
            </a:extLst>
          </p:cNvPr>
          <p:cNvSpPr/>
          <p:nvPr/>
        </p:nvSpPr>
        <p:spPr>
          <a:xfrm>
            <a:off x="3616737" y="3273811"/>
            <a:ext cx="945764" cy="354816"/>
          </a:xfrm>
          <a:prstGeom prst="rect">
            <a:avLst/>
          </a:prstGeom>
          <a:solidFill>
            <a:srgbClr val="87CBD8">
              <a:alpha val="95000"/>
            </a:srgb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algn="ctr" defTabSz="457200"/>
            <a:r>
              <a:rPr lang="en-US" sz="900" dirty="0">
                <a:solidFill>
                  <a:srgbClr val="0067B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Monitoring</a:t>
            </a:r>
          </a:p>
        </p:txBody>
      </p:sp>
      <p:sp>
        <p:nvSpPr>
          <p:cNvPr id="170" name="Rectangle 169">
            <a:extLst>
              <a:ext uri="{FF2B5EF4-FFF2-40B4-BE49-F238E27FC236}">
                <a16:creationId xmlns:a16="http://schemas.microsoft.com/office/drawing/2014/main" id="{CF7205BC-1B45-7D4E-A2A5-477A045AD4E4}"/>
              </a:ext>
            </a:extLst>
          </p:cNvPr>
          <p:cNvSpPr/>
          <p:nvPr/>
        </p:nvSpPr>
        <p:spPr>
          <a:xfrm>
            <a:off x="3616737" y="3731774"/>
            <a:ext cx="945764" cy="354816"/>
          </a:xfrm>
          <a:prstGeom prst="rect">
            <a:avLst/>
          </a:prstGeom>
          <a:solidFill>
            <a:srgbClr val="87CBD8">
              <a:alpha val="95000"/>
            </a:srgb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algn="ctr" defTabSz="457200"/>
            <a:r>
              <a:rPr lang="en-US" sz="900" dirty="0">
                <a:solidFill>
                  <a:srgbClr val="0067B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Security &amp; Fraud</a:t>
            </a:r>
          </a:p>
        </p:txBody>
      </p:sp>
      <p:sp>
        <p:nvSpPr>
          <p:cNvPr id="171" name="Rectangle 170">
            <a:extLst>
              <a:ext uri="{FF2B5EF4-FFF2-40B4-BE49-F238E27FC236}">
                <a16:creationId xmlns:a16="http://schemas.microsoft.com/office/drawing/2014/main" id="{0E03E480-7D3A-514C-95A5-86441FE5556A}"/>
              </a:ext>
            </a:extLst>
          </p:cNvPr>
          <p:cNvSpPr/>
          <p:nvPr/>
        </p:nvSpPr>
        <p:spPr>
          <a:xfrm>
            <a:off x="3616737" y="4189737"/>
            <a:ext cx="945764" cy="354816"/>
          </a:xfrm>
          <a:prstGeom prst="rect">
            <a:avLst/>
          </a:prstGeom>
          <a:solidFill>
            <a:srgbClr val="87CBD8">
              <a:alpha val="95000"/>
            </a:srgb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algn="ctr" defTabSz="457200"/>
            <a:r>
              <a:rPr lang="en-US" sz="900" dirty="0">
                <a:solidFill>
                  <a:srgbClr val="0067B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Real Time Analytics</a:t>
            </a:r>
          </a:p>
        </p:txBody>
      </p:sp>
      <p:sp>
        <p:nvSpPr>
          <p:cNvPr id="11" name="Can 10">
            <a:extLst>
              <a:ext uri="{FF2B5EF4-FFF2-40B4-BE49-F238E27FC236}">
                <a16:creationId xmlns:a16="http://schemas.microsoft.com/office/drawing/2014/main" id="{AADBB4F8-CE87-0F4C-B185-F803BB859AA3}"/>
              </a:ext>
            </a:extLst>
          </p:cNvPr>
          <p:cNvSpPr/>
          <p:nvPr/>
        </p:nvSpPr>
        <p:spPr>
          <a:xfrm>
            <a:off x="5068458" y="1676768"/>
            <a:ext cx="765414" cy="502401"/>
          </a:xfrm>
          <a:prstGeom prst="can">
            <a:avLst/>
          </a:prstGeom>
          <a:solidFill>
            <a:srgbClr val="87CBD8">
              <a:alpha val="95000"/>
            </a:srgb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algn="ctr" defTabSz="457200"/>
            <a:r>
              <a:rPr lang="en-US" sz="800" dirty="0">
                <a:solidFill>
                  <a:srgbClr val="0067B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Key Value Storage</a:t>
            </a:r>
          </a:p>
        </p:txBody>
      </p:sp>
      <p:cxnSp>
        <p:nvCxnSpPr>
          <p:cNvPr id="185" name="Straight Connector 184">
            <a:extLst>
              <a:ext uri="{FF2B5EF4-FFF2-40B4-BE49-F238E27FC236}">
                <a16:creationId xmlns:a16="http://schemas.microsoft.com/office/drawing/2014/main" id="{274CAF8C-4F4C-FD47-97BF-5A1C25641055}"/>
              </a:ext>
            </a:extLst>
          </p:cNvPr>
          <p:cNvCxnSpPr>
            <a:cxnSpLocks/>
            <a:stCxn id="154" idx="0"/>
            <a:endCxn id="131" idx="2"/>
          </p:cNvCxnSpPr>
          <p:nvPr/>
        </p:nvCxnSpPr>
        <p:spPr>
          <a:xfrm flipH="1" flipV="1">
            <a:off x="3941704" y="2179169"/>
            <a:ext cx="1782806" cy="340930"/>
          </a:xfrm>
          <a:prstGeom prst="line">
            <a:avLst/>
          </a:prstGeom>
          <a:ln w="12700">
            <a:solidFill>
              <a:srgbClr val="0079D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88" name="Straight Connector 187">
            <a:extLst>
              <a:ext uri="{FF2B5EF4-FFF2-40B4-BE49-F238E27FC236}">
                <a16:creationId xmlns:a16="http://schemas.microsoft.com/office/drawing/2014/main" id="{321E5000-3472-864A-B3B1-BD774DB645A9}"/>
              </a:ext>
            </a:extLst>
          </p:cNvPr>
          <p:cNvCxnSpPr>
            <a:cxnSpLocks/>
            <a:stCxn id="154" idx="0"/>
            <a:endCxn id="140" idx="2"/>
          </p:cNvCxnSpPr>
          <p:nvPr/>
        </p:nvCxnSpPr>
        <p:spPr>
          <a:xfrm flipH="1" flipV="1">
            <a:off x="4676150" y="2179169"/>
            <a:ext cx="1048360" cy="340930"/>
          </a:xfrm>
          <a:prstGeom prst="line">
            <a:avLst/>
          </a:prstGeom>
          <a:ln w="12700">
            <a:solidFill>
              <a:srgbClr val="0079D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91" name="Straight Connector 190">
            <a:extLst>
              <a:ext uri="{FF2B5EF4-FFF2-40B4-BE49-F238E27FC236}">
                <a16:creationId xmlns:a16="http://schemas.microsoft.com/office/drawing/2014/main" id="{5D1249F7-E15A-224C-ABF4-EC38E07B57EC}"/>
              </a:ext>
            </a:extLst>
          </p:cNvPr>
          <p:cNvCxnSpPr>
            <a:cxnSpLocks/>
            <a:stCxn id="154" idx="0"/>
            <a:endCxn id="11" idx="3"/>
          </p:cNvCxnSpPr>
          <p:nvPr/>
        </p:nvCxnSpPr>
        <p:spPr>
          <a:xfrm flipH="1" flipV="1">
            <a:off x="5451165" y="2179169"/>
            <a:ext cx="273345" cy="340930"/>
          </a:xfrm>
          <a:prstGeom prst="line">
            <a:avLst/>
          </a:prstGeom>
          <a:ln w="12700">
            <a:solidFill>
              <a:srgbClr val="0079D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12" name="Straight Connector 211">
            <a:extLst>
              <a:ext uri="{FF2B5EF4-FFF2-40B4-BE49-F238E27FC236}">
                <a16:creationId xmlns:a16="http://schemas.microsoft.com/office/drawing/2014/main" id="{DA9E2230-815A-4547-B4D0-1857C0D560FF}"/>
              </a:ext>
            </a:extLst>
          </p:cNvPr>
          <p:cNvCxnSpPr>
            <a:cxnSpLocks/>
            <a:stCxn id="221" idx="0"/>
            <a:endCxn id="228" idx="2"/>
          </p:cNvCxnSpPr>
          <p:nvPr/>
        </p:nvCxnSpPr>
        <p:spPr>
          <a:xfrm flipH="1" flipV="1">
            <a:off x="6471659" y="1320098"/>
            <a:ext cx="657644" cy="356669"/>
          </a:xfrm>
          <a:prstGeom prst="line">
            <a:avLst/>
          </a:prstGeom>
          <a:ln w="12700">
            <a:solidFill>
              <a:srgbClr val="0079D1"/>
            </a:solidFill>
            <a:headEnd type="triangle"/>
          </a:ln>
        </p:spPr>
        <p:style>
          <a:lnRef idx="1">
            <a:schemeClr val="accent1"/>
          </a:lnRef>
          <a:fillRef idx="0">
            <a:schemeClr val="accent1"/>
          </a:fillRef>
          <a:effectRef idx="0">
            <a:schemeClr val="accent1"/>
          </a:effectRef>
          <a:fontRef idx="minor">
            <a:schemeClr val="tx1"/>
          </a:fontRef>
        </p:style>
      </p:cxnSp>
      <p:sp>
        <p:nvSpPr>
          <p:cNvPr id="221" name="Rectangle 220">
            <a:extLst>
              <a:ext uri="{FF2B5EF4-FFF2-40B4-BE49-F238E27FC236}">
                <a16:creationId xmlns:a16="http://schemas.microsoft.com/office/drawing/2014/main" id="{D74A4CC4-CD77-5C47-AE78-35FFF90E30E8}"/>
              </a:ext>
            </a:extLst>
          </p:cNvPr>
          <p:cNvSpPr/>
          <p:nvPr/>
        </p:nvSpPr>
        <p:spPr>
          <a:xfrm>
            <a:off x="6795547" y="1676767"/>
            <a:ext cx="667512" cy="502401"/>
          </a:xfrm>
          <a:prstGeom prst="rect">
            <a:avLst/>
          </a:prstGeom>
          <a:solidFill>
            <a:srgbClr val="87CBD8">
              <a:alpha val="95000"/>
            </a:srgb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algn="ctr" defTabSz="457200"/>
            <a:r>
              <a:rPr lang="en-US" sz="800" dirty="0">
                <a:solidFill>
                  <a:srgbClr val="0067B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Newsfeed</a:t>
            </a:r>
          </a:p>
        </p:txBody>
      </p:sp>
      <p:sp>
        <p:nvSpPr>
          <p:cNvPr id="224" name="Rectangle 223">
            <a:extLst>
              <a:ext uri="{FF2B5EF4-FFF2-40B4-BE49-F238E27FC236}">
                <a16:creationId xmlns:a16="http://schemas.microsoft.com/office/drawing/2014/main" id="{D330A733-87CA-5442-A603-A2782C850C0E}"/>
              </a:ext>
            </a:extLst>
          </p:cNvPr>
          <p:cNvSpPr/>
          <p:nvPr/>
        </p:nvSpPr>
        <p:spPr>
          <a:xfrm>
            <a:off x="4755337" y="1095066"/>
            <a:ext cx="1109394" cy="225032"/>
          </a:xfrm>
          <a:prstGeom prst="rect">
            <a:avLst/>
          </a:prstGeom>
          <a:solidFill>
            <a:srgbClr val="87CBD8">
              <a:alpha val="95000"/>
            </a:srgb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algn="ctr" defTabSz="457200"/>
            <a:r>
              <a:rPr lang="es-ES_tradnl" sz="1000" dirty="0">
                <a:solidFill>
                  <a:srgbClr val="0067B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App</a:t>
            </a:r>
          </a:p>
        </p:txBody>
      </p:sp>
      <p:sp>
        <p:nvSpPr>
          <p:cNvPr id="228" name="Rectangle 227">
            <a:extLst>
              <a:ext uri="{FF2B5EF4-FFF2-40B4-BE49-F238E27FC236}">
                <a16:creationId xmlns:a16="http://schemas.microsoft.com/office/drawing/2014/main" id="{F971E39D-C9DD-3A41-BFB2-1337CB401F6E}"/>
              </a:ext>
            </a:extLst>
          </p:cNvPr>
          <p:cNvSpPr/>
          <p:nvPr/>
        </p:nvSpPr>
        <p:spPr>
          <a:xfrm>
            <a:off x="5916962" y="1095066"/>
            <a:ext cx="1109394" cy="225032"/>
          </a:xfrm>
          <a:prstGeom prst="rect">
            <a:avLst/>
          </a:prstGeom>
          <a:solidFill>
            <a:srgbClr val="87CBD8">
              <a:alpha val="95000"/>
            </a:srgb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algn="ctr" defTabSz="457200"/>
            <a:r>
              <a:rPr lang="es-ES_tradnl" sz="1000" dirty="0">
                <a:solidFill>
                  <a:srgbClr val="0067B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App</a:t>
            </a:r>
          </a:p>
        </p:txBody>
      </p:sp>
      <p:sp>
        <p:nvSpPr>
          <p:cNvPr id="234" name="Rectangle 233">
            <a:extLst>
              <a:ext uri="{FF2B5EF4-FFF2-40B4-BE49-F238E27FC236}">
                <a16:creationId xmlns:a16="http://schemas.microsoft.com/office/drawing/2014/main" id="{298B2CA5-1AEC-A14D-BB29-69A0A81263F2}"/>
              </a:ext>
            </a:extLst>
          </p:cNvPr>
          <p:cNvSpPr/>
          <p:nvPr/>
        </p:nvSpPr>
        <p:spPr>
          <a:xfrm>
            <a:off x="7074633" y="1095066"/>
            <a:ext cx="1109394" cy="225032"/>
          </a:xfrm>
          <a:prstGeom prst="rect">
            <a:avLst/>
          </a:prstGeom>
          <a:solidFill>
            <a:srgbClr val="87CBD8">
              <a:alpha val="95000"/>
            </a:srgb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algn="ctr" defTabSz="457200"/>
            <a:r>
              <a:rPr lang="es-ES_tradnl" sz="1000" dirty="0">
                <a:solidFill>
                  <a:srgbClr val="0067B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App</a:t>
            </a:r>
          </a:p>
        </p:txBody>
      </p:sp>
      <p:sp>
        <p:nvSpPr>
          <p:cNvPr id="235" name="Rectangle 234">
            <a:extLst>
              <a:ext uri="{FF2B5EF4-FFF2-40B4-BE49-F238E27FC236}">
                <a16:creationId xmlns:a16="http://schemas.microsoft.com/office/drawing/2014/main" id="{B3336B67-9779-B445-9A70-24D4494F46EB}"/>
              </a:ext>
            </a:extLst>
          </p:cNvPr>
          <p:cNvSpPr/>
          <p:nvPr/>
        </p:nvSpPr>
        <p:spPr>
          <a:xfrm>
            <a:off x="7516515" y="1676767"/>
            <a:ext cx="667512" cy="502401"/>
          </a:xfrm>
          <a:prstGeom prst="rect">
            <a:avLst/>
          </a:prstGeom>
          <a:solidFill>
            <a:srgbClr val="87CBD8">
              <a:alpha val="95000"/>
            </a:srgb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algn="ctr" defTabSz="457200"/>
            <a:r>
              <a:rPr lang="en-US" sz="800" dirty="0">
                <a:solidFill>
                  <a:srgbClr val="0067B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OLAP</a:t>
            </a:r>
          </a:p>
        </p:txBody>
      </p:sp>
      <p:cxnSp>
        <p:nvCxnSpPr>
          <p:cNvPr id="237" name="Straight Connector 236">
            <a:extLst>
              <a:ext uri="{FF2B5EF4-FFF2-40B4-BE49-F238E27FC236}">
                <a16:creationId xmlns:a16="http://schemas.microsoft.com/office/drawing/2014/main" id="{254D8D43-8142-FF47-8507-661CAD84C9FC}"/>
              </a:ext>
            </a:extLst>
          </p:cNvPr>
          <p:cNvCxnSpPr>
            <a:cxnSpLocks/>
            <a:stCxn id="235" idx="0"/>
            <a:endCxn id="234" idx="2"/>
          </p:cNvCxnSpPr>
          <p:nvPr/>
        </p:nvCxnSpPr>
        <p:spPr>
          <a:xfrm flipH="1" flipV="1">
            <a:off x="7629330" y="1320098"/>
            <a:ext cx="220941" cy="356669"/>
          </a:xfrm>
          <a:prstGeom prst="line">
            <a:avLst/>
          </a:prstGeom>
          <a:ln w="12700">
            <a:solidFill>
              <a:srgbClr val="0079D1"/>
            </a:solidFill>
            <a:headEnd type="triangle"/>
          </a:ln>
        </p:spPr>
        <p:style>
          <a:lnRef idx="1">
            <a:schemeClr val="accent1"/>
          </a:lnRef>
          <a:fillRef idx="0">
            <a:schemeClr val="accent1"/>
          </a:fillRef>
          <a:effectRef idx="0">
            <a:schemeClr val="accent1"/>
          </a:effectRef>
          <a:fontRef idx="minor">
            <a:schemeClr val="tx1"/>
          </a:fontRef>
        </p:style>
      </p:cxnSp>
      <p:cxnSp>
        <p:nvCxnSpPr>
          <p:cNvPr id="239" name="Straight Connector 238">
            <a:extLst>
              <a:ext uri="{FF2B5EF4-FFF2-40B4-BE49-F238E27FC236}">
                <a16:creationId xmlns:a16="http://schemas.microsoft.com/office/drawing/2014/main" id="{0179A8D3-E671-6045-B110-63FA5DCD0D0B}"/>
              </a:ext>
            </a:extLst>
          </p:cNvPr>
          <p:cNvCxnSpPr>
            <a:cxnSpLocks/>
            <a:stCxn id="221" idx="0"/>
            <a:endCxn id="234" idx="2"/>
          </p:cNvCxnSpPr>
          <p:nvPr/>
        </p:nvCxnSpPr>
        <p:spPr>
          <a:xfrm flipV="1">
            <a:off x="7129303" y="1320098"/>
            <a:ext cx="500027" cy="356669"/>
          </a:xfrm>
          <a:prstGeom prst="line">
            <a:avLst/>
          </a:prstGeom>
          <a:ln w="12700">
            <a:solidFill>
              <a:srgbClr val="0079D1"/>
            </a:solidFill>
            <a:headEnd type="triangle"/>
          </a:ln>
        </p:spPr>
        <p:style>
          <a:lnRef idx="1">
            <a:schemeClr val="accent1"/>
          </a:lnRef>
          <a:fillRef idx="0">
            <a:schemeClr val="accent1"/>
          </a:fillRef>
          <a:effectRef idx="0">
            <a:schemeClr val="accent1"/>
          </a:effectRef>
          <a:fontRef idx="minor">
            <a:schemeClr val="tx1"/>
          </a:fontRef>
        </p:style>
      </p:cxnSp>
      <p:cxnSp>
        <p:nvCxnSpPr>
          <p:cNvPr id="242" name="Straight Connector 241">
            <a:extLst>
              <a:ext uri="{FF2B5EF4-FFF2-40B4-BE49-F238E27FC236}">
                <a16:creationId xmlns:a16="http://schemas.microsoft.com/office/drawing/2014/main" id="{AE2A15C0-C86B-F04E-BA13-4F579A0A052F}"/>
              </a:ext>
            </a:extLst>
          </p:cNvPr>
          <p:cNvCxnSpPr>
            <a:cxnSpLocks/>
            <a:stCxn id="154" idx="0"/>
            <a:endCxn id="152" idx="3"/>
          </p:cNvCxnSpPr>
          <p:nvPr/>
        </p:nvCxnSpPr>
        <p:spPr>
          <a:xfrm flipV="1">
            <a:off x="5724510" y="2179168"/>
            <a:ext cx="571073" cy="340931"/>
          </a:xfrm>
          <a:prstGeom prst="line">
            <a:avLst/>
          </a:prstGeom>
          <a:ln w="12700">
            <a:solidFill>
              <a:srgbClr val="0079D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45" name="Straight Connector 244">
            <a:extLst>
              <a:ext uri="{FF2B5EF4-FFF2-40B4-BE49-F238E27FC236}">
                <a16:creationId xmlns:a16="http://schemas.microsoft.com/office/drawing/2014/main" id="{99983862-6822-5D43-8CD2-6A55DE8670B9}"/>
              </a:ext>
            </a:extLst>
          </p:cNvPr>
          <p:cNvCxnSpPr>
            <a:cxnSpLocks/>
            <a:stCxn id="154" idx="0"/>
            <a:endCxn id="221" idx="2"/>
          </p:cNvCxnSpPr>
          <p:nvPr/>
        </p:nvCxnSpPr>
        <p:spPr>
          <a:xfrm flipV="1">
            <a:off x="5724510" y="2179168"/>
            <a:ext cx="1404793" cy="340931"/>
          </a:xfrm>
          <a:prstGeom prst="line">
            <a:avLst/>
          </a:prstGeom>
          <a:ln w="12700">
            <a:solidFill>
              <a:srgbClr val="0079D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48" name="Straight Connector 247">
            <a:extLst>
              <a:ext uri="{FF2B5EF4-FFF2-40B4-BE49-F238E27FC236}">
                <a16:creationId xmlns:a16="http://schemas.microsoft.com/office/drawing/2014/main" id="{667250E5-E665-1440-9584-8542D356249C}"/>
              </a:ext>
            </a:extLst>
          </p:cNvPr>
          <p:cNvCxnSpPr>
            <a:cxnSpLocks/>
            <a:stCxn id="154" idx="0"/>
            <a:endCxn id="235" idx="2"/>
          </p:cNvCxnSpPr>
          <p:nvPr/>
        </p:nvCxnSpPr>
        <p:spPr>
          <a:xfrm flipV="1">
            <a:off x="5724510" y="2179168"/>
            <a:ext cx="2125761" cy="340931"/>
          </a:xfrm>
          <a:prstGeom prst="line">
            <a:avLst/>
          </a:prstGeom>
          <a:ln w="12700">
            <a:solidFill>
              <a:srgbClr val="0079D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251" name="Rectangle 250">
            <a:extLst>
              <a:ext uri="{FF2B5EF4-FFF2-40B4-BE49-F238E27FC236}">
                <a16:creationId xmlns:a16="http://schemas.microsoft.com/office/drawing/2014/main" id="{513EEBF8-BD03-4D4A-8006-161033F41A71}"/>
              </a:ext>
            </a:extLst>
          </p:cNvPr>
          <p:cNvSpPr/>
          <p:nvPr/>
        </p:nvSpPr>
        <p:spPr>
          <a:xfrm>
            <a:off x="7105975" y="2925722"/>
            <a:ext cx="1045559" cy="225032"/>
          </a:xfrm>
          <a:prstGeom prst="rect">
            <a:avLst/>
          </a:prstGeom>
          <a:solidFill>
            <a:srgbClr val="87CBD8">
              <a:alpha val="95000"/>
            </a:srgb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algn="ctr" defTabSz="457200"/>
            <a:r>
              <a:rPr lang="es-ES_tradnl" sz="900" dirty="0">
                <a:solidFill>
                  <a:srgbClr val="0067B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App</a:t>
            </a:r>
          </a:p>
        </p:txBody>
      </p:sp>
      <p:cxnSp>
        <p:nvCxnSpPr>
          <p:cNvPr id="252" name="Straight Connector 251">
            <a:extLst>
              <a:ext uri="{FF2B5EF4-FFF2-40B4-BE49-F238E27FC236}">
                <a16:creationId xmlns:a16="http://schemas.microsoft.com/office/drawing/2014/main" id="{FD021243-3396-3A4E-B7BC-AE4B488CA627}"/>
              </a:ext>
            </a:extLst>
          </p:cNvPr>
          <p:cNvCxnSpPr>
            <a:cxnSpLocks/>
            <a:stCxn id="251" idx="1"/>
          </p:cNvCxnSpPr>
          <p:nvPr/>
        </p:nvCxnSpPr>
        <p:spPr>
          <a:xfrm flipH="1">
            <a:off x="6317375" y="3038238"/>
            <a:ext cx="788600" cy="0"/>
          </a:xfrm>
          <a:prstGeom prst="line">
            <a:avLst/>
          </a:prstGeom>
          <a:ln w="12700">
            <a:solidFill>
              <a:srgbClr val="0079D1"/>
            </a:solidFill>
            <a:headEnd type="triangle"/>
          </a:ln>
        </p:spPr>
        <p:style>
          <a:lnRef idx="1">
            <a:schemeClr val="accent1"/>
          </a:lnRef>
          <a:fillRef idx="0">
            <a:schemeClr val="accent1"/>
          </a:fillRef>
          <a:effectRef idx="0">
            <a:schemeClr val="accent1"/>
          </a:effectRef>
          <a:fontRef idx="minor">
            <a:schemeClr val="tx1"/>
          </a:fontRef>
        </p:style>
      </p:cxnSp>
      <p:sp>
        <p:nvSpPr>
          <p:cNvPr id="256" name="Rectangle 255">
            <a:extLst>
              <a:ext uri="{FF2B5EF4-FFF2-40B4-BE49-F238E27FC236}">
                <a16:creationId xmlns:a16="http://schemas.microsoft.com/office/drawing/2014/main" id="{2500BC77-6E17-6542-B5BB-821284F32960}"/>
              </a:ext>
            </a:extLst>
          </p:cNvPr>
          <p:cNvSpPr/>
          <p:nvPr/>
        </p:nvSpPr>
        <p:spPr>
          <a:xfrm>
            <a:off x="7117776" y="3226374"/>
            <a:ext cx="1033758" cy="225032"/>
          </a:xfrm>
          <a:prstGeom prst="rect">
            <a:avLst/>
          </a:prstGeom>
          <a:solidFill>
            <a:srgbClr val="87CBD8">
              <a:alpha val="95000"/>
            </a:srgb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algn="ctr" defTabSz="457200"/>
            <a:r>
              <a:rPr lang="en-US" sz="900" dirty="0">
                <a:solidFill>
                  <a:srgbClr val="0067B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Stream APIs</a:t>
            </a:r>
          </a:p>
        </p:txBody>
      </p:sp>
      <p:cxnSp>
        <p:nvCxnSpPr>
          <p:cNvPr id="257" name="Straight Connector 256">
            <a:extLst>
              <a:ext uri="{FF2B5EF4-FFF2-40B4-BE49-F238E27FC236}">
                <a16:creationId xmlns:a16="http://schemas.microsoft.com/office/drawing/2014/main" id="{3F7D6EF9-4EDB-D94A-A75F-CC885C5F30AD}"/>
              </a:ext>
            </a:extLst>
          </p:cNvPr>
          <p:cNvCxnSpPr>
            <a:cxnSpLocks/>
            <a:stCxn id="256" idx="1"/>
          </p:cNvCxnSpPr>
          <p:nvPr/>
        </p:nvCxnSpPr>
        <p:spPr>
          <a:xfrm flipH="1">
            <a:off x="6306480" y="3338890"/>
            <a:ext cx="811296" cy="0"/>
          </a:xfrm>
          <a:prstGeom prst="line">
            <a:avLst/>
          </a:prstGeom>
          <a:ln w="12700">
            <a:solidFill>
              <a:srgbClr val="0079D1"/>
            </a:solidFill>
            <a:headEnd type="triangle"/>
          </a:ln>
        </p:spPr>
        <p:style>
          <a:lnRef idx="1">
            <a:schemeClr val="accent1"/>
          </a:lnRef>
          <a:fillRef idx="0">
            <a:schemeClr val="accent1"/>
          </a:fillRef>
          <a:effectRef idx="0">
            <a:schemeClr val="accent1"/>
          </a:effectRef>
          <a:fontRef idx="minor">
            <a:schemeClr val="tx1"/>
          </a:fontRef>
        </p:style>
      </p:cxnSp>
      <p:sp>
        <p:nvSpPr>
          <p:cNvPr id="262" name="Rectangle 261">
            <a:extLst>
              <a:ext uri="{FF2B5EF4-FFF2-40B4-BE49-F238E27FC236}">
                <a16:creationId xmlns:a16="http://schemas.microsoft.com/office/drawing/2014/main" id="{169A391F-4C4E-9745-9907-E9D7F3A8E829}"/>
              </a:ext>
            </a:extLst>
          </p:cNvPr>
          <p:cNvSpPr/>
          <p:nvPr/>
        </p:nvSpPr>
        <p:spPr>
          <a:xfrm>
            <a:off x="7117776" y="3587530"/>
            <a:ext cx="1033758" cy="225032"/>
          </a:xfrm>
          <a:prstGeom prst="rect">
            <a:avLst/>
          </a:prstGeom>
          <a:solidFill>
            <a:srgbClr val="87CBD8">
              <a:alpha val="95000"/>
            </a:srgb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algn="ctr" defTabSz="457200"/>
            <a:r>
              <a:rPr lang="es-ES_tradnl" sz="900" dirty="0">
                <a:solidFill>
                  <a:srgbClr val="0067B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App</a:t>
            </a:r>
          </a:p>
        </p:txBody>
      </p:sp>
      <p:cxnSp>
        <p:nvCxnSpPr>
          <p:cNvPr id="263" name="Straight Connector 262">
            <a:extLst>
              <a:ext uri="{FF2B5EF4-FFF2-40B4-BE49-F238E27FC236}">
                <a16:creationId xmlns:a16="http://schemas.microsoft.com/office/drawing/2014/main" id="{E875A637-BAF8-1E4E-BAD0-1ACA67653569}"/>
              </a:ext>
            </a:extLst>
          </p:cNvPr>
          <p:cNvCxnSpPr>
            <a:cxnSpLocks/>
            <a:stCxn id="262" idx="1"/>
            <a:endCxn id="154" idx="3"/>
          </p:cNvCxnSpPr>
          <p:nvPr/>
        </p:nvCxnSpPr>
        <p:spPr>
          <a:xfrm flipH="1">
            <a:off x="6334082" y="3700046"/>
            <a:ext cx="783694" cy="4478"/>
          </a:xfrm>
          <a:prstGeom prst="line">
            <a:avLst/>
          </a:prstGeom>
          <a:ln w="12700">
            <a:solidFill>
              <a:srgbClr val="0079D1"/>
            </a:solidFill>
            <a:headEnd type="triangle"/>
          </a:ln>
        </p:spPr>
        <p:style>
          <a:lnRef idx="1">
            <a:schemeClr val="accent1"/>
          </a:lnRef>
          <a:fillRef idx="0">
            <a:schemeClr val="accent1"/>
          </a:fillRef>
          <a:effectRef idx="0">
            <a:schemeClr val="accent1"/>
          </a:effectRef>
          <a:fontRef idx="minor">
            <a:schemeClr val="tx1"/>
          </a:fontRef>
        </p:style>
      </p:cxnSp>
      <p:sp>
        <p:nvSpPr>
          <p:cNvPr id="266" name="Rectangle 265">
            <a:extLst>
              <a:ext uri="{FF2B5EF4-FFF2-40B4-BE49-F238E27FC236}">
                <a16:creationId xmlns:a16="http://schemas.microsoft.com/office/drawing/2014/main" id="{DFD479A2-5E10-124C-9270-83589C4393D8}"/>
              </a:ext>
            </a:extLst>
          </p:cNvPr>
          <p:cNvSpPr/>
          <p:nvPr/>
        </p:nvSpPr>
        <p:spPr>
          <a:xfrm>
            <a:off x="7105976" y="3920741"/>
            <a:ext cx="1045558" cy="654816"/>
          </a:xfrm>
          <a:prstGeom prst="rect">
            <a:avLst/>
          </a:prstGeom>
          <a:solidFill>
            <a:srgbClr val="87CBD8">
              <a:alpha val="95000"/>
            </a:srgb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algn="ctr" defTabSz="457200"/>
            <a:r>
              <a:rPr lang="en-US" sz="900" dirty="0">
                <a:solidFill>
                  <a:srgbClr val="0067B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Stream</a:t>
            </a:r>
          </a:p>
          <a:p>
            <a:pPr algn="ctr" defTabSz="457200"/>
            <a:r>
              <a:rPr lang="en-US" sz="900" dirty="0">
                <a:solidFill>
                  <a:srgbClr val="0067B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Processing</a:t>
            </a:r>
          </a:p>
        </p:txBody>
      </p:sp>
      <p:sp>
        <p:nvSpPr>
          <p:cNvPr id="267" name="Rectangle 266">
            <a:extLst>
              <a:ext uri="{FF2B5EF4-FFF2-40B4-BE49-F238E27FC236}">
                <a16:creationId xmlns:a16="http://schemas.microsoft.com/office/drawing/2014/main" id="{2C3D4B6B-7CA6-9D4C-8675-2DB1E3729576}"/>
              </a:ext>
            </a:extLst>
          </p:cNvPr>
          <p:cNvSpPr/>
          <p:nvPr/>
        </p:nvSpPr>
        <p:spPr>
          <a:xfrm>
            <a:off x="5378949" y="5342339"/>
            <a:ext cx="1092710" cy="654816"/>
          </a:xfrm>
          <a:prstGeom prst="rect">
            <a:avLst/>
          </a:prstGeom>
          <a:solidFill>
            <a:srgbClr val="87CBD8">
              <a:alpha val="95000"/>
            </a:srgb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algn="ctr" defTabSz="457200"/>
            <a:r>
              <a:rPr lang="en-US" sz="900" dirty="0">
                <a:solidFill>
                  <a:srgbClr val="0067B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Hadoop</a:t>
            </a:r>
          </a:p>
        </p:txBody>
      </p:sp>
      <p:sp>
        <p:nvSpPr>
          <p:cNvPr id="268" name="Rectangle 267">
            <a:extLst>
              <a:ext uri="{FF2B5EF4-FFF2-40B4-BE49-F238E27FC236}">
                <a16:creationId xmlns:a16="http://schemas.microsoft.com/office/drawing/2014/main" id="{E22AAA80-CC14-6D44-840D-DD12B0F8A2F1}"/>
              </a:ext>
            </a:extLst>
          </p:cNvPr>
          <p:cNvSpPr/>
          <p:nvPr/>
        </p:nvSpPr>
        <p:spPr>
          <a:xfrm>
            <a:off x="7411239" y="5351702"/>
            <a:ext cx="870936" cy="654816"/>
          </a:xfrm>
          <a:prstGeom prst="rect">
            <a:avLst/>
          </a:prstGeom>
          <a:solidFill>
            <a:srgbClr val="87CBD8">
              <a:alpha val="95000"/>
            </a:srgb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algn="ctr" defTabSz="457200"/>
            <a:r>
              <a:rPr lang="en-US" sz="800" dirty="0">
                <a:solidFill>
                  <a:srgbClr val="0067B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Data Visualization tools</a:t>
            </a:r>
          </a:p>
        </p:txBody>
      </p:sp>
      <p:cxnSp>
        <p:nvCxnSpPr>
          <p:cNvPr id="269" name="Straight Connector 268">
            <a:extLst>
              <a:ext uri="{FF2B5EF4-FFF2-40B4-BE49-F238E27FC236}">
                <a16:creationId xmlns:a16="http://schemas.microsoft.com/office/drawing/2014/main" id="{8855D51B-25CC-224A-A8E4-ECA74D6E5966}"/>
              </a:ext>
            </a:extLst>
          </p:cNvPr>
          <p:cNvCxnSpPr>
            <a:cxnSpLocks/>
          </p:cNvCxnSpPr>
          <p:nvPr/>
        </p:nvCxnSpPr>
        <p:spPr>
          <a:xfrm flipH="1">
            <a:off x="6307558" y="4103628"/>
            <a:ext cx="798417" cy="0"/>
          </a:xfrm>
          <a:prstGeom prst="line">
            <a:avLst/>
          </a:prstGeom>
          <a:ln w="12700">
            <a:solidFill>
              <a:srgbClr val="0079D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72" name="Straight Connector 271">
            <a:extLst>
              <a:ext uri="{FF2B5EF4-FFF2-40B4-BE49-F238E27FC236}">
                <a16:creationId xmlns:a16="http://schemas.microsoft.com/office/drawing/2014/main" id="{C503DBC4-5B08-FF4C-A7AD-EF54184A350A}"/>
              </a:ext>
            </a:extLst>
          </p:cNvPr>
          <p:cNvCxnSpPr>
            <a:cxnSpLocks/>
            <a:stCxn id="268" idx="0"/>
            <a:endCxn id="154" idx="2"/>
          </p:cNvCxnSpPr>
          <p:nvPr/>
        </p:nvCxnSpPr>
        <p:spPr>
          <a:xfrm flipH="1" flipV="1">
            <a:off x="5724510" y="4888949"/>
            <a:ext cx="2122197" cy="462753"/>
          </a:xfrm>
          <a:prstGeom prst="line">
            <a:avLst/>
          </a:prstGeom>
          <a:ln w="12700">
            <a:solidFill>
              <a:srgbClr val="0079D1"/>
            </a:solidFill>
            <a:headEnd type="triangle"/>
          </a:ln>
        </p:spPr>
        <p:style>
          <a:lnRef idx="1">
            <a:schemeClr val="accent1"/>
          </a:lnRef>
          <a:fillRef idx="0">
            <a:schemeClr val="accent1"/>
          </a:fillRef>
          <a:effectRef idx="0">
            <a:schemeClr val="accent1"/>
          </a:effectRef>
          <a:fontRef idx="minor">
            <a:schemeClr val="tx1"/>
          </a:fontRef>
        </p:style>
      </p:cxnSp>
      <p:cxnSp>
        <p:nvCxnSpPr>
          <p:cNvPr id="275" name="Straight Connector 274">
            <a:extLst>
              <a:ext uri="{FF2B5EF4-FFF2-40B4-BE49-F238E27FC236}">
                <a16:creationId xmlns:a16="http://schemas.microsoft.com/office/drawing/2014/main" id="{AF5DCFF0-1B53-D44F-98E2-29976BB0DCF1}"/>
              </a:ext>
            </a:extLst>
          </p:cNvPr>
          <p:cNvCxnSpPr>
            <a:cxnSpLocks/>
            <a:stCxn id="267" idx="0"/>
            <a:endCxn id="154" idx="2"/>
          </p:cNvCxnSpPr>
          <p:nvPr/>
        </p:nvCxnSpPr>
        <p:spPr>
          <a:xfrm flipH="1" flipV="1">
            <a:off x="5724510" y="4888949"/>
            <a:ext cx="200794" cy="453390"/>
          </a:xfrm>
          <a:prstGeom prst="line">
            <a:avLst/>
          </a:prstGeom>
          <a:ln w="12700">
            <a:solidFill>
              <a:srgbClr val="0079D1"/>
            </a:solidFill>
            <a:headEnd type="triangle"/>
          </a:ln>
        </p:spPr>
        <p:style>
          <a:lnRef idx="1">
            <a:schemeClr val="accent1"/>
          </a:lnRef>
          <a:fillRef idx="0">
            <a:schemeClr val="accent1"/>
          </a:fillRef>
          <a:effectRef idx="0">
            <a:schemeClr val="accent1"/>
          </a:effectRef>
          <a:fontRef idx="minor">
            <a:schemeClr val="tx1"/>
          </a:fontRef>
        </p:style>
      </p:cxnSp>
      <p:cxnSp>
        <p:nvCxnSpPr>
          <p:cNvPr id="278" name="Straight Connector 277">
            <a:extLst>
              <a:ext uri="{FF2B5EF4-FFF2-40B4-BE49-F238E27FC236}">
                <a16:creationId xmlns:a16="http://schemas.microsoft.com/office/drawing/2014/main" id="{E47601FC-3E69-224D-B747-3885F6ABAA76}"/>
              </a:ext>
            </a:extLst>
          </p:cNvPr>
          <p:cNvCxnSpPr>
            <a:cxnSpLocks/>
            <a:stCxn id="268" idx="1"/>
            <a:endCxn id="267" idx="3"/>
          </p:cNvCxnSpPr>
          <p:nvPr/>
        </p:nvCxnSpPr>
        <p:spPr>
          <a:xfrm flipH="1" flipV="1">
            <a:off x="6471659" y="5669747"/>
            <a:ext cx="939580" cy="9363"/>
          </a:xfrm>
          <a:prstGeom prst="line">
            <a:avLst/>
          </a:prstGeom>
          <a:ln w="12700">
            <a:solidFill>
              <a:srgbClr val="0079D1"/>
            </a:solidFill>
            <a:headEnd type="triangle"/>
          </a:ln>
        </p:spPr>
        <p:style>
          <a:lnRef idx="1">
            <a:schemeClr val="accent1"/>
          </a:lnRef>
          <a:fillRef idx="0">
            <a:schemeClr val="accent1"/>
          </a:fillRef>
          <a:effectRef idx="0">
            <a:schemeClr val="accent1"/>
          </a:effectRef>
          <a:fontRef idx="minor">
            <a:schemeClr val="tx1"/>
          </a:fontRef>
        </p:style>
      </p:cxnSp>
      <p:cxnSp>
        <p:nvCxnSpPr>
          <p:cNvPr id="281" name="Straight Connector 280">
            <a:extLst>
              <a:ext uri="{FF2B5EF4-FFF2-40B4-BE49-F238E27FC236}">
                <a16:creationId xmlns:a16="http://schemas.microsoft.com/office/drawing/2014/main" id="{AF66BFAA-0E0E-A24E-9DB5-4E76E67068D9}"/>
              </a:ext>
            </a:extLst>
          </p:cNvPr>
          <p:cNvCxnSpPr>
            <a:cxnSpLocks/>
            <a:stCxn id="168" idx="3"/>
          </p:cNvCxnSpPr>
          <p:nvPr/>
        </p:nvCxnSpPr>
        <p:spPr>
          <a:xfrm>
            <a:off x="4562501" y="3451219"/>
            <a:ext cx="552436" cy="0"/>
          </a:xfrm>
          <a:prstGeom prst="line">
            <a:avLst/>
          </a:prstGeom>
          <a:ln w="12700">
            <a:solidFill>
              <a:srgbClr val="0079D1"/>
            </a:solidFill>
            <a:headEnd type="triangle"/>
          </a:ln>
        </p:spPr>
        <p:style>
          <a:lnRef idx="1">
            <a:schemeClr val="accent1"/>
          </a:lnRef>
          <a:fillRef idx="0">
            <a:schemeClr val="accent1"/>
          </a:fillRef>
          <a:effectRef idx="0">
            <a:schemeClr val="accent1"/>
          </a:effectRef>
          <a:fontRef idx="minor">
            <a:schemeClr val="tx1"/>
          </a:fontRef>
        </p:style>
      </p:cxnSp>
      <p:cxnSp>
        <p:nvCxnSpPr>
          <p:cNvPr id="288" name="Straight Connector 287">
            <a:extLst>
              <a:ext uri="{FF2B5EF4-FFF2-40B4-BE49-F238E27FC236}">
                <a16:creationId xmlns:a16="http://schemas.microsoft.com/office/drawing/2014/main" id="{745DD692-8054-304D-BE64-7F5DC60CA9A1}"/>
              </a:ext>
            </a:extLst>
          </p:cNvPr>
          <p:cNvCxnSpPr>
            <a:cxnSpLocks/>
          </p:cNvCxnSpPr>
          <p:nvPr/>
        </p:nvCxnSpPr>
        <p:spPr>
          <a:xfrm>
            <a:off x="4555009" y="3919480"/>
            <a:ext cx="559928" cy="1261"/>
          </a:xfrm>
          <a:prstGeom prst="line">
            <a:avLst/>
          </a:prstGeom>
          <a:ln w="12700">
            <a:solidFill>
              <a:srgbClr val="0079D1"/>
            </a:solidFill>
            <a:headEnd type="triangle"/>
          </a:ln>
        </p:spPr>
        <p:style>
          <a:lnRef idx="1">
            <a:schemeClr val="accent1"/>
          </a:lnRef>
          <a:fillRef idx="0">
            <a:schemeClr val="accent1"/>
          </a:fillRef>
          <a:effectRef idx="0">
            <a:schemeClr val="accent1"/>
          </a:effectRef>
          <a:fontRef idx="minor">
            <a:schemeClr val="tx1"/>
          </a:fontRef>
        </p:style>
      </p:cxnSp>
      <p:cxnSp>
        <p:nvCxnSpPr>
          <p:cNvPr id="290" name="Straight Connector 289">
            <a:extLst>
              <a:ext uri="{FF2B5EF4-FFF2-40B4-BE49-F238E27FC236}">
                <a16:creationId xmlns:a16="http://schemas.microsoft.com/office/drawing/2014/main" id="{D718D729-13BB-1E43-AE64-615A1FFB9B55}"/>
              </a:ext>
            </a:extLst>
          </p:cNvPr>
          <p:cNvCxnSpPr>
            <a:cxnSpLocks/>
            <a:stCxn id="171" idx="3"/>
          </p:cNvCxnSpPr>
          <p:nvPr/>
        </p:nvCxnSpPr>
        <p:spPr>
          <a:xfrm>
            <a:off x="4562501" y="4367145"/>
            <a:ext cx="552436" cy="0"/>
          </a:xfrm>
          <a:prstGeom prst="line">
            <a:avLst/>
          </a:prstGeom>
          <a:ln w="12700">
            <a:solidFill>
              <a:srgbClr val="0079D1"/>
            </a:solidFill>
            <a:headEnd type="triangle"/>
          </a:ln>
        </p:spPr>
        <p:style>
          <a:lnRef idx="1">
            <a:schemeClr val="accent1"/>
          </a:lnRef>
          <a:fillRef idx="0">
            <a:schemeClr val="accent1"/>
          </a:fillRef>
          <a:effectRef idx="0">
            <a:schemeClr val="accent1"/>
          </a:effectRef>
          <a:fontRef idx="minor">
            <a:schemeClr val="tx1"/>
          </a:fontRef>
        </p:style>
      </p:cxnSp>
      <p:cxnSp>
        <p:nvCxnSpPr>
          <p:cNvPr id="294" name="Straight Connector 293">
            <a:extLst>
              <a:ext uri="{FF2B5EF4-FFF2-40B4-BE49-F238E27FC236}">
                <a16:creationId xmlns:a16="http://schemas.microsoft.com/office/drawing/2014/main" id="{9CC9045B-F2F1-5C46-A081-6BA8749A6C62}"/>
              </a:ext>
            </a:extLst>
          </p:cNvPr>
          <p:cNvCxnSpPr>
            <a:cxnSpLocks/>
            <a:stCxn id="266" idx="1"/>
          </p:cNvCxnSpPr>
          <p:nvPr/>
        </p:nvCxnSpPr>
        <p:spPr>
          <a:xfrm flipH="1" flipV="1">
            <a:off x="6317378" y="4240789"/>
            <a:ext cx="788598" cy="7360"/>
          </a:xfrm>
          <a:prstGeom prst="line">
            <a:avLst/>
          </a:prstGeom>
          <a:ln w="12700">
            <a:solidFill>
              <a:srgbClr val="0079D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95" name="Straight Connector 294">
            <a:extLst>
              <a:ext uri="{FF2B5EF4-FFF2-40B4-BE49-F238E27FC236}">
                <a16:creationId xmlns:a16="http://schemas.microsoft.com/office/drawing/2014/main" id="{6115B1D2-88FF-8A47-86E5-0EBFBBDD0621}"/>
              </a:ext>
            </a:extLst>
          </p:cNvPr>
          <p:cNvCxnSpPr>
            <a:cxnSpLocks/>
          </p:cNvCxnSpPr>
          <p:nvPr/>
        </p:nvCxnSpPr>
        <p:spPr>
          <a:xfrm flipH="1">
            <a:off x="6317376" y="4390524"/>
            <a:ext cx="800400" cy="0"/>
          </a:xfrm>
          <a:prstGeom prst="line">
            <a:avLst/>
          </a:prstGeom>
          <a:ln w="12700">
            <a:solidFill>
              <a:srgbClr val="0079D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96" name="Straight Connector 295">
            <a:extLst>
              <a:ext uri="{FF2B5EF4-FFF2-40B4-BE49-F238E27FC236}">
                <a16:creationId xmlns:a16="http://schemas.microsoft.com/office/drawing/2014/main" id="{981FEA38-BDAC-1846-90CC-8EEBC3876AD9}"/>
              </a:ext>
            </a:extLst>
          </p:cNvPr>
          <p:cNvCxnSpPr>
            <a:cxnSpLocks/>
          </p:cNvCxnSpPr>
          <p:nvPr/>
        </p:nvCxnSpPr>
        <p:spPr>
          <a:xfrm flipH="1">
            <a:off x="6306481" y="4541430"/>
            <a:ext cx="811295" cy="1494"/>
          </a:xfrm>
          <a:prstGeom prst="line">
            <a:avLst/>
          </a:prstGeom>
          <a:ln w="12700">
            <a:solidFill>
              <a:srgbClr val="0079D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297" name="TextBox 296">
            <a:extLst>
              <a:ext uri="{FF2B5EF4-FFF2-40B4-BE49-F238E27FC236}">
                <a16:creationId xmlns:a16="http://schemas.microsoft.com/office/drawing/2014/main" id="{0991FD41-4337-9647-A81F-FF4DCBAA47AC}"/>
              </a:ext>
            </a:extLst>
          </p:cNvPr>
          <p:cNvSpPr txBox="1"/>
          <p:nvPr/>
        </p:nvSpPr>
        <p:spPr>
          <a:xfrm>
            <a:off x="4508012" y="6199148"/>
            <a:ext cx="2744226" cy="366424"/>
          </a:xfrm>
          <a:prstGeom prst="rect">
            <a:avLst/>
          </a:prstGeom>
          <a:noFill/>
        </p:spPr>
        <p:txBody>
          <a:bodyPr wrap="square" tIns="90000" bIns="90000" rtlCol="0" anchor="t">
            <a:spAutoFit/>
          </a:bodyPr>
          <a:lstStyle/>
          <a:p>
            <a:pPr algn="ctr"/>
            <a:r>
              <a:rPr lang="en-US" sz="1200" dirty="0">
                <a:solidFill>
                  <a:schemeClr val="tx1">
                    <a:lumMod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A modern stream-centric data architecture</a:t>
            </a:r>
          </a:p>
        </p:txBody>
      </p:sp>
      <p:sp>
        <p:nvSpPr>
          <p:cNvPr id="298" name="Google Shape;61;p12">
            <a:extLst>
              <a:ext uri="{FF2B5EF4-FFF2-40B4-BE49-F238E27FC236}">
                <a16:creationId xmlns:a16="http://schemas.microsoft.com/office/drawing/2014/main" id="{8779DBD8-5074-2642-8B14-E948476B86AE}"/>
              </a:ext>
            </a:extLst>
          </p:cNvPr>
          <p:cNvSpPr txBox="1">
            <a:spLocks/>
          </p:cNvSpPr>
          <p:nvPr/>
        </p:nvSpPr>
        <p:spPr>
          <a:xfrm>
            <a:off x="500059" y="1862221"/>
            <a:ext cx="2694552" cy="1223412"/>
          </a:xfrm>
          <a:prstGeom prst="rect">
            <a:avLst/>
          </a:prstGeom>
          <a:noFill/>
        </p:spPr>
        <p:txBody>
          <a:bodyPr wrap="square" rtlCol="0">
            <a:spAutoFit/>
          </a:bodyPr>
          <a:lstStyle>
            <a:defPPr>
              <a:defRPr lang="en-US"/>
            </a:defPPr>
            <a:lvl1pPr algn="ctr" defTabSz="457200">
              <a:defRPr sz="90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defRPr>
            </a:lvl1pPr>
          </a:lstStyle>
          <a:p>
            <a:pPr algn="l"/>
            <a:r>
              <a:rPr lang="en-US" sz="1000" dirty="0">
                <a:latin typeface="Comic Sans MS" panose="030F0902030302020204" pitchFamily="66" charset="0"/>
              </a:rPr>
              <a:t>In </a:t>
            </a:r>
            <a:r>
              <a:rPr lang="en-US" sz="1000" dirty="0">
                <a:solidFill>
                  <a:srgbClr val="C5277F"/>
                </a:solidFill>
                <a:latin typeface="Comic Sans MS" panose="030F0902030302020204" pitchFamily="66" charset="0"/>
              </a:rPr>
              <a:t>Event-Hub</a:t>
            </a:r>
            <a:r>
              <a:rPr lang="en-US" sz="1000" dirty="0">
                <a:latin typeface="Comic Sans MS" panose="030F0902030302020204" pitchFamily="66" charset="0"/>
              </a:rPr>
              <a:t> Kafka acts as a type of universal channeling for data. Each system can feed this central duct or be fed by it; the applications or flow processors can access it to create new derived flows, which in turn can be fed back into the various systems to serve</a:t>
            </a:r>
            <a:r>
              <a:rPr lang="en-US" sz="1050" dirty="0">
                <a:latin typeface="Comic Sans MS" panose="030F0902030302020204" pitchFamily="66" charset="0"/>
              </a:rPr>
              <a:t>.</a:t>
            </a:r>
          </a:p>
        </p:txBody>
      </p:sp>
      <p:sp>
        <p:nvSpPr>
          <p:cNvPr id="301" name="Google Shape;61;p12">
            <a:extLst>
              <a:ext uri="{FF2B5EF4-FFF2-40B4-BE49-F238E27FC236}">
                <a16:creationId xmlns:a16="http://schemas.microsoft.com/office/drawing/2014/main" id="{553D09BD-6400-E14E-BA20-7EF14F6C149B}"/>
              </a:ext>
            </a:extLst>
          </p:cNvPr>
          <p:cNvSpPr txBox="1">
            <a:spLocks/>
          </p:cNvSpPr>
          <p:nvPr/>
        </p:nvSpPr>
        <p:spPr>
          <a:xfrm>
            <a:off x="491774" y="4170690"/>
            <a:ext cx="2851583" cy="738664"/>
          </a:xfrm>
          <a:prstGeom prst="rect">
            <a:avLst/>
          </a:prstGeom>
          <a:noFill/>
        </p:spPr>
        <p:txBody>
          <a:bodyPr wrap="square" rtlCol="0">
            <a:spAutoFit/>
          </a:bodyPr>
          <a:lstStyle>
            <a:defPPr>
              <a:defRPr lang="en-US"/>
            </a:defPPr>
            <a:lvl1pPr algn="ctr" defTabSz="457200">
              <a:defRPr sz="90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defRPr>
            </a:lvl1pPr>
          </a:lstStyle>
          <a:p>
            <a:pPr marL="285750" indent="-285750" algn="l">
              <a:buFont typeface="Arial" panose="020B0604020202020204" pitchFamily="34" charset="0"/>
              <a:buChar char="•"/>
            </a:pPr>
            <a:r>
              <a:rPr lang="en-US" sz="1050" dirty="0">
                <a:latin typeface="Comic Sans MS" panose="030F0902030302020204" pitchFamily="66" charset="0"/>
              </a:rPr>
              <a:t>Most of what </a:t>
            </a:r>
            <a:r>
              <a:rPr lang="en-US" sz="1050" dirty="0" err="1">
                <a:latin typeface="Comic Sans MS" panose="030F0902030302020204" pitchFamily="66" charset="0"/>
              </a:rPr>
              <a:t>CitiBanamex</a:t>
            </a:r>
            <a:r>
              <a:rPr lang="en-US" sz="1050" dirty="0">
                <a:latin typeface="Comic Sans MS" panose="030F0902030302020204" pitchFamily="66" charset="0"/>
              </a:rPr>
              <a:t> does can be considered as a series of events</a:t>
            </a:r>
          </a:p>
          <a:p>
            <a:pPr marL="285750" indent="-285750" algn="l">
              <a:buFont typeface="Arial" panose="020B0604020202020204" pitchFamily="34" charset="0"/>
              <a:buChar char="•"/>
            </a:pPr>
            <a:r>
              <a:rPr lang="en-US" sz="1050" dirty="0">
                <a:latin typeface="Comic Sans MS" panose="030F0902030302020204" pitchFamily="66" charset="0"/>
              </a:rPr>
              <a:t>Data is more than rows in databases, they are events</a:t>
            </a:r>
          </a:p>
        </p:txBody>
      </p:sp>
      <p:sp>
        <p:nvSpPr>
          <p:cNvPr id="302" name="Google Shape;61;p12">
            <a:extLst>
              <a:ext uri="{FF2B5EF4-FFF2-40B4-BE49-F238E27FC236}">
                <a16:creationId xmlns:a16="http://schemas.microsoft.com/office/drawing/2014/main" id="{487FFCD7-EAB6-AE4B-9C92-23339AECAE90}"/>
              </a:ext>
            </a:extLst>
          </p:cNvPr>
          <p:cNvSpPr txBox="1">
            <a:spLocks/>
          </p:cNvSpPr>
          <p:nvPr/>
        </p:nvSpPr>
        <p:spPr>
          <a:xfrm>
            <a:off x="404806" y="3760068"/>
            <a:ext cx="2938552" cy="261610"/>
          </a:xfrm>
          <a:prstGeom prst="rect">
            <a:avLst/>
          </a:prstGeom>
          <a:noFill/>
        </p:spPr>
        <p:txBody>
          <a:bodyPr wrap="square" rtlCol="0">
            <a:spAutoFit/>
          </a:bodyPr>
          <a:lstStyle>
            <a:defPPr>
              <a:defRPr lang="en-US"/>
            </a:defPPr>
            <a:lvl1pPr algn="ctr" defTabSz="457200">
              <a:defRPr sz="90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defRPr>
            </a:lvl1pPr>
          </a:lstStyle>
          <a:p>
            <a:pPr algn="l"/>
            <a:r>
              <a:rPr lang="en-US" sz="1050" dirty="0">
                <a:solidFill>
                  <a:srgbClr val="C5277F"/>
                </a:solidFill>
                <a:latin typeface="Comic Sans MS" panose="030F0902030302020204" pitchFamily="66" charset="0"/>
              </a:rPr>
              <a:t>Principles of Even Hub</a:t>
            </a:r>
            <a:endParaRPr lang="es-ES_tradnl" sz="1050" dirty="0">
              <a:solidFill>
                <a:srgbClr val="C5277F"/>
              </a:solidFill>
              <a:latin typeface="Comic Sans MS" panose="030F0902030302020204" pitchFamily="66" charset="0"/>
            </a:endParaRPr>
          </a:p>
        </p:txBody>
      </p:sp>
      <p:sp>
        <p:nvSpPr>
          <p:cNvPr id="304" name="Google Shape;61;p12">
            <a:extLst>
              <a:ext uri="{FF2B5EF4-FFF2-40B4-BE49-F238E27FC236}">
                <a16:creationId xmlns:a16="http://schemas.microsoft.com/office/drawing/2014/main" id="{05F521D0-59A1-664A-9E4F-21C997419E20}"/>
              </a:ext>
            </a:extLst>
          </p:cNvPr>
          <p:cNvSpPr txBox="1">
            <a:spLocks/>
          </p:cNvSpPr>
          <p:nvPr/>
        </p:nvSpPr>
        <p:spPr>
          <a:xfrm>
            <a:off x="8282175" y="2326862"/>
            <a:ext cx="3521877" cy="261610"/>
          </a:xfrm>
          <a:prstGeom prst="rect">
            <a:avLst/>
          </a:prstGeom>
          <a:noFill/>
        </p:spPr>
        <p:txBody>
          <a:bodyPr wrap="square" rtlCol="0">
            <a:spAutoFit/>
          </a:bodyPr>
          <a:lstStyle>
            <a:defPPr>
              <a:defRPr lang="en-US"/>
            </a:defPPr>
            <a:lvl1pPr algn="ctr" defTabSz="457200">
              <a:defRPr sz="90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defRPr>
            </a:lvl1pPr>
          </a:lstStyle>
          <a:p>
            <a:pPr algn="l"/>
            <a:r>
              <a:rPr lang="en-US" sz="1100" dirty="0">
                <a:solidFill>
                  <a:srgbClr val="C5277F"/>
                </a:solidFill>
                <a:latin typeface="Comic Sans MS" panose="030F0902030302020204" pitchFamily="66" charset="0"/>
              </a:rPr>
              <a:t>An event streaming platform has two primary uses:</a:t>
            </a:r>
            <a:endParaRPr lang="es-ES_tradnl" sz="1100" dirty="0">
              <a:solidFill>
                <a:srgbClr val="C5277F"/>
              </a:solidFill>
              <a:latin typeface="Comic Sans MS" panose="030F0902030302020204" pitchFamily="66" charset="0"/>
            </a:endParaRPr>
          </a:p>
        </p:txBody>
      </p:sp>
      <p:sp>
        <p:nvSpPr>
          <p:cNvPr id="306" name="Google Shape;61;p12">
            <a:extLst>
              <a:ext uri="{FF2B5EF4-FFF2-40B4-BE49-F238E27FC236}">
                <a16:creationId xmlns:a16="http://schemas.microsoft.com/office/drawing/2014/main" id="{BABD5555-FD98-1540-8B0D-56C11B98229E}"/>
              </a:ext>
            </a:extLst>
          </p:cNvPr>
          <p:cNvSpPr txBox="1">
            <a:spLocks/>
          </p:cNvSpPr>
          <p:nvPr/>
        </p:nvSpPr>
        <p:spPr>
          <a:xfrm>
            <a:off x="8127891" y="2634639"/>
            <a:ext cx="3650159" cy="1708160"/>
          </a:xfrm>
          <a:prstGeom prst="rect">
            <a:avLst/>
          </a:prstGeom>
          <a:noFill/>
        </p:spPr>
        <p:txBody>
          <a:bodyPr wrap="square" rtlCol="0">
            <a:spAutoFit/>
          </a:bodyPr>
          <a:lstStyle>
            <a:defPPr>
              <a:defRPr lang="en-US"/>
            </a:defPPr>
            <a:lvl1pPr algn="ctr" defTabSz="457200">
              <a:defRPr sz="90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defRPr>
            </a:lvl1pPr>
          </a:lstStyle>
          <a:p>
            <a:pPr marL="285750" indent="-285750" algn="l">
              <a:buFont typeface="Arial" panose="020B0604020202020204" pitchFamily="34" charset="0"/>
              <a:buChar char="•"/>
            </a:pPr>
            <a:r>
              <a:rPr lang="en-US" sz="1050" dirty="0">
                <a:latin typeface="Comic Sans MS" panose="030F0902030302020204" pitchFamily="66" charset="0"/>
              </a:rPr>
              <a:t>Stream processing: It enables continuous, real-time applications built to react to, process, or transform streams. This is the natural evolution of the world of Enterprise Messaging which focused on single message delivery, stream processing gives you that and more.</a:t>
            </a:r>
          </a:p>
          <a:p>
            <a:pPr marL="285750" indent="-285750" algn="l">
              <a:buFont typeface="Arial" panose="020B0604020202020204" pitchFamily="34" charset="0"/>
              <a:buChar char="•"/>
            </a:pPr>
            <a:r>
              <a:rPr lang="en-US" sz="1050" dirty="0">
                <a:latin typeface="Comic Sans MS" panose="030F0902030302020204" pitchFamily="66" charset="0"/>
              </a:rPr>
              <a:t>Data Integration: The event streaming platform captures streams of events or data changes and feeds these to other data systems such as relational databases, key-value stores, Hadoop, or</a:t>
            </a:r>
          </a:p>
        </p:txBody>
      </p:sp>
      <p:sp>
        <p:nvSpPr>
          <p:cNvPr id="311" name="Rectangle 310">
            <a:extLst>
              <a:ext uri="{FF2B5EF4-FFF2-40B4-BE49-F238E27FC236}">
                <a16:creationId xmlns:a16="http://schemas.microsoft.com/office/drawing/2014/main" id="{BA18D45F-7B0B-374D-B5B7-32D796A98AAB}"/>
              </a:ext>
            </a:extLst>
          </p:cNvPr>
          <p:cNvSpPr/>
          <p:nvPr/>
        </p:nvSpPr>
        <p:spPr>
          <a:xfrm>
            <a:off x="3611631" y="5342339"/>
            <a:ext cx="870936" cy="654816"/>
          </a:xfrm>
          <a:prstGeom prst="rect">
            <a:avLst/>
          </a:prstGeom>
          <a:solidFill>
            <a:srgbClr val="87CBD8">
              <a:alpha val="95000"/>
            </a:srgb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algn="ctr" defTabSz="457200"/>
            <a:r>
              <a:rPr lang="en-US" sz="900" dirty="0">
                <a:solidFill>
                  <a:srgbClr val="0067B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Storage Layer</a:t>
            </a:r>
          </a:p>
        </p:txBody>
      </p:sp>
      <p:cxnSp>
        <p:nvCxnSpPr>
          <p:cNvPr id="317" name="Straight Connector 316">
            <a:extLst>
              <a:ext uri="{FF2B5EF4-FFF2-40B4-BE49-F238E27FC236}">
                <a16:creationId xmlns:a16="http://schemas.microsoft.com/office/drawing/2014/main" id="{5323999B-833C-3948-9E36-9706C305A47F}"/>
              </a:ext>
            </a:extLst>
          </p:cNvPr>
          <p:cNvCxnSpPr>
            <a:cxnSpLocks/>
            <a:stCxn id="311" idx="3"/>
            <a:endCxn id="267" idx="1"/>
          </p:cNvCxnSpPr>
          <p:nvPr/>
        </p:nvCxnSpPr>
        <p:spPr>
          <a:xfrm>
            <a:off x="4482567" y="5669747"/>
            <a:ext cx="896382" cy="0"/>
          </a:xfrm>
          <a:prstGeom prst="line">
            <a:avLst/>
          </a:prstGeom>
          <a:ln w="12700">
            <a:solidFill>
              <a:srgbClr val="0079D1"/>
            </a:solidFill>
            <a:headEnd type="triangle"/>
          </a:ln>
        </p:spPr>
        <p:style>
          <a:lnRef idx="1">
            <a:schemeClr val="accent1"/>
          </a:lnRef>
          <a:fillRef idx="0">
            <a:schemeClr val="accent1"/>
          </a:fillRef>
          <a:effectRef idx="0">
            <a:schemeClr val="accent1"/>
          </a:effectRef>
          <a:fontRef idx="minor">
            <a:schemeClr val="tx1"/>
          </a:fontRef>
        </p:style>
      </p:cxnSp>
      <p:sp>
        <p:nvSpPr>
          <p:cNvPr id="67" name="Rectangle 66">
            <a:extLst>
              <a:ext uri="{FF2B5EF4-FFF2-40B4-BE49-F238E27FC236}">
                <a16:creationId xmlns:a16="http://schemas.microsoft.com/office/drawing/2014/main" id="{94211655-5374-8D41-B8BB-433BCF3436F1}"/>
              </a:ext>
            </a:extLst>
          </p:cNvPr>
          <p:cNvSpPr/>
          <p:nvPr/>
        </p:nvSpPr>
        <p:spPr>
          <a:xfrm>
            <a:off x="7138686" y="4424021"/>
            <a:ext cx="974535" cy="117409"/>
          </a:xfrm>
          <a:prstGeom prst="rect">
            <a:avLst/>
          </a:prstGeom>
          <a:solidFill>
            <a:srgbClr val="C5277F">
              <a:alpha val="95000"/>
            </a:srgb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algn="ctr" defTabSz="457200"/>
            <a:r>
              <a:rPr lang="en-US" sz="500" dirty="0" err="1">
                <a:solidFill>
                  <a:schemeClr val="bg1"/>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cmpCityStreamProcessing</a:t>
            </a:r>
            <a:endParaRPr lang="en-US" sz="500" dirty="0">
              <a:solidFill>
                <a:schemeClr val="bg1"/>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endParaRPr>
          </a:p>
        </p:txBody>
      </p:sp>
      <p:sp>
        <p:nvSpPr>
          <p:cNvPr id="87" name="Rectangle 86">
            <a:extLst>
              <a:ext uri="{FF2B5EF4-FFF2-40B4-BE49-F238E27FC236}">
                <a16:creationId xmlns:a16="http://schemas.microsoft.com/office/drawing/2014/main" id="{B097D293-E71A-8D4C-91ED-E91532EBB45C}"/>
              </a:ext>
            </a:extLst>
          </p:cNvPr>
          <p:cNvSpPr/>
          <p:nvPr/>
        </p:nvSpPr>
        <p:spPr>
          <a:xfrm>
            <a:off x="5148433" y="2605617"/>
            <a:ext cx="673182" cy="224779"/>
          </a:xfrm>
          <a:prstGeom prst="rect">
            <a:avLst/>
          </a:prstGeom>
          <a:solidFill>
            <a:srgbClr val="C5277F">
              <a:alpha val="95000"/>
            </a:srgb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algn="ctr" defTabSz="457200"/>
            <a:r>
              <a:rPr lang="en-US" sz="500" dirty="0" err="1">
                <a:solidFill>
                  <a:schemeClr val="bg1"/>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citiIntegrationSource</a:t>
            </a:r>
            <a:endParaRPr lang="en-US" sz="500" dirty="0">
              <a:solidFill>
                <a:schemeClr val="bg1"/>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endParaRPr>
          </a:p>
        </p:txBody>
      </p:sp>
      <p:sp>
        <p:nvSpPr>
          <p:cNvPr id="68" name="Rectangle 67">
            <a:extLst>
              <a:ext uri="{FF2B5EF4-FFF2-40B4-BE49-F238E27FC236}">
                <a16:creationId xmlns:a16="http://schemas.microsoft.com/office/drawing/2014/main" id="{E171D56C-D61D-F049-B217-D9CC06E2CAB2}"/>
              </a:ext>
            </a:extLst>
          </p:cNvPr>
          <p:cNvSpPr/>
          <p:nvPr/>
        </p:nvSpPr>
        <p:spPr>
          <a:xfrm>
            <a:off x="5862961" y="2604486"/>
            <a:ext cx="436165" cy="229005"/>
          </a:xfrm>
          <a:prstGeom prst="rect">
            <a:avLst/>
          </a:prstGeom>
          <a:solidFill>
            <a:srgbClr val="C5277F">
              <a:alpha val="95000"/>
            </a:srgb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algn="ctr" defTabSz="457200"/>
            <a:r>
              <a:rPr lang="en-US" sz="500" dirty="0">
                <a:solidFill>
                  <a:schemeClr val="bg1"/>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Data Capture</a:t>
            </a:r>
          </a:p>
        </p:txBody>
      </p:sp>
      <p:sp>
        <p:nvSpPr>
          <p:cNvPr id="90" name="Rectangle 89">
            <a:extLst>
              <a:ext uri="{FF2B5EF4-FFF2-40B4-BE49-F238E27FC236}">
                <a16:creationId xmlns:a16="http://schemas.microsoft.com/office/drawing/2014/main" id="{5CE128CC-F672-0648-A9C0-8300D69EFA87}"/>
              </a:ext>
            </a:extLst>
          </p:cNvPr>
          <p:cNvSpPr/>
          <p:nvPr/>
        </p:nvSpPr>
        <p:spPr>
          <a:xfrm>
            <a:off x="5279710" y="4631603"/>
            <a:ext cx="889598" cy="224779"/>
          </a:xfrm>
          <a:prstGeom prst="rect">
            <a:avLst/>
          </a:prstGeom>
          <a:solidFill>
            <a:srgbClr val="C5277F">
              <a:alpha val="95000"/>
            </a:srgb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algn="ctr" defTabSz="457200"/>
            <a:r>
              <a:rPr lang="en-US" sz="500" dirty="0" err="1">
                <a:solidFill>
                  <a:schemeClr val="bg1"/>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citiIntegrationSink</a:t>
            </a:r>
            <a:endParaRPr lang="en-US" sz="500" dirty="0">
              <a:solidFill>
                <a:schemeClr val="bg1"/>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endParaRPr>
          </a:p>
        </p:txBody>
      </p:sp>
    </p:spTree>
    <p:extLst>
      <p:ext uri="{BB962C8B-B14F-4D97-AF65-F5344CB8AC3E}">
        <p14:creationId xmlns:p14="http://schemas.microsoft.com/office/powerpoint/2010/main" val="2119241972"/>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tangle 3">
            <a:extLst>
              <a:ext uri="{FF2B5EF4-FFF2-40B4-BE49-F238E27FC236}">
                <a16:creationId xmlns:a16="http://schemas.microsoft.com/office/drawing/2014/main" id="{A27FD23C-A522-0E4F-B70C-CC83BC4542BA}"/>
              </a:ext>
            </a:extLst>
          </p:cNvPr>
          <p:cNvSpPr txBox="1"/>
          <p:nvPr/>
        </p:nvSpPr>
        <p:spPr>
          <a:xfrm>
            <a:off x="404806" y="82014"/>
            <a:ext cx="7585857" cy="400105"/>
          </a:xfrm>
          <a:prstGeom prst="rect">
            <a:avLst/>
          </a:prstGeom>
          <a:ln w="12700">
            <a:miter lim="400000"/>
          </a:ln>
          <a:extLst>
            <a:ext uri="{C572A759-6A51-4108-AA02-DFA0A04FC94B}">
              <ma14:wrappingTextBoxFlag xmlns:ma14="http://schemas.microsoft.com/office/mac/drawingml/2011/main" xmlns="" val="1"/>
            </a:ext>
          </a:extLst>
        </p:spPr>
        <p:txBody>
          <a:bodyPr wrap="square" lIns="45718" tIns="45718" rIns="45718" bIns="45718">
            <a:spAutoFit/>
          </a:bodyPr>
          <a:lstStyle>
            <a:lvl1pPr algn="l" defTabSz="914400">
              <a:defRPr sz="2200" b="1">
                <a:solidFill>
                  <a:srgbClr val="FFFFFF"/>
                </a:solidFill>
                <a:latin typeface="Arial"/>
                <a:ea typeface="Arial"/>
                <a:cs typeface="Arial"/>
                <a:sym typeface="Arial"/>
              </a:defRPr>
            </a:lvl1pPr>
          </a:lstStyle>
          <a:p>
            <a:r>
              <a:rPr lang="en-US" sz="2000" dirty="0">
                <a:solidFill>
                  <a:srgbClr val="016AA2"/>
                </a:solidFill>
              </a:rPr>
              <a:t>Needs and Solution Proposal (VII)</a:t>
            </a:r>
          </a:p>
        </p:txBody>
      </p:sp>
      <p:sp>
        <p:nvSpPr>
          <p:cNvPr id="65" name="Rectangle 3"/>
          <p:cNvSpPr txBox="1"/>
          <p:nvPr/>
        </p:nvSpPr>
        <p:spPr>
          <a:xfrm>
            <a:off x="404806" y="482119"/>
            <a:ext cx="6105721" cy="369328"/>
          </a:xfrm>
          <a:prstGeom prst="rect">
            <a:avLst/>
          </a:prstGeom>
          <a:ln w="12700">
            <a:miter lim="400000"/>
          </a:ln>
          <a:extLst>
            <a:ext uri="{C572A759-6A51-4108-AA02-DFA0A04FC94B}">
              <ma14:wrappingTextBoxFlag xmlns="" xmlns:ma14="http://schemas.microsoft.com/office/mac/drawingml/2011/main" val="1"/>
            </a:ext>
          </a:extLst>
        </p:spPr>
        <p:txBody>
          <a:bodyPr wrap="square" lIns="45718" tIns="45718" rIns="45718" bIns="45718">
            <a:spAutoFit/>
          </a:bodyPr>
          <a:lstStyle>
            <a:lvl1pPr algn="l" defTabSz="914400">
              <a:defRPr sz="2000">
                <a:solidFill>
                  <a:srgbClr val="104D6A"/>
                </a:solidFill>
                <a:latin typeface="Arial"/>
                <a:ea typeface="Arial"/>
                <a:cs typeface="Arial"/>
                <a:sym typeface="Arial"/>
              </a:defRPr>
            </a:lvl1pPr>
          </a:lstStyle>
          <a:p>
            <a:pPr>
              <a:defRPr/>
            </a:pPr>
            <a:r>
              <a:rPr lang="en-US" sz="1800" b="1" dirty="0">
                <a:solidFill>
                  <a:srgbClr val="73C4EF"/>
                </a:solidFill>
              </a:rPr>
              <a:t>Event Hub Architecture – Integration Patterns</a:t>
            </a:r>
          </a:p>
        </p:txBody>
      </p:sp>
      <p:sp>
        <p:nvSpPr>
          <p:cNvPr id="329" name="Rounded Rectangle 328">
            <a:extLst>
              <a:ext uri="{FF2B5EF4-FFF2-40B4-BE49-F238E27FC236}">
                <a16:creationId xmlns:a16="http://schemas.microsoft.com/office/drawing/2014/main" id="{67136803-906D-2043-9142-410F16E4CE18}"/>
              </a:ext>
            </a:extLst>
          </p:cNvPr>
          <p:cNvSpPr/>
          <p:nvPr/>
        </p:nvSpPr>
        <p:spPr>
          <a:xfrm>
            <a:off x="2401576" y="5515156"/>
            <a:ext cx="747829" cy="372555"/>
          </a:xfrm>
          <a:prstGeom prst="roundRect">
            <a:avLst/>
          </a:prstGeom>
          <a:solidFill>
            <a:schemeClr val="bg1"/>
          </a:solidFill>
          <a:ln w="3175">
            <a:solidFill>
              <a:schemeClr val="bg1">
                <a:lumMod val="65000"/>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b="1" dirty="0">
              <a:solidFill>
                <a:schemeClr val="bg1">
                  <a:lumMod val="50000"/>
                </a:schemeClr>
              </a:solidFill>
              <a:ea typeface="Nanum Pen Script" panose="03040600000000000000" pitchFamily="66" charset="-127"/>
            </a:endParaRPr>
          </a:p>
          <a:p>
            <a:pPr algn="ctr"/>
            <a:endParaRPr lang="en-US" sz="900" b="1" dirty="0">
              <a:solidFill>
                <a:schemeClr val="bg1">
                  <a:lumMod val="50000"/>
                </a:schemeClr>
              </a:solidFill>
              <a:ea typeface="Nanum Pen Script" panose="03040600000000000000" pitchFamily="66" charset="-127"/>
            </a:endParaRPr>
          </a:p>
          <a:p>
            <a:pPr algn="ctr"/>
            <a:endParaRPr lang="en-US" sz="900" b="1" dirty="0">
              <a:solidFill>
                <a:schemeClr val="bg1">
                  <a:lumMod val="50000"/>
                </a:schemeClr>
              </a:solidFill>
              <a:ea typeface="Nanum Pen Script" panose="03040600000000000000" pitchFamily="66" charset="-127"/>
            </a:endParaRPr>
          </a:p>
          <a:p>
            <a:pPr algn="ctr"/>
            <a:endParaRPr lang="en-US" sz="900" b="1" dirty="0">
              <a:solidFill>
                <a:schemeClr val="bg1">
                  <a:lumMod val="50000"/>
                </a:schemeClr>
              </a:solidFill>
              <a:ea typeface="Nanum Pen Script" panose="03040600000000000000" pitchFamily="66" charset="-127"/>
            </a:endParaRPr>
          </a:p>
          <a:p>
            <a:pPr algn="ctr"/>
            <a:endParaRPr lang="en-US" sz="800" b="1" dirty="0">
              <a:solidFill>
                <a:schemeClr val="bg1">
                  <a:lumMod val="50000"/>
                </a:schemeClr>
              </a:solidFill>
              <a:ea typeface="Nanum Pen Script" panose="03040600000000000000" pitchFamily="66" charset="-127"/>
            </a:endParaRPr>
          </a:p>
          <a:p>
            <a:pPr algn="ctr"/>
            <a:endParaRPr lang="en-US" sz="800" b="1" dirty="0">
              <a:solidFill>
                <a:schemeClr val="bg1">
                  <a:lumMod val="50000"/>
                </a:schemeClr>
              </a:solidFill>
              <a:ea typeface="Nanum Pen Script" panose="03040600000000000000" pitchFamily="66" charset="-127"/>
            </a:endParaRPr>
          </a:p>
          <a:p>
            <a:pPr algn="ctr">
              <a:spcBef>
                <a:spcPts val="0"/>
              </a:spcBef>
            </a:pPr>
            <a:r>
              <a:rPr lang="en-US" sz="8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rPr>
              <a:t>Unisys</a:t>
            </a:r>
          </a:p>
          <a:p>
            <a:pPr algn="ctr">
              <a:spcBef>
                <a:spcPts val="0"/>
              </a:spcBef>
            </a:pPr>
            <a:endParaRPr lang="en-US" sz="8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endParaRPr>
          </a:p>
          <a:p>
            <a:pPr algn="ctr">
              <a:spcBef>
                <a:spcPts val="0"/>
              </a:spcBef>
            </a:pPr>
            <a:endParaRPr lang="en-US" sz="8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endParaRPr>
          </a:p>
          <a:p>
            <a:pPr algn="ctr">
              <a:spcBef>
                <a:spcPts val="0"/>
              </a:spcBef>
            </a:pPr>
            <a:endParaRPr lang="en-US" dirty="0">
              <a:solidFill>
                <a:schemeClr val="tx1"/>
              </a:solidFill>
              <a:ea typeface="Nanum Pen Script" panose="03040600000000000000" pitchFamily="66" charset="-127"/>
            </a:endParaRPr>
          </a:p>
          <a:p>
            <a:pPr algn="ctr"/>
            <a:endParaRPr lang="en-US" dirty="0">
              <a:solidFill>
                <a:schemeClr val="tx1"/>
              </a:solidFill>
              <a:ea typeface="Nanum Pen Script" panose="03040600000000000000" pitchFamily="66" charset="-127"/>
            </a:endParaRPr>
          </a:p>
        </p:txBody>
      </p:sp>
      <p:sp>
        <p:nvSpPr>
          <p:cNvPr id="459" name="Rounded Rectangle 458">
            <a:extLst>
              <a:ext uri="{FF2B5EF4-FFF2-40B4-BE49-F238E27FC236}">
                <a16:creationId xmlns:a16="http://schemas.microsoft.com/office/drawing/2014/main" id="{73C5AA32-5C2D-6B48-9237-176346B8199E}"/>
              </a:ext>
            </a:extLst>
          </p:cNvPr>
          <p:cNvSpPr/>
          <p:nvPr/>
        </p:nvSpPr>
        <p:spPr>
          <a:xfrm>
            <a:off x="3696108" y="5816046"/>
            <a:ext cx="764371" cy="400105"/>
          </a:xfrm>
          <a:prstGeom prst="roundRect">
            <a:avLst/>
          </a:prstGeom>
          <a:solidFill>
            <a:schemeClr val="bg1">
              <a:lumMod val="85000"/>
            </a:schemeClr>
          </a:solidFill>
          <a:ln w="3175">
            <a:solidFill>
              <a:schemeClr val="bg1">
                <a:lumMod val="50000"/>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bg1">
                  <a:lumMod val="50000"/>
                </a:schemeClr>
              </a:solidFill>
              <a:latin typeface="+mj-lt"/>
              <a:ea typeface="Nanum Pen Script" panose="03040600000000000000" pitchFamily="66" charset="-127"/>
            </a:endParaRPr>
          </a:p>
          <a:p>
            <a:pPr algn="ctr"/>
            <a:endParaRPr lang="en-US" sz="700" dirty="0">
              <a:solidFill>
                <a:schemeClr val="bg1">
                  <a:lumMod val="50000"/>
                </a:schemeClr>
              </a:solidFill>
              <a:latin typeface="+mj-lt"/>
              <a:ea typeface="Nanum Pen Script" panose="03040600000000000000" pitchFamily="66" charset="-127"/>
            </a:endParaRPr>
          </a:p>
          <a:p>
            <a:pPr algn="ctr"/>
            <a:endParaRPr lang="en-US" sz="700" dirty="0">
              <a:solidFill>
                <a:schemeClr val="bg1">
                  <a:lumMod val="50000"/>
                </a:schemeClr>
              </a:solidFill>
              <a:latin typeface="+mj-lt"/>
              <a:ea typeface="Nanum Pen Script" panose="03040600000000000000" pitchFamily="66" charset="-127"/>
            </a:endParaRPr>
          </a:p>
          <a:p>
            <a:pPr algn="ctr"/>
            <a:endParaRPr lang="en-US" sz="700" dirty="0">
              <a:solidFill>
                <a:schemeClr val="bg1">
                  <a:lumMod val="50000"/>
                </a:schemeClr>
              </a:solidFill>
              <a:latin typeface="+mj-lt"/>
              <a:ea typeface="Nanum Pen Script" panose="03040600000000000000" pitchFamily="66" charset="-127"/>
            </a:endParaRPr>
          </a:p>
          <a:p>
            <a:pPr algn="ctr"/>
            <a:endParaRPr lang="en-US" sz="600" dirty="0">
              <a:solidFill>
                <a:schemeClr val="bg1">
                  <a:lumMod val="50000"/>
                </a:schemeClr>
              </a:solidFill>
              <a:latin typeface="+mj-lt"/>
              <a:ea typeface="Nanum Pen Script" panose="03040600000000000000" pitchFamily="66" charset="-127"/>
            </a:endParaRPr>
          </a:p>
          <a:p>
            <a:pPr algn="ctr"/>
            <a:r>
              <a:rPr lang="en-US" sz="800" dirty="0" err="1">
                <a:solidFill>
                  <a:schemeClr val="bg1">
                    <a:lumMod val="50000"/>
                  </a:schemeClr>
                </a:solidFill>
                <a:latin typeface="+mj-lt"/>
                <a:ea typeface="Nanum Pen Script" panose="03040600000000000000" pitchFamily="66" charset="-127"/>
              </a:rPr>
              <a:t>AbInitio</a:t>
            </a:r>
            <a:endParaRPr lang="en-US" sz="800" dirty="0">
              <a:solidFill>
                <a:schemeClr val="bg1">
                  <a:lumMod val="50000"/>
                </a:schemeClr>
              </a:solidFill>
              <a:latin typeface="+mj-lt"/>
              <a:ea typeface="Nanum Pen Script" panose="03040600000000000000" pitchFamily="66" charset="-127"/>
            </a:endParaRPr>
          </a:p>
          <a:p>
            <a:pPr algn="ctr"/>
            <a:r>
              <a:rPr lang="en-US" sz="800" dirty="0">
                <a:solidFill>
                  <a:schemeClr val="bg1">
                    <a:lumMod val="50000"/>
                  </a:schemeClr>
                </a:solidFill>
                <a:latin typeface="+mj-lt"/>
                <a:ea typeface="Nanum Pen Script" panose="03040600000000000000" pitchFamily="66" charset="-127"/>
              </a:rPr>
              <a:t>ETL</a:t>
            </a:r>
          </a:p>
          <a:p>
            <a:pPr algn="ctr"/>
            <a:endParaRPr lang="en-US" sz="800" dirty="0">
              <a:solidFill>
                <a:schemeClr val="bg1">
                  <a:lumMod val="50000"/>
                </a:schemeClr>
              </a:solidFill>
              <a:latin typeface="+mj-lt"/>
              <a:ea typeface="Nanum Pen Script" panose="03040600000000000000" pitchFamily="66" charset="-127"/>
            </a:endParaRPr>
          </a:p>
          <a:p>
            <a:pPr algn="ctr"/>
            <a:endParaRPr lang="en-US" sz="1400" dirty="0">
              <a:solidFill>
                <a:schemeClr val="tx1"/>
              </a:solidFill>
              <a:latin typeface="+mj-lt"/>
              <a:ea typeface="Nanum Pen Script" panose="03040600000000000000" pitchFamily="66" charset="-127"/>
            </a:endParaRPr>
          </a:p>
          <a:p>
            <a:pPr algn="ctr"/>
            <a:endParaRPr lang="en-US" sz="1400" dirty="0">
              <a:solidFill>
                <a:schemeClr val="tx1"/>
              </a:solidFill>
              <a:latin typeface="+mj-lt"/>
              <a:ea typeface="Nanum Pen Script" panose="03040600000000000000" pitchFamily="66" charset="-127"/>
            </a:endParaRPr>
          </a:p>
        </p:txBody>
      </p:sp>
      <p:cxnSp>
        <p:nvCxnSpPr>
          <p:cNvPr id="492" name="Elbow Connector 491">
            <a:extLst>
              <a:ext uri="{FF2B5EF4-FFF2-40B4-BE49-F238E27FC236}">
                <a16:creationId xmlns:a16="http://schemas.microsoft.com/office/drawing/2014/main" id="{37FC6BAF-B092-C346-A11C-874D03A96D49}"/>
              </a:ext>
            </a:extLst>
          </p:cNvPr>
          <p:cNvCxnSpPr>
            <a:cxnSpLocks/>
            <a:stCxn id="329" idx="3"/>
            <a:endCxn id="459" idx="1"/>
          </p:cNvCxnSpPr>
          <p:nvPr/>
        </p:nvCxnSpPr>
        <p:spPr>
          <a:xfrm>
            <a:off x="3149405" y="5701434"/>
            <a:ext cx="546703" cy="314665"/>
          </a:xfrm>
          <a:prstGeom prst="bentConnector3">
            <a:avLst>
              <a:gd name="adj1" fmla="val 50000"/>
            </a:avLst>
          </a:prstGeom>
          <a:ln>
            <a:solidFill>
              <a:schemeClr val="bg1">
                <a:lumMod val="50000"/>
              </a:schemeClr>
            </a:solidFill>
            <a:headEnd type="oval"/>
            <a:tailEnd type="triangle"/>
          </a:ln>
        </p:spPr>
        <p:style>
          <a:lnRef idx="1">
            <a:schemeClr val="accent1"/>
          </a:lnRef>
          <a:fillRef idx="0">
            <a:schemeClr val="accent1"/>
          </a:fillRef>
          <a:effectRef idx="0">
            <a:schemeClr val="accent1"/>
          </a:effectRef>
          <a:fontRef idx="minor">
            <a:schemeClr val="tx1"/>
          </a:fontRef>
        </p:style>
      </p:cxnSp>
      <p:sp>
        <p:nvSpPr>
          <p:cNvPr id="498" name="Rounded Rectangle 497">
            <a:extLst>
              <a:ext uri="{FF2B5EF4-FFF2-40B4-BE49-F238E27FC236}">
                <a16:creationId xmlns:a16="http://schemas.microsoft.com/office/drawing/2014/main" id="{AB072810-54A0-BD40-9FE6-60A848E442FB}"/>
              </a:ext>
            </a:extLst>
          </p:cNvPr>
          <p:cNvSpPr/>
          <p:nvPr/>
        </p:nvSpPr>
        <p:spPr>
          <a:xfrm>
            <a:off x="2395640" y="2391788"/>
            <a:ext cx="747829" cy="372555"/>
          </a:xfrm>
          <a:prstGeom prst="roundRect">
            <a:avLst/>
          </a:prstGeom>
          <a:solidFill>
            <a:schemeClr val="bg1"/>
          </a:solidFill>
          <a:ln w="3175">
            <a:solidFill>
              <a:schemeClr val="bg2">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b="1" dirty="0">
              <a:solidFill>
                <a:schemeClr val="bg1">
                  <a:lumMod val="50000"/>
                </a:schemeClr>
              </a:solidFill>
              <a:ea typeface="Nanum Pen Script" panose="03040600000000000000" pitchFamily="66" charset="-127"/>
            </a:endParaRPr>
          </a:p>
          <a:p>
            <a:pPr algn="ctr"/>
            <a:endParaRPr lang="en-US" sz="900" b="1" dirty="0">
              <a:solidFill>
                <a:schemeClr val="bg1">
                  <a:lumMod val="50000"/>
                </a:schemeClr>
              </a:solidFill>
              <a:ea typeface="Nanum Pen Script" panose="03040600000000000000" pitchFamily="66" charset="-127"/>
            </a:endParaRPr>
          </a:p>
          <a:p>
            <a:pPr algn="ctr"/>
            <a:endParaRPr lang="en-US" sz="900" b="1" dirty="0">
              <a:solidFill>
                <a:schemeClr val="bg1">
                  <a:lumMod val="50000"/>
                </a:schemeClr>
              </a:solidFill>
              <a:ea typeface="Nanum Pen Script" panose="03040600000000000000" pitchFamily="66" charset="-127"/>
            </a:endParaRPr>
          </a:p>
          <a:p>
            <a:pPr algn="ctr"/>
            <a:endParaRPr lang="en-US" sz="900" b="1" dirty="0">
              <a:solidFill>
                <a:schemeClr val="bg1">
                  <a:lumMod val="50000"/>
                </a:schemeClr>
              </a:solidFill>
              <a:ea typeface="Nanum Pen Script" panose="03040600000000000000" pitchFamily="66" charset="-127"/>
            </a:endParaRPr>
          </a:p>
          <a:p>
            <a:pPr algn="ctr"/>
            <a:endParaRPr lang="en-US" sz="800" b="1" dirty="0">
              <a:solidFill>
                <a:schemeClr val="bg1">
                  <a:lumMod val="50000"/>
                </a:schemeClr>
              </a:solidFill>
              <a:ea typeface="Nanum Pen Script" panose="03040600000000000000" pitchFamily="66" charset="-127"/>
            </a:endParaRPr>
          </a:p>
          <a:p>
            <a:pPr algn="ctr"/>
            <a:endParaRPr lang="en-US" sz="800" b="1" dirty="0">
              <a:solidFill>
                <a:schemeClr val="bg1">
                  <a:lumMod val="50000"/>
                </a:schemeClr>
              </a:solidFill>
              <a:ea typeface="Nanum Pen Script" panose="03040600000000000000" pitchFamily="66" charset="-127"/>
            </a:endParaRPr>
          </a:p>
          <a:p>
            <a:pPr algn="ctr">
              <a:spcBef>
                <a:spcPts val="0"/>
              </a:spcBef>
            </a:pPr>
            <a:r>
              <a:rPr lang="es-ES_tradnl" sz="8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rPr>
              <a:t>Alertas</a:t>
            </a:r>
          </a:p>
          <a:p>
            <a:pPr algn="ctr">
              <a:spcBef>
                <a:spcPts val="0"/>
              </a:spcBef>
            </a:pPr>
            <a:endParaRPr lang="es-ES_tradnl" sz="8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endParaRPr>
          </a:p>
          <a:p>
            <a:pPr algn="ctr">
              <a:spcBef>
                <a:spcPts val="0"/>
              </a:spcBef>
            </a:pPr>
            <a:endParaRPr lang="es-ES_tradnl" sz="8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endParaRPr>
          </a:p>
          <a:p>
            <a:pPr algn="ctr">
              <a:spcBef>
                <a:spcPts val="0"/>
              </a:spcBef>
            </a:pPr>
            <a:endParaRPr lang="en-US" dirty="0">
              <a:solidFill>
                <a:schemeClr val="tx1"/>
              </a:solidFill>
              <a:ea typeface="Nanum Pen Script" panose="03040600000000000000" pitchFamily="66" charset="-127"/>
            </a:endParaRPr>
          </a:p>
          <a:p>
            <a:pPr algn="ctr"/>
            <a:endParaRPr lang="en-US" dirty="0">
              <a:solidFill>
                <a:schemeClr val="tx1"/>
              </a:solidFill>
              <a:ea typeface="Nanum Pen Script" panose="03040600000000000000" pitchFamily="66" charset="-127"/>
            </a:endParaRPr>
          </a:p>
        </p:txBody>
      </p:sp>
      <p:cxnSp>
        <p:nvCxnSpPr>
          <p:cNvPr id="499" name="Elbow Connector 498">
            <a:extLst>
              <a:ext uri="{FF2B5EF4-FFF2-40B4-BE49-F238E27FC236}">
                <a16:creationId xmlns:a16="http://schemas.microsoft.com/office/drawing/2014/main" id="{71296C1D-5890-3F4B-B4EF-3A2AFE4157D6}"/>
              </a:ext>
            </a:extLst>
          </p:cNvPr>
          <p:cNvCxnSpPr>
            <a:cxnSpLocks/>
            <a:stCxn id="498" idx="3"/>
            <a:endCxn id="1414" idx="1"/>
          </p:cNvCxnSpPr>
          <p:nvPr/>
        </p:nvCxnSpPr>
        <p:spPr>
          <a:xfrm>
            <a:off x="3143469" y="2578066"/>
            <a:ext cx="1721655" cy="1841208"/>
          </a:xfrm>
          <a:prstGeom prst="bentConnector3">
            <a:avLst>
              <a:gd name="adj1" fmla="val 50000"/>
            </a:avLst>
          </a:prstGeom>
          <a:ln>
            <a:solidFill>
              <a:schemeClr val="bg1">
                <a:lumMod val="50000"/>
              </a:schemeClr>
            </a:solidFill>
            <a:headEnd type="oval"/>
            <a:tailEnd type="triangle"/>
          </a:ln>
        </p:spPr>
        <p:style>
          <a:lnRef idx="1">
            <a:schemeClr val="accent1"/>
          </a:lnRef>
          <a:fillRef idx="0">
            <a:schemeClr val="accent1"/>
          </a:fillRef>
          <a:effectRef idx="0">
            <a:schemeClr val="accent1"/>
          </a:effectRef>
          <a:fontRef idx="minor">
            <a:schemeClr val="tx1"/>
          </a:fontRef>
        </p:style>
      </p:cxnSp>
      <p:sp>
        <p:nvSpPr>
          <p:cNvPr id="518" name="Rounded Rectangle 517">
            <a:extLst>
              <a:ext uri="{FF2B5EF4-FFF2-40B4-BE49-F238E27FC236}">
                <a16:creationId xmlns:a16="http://schemas.microsoft.com/office/drawing/2014/main" id="{5251A1D2-EF0D-AA4F-A94C-80C369FA8F04}"/>
              </a:ext>
            </a:extLst>
          </p:cNvPr>
          <p:cNvSpPr/>
          <p:nvPr/>
        </p:nvSpPr>
        <p:spPr>
          <a:xfrm>
            <a:off x="10930707" y="4062544"/>
            <a:ext cx="861873" cy="372555"/>
          </a:xfrm>
          <a:prstGeom prst="roundRect">
            <a:avLst/>
          </a:prstGeom>
          <a:solidFill>
            <a:schemeClr val="bg1">
              <a:lumMod val="85000"/>
            </a:schemeClr>
          </a:solidFill>
          <a:ln w="3175">
            <a:solidFill>
              <a:schemeClr val="bg1">
                <a:lumMod val="50000"/>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b="1" dirty="0">
              <a:solidFill>
                <a:schemeClr val="bg1">
                  <a:lumMod val="50000"/>
                </a:schemeClr>
              </a:solidFill>
              <a:latin typeface="+mj-lt"/>
              <a:ea typeface="Nanum Pen Script" panose="03040600000000000000" pitchFamily="66" charset="-127"/>
            </a:endParaRPr>
          </a:p>
          <a:p>
            <a:pPr algn="ctr"/>
            <a:endParaRPr lang="en-US" sz="900" b="1" dirty="0">
              <a:solidFill>
                <a:schemeClr val="bg1">
                  <a:lumMod val="50000"/>
                </a:schemeClr>
              </a:solidFill>
              <a:latin typeface="+mj-lt"/>
              <a:ea typeface="Nanum Pen Script" panose="03040600000000000000" pitchFamily="66" charset="-127"/>
            </a:endParaRPr>
          </a:p>
          <a:p>
            <a:pPr algn="ctr"/>
            <a:endParaRPr lang="en-US" sz="900" b="1" dirty="0">
              <a:solidFill>
                <a:schemeClr val="bg1">
                  <a:lumMod val="50000"/>
                </a:schemeClr>
              </a:solidFill>
              <a:latin typeface="+mj-lt"/>
              <a:ea typeface="Nanum Pen Script" panose="03040600000000000000" pitchFamily="66" charset="-127"/>
            </a:endParaRPr>
          </a:p>
          <a:p>
            <a:pPr algn="ctr"/>
            <a:endParaRPr lang="en-US" sz="900" b="1" dirty="0">
              <a:solidFill>
                <a:schemeClr val="bg1">
                  <a:lumMod val="50000"/>
                </a:schemeClr>
              </a:solidFill>
              <a:latin typeface="+mj-lt"/>
              <a:ea typeface="Nanum Pen Script" panose="03040600000000000000" pitchFamily="66" charset="-127"/>
            </a:endParaRPr>
          </a:p>
          <a:p>
            <a:pPr algn="ctr"/>
            <a:endParaRPr lang="en-US" sz="800" b="1" dirty="0">
              <a:solidFill>
                <a:schemeClr val="bg1">
                  <a:lumMod val="50000"/>
                </a:schemeClr>
              </a:solidFill>
              <a:latin typeface="+mj-lt"/>
              <a:ea typeface="Nanum Pen Script" panose="03040600000000000000" pitchFamily="66" charset="-127"/>
            </a:endParaRPr>
          </a:p>
          <a:p>
            <a:pPr algn="ctr"/>
            <a:endParaRPr lang="en-US" sz="800" b="1" dirty="0">
              <a:solidFill>
                <a:schemeClr val="bg1">
                  <a:lumMod val="50000"/>
                </a:schemeClr>
              </a:solidFill>
              <a:latin typeface="+mj-lt"/>
              <a:ea typeface="Nanum Pen Script" panose="03040600000000000000" pitchFamily="66" charset="-127"/>
            </a:endParaRPr>
          </a:p>
          <a:p>
            <a:pPr algn="ctr">
              <a:spcBef>
                <a:spcPts val="0"/>
              </a:spcBef>
            </a:pPr>
            <a:endParaRPr lang="en-US" sz="8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endParaRPr>
          </a:p>
          <a:p>
            <a:pPr algn="ctr">
              <a:spcBef>
                <a:spcPts val="0"/>
              </a:spcBef>
            </a:pPr>
            <a:r>
              <a:rPr lang="en-US" sz="8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Mongo</a:t>
            </a:r>
          </a:p>
          <a:p>
            <a:pPr algn="ctr">
              <a:spcBef>
                <a:spcPts val="0"/>
              </a:spcBef>
            </a:pPr>
            <a:endParaRPr lang="en-US" sz="8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endParaRPr>
          </a:p>
          <a:p>
            <a:pPr algn="ctr">
              <a:spcBef>
                <a:spcPts val="0"/>
              </a:spcBef>
            </a:pPr>
            <a:endParaRPr lang="en-US" sz="8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endParaRPr>
          </a:p>
          <a:p>
            <a:pPr algn="ctr">
              <a:spcBef>
                <a:spcPts val="0"/>
              </a:spcBef>
            </a:pPr>
            <a:endParaRPr lang="en-US" sz="8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endParaRPr>
          </a:p>
          <a:p>
            <a:pPr algn="ctr">
              <a:spcBef>
                <a:spcPts val="0"/>
              </a:spcBef>
            </a:pPr>
            <a:endParaRPr lang="en-US" dirty="0">
              <a:solidFill>
                <a:schemeClr val="tx1"/>
              </a:solidFill>
              <a:latin typeface="+mj-lt"/>
              <a:ea typeface="Nanum Pen Script" panose="03040600000000000000" pitchFamily="66" charset="-127"/>
            </a:endParaRPr>
          </a:p>
          <a:p>
            <a:pPr algn="ctr"/>
            <a:endParaRPr lang="en-US" dirty="0">
              <a:solidFill>
                <a:schemeClr val="tx1"/>
              </a:solidFill>
              <a:latin typeface="+mj-lt"/>
              <a:ea typeface="Nanum Pen Script" panose="03040600000000000000" pitchFamily="66" charset="-127"/>
            </a:endParaRPr>
          </a:p>
        </p:txBody>
      </p:sp>
      <p:sp>
        <p:nvSpPr>
          <p:cNvPr id="520" name="Rounded Rectangle 519">
            <a:extLst>
              <a:ext uri="{FF2B5EF4-FFF2-40B4-BE49-F238E27FC236}">
                <a16:creationId xmlns:a16="http://schemas.microsoft.com/office/drawing/2014/main" id="{8EBB48E2-2A67-B848-9E72-D64B9C62F5D4}"/>
              </a:ext>
            </a:extLst>
          </p:cNvPr>
          <p:cNvSpPr/>
          <p:nvPr/>
        </p:nvSpPr>
        <p:spPr>
          <a:xfrm>
            <a:off x="10921563" y="3569753"/>
            <a:ext cx="861873" cy="372555"/>
          </a:xfrm>
          <a:prstGeom prst="roundRect">
            <a:avLst/>
          </a:prstGeom>
          <a:solidFill>
            <a:schemeClr val="bg1">
              <a:lumMod val="85000"/>
            </a:schemeClr>
          </a:solidFill>
          <a:ln w="3175">
            <a:solidFill>
              <a:schemeClr val="bg1">
                <a:lumMod val="50000"/>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b="1" dirty="0">
              <a:solidFill>
                <a:schemeClr val="bg1">
                  <a:lumMod val="50000"/>
                </a:schemeClr>
              </a:solidFill>
              <a:latin typeface="+mj-lt"/>
              <a:ea typeface="Nanum Pen Script" panose="03040600000000000000" pitchFamily="66" charset="-127"/>
            </a:endParaRPr>
          </a:p>
          <a:p>
            <a:pPr algn="ctr"/>
            <a:endParaRPr lang="en-US" sz="900" b="1" dirty="0">
              <a:solidFill>
                <a:schemeClr val="bg1">
                  <a:lumMod val="50000"/>
                </a:schemeClr>
              </a:solidFill>
              <a:latin typeface="+mj-lt"/>
              <a:ea typeface="Nanum Pen Script" panose="03040600000000000000" pitchFamily="66" charset="-127"/>
            </a:endParaRPr>
          </a:p>
          <a:p>
            <a:pPr algn="ctr"/>
            <a:endParaRPr lang="en-US" sz="900" b="1" dirty="0">
              <a:solidFill>
                <a:schemeClr val="bg1">
                  <a:lumMod val="50000"/>
                </a:schemeClr>
              </a:solidFill>
              <a:latin typeface="+mj-lt"/>
              <a:ea typeface="Nanum Pen Script" panose="03040600000000000000" pitchFamily="66" charset="-127"/>
            </a:endParaRPr>
          </a:p>
          <a:p>
            <a:pPr algn="ctr"/>
            <a:endParaRPr lang="en-US" sz="900" b="1" dirty="0">
              <a:solidFill>
                <a:schemeClr val="bg1">
                  <a:lumMod val="50000"/>
                </a:schemeClr>
              </a:solidFill>
              <a:latin typeface="+mj-lt"/>
              <a:ea typeface="Nanum Pen Script" panose="03040600000000000000" pitchFamily="66" charset="-127"/>
            </a:endParaRPr>
          </a:p>
          <a:p>
            <a:pPr algn="ctr"/>
            <a:endParaRPr lang="en-US" sz="800" b="1" dirty="0">
              <a:solidFill>
                <a:schemeClr val="bg1">
                  <a:lumMod val="50000"/>
                </a:schemeClr>
              </a:solidFill>
              <a:latin typeface="+mj-lt"/>
              <a:ea typeface="Nanum Pen Script" panose="03040600000000000000" pitchFamily="66" charset="-127"/>
            </a:endParaRPr>
          </a:p>
          <a:p>
            <a:pPr algn="ctr"/>
            <a:endParaRPr lang="en-US" sz="800" b="1" dirty="0">
              <a:solidFill>
                <a:schemeClr val="bg1">
                  <a:lumMod val="50000"/>
                </a:schemeClr>
              </a:solidFill>
              <a:latin typeface="+mj-lt"/>
              <a:ea typeface="Nanum Pen Script" panose="03040600000000000000" pitchFamily="66" charset="-127"/>
            </a:endParaRPr>
          </a:p>
          <a:p>
            <a:pPr algn="ctr">
              <a:spcBef>
                <a:spcPts val="0"/>
              </a:spcBef>
            </a:pPr>
            <a:endParaRPr lang="en-US" sz="8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endParaRPr>
          </a:p>
          <a:p>
            <a:pPr algn="ctr">
              <a:spcBef>
                <a:spcPts val="0"/>
              </a:spcBef>
            </a:pPr>
            <a:r>
              <a:rPr lang="en-US" sz="8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EAP</a:t>
            </a:r>
          </a:p>
          <a:p>
            <a:pPr algn="ctr">
              <a:spcBef>
                <a:spcPts val="0"/>
              </a:spcBef>
            </a:pPr>
            <a:endParaRPr lang="en-US" sz="8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endParaRPr>
          </a:p>
          <a:p>
            <a:pPr algn="ctr">
              <a:spcBef>
                <a:spcPts val="0"/>
              </a:spcBef>
            </a:pPr>
            <a:endParaRPr lang="en-US" sz="8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endParaRPr>
          </a:p>
          <a:p>
            <a:pPr algn="ctr">
              <a:spcBef>
                <a:spcPts val="0"/>
              </a:spcBef>
            </a:pPr>
            <a:endParaRPr lang="en-US" sz="8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endParaRPr>
          </a:p>
          <a:p>
            <a:pPr algn="ctr">
              <a:spcBef>
                <a:spcPts val="0"/>
              </a:spcBef>
            </a:pPr>
            <a:endParaRPr lang="en-US" dirty="0">
              <a:solidFill>
                <a:schemeClr val="tx1"/>
              </a:solidFill>
              <a:latin typeface="+mj-lt"/>
              <a:ea typeface="Nanum Pen Script" panose="03040600000000000000" pitchFamily="66" charset="-127"/>
            </a:endParaRPr>
          </a:p>
          <a:p>
            <a:pPr algn="ctr"/>
            <a:endParaRPr lang="en-US" dirty="0">
              <a:solidFill>
                <a:schemeClr val="tx1"/>
              </a:solidFill>
              <a:latin typeface="+mj-lt"/>
              <a:ea typeface="Nanum Pen Script" panose="03040600000000000000" pitchFamily="66" charset="-127"/>
            </a:endParaRPr>
          </a:p>
        </p:txBody>
      </p:sp>
      <p:cxnSp>
        <p:nvCxnSpPr>
          <p:cNvPr id="531" name="Elbow Connector 530">
            <a:extLst>
              <a:ext uri="{FF2B5EF4-FFF2-40B4-BE49-F238E27FC236}">
                <a16:creationId xmlns:a16="http://schemas.microsoft.com/office/drawing/2014/main" id="{331E5209-D5AD-6C48-940F-D1636152CAFB}"/>
              </a:ext>
            </a:extLst>
          </p:cNvPr>
          <p:cNvCxnSpPr>
            <a:cxnSpLocks/>
            <a:stCxn id="459" idx="3"/>
            <a:endCxn id="1337" idx="2"/>
          </p:cNvCxnSpPr>
          <p:nvPr/>
        </p:nvCxnSpPr>
        <p:spPr>
          <a:xfrm>
            <a:off x="4460479" y="6016099"/>
            <a:ext cx="2425581" cy="110660"/>
          </a:xfrm>
          <a:prstGeom prst="bentConnector4">
            <a:avLst>
              <a:gd name="adj1" fmla="val 8701"/>
              <a:gd name="adj2" fmla="val 306579"/>
            </a:avLst>
          </a:prstGeom>
          <a:ln>
            <a:solidFill>
              <a:schemeClr val="bg1">
                <a:lumMod val="50000"/>
              </a:schemeClr>
            </a:solidFill>
            <a:headEnd type="oval"/>
            <a:tailEnd type="triangle"/>
          </a:ln>
        </p:spPr>
        <p:style>
          <a:lnRef idx="1">
            <a:schemeClr val="accent1"/>
          </a:lnRef>
          <a:fillRef idx="0">
            <a:schemeClr val="accent1"/>
          </a:fillRef>
          <a:effectRef idx="0">
            <a:schemeClr val="accent1"/>
          </a:effectRef>
          <a:fontRef idx="minor">
            <a:schemeClr val="tx1"/>
          </a:fontRef>
        </p:style>
      </p:cxnSp>
      <p:sp>
        <p:nvSpPr>
          <p:cNvPr id="619" name="Rounded Rectangle 618">
            <a:extLst>
              <a:ext uri="{FF2B5EF4-FFF2-40B4-BE49-F238E27FC236}">
                <a16:creationId xmlns:a16="http://schemas.microsoft.com/office/drawing/2014/main" id="{E52D6D4B-2520-A643-A6F5-84405BE3DDDA}"/>
              </a:ext>
            </a:extLst>
          </p:cNvPr>
          <p:cNvSpPr/>
          <p:nvPr/>
        </p:nvSpPr>
        <p:spPr>
          <a:xfrm>
            <a:off x="2404784" y="1946695"/>
            <a:ext cx="738685" cy="372555"/>
          </a:xfrm>
          <a:prstGeom prst="roundRect">
            <a:avLst/>
          </a:prstGeom>
          <a:solidFill>
            <a:schemeClr val="bg1"/>
          </a:solidFill>
          <a:ln w="3175">
            <a:solidFill>
              <a:schemeClr val="bg2">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b="1" dirty="0">
              <a:solidFill>
                <a:schemeClr val="bg1">
                  <a:lumMod val="50000"/>
                </a:schemeClr>
              </a:solidFill>
              <a:ea typeface="Nanum Pen Script" panose="03040600000000000000" pitchFamily="66" charset="-127"/>
            </a:endParaRPr>
          </a:p>
          <a:p>
            <a:pPr algn="ctr"/>
            <a:endParaRPr lang="en-US" sz="900" b="1" dirty="0">
              <a:solidFill>
                <a:schemeClr val="bg1">
                  <a:lumMod val="50000"/>
                </a:schemeClr>
              </a:solidFill>
              <a:ea typeface="Nanum Pen Script" panose="03040600000000000000" pitchFamily="66" charset="-127"/>
            </a:endParaRPr>
          </a:p>
          <a:p>
            <a:pPr algn="ctr"/>
            <a:endParaRPr lang="en-US" sz="900" b="1" dirty="0">
              <a:solidFill>
                <a:schemeClr val="bg1">
                  <a:lumMod val="50000"/>
                </a:schemeClr>
              </a:solidFill>
              <a:ea typeface="Nanum Pen Script" panose="03040600000000000000" pitchFamily="66" charset="-127"/>
            </a:endParaRPr>
          </a:p>
          <a:p>
            <a:pPr algn="ctr"/>
            <a:endParaRPr lang="en-US" sz="900" b="1" dirty="0">
              <a:solidFill>
                <a:schemeClr val="bg1">
                  <a:lumMod val="50000"/>
                </a:schemeClr>
              </a:solidFill>
              <a:ea typeface="Nanum Pen Script" panose="03040600000000000000" pitchFamily="66" charset="-127"/>
            </a:endParaRPr>
          </a:p>
          <a:p>
            <a:pPr algn="ctr"/>
            <a:endParaRPr lang="en-US" sz="800" b="1" dirty="0">
              <a:solidFill>
                <a:schemeClr val="bg1">
                  <a:lumMod val="50000"/>
                </a:schemeClr>
              </a:solidFill>
              <a:ea typeface="Nanum Pen Script" panose="03040600000000000000" pitchFamily="66" charset="-127"/>
            </a:endParaRPr>
          </a:p>
          <a:p>
            <a:pPr algn="ctr"/>
            <a:endParaRPr lang="en-US" sz="800" b="1" dirty="0">
              <a:solidFill>
                <a:schemeClr val="bg1">
                  <a:lumMod val="50000"/>
                </a:schemeClr>
              </a:solidFill>
              <a:ea typeface="Nanum Pen Script" panose="03040600000000000000" pitchFamily="66" charset="-127"/>
            </a:endParaRPr>
          </a:p>
          <a:p>
            <a:pPr algn="ctr">
              <a:spcBef>
                <a:spcPts val="0"/>
              </a:spcBef>
            </a:pPr>
            <a:r>
              <a:rPr lang="es-ES_tradnl" sz="800" dirty="0" err="1">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rPr>
              <a:t>ATM´s</a:t>
            </a:r>
            <a:endParaRPr lang="es-ES_tradnl" sz="8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endParaRPr>
          </a:p>
          <a:p>
            <a:pPr algn="ctr">
              <a:spcBef>
                <a:spcPts val="0"/>
              </a:spcBef>
            </a:pPr>
            <a:endParaRPr lang="es-ES_tradnl" sz="8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endParaRPr>
          </a:p>
          <a:p>
            <a:pPr algn="ctr">
              <a:spcBef>
                <a:spcPts val="0"/>
              </a:spcBef>
            </a:pPr>
            <a:endParaRPr lang="es-ES_tradnl" sz="8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endParaRPr>
          </a:p>
          <a:p>
            <a:pPr algn="ctr">
              <a:spcBef>
                <a:spcPts val="0"/>
              </a:spcBef>
            </a:pPr>
            <a:endParaRPr lang="en-US" dirty="0">
              <a:solidFill>
                <a:schemeClr val="tx1"/>
              </a:solidFill>
              <a:ea typeface="Nanum Pen Script" panose="03040600000000000000" pitchFamily="66" charset="-127"/>
            </a:endParaRPr>
          </a:p>
          <a:p>
            <a:pPr algn="ctr"/>
            <a:endParaRPr lang="en-US" dirty="0">
              <a:solidFill>
                <a:schemeClr val="tx1"/>
              </a:solidFill>
              <a:ea typeface="Nanum Pen Script" panose="03040600000000000000" pitchFamily="66" charset="-127"/>
            </a:endParaRPr>
          </a:p>
        </p:txBody>
      </p:sp>
      <p:cxnSp>
        <p:nvCxnSpPr>
          <p:cNvPr id="620" name="Elbow Connector 619">
            <a:extLst>
              <a:ext uri="{FF2B5EF4-FFF2-40B4-BE49-F238E27FC236}">
                <a16:creationId xmlns:a16="http://schemas.microsoft.com/office/drawing/2014/main" id="{4FC36926-7F4C-EC44-B44D-59014EDCF3F1}"/>
              </a:ext>
            </a:extLst>
          </p:cNvPr>
          <p:cNvCxnSpPr>
            <a:cxnSpLocks/>
            <a:stCxn id="619" idx="3"/>
            <a:endCxn id="1414" idx="1"/>
          </p:cNvCxnSpPr>
          <p:nvPr/>
        </p:nvCxnSpPr>
        <p:spPr>
          <a:xfrm>
            <a:off x="3143469" y="2132973"/>
            <a:ext cx="1721655" cy="2286301"/>
          </a:xfrm>
          <a:prstGeom prst="bentConnector3">
            <a:avLst>
              <a:gd name="adj1" fmla="val 50000"/>
            </a:avLst>
          </a:prstGeom>
          <a:ln>
            <a:solidFill>
              <a:schemeClr val="bg1">
                <a:lumMod val="50000"/>
              </a:schemeClr>
            </a:solidFill>
            <a:headEnd type="oval"/>
            <a:tailEnd type="triangle"/>
          </a:ln>
        </p:spPr>
        <p:style>
          <a:lnRef idx="1">
            <a:schemeClr val="accent1"/>
          </a:lnRef>
          <a:fillRef idx="0">
            <a:schemeClr val="accent1"/>
          </a:fillRef>
          <a:effectRef idx="0">
            <a:schemeClr val="accent1"/>
          </a:effectRef>
          <a:fontRef idx="minor">
            <a:schemeClr val="tx1"/>
          </a:fontRef>
        </p:style>
      </p:cxnSp>
      <p:grpSp>
        <p:nvGrpSpPr>
          <p:cNvPr id="637" name="Group 636">
            <a:extLst>
              <a:ext uri="{FF2B5EF4-FFF2-40B4-BE49-F238E27FC236}">
                <a16:creationId xmlns:a16="http://schemas.microsoft.com/office/drawing/2014/main" id="{107ED68E-6743-C843-8C72-68DA9C19A29C}"/>
              </a:ext>
            </a:extLst>
          </p:cNvPr>
          <p:cNvGrpSpPr/>
          <p:nvPr/>
        </p:nvGrpSpPr>
        <p:grpSpPr>
          <a:xfrm>
            <a:off x="3181637" y="1414204"/>
            <a:ext cx="229951" cy="200055"/>
            <a:chOff x="8676898" y="4619460"/>
            <a:chExt cx="229951" cy="200055"/>
          </a:xfrm>
        </p:grpSpPr>
        <p:sp>
          <p:nvSpPr>
            <p:cNvPr id="638" name="Google Shape;431;p39">
              <a:extLst>
                <a:ext uri="{FF2B5EF4-FFF2-40B4-BE49-F238E27FC236}">
                  <a16:creationId xmlns:a16="http://schemas.microsoft.com/office/drawing/2014/main" id="{80DC08AD-7313-8F49-AAE1-29675CFEBA9A}"/>
                </a:ext>
              </a:extLst>
            </p:cNvPr>
            <p:cNvSpPr/>
            <p:nvPr/>
          </p:nvSpPr>
          <p:spPr>
            <a:xfrm>
              <a:off x="8709950" y="4635551"/>
              <a:ext cx="179407" cy="167874"/>
            </a:xfrm>
            <a:custGeom>
              <a:avLst/>
              <a:gdLst/>
              <a:ahLst/>
              <a:cxnLst/>
              <a:rect l="0" t="0" r="0" b="0"/>
              <a:pathLst>
                <a:path w="67641" h="69056" extrusionOk="0">
                  <a:moveTo>
                    <a:pt x="49622" y="2736"/>
                  </a:moveTo>
                  <a:lnTo>
                    <a:pt x="49622" y="2736"/>
                  </a:lnTo>
                  <a:lnTo>
                    <a:pt x="49622" y="2736"/>
                  </a:lnTo>
                  <a:close/>
                  <a:moveTo>
                    <a:pt x="59622" y="55565"/>
                  </a:moveTo>
                  <a:lnTo>
                    <a:pt x="59622" y="55565"/>
                  </a:lnTo>
                  <a:lnTo>
                    <a:pt x="59622" y="55565"/>
                  </a:lnTo>
                  <a:close/>
                  <a:moveTo>
                    <a:pt x="35471" y="0"/>
                  </a:moveTo>
                  <a:lnTo>
                    <a:pt x="34433" y="95"/>
                  </a:lnTo>
                  <a:lnTo>
                    <a:pt x="33584" y="189"/>
                  </a:lnTo>
                  <a:lnTo>
                    <a:pt x="32735" y="378"/>
                  </a:lnTo>
                  <a:lnTo>
                    <a:pt x="32169" y="566"/>
                  </a:lnTo>
                  <a:lnTo>
                    <a:pt x="31509" y="472"/>
                  </a:lnTo>
                  <a:lnTo>
                    <a:pt x="30754" y="472"/>
                  </a:lnTo>
                  <a:lnTo>
                    <a:pt x="29339" y="566"/>
                  </a:lnTo>
                  <a:lnTo>
                    <a:pt x="27830" y="849"/>
                  </a:lnTo>
                  <a:lnTo>
                    <a:pt x="26320" y="1321"/>
                  </a:lnTo>
                  <a:lnTo>
                    <a:pt x="24811" y="1981"/>
                  </a:lnTo>
                  <a:lnTo>
                    <a:pt x="23207" y="2736"/>
                  </a:lnTo>
                  <a:lnTo>
                    <a:pt x="21698" y="3585"/>
                  </a:lnTo>
                  <a:lnTo>
                    <a:pt x="20188" y="4623"/>
                  </a:lnTo>
                  <a:lnTo>
                    <a:pt x="18679" y="5661"/>
                  </a:lnTo>
                  <a:lnTo>
                    <a:pt x="17170" y="6793"/>
                  </a:lnTo>
                  <a:lnTo>
                    <a:pt x="15754" y="8019"/>
                  </a:lnTo>
                  <a:lnTo>
                    <a:pt x="14434" y="9151"/>
                  </a:lnTo>
                  <a:lnTo>
                    <a:pt x="11981" y="11510"/>
                  </a:lnTo>
                  <a:lnTo>
                    <a:pt x="10000" y="13774"/>
                  </a:lnTo>
                  <a:lnTo>
                    <a:pt x="7736" y="16981"/>
                  </a:lnTo>
                  <a:lnTo>
                    <a:pt x="8019" y="16321"/>
                  </a:lnTo>
                  <a:lnTo>
                    <a:pt x="8302" y="15660"/>
                  </a:lnTo>
                  <a:lnTo>
                    <a:pt x="7736" y="16604"/>
                  </a:lnTo>
                  <a:lnTo>
                    <a:pt x="7075" y="17642"/>
                  </a:lnTo>
                  <a:lnTo>
                    <a:pt x="7170" y="17830"/>
                  </a:lnTo>
                  <a:lnTo>
                    <a:pt x="6509" y="18868"/>
                  </a:lnTo>
                  <a:lnTo>
                    <a:pt x="7075" y="17359"/>
                  </a:lnTo>
                  <a:lnTo>
                    <a:pt x="6132" y="19057"/>
                  </a:lnTo>
                  <a:lnTo>
                    <a:pt x="5189" y="20849"/>
                  </a:lnTo>
                  <a:lnTo>
                    <a:pt x="4434" y="22736"/>
                  </a:lnTo>
                  <a:lnTo>
                    <a:pt x="3679" y="24622"/>
                  </a:lnTo>
                  <a:lnTo>
                    <a:pt x="2453" y="28490"/>
                  </a:lnTo>
                  <a:lnTo>
                    <a:pt x="1321" y="32169"/>
                  </a:lnTo>
                  <a:lnTo>
                    <a:pt x="1509" y="32264"/>
                  </a:lnTo>
                  <a:lnTo>
                    <a:pt x="1604" y="32453"/>
                  </a:lnTo>
                  <a:lnTo>
                    <a:pt x="1604" y="32641"/>
                  </a:lnTo>
                  <a:lnTo>
                    <a:pt x="1509" y="32924"/>
                  </a:lnTo>
                  <a:lnTo>
                    <a:pt x="1226" y="33396"/>
                  </a:lnTo>
                  <a:lnTo>
                    <a:pt x="1038" y="33585"/>
                  </a:lnTo>
                  <a:lnTo>
                    <a:pt x="1038" y="33773"/>
                  </a:lnTo>
                  <a:lnTo>
                    <a:pt x="1038" y="35000"/>
                  </a:lnTo>
                  <a:lnTo>
                    <a:pt x="849" y="36132"/>
                  </a:lnTo>
                  <a:lnTo>
                    <a:pt x="660" y="37358"/>
                  </a:lnTo>
                  <a:lnTo>
                    <a:pt x="472" y="38867"/>
                  </a:lnTo>
                  <a:lnTo>
                    <a:pt x="283" y="38301"/>
                  </a:lnTo>
                  <a:lnTo>
                    <a:pt x="94" y="39811"/>
                  </a:lnTo>
                  <a:lnTo>
                    <a:pt x="0" y="41509"/>
                  </a:lnTo>
                  <a:lnTo>
                    <a:pt x="94" y="43301"/>
                  </a:lnTo>
                  <a:lnTo>
                    <a:pt x="283" y="44056"/>
                  </a:lnTo>
                  <a:lnTo>
                    <a:pt x="472" y="44622"/>
                  </a:lnTo>
                  <a:lnTo>
                    <a:pt x="566" y="45660"/>
                  </a:lnTo>
                  <a:lnTo>
                    <a:pt x="755" y="46792"/>
                  </a:lnTo>
                  <a:lnTo>
                    <a:pt x="1226" y="48962"/>
                  </a:lnTo>
                  <a:lnTo>
                    <a:pt x="1981" y="51037"/>
                  </a:lnTo>
                  <a:lnTo>
                    <a:pt x="2924" y="53112"/>
                  </a:lnTo>
                  <a:lnTo>
                    <a:pt x="4057" y="55094"/>
                  </a:lnTo>
                  <a:lnTo>
                    <a:pt x="5283" y="56980"/>
                  </a:lnTo>
                  <a:lnTo>
                    <a:pt x="6698" y="58678"/>
                  </a:lnTo>
                  <a:lnTo>
                    <a:pt x="8113" y="60282"/>
                  </a:lnTo>
                  <a:lnTo>
                    <a:pt x="9056" y="61131"/>
                  </a:lnTo>
                  <a:lnTo>
                    <a:pt x="10000" y="61980"/>
                  </a:lnTo>
                  <a:lnTo>
                    <a:pt x="11038" y="62829"/>
                  </a:lnTo>
                  <a:lnTo>
                    <a:pt x="12075" y="63584"/>
                  </a:lnTo>
                  <a:lnTo>
                    <a:pt x="14339" y="64905"/>
                  </a:lnTo>
                  <a:lnTo>
                    <a:pt x="16604" y="66131"/>
                  </a:lnTo>
                  <a:lnTo>
                    <a:pt x="19056" y="67169"/>
                  </a:lnTo>
                  <a:lnTo>
                    <a:pt x="21509" y="67923"/>
                  </a:lnTo>
                  <a:lnTo>
                    <a:pt x="24056" y="68584"/>
                  </a:lnTo>
                  <a:lnTo>
                    <a:pt x="26603" y="69055"/>
                  </a:lnTo>
                  <a:lnTo>
                    <a:pt x="27830" y="69055"/>
                  </a:lnTo>
                  <a:lnTo>
                    <a:pt x="30188" y="68867"/>
                  </a:lnTo>
                  <a:lnTo>
                    <a:pt x="33113" y="68678"/>
                  </a:lnTo>
                  <a:lnTo>
                    <a:pt x="36509" y="68301"/>
                  </a:lnTo>
                  <a:lnTo>
                    <a:pt x="39811" y="67923"/>
                  </a:lnTo>
                  <a:lnTo>
                    <a:pt x="42735" y="67452"/>
                  </a:lnTo>
                  <a:lnTo>
                    <a:pt x="44905" y="66980"/>
                  </a:lnTo>
                  <a:lnTo>
                    <a:pt x="45565" y="66791"/>
                  </a:lnTo>
                  <a:lnTo>
                    <a:pt x="45943" y="66508"/>
                  </a:lnTo>
                  <a:lnTo>
                    <a:pt x="47358" y="65942"/>
                  </a:lnTo>
                  <a:lnTo>
                    <a:pt x="48018" y="65565"/>
                  </a:lnTo>
                  <a:lnTo>
                    <a:pt x="48678" y="65188"/>
                  </a:lnTo>
                  <a:lnTo>
                    <a:pt x="47924" y="65471"/>
                  </a:lnTo>
                  <a:lnTo>
                    <a:pt x="51509" y="62924"/>
                  </a:lnTo>
                  <a:lnTo>
                    <a:pt x="53301" y="61508"/>
                  </a:lnTo>
                  <a:lnTo>
                    <a:pt x="55093" y="59905"/>
                  </a:lnTo>
                  <a:lnTo>
                    <a:pt x="55093" y="59905"/>
                  </a:lnTo>
                  <a:lnTo>
                    <a:pt x="54810" y="60376"/>
                  </a:lnTo>
                  <a:lnTo>
                    <a:pt x="54339" y="60754"/>
                  </a:lnTo>
                  <a:lnTo>
                    <a:pt x="55376" y="59999"/>
                  </a:lnTo>
                  <a:lnTo>
                    <a:pt x="56320" y="59056"/>
                  </a:lnTo>
                  <a:lnTo>
                    <a:pt x="57075" y="58395"/>
                  </a:lnTo>
                  <a:lnTo>
                    <a:pt x="57169" y="58207"/>
                  </a:lnTo>
                  <a:lnTo>
                    <a:pt x="57075" y="58207"/>
                  </a:lnTo>
                  <a:lnTo>
                    <a:pt x="57924" y="57546"/>
                  </a:lnTo>
                  <a:lnTo>
                    <a:pt x="58678" y="56697"/>
                  </a:lnTo>
                  <a:lnTo>
                    <a:pt x="59339" y="55754"/>
                  </a:lnTo>
                  <a:lnTo>
                    <a:pt x="59905" y="54905"/>
                  </a:lnTo>
                  <a:lnTo>
                    <a:pt x="59716" y="54999"/>
                  </a:lnTo>
                  <a:lnTo>
                    <a:pt x="59622" y="54999"/>
                  </a:lnTo>
                  <a:lnTo>
                    <a:pt x="59810" y="54622"/>
                  </a:lnTo>
                  <a:lnTo>
                    <a:pt x="59150" y="55565"/>
                  </a:lnTo>
                  <a:lnTo>
                    <a:pt x="59527" y="55094"/>
                  </a:lnTo>
                  <a:lnTo>
                    <a:pt x="59433" y="55377"/>
                  </a:lnTo>
                  <a:lnTo>
                    <a:pt x="58867" y="56037"/>
                  </a:lnTo>
                  <a:lnTo>
                    <a:pt x="59056" y="55660"/>
                  </a:lnTo>
                  <a:lnTo>
                    <a:pt x="59056" y="55660"/>
                  </a:lnTo>
                  <a:lnTo>
                    <a:pt x="58678" y="56037"/>
                  </a:lnTo>
                  <a:lnTo>
                    <a:pt x="59810" y="54339"/>
                  </a:lnTo>
                  <a:lnTo>
                    <a:pt x="60282" y="53490"/>
                  </a:lnTo>
                  <a:lnTo>
                    <a:pt x="60282" y="53301"/>
                  </a:lnTo>
                  <a:lnTo>
                    <a:pt x="60188" y="53395"/>
                  </a:lnTo>
                  <a:lnTo>
                    <a:pt x="60188" y="53395"/>
                  </a:lnTo>
                  <a:lnTo>
                    <a:pt x="60565" y="52924"/>
                  </a:lnTo>
                  <a:lnTo>
                    <a:pt x="61037" y="52452"/>
                  </a:lnTo>
                  <a:lnTo>
                    <a:pt x="61886" y="51509"/>
                  </a:lnTo>
                  <a:lnTo>
                    <a:pt x="61508" y="52452"/>
                  </a:lnTo>
                  <a:lnTo>
                    <a:pt x="60848" y="53584"/>
                  </a:lnTo>
                  <a:lnTo>
                    <a:pt x="59622" y="55565"/>
                  </a:lnTo>
                  <a:lnTo>
                    <a:pt x="60376" y="54528"/>
                  </a:lnTo>
                  <a:lnTo>
                    <a:pt x="60942" y="53678"/>
                  </a:lnTo>
                  <a:lnTo>
                    <a:pt x="61980" y="51792"/>
                  </a:lnTo>
                  <a:lnTo>
                    <a:pt x="61886" y="51886"/>
                  </a:lnTo>
                  <a:lnTo>
                    <a:pt x="61886" y="51697"/>
                  </a:lnTo>
                  <a:lnTo>
                    <a:pt x="62169" y="51037"/>
                  </a:lnTo>
                  <a:lnTo>
                    <a:pt x="62735" y="49999"/>
                  </a:lnTo>
                  <a:lnTo>
                    <a:pt x="61508" y="51603"/>
                  </a:lnTo>
                  <a:lnTo>
                    <a:pt x="61603" y="51037"/>
                  </a:lnTo>
                  <a:lnTo>
                    <a:pt x="61697" y="50377"/>
                  </a:lnTo>
                  <a:lnTo>
                    <a:pt x="62169" y="48962"/>
                  </a:lnTo>
                  <a:lnTo>
                    <a:pt x="62829" y="47358"/>
                  </a:lnTo>
                  <a:lnTo>
                    <a:pt x="63678" y="45565"/>
                  </a:lnTo>
                  <a:lnTo>
                    <a:pt x="65376" y="42169"/>
                  </a:lnTo>
                  <a:lnTo>
                    <a:pt x="66131" y="40660"/>
                  </a:lnTo>
                  <a:lnTo>
                    <a:pt x="66697" y="39339"/>
                  </a:lnTo>
                  <a:lnTo>
                    <a:pt x="66603" y="39528"/>
                  </a:lnTo>
                  <a:lnTo>
                    <a:pt x="66697" y="39056"/>
                  </a:lnTo>
                  <a:lnTo>
                    <a:pt x="66791" y="38962"/>
                  </a:lnTo>
                  <a:lnTo>
                    <a:pt x="66791" y="39056"/>
                  </a:lnTo>
                  <a:lnTo>
                    <a:pt x="66886" y="38584"/>
                  </a:lnTo>
                  <a:lnTo>
                    <a:pt x="66791" y="38867"/>
                  </a:lnTo>
                  <a:lnTo>
                    <a:pt x="66980" y="38207"/>
                  </a:lnTo>
                  <a:lnTo>
                    <a:pt x="67169" y="37264"/>
                  </a:lnTo>
                  <a:lnTo>
                    <a:pt x="67263" y="36415"/>
                  </a:lnTo>
                  <a:lnTo>
                    <a:pt x="67357" y="36509"/>
                  </a:lnTo>
                  <a:lnTo>
                    <a:pt x="67452" y="36509"/>
                  </a:lnTo>
                  <a:lnTo>
                    <a:pt x="67546" y="35943"/>
                  </a:lnTo>
                  <a:lnTo>
                    <a:pt x="67546" y="34811"/>
                  </a:lnTo>
                  <a:lnTo>
                    <a:pt x="67640" y="31037"/>
                  </a:lnTo>
                  <a:lnTo>
                    <a:pt x="67640" y="28490"/>
                  </a:lnTo>
                  <a:lnTo>
                    <a:pt x="67546" y="27736"/>
                  </a:lnTo>
                  <a:lnTo>
                    <a:pt x="67546" y="27547"/>
                  </a:lnTo>
                  <a:lnTo>
                    <a:pt x="67452" y="27547"/>
                  </a:lnTo>
                  <a:lnTo>
                    <a:pt x="67074" y="26792"/>
                  </a:lnTo>
                  <a:lnTo>
                    <a:pt x="66791" y="25660"/>
                  </a:lnTo>
                  <a:lnTo>
                    <a:pt x="66508" y="24528"/>
                  </a:lnTo>
                  <a:lnTo>
                    <a:pt x="66414" y="23585"/>
                  </a:lnTo>
                  <a:lnTo>
                    <a:pt x="66320" y="23679"/>
                  </a:lnTo>
                  <a:lnTo>
                    <a:pt x="66320" y="23490"/>
                  </a:lnTo>
                  <a:lnTo>
                    <a:pt x="65942" y="22924"/>
                  </a:lnTo>
                  <a:lnTo>
                    <a:pt x="65565" y="22358"/>
                  </a:lnTo>
                  <a:lnTo>
                    <a:pt x="64527" y="21132"/>
                  </a:lnTo>
                  <a:lnTo>
                    <a:pt x="63584" y="19906"/>
                  </a:lnTo>
                  <a:lnTo>
                    <a:pt x="63207" y="19340"/>
                  </a:lnTo>
                  <a:lnTo>
                    <a:pt x="63018" y="18774"/>
                  </a:lnTo>
                  <a:lnTo>
                    <a:pt x="63112" y="18962"/>
                  </a:lnTo>
                  <a:lnTo>
                    <a:pt x="63301" y="19057"/>
                  </a:lnTo>
                  <a:lnTo>
                    <a:pt x="63301" y="19057"/>
                  </a:lnTo>
                  <a:lnTo>
                    <a:pt x="63207" y="18868"/>
                  </a:lnTo>
                  <a:lnTo>
                    <a:pt x="62923" y="18491"/>
                  </a:lnTo>
                  <a:lnTo>
                    <a:pt x="61980" y="17453"/>
                  </a:lnTo>
                  <a:lnTo>
                    <a:pt x="61037" y="16509"/>
                  </a:lnTo>
                  <a:lnTo>
                    <a:pt x="61037" y="16698"/>
                  </a:lnTo>
                  <a:lnTo>
                    <a:pt x="61037" y="16887"/>
                  </a:lnTo>
                  <a:lnTo>
                    <a:pt x="60093" y="15943"/>
                  </a:lnTo>
                  <a:lnTo>
                    <a:pt x="60376" y="16321"/>
                  </a:lnTo>
                  <a:lnTo>
                    <a:pt x="59527" y="15377"/>
                  </a:lnTo>
                  <a:lnTo>
                    <a:pt x="59056" y="14906"/>
                  </a:lnTo>
                  <a:lnTo>
                    <a:pt x="59244" y="14906"/>
                  </a:lnTo>
                  <a:lnTo>
                    <a:pt x="59905" y="15472"/>
                  </a:lnTo>
                  <a:lnTo>
                    <a:pt x="59905" y="15472"/>
                  </a:lnTo>
                  <a:lnTo>
                    <a:pt x="57641" y="13396"/>
                  </a:lnTo>
                  <a:lnTo>
                    <a:pt x="58112" y="13868"/>
                  </a:lnTo>
                  <a:lnTo>
                    <a:pt x="56886" y="13019"/>
                  </a:lnTo>
                  <a:lnTo>
                    <a:pt x="55754" y="12453"/>
                  </a:lnTo>
                  <a:lnTo>
                    <a:pt x="56603" y="13113"/>
                  </a:lnTo>
                  <a:lnTo>
                    <a:pt x="57452" y="13774"/>
                  </a:lnTo>
                  <a:lnTo>
                    <a:pt x="58961" y="15283"/>
                  </a:lnTo>
                  <a:lnTo>
                    <a:pt x="60376" y="16604"/>
                  </a:lnTo>
                  <a:lnTo>
                    <a:pt x="61225" y="17264"/>
                  </a:lnTo>
                  <a:lnTo>
                    <a:pt x="62074" y="17925"/>
                  </a:lnTo>
                  <a:lnTo>
                    <a:pt x="62074" y="17925"/>
                  </a:lnTo>
                  <a:lnTo>
                    <a:pt x="61414" y="17547"/>
                  </a:lnTo>
                  <a:lnTo>
                    <a:pt x="60659" y="16981"/>
                  </a:lnTo>
                  <a:lnTo>
                    <a:pt x="60754" y="17264"/>
                  </a:lnTo>
                  <a:lnTo>
                    <a:pt x="60942" y="17642"/>
                  </a:lnTo>
                  <a:lnTo>
                    <a:pt x="61980" y="19151"/>
                  </a:lnTo>
                  <a:lnTo>
                    <a:pt x="63301" y="20943"/>
                  </a:lnTo>
                  <a:lnTo>
                    <a:pt x="63207" y="20943"/>
                  </a:lnTo>
                  <a:lnTo>
                    <a:pt x="63395" y="21038"/>
                  </a:lnTo>
                  <a:lnTo>
                    <a:pt x="63490" y="21321"/>
                  </a:lnTo>
                  <a:lnTo>
                    <a:pt x="63678" y="21604"/>
                  </a:lnTo>
                  <a:lnTo>
                    <a:pt x="63773" y="21698"/>
                  </a:lnTo>
                  <a:lnTo>
                    <a:pt x="63584" y="21321"/>
                  </a:lnTo>
                  <a:lnTo>
                    <a:pt x="63584" y="21321"/>
                  </a:lnTo>
                  <a:lnTo>
                    <a:pt x="64244" y="22170"/>
                  </a:lnTo>
                  <a:lnTo>
                    <a:pt x="64716" y="22641"/>
                  </a:lnTo>
                  <a:lnTo>
                    <a:pt x="64905" y="22830"/>
                  </a:lnTo>
                  <a:lnTo>
                    <a:pt x="64999" y="22830"/>
                  </a:lnTo>
                  <a:lnTo>
                    <a:pt x="64999" y="22641"/>
                  </a:lnTo>
                  <a:lnTo>
                    <a:pt x="64905" y="22358"/>
                  </a:lnTo>
                  <a:lnTo>
                    <a:pt x="65282" y="23207"/>
                  </a:lnTo>
                  <a:lnTo>
                    <a:pt x="65565" y="24056"/>
                  </a:lnTo>
                  <a:lnTo>
                    <a:pt x="66225" y="25943"/>
                  </a:lnTo>
                  <a:lnTo>
                    <a:pt x="66697" y="27830"/>
                  </a:lnTo>
                  <a:lnTo>
                    <a:pt x="66886" y="28490"/>
                  </a:lnTo>
                  <a:lnTo>
                    <a:pt x="66980" y="28868"/>
                  </a:lnTo>
                  <a:lnTo>
                    <a:pt x="66886" y="28962"/>
                  </a:lnTo>
                  <a:lnTo>
                    <a:pt x="66697" y="28679"/>
                  </a:lnTo>
                  <a:lnTo>
                    <a:pt x="66697" y="29245"/>
                  </a:lnTo>
                  <a:lnTo>
                    <a:pt x="66791" y="29905"/>
                  </a:lnTo>
                  <a:lnTo>
                    <a:pt x="66886" y="29905"/>
                  </a:lnTo>
                  <a:lnTo>
                    <a:pt x="66886" y="30094"/>
                  </a:lnTo>
                  <a:lnTo>
                    <a:pt x="66886" y="30566"/>
                  </a:lnTo>
                  <a:lnTo>
                    <a:pt x="66697" y="30377"/>
                  </a:lnTo>
                  <a:lnTo>
                    <a:pt x="66603" y="30188"/>
                  </a:lnTo>
                  <a:lnTo>
                    <a:pt x="66603" y="30094"/>
                  </a:lnTo>
                  <a:lnTo>
                    <a:pt x="66697" y="29905"/>
                  </a:lnTo>
                  <a:lnTo>
                    <a:pt x="66508" y="28679"/>
                  </a:lnTo>
                  <a:lnTo>
                    <a:pt x="66225" y="27358"/>
                  </a:lnTo>
                  <a:lnTo>
                    <a:pt x="66603" y="30283"/>
                  </a:lnTo>
                  <a:lnTo>
                    <a:pt x="66697" y="31792"/>
                  </a:lnTo>
                  <a:lnTo>
                    <a:pt x="66697" y="33302"/>
                  </a:lnTo>
                  <a:lnTo>
                    <a:pt x="66603" y="34717"/>
                  </a:lnTo>
                  <a:lnTo>
                    <a:pt x="66414" y="36226"/>
                  </a:lnTo>
                  <a:lnTo>
                    <a:pt x="66131" y="37547"/>
                  </a:lnTo>
                  <a:lnTo>
                    <a:pt x="65659" y="38962"/>
                  </a:lnTo>
                  <a:lnTo>
                    <a:pt x="65848" y="38584"/>
                  </a:lnTo>
                  <a:lnTo>
                    <a:pt x="65942" y="38584"/>
                  </a:lnTo>
                  <a:lnTo>
                    <a:pt x="65848" y="39245"/>
                  </a:lnTo>
                  <a:lnTo>
                    <a:pt x="65565" y="40188"/>
                  </a:lnTo>
                  <a:lnTo>
                    <a:pt x="65471" y="40471"/>
                  </a:lnTo>
                  <a:lnTo>
                    <a:pt x="65282" y="40660"/>
                  </a:lnTo>
                  <a:lnTo>
                    <a:pt x="65282" y="40566"/>
                  </a:lnTo>
                  <a:lnTo>
                    <a:pt x="65093" y="41132"/>
                  </a:lnTo>
                  <a:lnTo>
                    <a:pt x="64433" y="43018"/>
                  </a:lnTo>
                  <a:lnTo>
                    <a:pt x="63678" y="45282"/>
                  </a:lnTo>
                  <a:lnTo>
                    <a:pt x="62735" y="47264"/>
                  </a:lnTo>
                  <a:lnTo>
                    <a:pt x="61697" y="49056"/>
                  </a:lnTo>
                  <a:lnTo>
                    <a:pt x="60659" y="50943"/>
                  </a:lnTo>
                  <a:lnTo>
                    <a:pt x="59433" y="52735"/>
                  </a:lnTo>
                  <a:lnTo>
                    <a:pt x="58207" y="54433"/>
                  </a:lnTo>
                  <a:lnTo>
                    <a:pt x="56886" y="56037"/>
                  </a:lnTo>
                  <a:lnTo>
                    <a:pt x="55376" y="57641"/>
                  </a:lnTo>
                  <a:lnTo>
                    <a:pt x="53867" y="59150"/>
                  </a:lnTo>
                  <a:lnTo>
                    <a:pt x="52169" y="60376"/>
                  </a:lnTo>
                  <a:lnTo>
                    <a:pt x="48961" y="62452"/>
                  </a:lnTo>
                  <a:lnTo>
                    <a:pt x="44528" y="65282"/>
                  </a:lnTo>
                  <a:lnTo>
                    <a:pt x="44622" y="65188"/>
                  </a:lnTo>
                  <a:lnTo>
                    <a:pt x="44716" y="65093"/>
                  </a:lnTo>
                  <a:lnTo>
                    <a:pt x="45094" y="64810"/>
                  </a:lnTo>
                  <a:lnTo>
                    <a:pt x="45660" y="64527"/>
                  </a:lnTo>
                  <a:lnTo>
                    <a:pt x="43867" y="65376"/>
                  </a:lnTo>
                  <a:lnTo>
                    <a:pt x="43113" y="65754"/>
                  </a:lnTo>
                  <a:lnTo>
                    <a:pt x="42924" y="65754"/>
                  </a:lnTo>
                  <a:lnTo>
                    <a:pt x="43113" y="65659"/>
                  </a:lnTo>
                  <a:lnTo>
                    <a:pt x="41603" y="66037"/>
                  </a:lnTo>
                  <a:lnTo>
                    <a:pt x="39999" y="66320"/>
                  </a:lnTo>
                  <a:lnTo>
                    <a:pt x="38396" y="66508"/>
                  </a:lnTo>
                  <a:lnTo>
                    <a:pt x="36792" y="66697"/>
                  </a:lnTo>
                  <a:lnTo>
                    <a:pt x="33584" y="66980"/>
                  </a:lnTo>
                  <a:lnTo>
                    <a:pt x="32169" y="67169"/>
                  </a:lnTo>
                  <a:lnTo>
                    <a:pt x="30754" y="67357"/>
                  </a:lnTo>
                  <a:lnTo>
                    <a:pt x="30094" y="67357"/>
                  </a:lnTo>
                  <a:lnTo>
                    <a:pt x="29339" y="67263"/>
                  </a:lnTo>
                  <a:lnTo>
                    <a:pt x="27830" y="66886"/>
                  </a:lnTo>
                  <a:lnTo>
                    <a:pt x="26415" y="66508"/>
                  </a:lnTo>
                  <a:lnTo>
                    <a:pt x="25754" y="66414"/>
                  </a:lnTo>
                  <a:lnTo>
                    <a:pt x="25094" y="66414"/>
                  </a:lnTo>
                  <a:lnTo>
                    <a:pt x="25566" y="66980"/>
                  </a:lnTo>
                  <a:lnTo>
                    <a:pt x="25471" y="67074"/>
                  </a:lnTo>
                  <a:lnTo>
                    <a:pt x="25188" y="66980"/>
                  </a:lnTo>
                  <a:lnTo>
                    <a:pt x="24339" y="66791"/>
                  </a:lnTo>
                  <a:lnTo>
                    <a:pt x="23773" y="66508"/>
                  </a:lnTo>
                  <a:lnTo>
                    <a:pt x="24245" y="66414"/>
                  </a:lnTo>
                  <a:lnTo>
                    <a:pt x="24717" y="66603"/>
                  </a:lnTo>
                  <a:lnTo>
                    <a:pt x="24811" y="66414"/>
                  </a:lnTo>
                  <a:lnTo>
                    <a:pt x="24811" y="66320"/>
                  </a:lnTo>
                  <a:lnTo>
                    <a:pt x="24717" y="66225"/>
                  </a:lnTo>
                  <a:lnTo>
                    <a:pt x="24528" y="66131"/>
                  </a:lnTo>
                  <a:lnTo>
                    <a:pt x="24151" y="66225"/>
                  </a:lnTo>
                  <a:lnTo>
                    <a:pt x="23679" y="66320"/>
                  </a:lnTo>
                  <a:lnTo>
                    <a:pt x="23018" y="66414"/>
                  </a:lnTo>
                  <a:lnTo>
                    <a:pt x="23490" y="66225"/>
                  </a:lnTo>
                  <a:lnTo>
                    <a:pt x="22075" y="65942"/>
                  </a:lnTo>
                  <a:lnTo>
                    <a:pt x="20943" y="65659"/>
                  </a:lnTo>
                  <a:lnTo>
                    <a:pt x="20000" y="65282"/>
                  </a:lnTo>
                  <a:lnTo>
                    <a:pt x="19056" y="64810"/>
                  </a:lnTo>
                  <a:lnTo>
                    <a:pt x="19056" y="64810"/>
                  </a:lnTo>
                  <a:lnTo>
                    <a:pt x="19717" y="64999"/>
                  </a:lnTo>
                  <a:lnTo>
                    <a:pt x="19151" y="64716"/>
                  </a:lnTo>
                  <a:lnTo>
                    <a:pt x="18962" y="64810"/>
                  </a:lnTo>
                  <a:lnTo>
                    <a:pt x="19151" y="64905"/>
                  </a:lnTo>
                  <a:lnTo>
                    <a:pt x="18490" y="64905"/>
                  </a:lnTo>
                  <a:lnTo>
                    <a:pt x="17830" y="64716"/>
                  </a:lnTo>
                  <a:lnTo>
                    <a:pt x="17264" y="64527"/>
                  </a:lnTo>
                  <a:lnTo>
                    <a:pt x="16698" y="64150"/>
                  </a:lnTo>
                  <a:lnTo>
                    <a:pt x="16981" y="64056"/>
                  </a:lnTo>
                  <a:lnTo>
                    <a:pt x="17264" y="64150"/>
                  </a:lnTo>
                  <a:lnTo>
                    <a:pt x="17264" y="64150"/>
                  </a:lnTo>
                  <a:lnTo>
                    <a:pt x="15188" y="63207"/>
                  </a:lnTo>
                  <a:lnTo>
                    <a:pt x="14622" y="62829"/>
                  </a:lnTo>
                  <a:lnTo>
                    <a:pt x="14717" y="62924"/>
                  </a:lnTo>
                  <a:lnTo>
                    <a:pt x="13773" y="62546"/>
                  </a:lnTo>
                  <a:lnTo>
                    <a:pt x="12924" y="62075"/>
                  </a:lnTo>
                  <a:lnTo>
                    <a:pt x="12358" y="61697"/>
                  </a:lnTo>
                  <a:lnTo>
                    <a:pt x="12264" y="61508"/>
                  </a:lnTo>
                  <a:lnTo>
                    <a:pt x="12170" y="61320"/>
                  </a:lnTo>
                  <a:lnTo>
                    <a:pt x="11698" y="60942"/>
                  </a:lnTo>
                  <a:lnTo>
                    <a:pt x="11132" y="60471"/>
                  </a:lnTo>
                  <a:lnTo>
                    <a:pt x="9906" y="59244"/>
                  </a:lnTo>
                  <a:lnTo>
                    <a:pt x="9906" y="59244"/>
                  </a:lnTo>
                  <a:lnTo>
                    <a:pt x="10566" y="59527"/>
                  </a:lnTo>
                  <a:lnTo>
                    <a:pt x="9434" y="58584"/>
                  </a:lnTo>
                  <a:lnTo>
                    <a:pt x="8207" y="57546"/>
                  </a:lnTo>
                  <a:lnTo>
                    <a:pt x="7547" y="56886"/>
                  </a:lnTo>
                  <a:lnTo>
                    <a:pt x="6981" y="56131"/>
                  </a:lnTo>
                  <a:lnTo>
                    <a:pt x="6226" y="55094"/>
                  </a:lnTo>
                  <a:lnTo>
                    <a:pt x="6415" y="55377"/>
                  </a:lnTo>
                  <a:lnTo>
                    <a:pt x="6038" y="54905"/>
                  </a:lnTo>
                  <a:lnTo>
                    <a:pt x="5472" y="54244"/>
                  </a:lnTo>
                  <a:lnTo>
                    <a:pt x="5283" y="53961"/>
                  </a:lnTo>
                  <a:lnTo>
                    <a:pt x="5094" y="53867"/>
                  </a:lnTo>
                  <a:lnTo>
                    <a:pt x="5377" y="54622"/>
                  </a:lnTo>
                  <a:lnTo>
                    <a:pt x="5849" y="55282"/>
                  </a:lnTo>
                  <a:lnTo>
                    <a:pt x="6321" y="55943"/>
                  </a:lnTo>
                  <a:lnTo>
                    <a:pt x="6698" y="56603"/>
                  </a:lnTo>
                  <a:lnTo>
                    <a:pt x="6226" y="56226"/>
                  </a:lnTo>
                  <a:lnTo>
                    <a:pt x="5943" y="55848"/>
                  </a:lnTo>
                  <a:lnTo>
                    <a:pt x="6038" y="56037"/>
                  </a:lnTo>
                  <a:lnTo>
                    <a:pt x="5943" y="55943"/>
                  </a:lnTo>
                  <a:lnTo>
                    <a:pt x="5377" y="55188"/>
                  </a:lnTo>
                  <a:lnTo>
                    <a:pt x="5000" y="54716"/>
                  </a:lnTo>
                  <a:lnTo>
                    <a:pt x="4717" y="54150"/>
                  </a:lnTo>
                  <a:lnTo>
                    <a:pt x="4528" y="53678"/>
                  </a:lnTo>
                  <a:lnTo>
                    <a:pt x="4528" y="53584"/>
                  </a:lnTo>
                  <a:lnTo>
                    <a:pt x="4623" y="53395"/>
                  </a:lnTo>
                  <a:lnTo>
                    <a:pt x="5094" y="54244"/>
                  </a:lnTo>
                  <a:lnTo>
                    <a:pt x="4717" y="53301"/>
                  </a:lnTo>
                  <a:lnTo>
                    <a:pt x="4528" y="53018"/>
                  </a:lnTo>
                  <a:lnTo>
                    <a:pt x="4151" y="52263"/>
                  </a:lnTo>
                  <a:lnTo>
                    <a:pt x="4151" y="52169"/>
                  </a:lnTo>
                  <a:lnTo>
                    <a:pt x="3774" y="51509"/>
                  </a:lnTo>
                  <a:lnTo>
                    <a:pt x="3396" y="50660"/>
                  </a:lnTo>
                  <a:lnTo>
                    <a:pt x="3585" y="51603"/>
                  </a:lnTo>
                  <a:lnTo>
                    <a:pt x="3396" y="51226"/>
                  </a:lnTo>
                  <a:lnTo>
                    <a:pt x="3208" y="50848"/>
                  </a:lnTo>
                  <a:lnTo>
                    <a:pt x="3208" y="50471"/>
                  </a:lnTo>
                  <a:lnTo>
                    <a:pt x="3208" y="50094"/>
                  </a:lnTo>
                  <a:lnTo>
                    <a:pt x="3585" y="50754"/>
                  </a:lnTo>
                  <a:lnTo>
                    <a:pt x="3868" y="51509"/>
                  </a:lnTo>
                  <a:lnTo>
                    <a:pt x="3868" y="51509"/>
                  </a:lnTo>
                  <a:lnTo>
                    <a:pt x="3208" y="49528"/>
                  </a:lnTo>
                  <a:lnTo>
                    <a:pt x="3208" y="49528"/>
                  </a:lnTo>
                  <a:lnTo>
                    <a:pt x="3868" y="50754"/>
                  </a:lnTo>
                  <a:lnTo>
                    <a:pt x="3208" y="48962"/>
                  </a:lnTo>
                  <a:lnTo>
                    <a:pt x="3585" y="49339"/>
                  </a:lnTo>
                  <a:lnTo>
                    <a:pt x="3774" y="49433"/>
                  </a:lnTo>
                  <a:lnTo>
                    <a:pt x="3962" y="49528"/>
                  </a:lnTo>
                  <a:lnTo>
                    <a:pt x="4057" y="49905"/>
                  </a:lnTo>
                  <a:lnTo>
                    <a:pt x="3868" y="48962"/>
                  </a:lnTo>
                  <a:lnTo>
                    <a:pt x="3491" y="47924"/>
                  </a:lnTo>
                  <a:lnTo>
                    <a:pt x="2641" y="45565"/>
                  </a:lnTo>
                  <a:lnTo>
                    <a:pt x="2170" y="43867"/>
                  </a:lnTo>
                  <a:lnTo>
                    <a:pt x="1698" y="41886"/>
                  </a:lnTo>
                  <a:lnTo>
                    <a:pt x="1698" y="41886"/>
                  </a:lnTo>
                  <a:lnTo>
                    <a:pt x="1887" y="42075"/>
                  </a:lnTo>
                  <a:lnTo>
                    <a:pt x="1981" y="41981"/>
                  </a:lnTo>
                  <a:lnTo>
                    <a:pt x="2075" y="42075"/>
                  </a:lnTo>
                  <a:lnTo>
                    <a:pt x="2264" y="42169"/>
                  </a:lnTo>
                  <a:lnTo>
                    <a:pt x="2170" y="40283"/>
                  </a:lnTo>
                  <a:lnTo>
                    <a:pt x="2075" y="38301"/>
                  </a:lnTo>
                  <a:lnTo>
                    <a:pt x="2170" y="36415"/>
                  </a:lnTo>
                  <a:lnTo>
                    <a:pt x="2358" y="35566"/>
                  </a:lnTo>
                  <a:lnTo>
                    <a:pt x="2453" y="34811"/>
                  </a:lnTo>
                  <a:lnTo>
                    <a:pt x="2830" y="32830"/>
                  </a:lnTo>
                  <a:lnTo>
                    <a:pt x="2830" y="33207"/>
                  </a:lnTo>
                  <a:lnTo>
                    <a:pt x="2924" y="33490"/>
                  </a:lnTo>
                  <a:lnTo>
                    <a:pt x="2924" y="32453"/>
                  </a:lnTo>
                  <a:lnTo>
                    <a:pt x="3019" y="31415"/>
                  </a:lnTo>
                  <a:lnTo>
                    <a:pt x="3396" y="29245"/>
                  </a:lnTo>
                  <a:lnTo>
                    <a:pt x="3868" y="27075"/>
                  </a:lnTo>
                  <a:lnTo>
                    <a:pt x="4623" y="25000"/>
                  </a:lnTo>
                  <a:lnTo>
                    <a:pt x="5566" y="22830"/>
                  </a:lnTo>
                  <a:lnTo>
                    <a:pt x="6604" y="20849"/>
                  </a:lnTo>
                  <a:lnTo>
                    <a:pt x="7830" y="18868"/>
                  </a:lnTo>
                  <a:lnTo>
                    <a:pt x="9151" y="16887"/>
                  </a:lnTo>
                  <a:lnTo>
                    <a:pt x="10566" y="15094"/>
                  </a:lnTo>
                  <a:lnTo>
                    <a:pt x="12075" y="13302"/>
                  </a:lnTo>
                  <a:lnTo>
                    <a:pt x="13773" y="11698"/>
                  </a:lnTo>
                  <a:lnTo>
                    <a:pt x="15377" y="10095"/>
                  </a:lnTo>
                  <a:lnTo>
                    <a:pt x="17170" y="8679"/>
                  </a:lnTo>
                  <a:lnTo>
                    <a:pt x="18962" y="7453"/>
                  </a:lnTo>
                  <a:lnTo>
                    <a:pt x="20754" y="6321"/>
                  </a:lnTo>
                  <a:lnTo>
                    <a:pt x="22547" y="5378"/>
                  </a:lnTo>
                  <a:lnTo>
                    <a:pt x="21603" y="6227"/>
                  </a:lnTo>
                  <a:lnTo>
                    <a:pt x="22641" y="5472"/>
                  </a:lnTo>
                  <a:lnTo>
                    <a:pt x="23302" y="5095"/>
                  </a:lnTo>
                  <a:lnTo>
                    <a:pt x="25377" y="4151"/>
                  </a:lnTo>
                  <a:lnTo>
                    <a:pt x="24811" y="4151"/>
                  </a:lnTo>
                  <a:lnTo>
                    <a:pt x="25660" y="3774"/>
                  </a:lnTo>
                  <a:lnTo>
                    <a:pt x="26886" y="3208"/>
                  </a:lnTo>
                  <a:lnTo>
                    <a:pt x="26603" y="3585"/>
                  </a:lnTo>
                  <a:lnTo>
                    <a:pt x="26886" y="3585"/>
                  </a:lnTo>
                  <a:lnTo>
                    <a:pt x="26886" y="3680"/>
                  </a:lnTo>
                  <a:lnTo>
                    <a:pt x="26792" y="3774"/>
                  </a:lnTo>
                  <a:lnTo>
                    <a:pt x="28301" y="3302"/>
                  </a:lnTo>
                  <a:lnTo>
                    <a:pt x="29622" y="2736"/>
                  </a:lnTo>
                  <a:lnTo>
                    <a:pt x="31037" y="2264"/>
                  </a:lnTo>
                  <a:lnTo>
                    <a:pt x="31792" y="2076"/>
                  </a:lnTo>
                  <a:lnTo>
                    <a:pt x="32641" y="1981"/>
                  </a:lnTo>
                  <a:lnTo>
                    <a:pt x="32547" y="2076"/>
                  </a:lnTo>
                  <a:lnTo>
                    <a:pt x="32924" y="1981"/>
                  </a:lnTo>
                  <a:lnTo>
                    <a:pt x="34245" y="1793"/>
                  </a:lnTo>
                  <a:lnTo>
                    <a:pt x="35848" y="1415"/>
                  </a:lnTo>
                  <a:lnTo>
                    <a:pt x="36981" y="1132"/>
                  </a:lnTo>
                  <a:lnTo>
                    <a:pt x="36981" y="1415"/>
                  </a:lnTo>
                  <a:lnTo>
                    <a:pt x="40943" y="1227"/>
                  </a:lnTo>
                  <a:lnTo>
                    <a:pt x="41509" y="1038"/>
                  </a:lnTo>
                  <a:lnTo>
                    <a:pt x="41697" y="1132"/>
                  </a:lnTo>
                  <a:lnTo>
                    <a:pt x="41509" y="1227"/>
                  </a:lnTo>
                  <a:lnTo>
                    <a:pt x="41320" y="1321"/>
                  </a:lnTo>
                  <a:lnTo>
                    <a:pt x="42263" y="1321"/>
                  </a:lnTo>
                  <a:lnTo>
                    <a:pt x="43113" y="1227"/>
                  </a:lnTo>
                  <a:lnTo>
                    <a:pt x="43396" y="1415"/>
                  </a:lnTo>
                  <a:lnTo>
                    <a:pt x="44056" y="1604"/>
                  </a:lnTo>
                  <a:lnTo>
                    <a:pt x="45943" y="2076"/>
                  </a:lnTo>
                  <a:lnTo>
                    <a:pt x="48018" y="2359"/>
                  </a:lnTo>
                  <a:lnTo>
                    <a:pt x="49622" y="2736"/>
                  </a:lnTo>
                  <a:lnTo>
                    <a:pt x="47641" y="1981"/>
                  </a:lnTo>
                  <a:lnTo>
                    <a:pt x="45282" y="1321"/>
                  </a:lnTo>
                  <a:lnTo>
                    <a:pt x="42735" y="755"/>
                  </a:lnTo>
                  <a:lnTo>
                    <a:pt x="40188" y="283"/>
                  </a:lnTo>
                  <a:lnTo>
                    <a:pt x="37735" y="95"/>
                  </a:lnTo>
                  <a:lnTo>
                    <a:pt x="35471" y="0"/>
                  </a:lnTo>
                  <a:close/>
                </a:path>
              </a:pathLst>
            </a:custGeom>
            <a:solidFill>
              <a:schemeClr val="bg1">
                <a:lumMod val="95000"/>
              </a:schemeClr>
            </a:solidFill>
            <a:ln w="0">
              <a:solidFill>
                <a:srgbClr val="0079D1"/>
              </a:solidFill>
            </a:ln>
          </p:spPr>
          <p:txBody>
            <a:bodyPr spcFirstLastPara="1" wrap="square" lIns="91425" tIns="91425" rIns="91425" bIns="91425" anchor="ctr" anchorCtr="0">
              <a:noAutofit/>
            </a:bodyPr>
            <a:lstStyle/>
            <a:p>
              <a:pPr marL="0" lvl="0" indent="0">
                <a:spcBef>
                  <a:spcPts val="0"/>
                </a:spcBef>
                <a:spcAft>
                  <a:spcPts val="0"/>
                </a:spcAft>
                <a:buNone/>
              </a:pPr>
              <a:endParaRPr sz="1200">
                <a:latin typeface="+mj-lt"/>
              </a:endParaRPr>
            </a:p>
          </p:txBody>
        </p:sp>
        <p:sp>
          <p:nvSpPr>
            <p:cNvPr id="639" name="TextBox 638">
              <a:extLst>
                <a:ext uri="{FF2B5EF4-FFF2-40B4-BE49-F238E27FC236}">
                  <a16:creationId xmlns:a16="http://schemas.microsoft.com/office/drawing/2014/main" id="{E03A9CA0-2100-C24C-A458-65F0FEDE4D06}"/>
                </a:ext>
              </a:extLst>
            </p:cNvPr>
            <p:cNvSpPr txBox="1"/>
            <p:nvPr/>
          </p:nvSpPr>
          <p:spPr>
            <a:xfrm>
              <a:off x="8676898" y="4619460"/>
              <a:ext cx="229951" cy="200055"/>
            </a:xfrm>
            <a:prstGeom prst="rect">
              <a:avLst/>
            </a:prstGeom>
            <a:noFill/>
          </p:spPr>
          <p:txBody>
            <a:bodyPr wrap="square" rtlCol="0">
              <a:spAutoFit/>
            </a:bodyPr>
            <a:lstStyle/>
            <a:p>
              <a:r>
                <a:rPr lang="en-US" sz="700" b="1" dirty="0">
                  <a:solidFill>
                    <a:srgbClr val="0079D1"/>
                  </a:solidFill>
                  <a:latin typeface="+mj-lt"/>
                </a:rPr>
                <a:t>A</a:t>
              </a:r>
            </a:p>
          </p:txBody>
        </p:sp>
      </p:grpSp>
      <p:grpSp>
        <p:nvGrpSpPr>
          <p:cNvPr id="640" name="Group 639">
            <a:extLst>
              <a:ext uri="{FF2B5EF4-FFF2-40B4-BE49-F238E27FC236}">
                <a16:creationId xmlns:a16="http://schemas.microsoft.com/office/drawing/2014/main" id="{E0957399-BF6E-064A-B3F6-3EA0E98541B1}"/>
              </a:ext>
            </a:extLst>
          </p:cNvPr>
          <p:cNvGrpSpPr/>
          <p:nvPr/>
        </p:nvGrpSpPr>
        <p:grpSpPr>
          <a:xfrm>
            <a:off x="3181085" y="2329604"/>
            <a:ext cx="229951" cy="200055"/>
            <a:chOff x="8676898" y="4619460"/>
            <a:chExt cx="229951" cy="200055"/>
          </a:xfrm>
        </p:grpSpPr>
        <p:sp>
          <p:nvSpPr>
            <p:cNvPr id="641" name="Google Shape;431;p39">
              <a:extLst>
                <a:ext uri="{FF2B5EF4-FFF2-40B4-BE49-F238E27FC236}">
                  <a16:creationId xmlns:a16="http://schemas.microsoft.com/office/drawing/2014/main" id="{ADF85817-5EF5-344F-8539-DB05E63E13EE}"/>
                </a:ext>
              </a:extLst>
            </p:cNvPr>
            <p:cNvSpPr/>
            <p:nvPr/>
          </p:nvSpPr>
          <p:spPr>
            <a:xfrm>
              <a:off x="8709950" y="4635551"/>
              <a:ext cx="179407" cy="167874"/>
            </a:xfrm>
            <a:custGeom>
              <a:avLst/>
              <a:gdLst/>
              <a:ahLst/>
              <a:cxnLst/>
              <a:rect l="0" t="0" r="0" b="0"/>
              <a:pathLst>
                <a:path w="67641" h="69056" extrusionOk="0">
                  <a:moveTo>
                    <a:pt x="49622" y="2736"/>
                  </a:moveTo>
                  <a:lnTo>
                    <a:pt x="49622" y="2736"/>
                  </a:lnTo>
                  <a:lnTo>
                    <a:pt x="49622" y="2736"/>
                  </a:lnTo>
                  <a:close/>
                  <a:moveTo>
                    <a:pt x="59622" y="55565"/>
                  </a:moveTo>
                  <a:lnTo>
                    <a:pt x="59622" y="55565"/>
                  </a:lnTo>
                  <a:lnTo>
                    <a:pt x="59622" y="55565"/>
                  </a:lnTo>
                  <a:close/>
                  <a:moveTo>
                    <a:pt x="35471" y="0"/>
                  </a:moveTo>
                  <a:lnTo>
                    <a:pt x="34433" y="95"/>
                  </a:lnTo>
                  <a:lnTo>
                    <a:pt x="33584" y="189"/>
                  </a:lnTo>
                  <a:lnTo>
                    <a:pt x="32735" y="378"/>
                  </a:lnTo>
                  <a:lnTo>
                    <a:pt x="32169" y="566"/>
                  </a:lnTo>
                  <a:lnTo>
                    <a:pt x="31509" y="472"/>
                  </a:lnTo>
                  <a:lnTo>
                    <a:pt x="30754" y="472"/>
                  </a:lnTo>
                  <a:lnTo>
                    <a:pt x="29339" y="566"/>
                  </a:lnTo>
                  <a:lnTo>
                    <a:pt x="27830" y="849"/>
                  </a:lnTo>
                  <a:lnTo>
                    <a:pt x="26320" y="1321"/>
                  </a:lnTo>
                  <a:lnTo>
                    <a:pt x="24811" y="1981"/>
                  </a:lnTo>
                  <a:lnTo>
                    <a:pt x="23207" y="2736"/>
                  </a:lnTo>
                  <a:lnTo>
                    <a:pt x="21698" y="3585"/>
                  </a:lnTo>
                  <a:lnTo>
                    <a:pt x="20188" y="4623"/>
                  </a:lnTo>
                  <a:lnTo>
                    <a:pt x="18679" y="5661"/>
                  </a:lnTo>
                  <a:lnTo>
                    <a:pt x="17170" y="6793"/>
                  </a:lnTo>
                  <a:lnTo>
                    <a:pt x="15754" y="8019"/>
                  </a:lnTo>
                  <a:lnTo>
                    <a:pt x="14434" y="9151"/>
                  </a:lnTo>
                  <a:lnTo>
                    <a:pt x="11981" y="11510"/>
                  </a:lnTo>
                  <a:lnTo>
                    <a:pt x="10000" y="13774"/>
                  </a:lnTo>
                  <a:lnTo>
                    <a:pt x="7736" y="16981"/>
                  </a:lnTo>
                  <a:lnTo>
                    <a:pt x="8019" y="16321"/>
                  </a:lnTo>
                  <a:lnTo>
                    <a:pt x="8302" y="15660"/>
                  </a:lnTo>
                  <a:lnTo>
                    <a:pt x="7736" y="16604"/>
                  </a:lnTo>
                  <a:lnTo>
                    <a:pt x="7075" y="17642"/>
                  </a:lnTo>
                  <a:lnTo>
                    <a:pt x="7170" y="17830"/>
                  </a:lnTo>
                  <a:lnTo>
                    <a:pt x="6509" y="18868"/>
                  </a:lnTo>
                  <a:lnTo>
                    <a:pt x="7075" y="17359"/>
                  </a:lnTo>
                  <a:lnTo>
                    <a:pt x="6132" y="19057"/>
                  </a:lnTo>
                  <a:lnTo>
                    <a:pt x="5189" y="20849"/>
                  </a:lnTo>
                  <a:lnTo>
                    <a:pt x="4434" y="22736"/>
                  </a:lnTo>
                  <a:lnTo>
                    <a:pt x="3679" y="24622"/>
                  </a:lnTo>
                  <a:lnTo>
                    <a:pt x="2453" y="28490"/>
                  </a:lnTo>
                  <a:lnTo>
                    <a:pt x="1321" y="32169"/>
                  </a:lnTo>
                  <a:lnTo>
                    <a:pt x="1509" y="32264"/>
                  </a:lnTo>
                  <a:lnTo>
                    <a:pt x="1604" y="32453"/>
                  </a:lnTo>
                  <a:lnTo>
                    <a:pt x="1604" y="32641"/>
                  </a:lnTo>
                  <a:lnTo>
                    <a:pt x="1509" y="32924"/>
                  </a:lnTo>
                  <a:lnTo>
                    <a:pt x="1226" y="33396"/>
                  </a:lnTo>
                  <a:lnTo>
                    <a:pt x="1038" y="33585"/>
                  </a:lnTo>
                  <a:lnTo>
                    <a:pt x="1038" y="33773"/>
                  </a:lnTo>
                  <a:lnTo>
                    <a:pt x="1038" y="35000"/>
                  </a:lnTo>
                  <a:lnTo>
                    <a:pt x="849" y="36132"/>
                  </a:lnTo>
                  <a:lnTo>
                    <a:pt x="660" y="37358"/>
                  </a:lnTo>
                  <a:lnTo>
                    <a:pt x="472" y="38867"/>
                  </a:lnTo>
                  <a:lnTo>
                    <a:pt x="283" y="38301"/>
                  </a:lnTo>
                  <a:lnTo>
                    <a:pt x="94" y="39811"/>
                  </a:lnTo>
                  <a:lnTo>
                    <a:pt x="0" y="41509"/>
                  </a:lnTo>
                  <a:lnTo>
                    <a:pt x="94" y="43301"/>
                  </a:lnTo>
                  <a:lnTo>
                    <a:pt x="283" y="44056"/>
                  </a:lnTo>
                  <a:lnTo>
                    <a:pt x="472" y="44622"/>
                  </a:lnTo>
                  <a:lnTo>
                    <a:pt x="566" y="45660"/>
                  </a:lnTo>
                  <a:lnTo>
                    <a:pt x="755" y="46792"/>
                  </a:lnTo>
                  <a:lnTo>
                    <a:pt x="1226" y="48962"/>
                  </a:lnTo>
                  <a:lnTo>
                    <a:pt x="1981" y="51037"/>
                  </a:lnTo>
                  <a:lnTo>
                    <a:pt x="2924" y="53112"/>
                  </a:lnTo>
                  <a:lnTo>
                    <a:pt x="4057" y="55094"/>
                  </a:lnTo>
                  <a:lnTo>
                    <a:pt x="5283" y="56980"/>
                  </a:lnTo>
                  <a:lnTo>
                    <a:pt x="6698" y="58678"/>
                  </a:lnTo>
                  <a:lnTo>
                    <a:pt x="8113" y="60282"/>
                  </a:lnTo>
                  <a:lnTo>
                    <a:pt x="9056" y="61131"/>
                  </a:lnTo>
                  <a:lnTo>
                    <a:pt x="10000" y="61980"/>
                  </a:lnTo>
                  <a:lnTo>
                    <a:pt x="11038" y="62829"/>
                  </a:lnTo>
                  <a:lnTo>
                    <a:pt x="12075" y="63584"/>
                  </a:lnTo>
                  <a:lnTo>
                    <a:pt x="14339" y="64905"/>
                  </a:lnTo>
                  <a:lnTo>
                    <a:pt x="16604" y="66131"/>
                  </a:lnTo>
                  <a:lnTo>
                    <a:pt x="19056" y="67169"/>
                  </a:lnTo>
                  <a:lnTo>
                    <a:pt x="21509" y="67923"/>
                  </a:lnTo>
                  <a:lnTo>
                    <a:pt x="24056" y="68584"/>
                  </a:lnTo>
                  <a:lnTo>
                    <a:pt x="26603" y="69055"/>
                  </a:lnTo>
                  <a:lnTo>
                    <a:pt x="27830" y="69055"/>
                  </a:lnTo>
                  <a:lnTo>
                    <a:pt x="30188" y="68867"/>
                  </a:lnTo>
                  <a:lnTo>
                    <a:pt x="33113" y="68678"/>
                  </a:lnTo>
                  <a:lnTo>
                    <a:pt x="36509" y="68301"/>
                  </a:lnTo>
                  <a:lnTo>
                    <a:pt x="39811" y="67923"/>
                  </a:lnTo>
                  <a:lnTo>
                    <a:pt x="42735" y="67452"/>
                  </a:lnTo>
                  <a:lnTo>
                    <a:pt x="44905" y="66980"/>
                  </a:lnTo>
                  <a:lnTo>
                    <a:pt x="45565" y="66791"/>
                  </a:lnTo>
                  <a:lnTo>
                    <a:pt x="45943" y="66508"/>
                  </a:lnTo>
                  <a:lnTo>
                    <a:pt x="47358" y="65942"/>
                  </a:lnTo>
                  <a:lnTo>
                    <a:pt x="48018" y="65565"/>
                  </a:lnTo>
                  <a:lnTo>
                    <a:pt x="48678" y="65188"/>
                  </a:lnTo>
                  <a:lnTo>
                    <a:pt x="47924" y="65471"/>
                  </a:lnTo>
                  <a:lnTo>
                    <a:pt x="51509" y="62924"/>
                  </a:lnTo>
                  <a:lnTo>
                    <a:pt x="53301" y="61508"/>
                  </a:lnTo>
                  <a:lnTo>
                    <a:pt x="55093" y="59905"/>
                  </a:lnTo>
                  <a:lnTo>
                    <a:pt x="55093" y="59905"/>
                  </a:lnTo>
                  <a:lnTo>
                    <a:pt x="54810" y="60376"/>
                  </a:lnTo>
                  <a:lnTo>
                    <a:pt x="54339" y="60754"/>
                  </a:lnTo>
                  <a:lnTo>
                    <a:pt x="55376" y="59999"/>
                  </a:lnTo>
                  <a:lnTo>
                    <a:pt x="56320" y="59056"/>
                  </a:lnTo>
                  <a:lnTo>
                    <a:pt x="57075" y="58395"/>
                  </a:lnTo>
                  <a:lnTo>
                    <a:pt x="57169" y="58207"/>
                  </a:lnTo>
                  <a:lnTo>
                    <a:pt x="57075" y="58207"/>
                  </a:lnTo>
                  <a:lnTo>
                    <a:pt x="57924" y="57546"/>
                  </a:lnTo>
                  <a:lnTo>
                    <a:pt x="58678" y="56697"/>
                  </a:lnTo>
                  <a:lnTo>
                    <a:pt x="59339" y="55754"/>
                  </a:lnTo>
                  <a:lnTo>
                    <a:pt x="59905" y="54905"/>
                  </a:lnTo>
                  <a:lnTo>
                    <a:pt x="59716" y="54999"/>
                  </a:lnTo>
                  <a:lnTo>
                    <a:pt x="59622" y="54999"/>
                  </a:lnTo>
                  <a:lnTo>
                    <a:pt x="59810" y="54622"/>
                  </a:lnTo>
                  <a:lnTo>
                    <a:pt x="59150" y="55565"/>
                  </a:lnTo>
                  <a:lnTo>
                    <a:pt x="59527" y="55094"/>
                  </a:lnTo>
                  <a:lnTo>
                    <a:pt x="59433" y="55377"/>
                  </a:lnTo>
                  <a:lnTo>
                    <a:pt x="58867" y="56037"/>
                  </a:lnTo>
                  <a:lnTo>
                    <a:pt x="59056" y="55660"/>
                  </a:lnTo>
                  <a:lnTo>
                    <a:pt x="59056" y="55660"/>
                  </a:lnTo>
                  <a:lnTo>
                    <a:pt x="58678" y="56037"/>
                  </a:lnTo>
                  <a:lnTo>
                    <a:pt x="59810" y="54339"/>
                  </a:lnTo>
                  <a:lnTo>
                    <a:pt x="60282" y="53490"/>
                  </a:lnTo>
                  <a:lnTo>
                    <a:pt x="60282" y="53301"/>
                  </a:lnTo>
                  <a:lnTo>
                    <a:pt x="60188" y="53395"/>
                  </a:lnTo>
                  <a:lnTo>
                    <a:pt x="60188" y="53395"/>
                  </a:lnTo>
                  <a:lnTo>
                    <a:pt x="60565" y="52924"/>
                  </a:lnTo>
                  <a:lnTo>
                    <a:pt x="61037" y="52452"/>
                  </a:lnTo>
                  <a:lnTo>
                    <a:pt x="61886" y="51509"/>
                  </a:lnTo>
                  <a:lnTo>
                    <a:pt x="61508" y="52452"/>
                  </a:lnTo>
                  <a:lnTo>
                    <a:pt x="60848" y="53584"/>
                  </a:lnTo>
                  <a:lnTo>
                    <a:pt x="59622" y="55565"/>
                  </a:lnTo>
                  <a:lnTo>
                    <a:pt x="60376" y="54528"/>
                  </a:lnTo>
                  <a:lnTo>
                    <a:pt x="60942" y="53678"/>
                  </a:lnTo>
                  <a:lnTo>
                    <a:pt x="61980" y="51792"/>
                  </a:lnTo>
                  <a:lnTo>
                    <a:pt x="61886" y="51886"/>
                  </a:lnTo>
                  <a:lnTo>
                    <a:pt x="61886" y="51697"/>
                  </a:lnTo>
                  <a:lnTo>
                    <a:pt x="62169" y="51037"/>
                  </a:lnTo>
                  <a:lnTo>
                    <a:pt x="62735" y="49999"/>
                  </a:lnTo>
                  <a:lnTo>
                    <a:pt x="61508" y="51603"/>
                  </a:lnTo>
                  <a:lnTo>
                    <a:pt x="61603" y="51037"/>
                  </a:lnTo>
                  <a:lnTo>
                    <a:pt x="61697" y="50377"/>
                  </a:lnTo>
                  <a:lnTo>
                    <a:pt x="62169" y="48962"/>
                  </a:lnTo>
                  <a:lnTo>
                    <a:pt x="62829" y="47358"/>
                  </a:lnTo>
                  <a:lnTo>
                    <a:pt x="63678" y="45565"/>
                  </a:lnTo>
                  <a:lnTo>
                    <a:pt x="65376" y="42169"/>
                  </a:lnTo>
                  <a:lnTo>
                    <a:pt x="66131" y="40660"/>
                  </a:lnTo>
                  <a:lnTo>
                    <a:pt x="66697" y="39339"/>
                  </a:lnTo>
                  <a:lnTo>
                    <a:pt x="66603" y="39528"/>
                  </a:lnTo>
                  <a:lnTo>
                    <a:pt x="66697" y="39056"/>
                  </a:lnTo>
                  <a:lnTo>
                    <a:pt x="66791" y="38962"/>
                  </a:lnTo>
                  <a:lnTo>
                    <a:pt x="66791" y="39056"/>
                  </a:lnTo>
                  <a:lnTo>
                    <a:pt x="66886" y="38584"/>
                  </a:lnTo>
                  <a:lnTo>
                    <a:pt x="66791" y="38867"/>
                  </a:lnTo>
                  <a:lnTo>
                    <a:pt x="66980" y="38207"/>
                  </a:lnTo>
                  <a:lnTo>
                    <a:pt x="67169" y="37264"/>
                  </a:lnTo>
                  <a:lnTo>
                    <a:pt x="67263" y="36415"/>
                  </a:lnTo>
                  <a:lnTo>
                    <a:pt x="67357" y="36509"/>
                  </a:lnTo>
                  <a:lnTo>
                    <a:pt x="67452" y="36509"/>
                  </a:lnTo>
                  <a:lnTo>
                    <a:pt x="67546" y="35943"/>
                  </a:lnTo>
                  <a:lnTo>
                    <a:pt x="67546" y="34811"/>
                  </a:lnTo>
                  <a:lnTo>
                    <a:pt x="67640" y="31037"/>
                  </a:lnTo>
                  <a:lnTo>
                    <a:pt x="67640" y="28490"/>
                  </a:lnTo>
                  <a:lnTo>
                    <a:pt x="67546" y="27736"/>
                  </a:lnTo>
                  <a:lnTo>
                    <a:pt x="67546" y="27547"/>
                  </a:lnTo>
                  <a:lnTo>
                    <a:pt x="67452" y="27547"/>
                  </a:lnTo>
                  <a:lnTo>
                    <a:pt x="67074" y="26792"/>
                  </a:lnTo>
                  <a:lnTo>
                    <a:pt x="66791" y="25660"/>
                  </a:lnTo>
                  <a:lnTo>
                    <a:pt x="66508" y="24528"/>
                  </a:lnTo>
                  <a:lnTo>
                    <a:pt x="66414" y="23585"/>
                  </a:lnTo>
                  <a:lnTo>
                    <a:pt x="66320" y="23679"/>
                  </a:lnTo>
                  <a:lnTo>
                    <a:pt x="66320" y="23490"/>
                  </a:lnTo>
                  <a:lnTo>
                    <a:pt x="65942" y="22924"/>
                  </a:lnTo>
                  <a:lnTo>
                    <a:pt x="65565" y="22358"/>
                  </a:lnTo>
                  <a:lnTo>
                    <a:pt x="64527" y="21132"/>
                  </a:lnTo>
                  <a:lnTo>
                    <a:pt x="63584" y="19906"/>
                  </a:lnTo>
                  <a:lnTo>
                    <a:pt x="63207" y="19340"/>
                  </a:lnTo>
                  <a:lnTo>
                    <a:pt x="63018" y="18774"/>
                  </a:lnTo>
                  <a:lnTo>
                    <a:pt x="63112" y="18962"/>
                  </a:lnTo>
                  <a:lnTo>
                    <a:pt x="63301" y="19057"/>
                  </a:lnTo>
                  <a:lnTo>
                    <a:pt x="63301" y="19057"/>
                  </a:lnTo>
                  <a:lnTo>
                    <a:pt x="63207" y="18868"/>
                  </a:lnTo>
                  <a:lnTo>
                    <a:pt x="62923" y="18491"/>
                  </a:lnTo>
                  <a:lnTo>
                    <a:pt x="61980" y="17453"/>
                  </a:lnTo>
                  <a:lnTo>
                    <a:pt x="61037" y="16509"/>
                  </a:lnTo>
                  <a:lnTo>
                    <a:pt x="61037" y="16698"/>
                  </a:lnTo>
                  <a:lnTo>
                    <a:pt x="61037" y="16887"/>
                  </a:lnTo>
                  <a:lnTo>
                    <a:pt x="60093" y="15943"/>
                  </a:lnTo>
                  <a:lnTo>
                    <a:pt x="60376" y="16321"/>
                  </a:lnTo>
                  <a:lnTo>
                    <a:pt x="59527" y="15377"/>
                  </a:lnTo>
                  <a:lnTo>
                    <a:pt x="59056" y="14906"/>
                  </a:lnTo>
                  <a:lnTo>
                    <a:pt x="59244" y="14906"/>
                  </a:lnTo>
                  <a:lnTo>
                    <a:pt x="59905" y="15472"/>
                  </a:lnTo>
                  <a:lnTo>
                    <a:pt x="59905" y="15472"/>
                  </a:lnTo>
                  <a:lnTo>
                    <a:pt x="57641" y="13396"/>
                  </a:lnTo>
                  <a:lnTo>
                    <a:pt x="58112" y="13868"/>
                  </a:lnTo>
                  <a:lnTo>
                    <a:pt x="56886" y="13019"/>
                  </a:lnTo>
                  <a:lnTo>
                    <a:pt x="55754" y="12453"/>
                  </a:lnTo>
                  <a:lnTo>
                    <a:pt x="56603" y="13113"/>
                  </a:lnTo>
                  <a:lnTo>
                    <a:pt x="57452" y="13774"/>
                  </a:lnTo>
                  <a:lnTo>
                    <a:pt x="58961" y="15283"/>
                  </a:lnTo>
                  <a:lnTo>
                    <a:pt x="60376" y="16604"/>
                  </a:lnTo>
                  <a:lnTo>
                    <a:pt x="61225" y="17264"/>
                  </a:lnTo>
                  <a:lnTo>
                    <a:pt x="62074" y="17925"/>
                  </a:lnTo>
                  <a:lnTo>
                    <a:pt x="62074" y="17925"/>
                  </a:lnTo>
                  <a:lnTo>
                    <a:pt x="61414" y="17547"/>
                  </a:lnTo>
                  <a:lnTo>
                    <a:pt x="60659" y="16981"/>
                  </a:lnTo>
                  <a:lnTo>
                    <a:pt x="60754" y="17264"/>
                  </a:lnTo>
                  <a:lnTo>
                    <a:pt x="60942" y="17642"/>
                  </a:lnTo>
                  <a:lnTo>
                    <a:pt x="61980" y="19151"/>
                  </a:lnTo>
                  <a:lnTo>
                    <a:pt x="63301" y="20943"/>
                  </a:lnTo>
                  <a:lnTo>
                    <a:pt x="63207" y="20943"/>
                  </a:lnTo>
                  <a:lnTo>
                    <a:pt x="63395" y="21038"/>
                  </a:lnTo>
                  <a:lnTo>
                    <a:pt x="63490" y="21321"/>
                  </a:lnTo>
                  <a:lnTo>
                    <a:pt x="63678" y="21604"/>
                  </a:lnTo>
                  <a:lnTo>
                    <a:pt x="63773" y="21698"/>
                  </a:lnTo>
                  <a:lnTo>
                    <a:pt x="63584" y="21321"/>
                  </a:lnTo>
                  <a:lnTo>
                    <a:pt x="63584" y="21321"/>
                  </a:lnTo>
                  <a:lnTo>
                    <a:pt x="64244" y="22170"/>
                  </a:lnTo>
                  <a:lnTo>
                    <a:pt x="64716" y="22641"/>
                  </a:lnTo>
                  <a:lnTo>
                    <a:pt x="64905" y="22830"/>
                  </a:lnTo>
                  <a:lnTo>
                    <a:pt x="64999" y="22830"/>
                  </a:lnTo>
                  <a:lnTo>
                    <a:pt x="64999" y="22641"/>
                  </a:lnTo>
                  <a:lnTo>
                    <a:pt x="64905" y="22358"/>
                  </a:lnTo>
                  <a:lnTo>
                    <a:pt x="65282" y="23207"/>
                  </a:lnTo>
                  <a:lnTo>
                    <a:pt x="65565" y="24056"/>
                  </a:lnTo>
                  <a:lnTo>
                    <a:pt x="66225" y="25943"/>
                  </a:lnTo>
                  <a:lnTo>
                    <a:pt x="66697" y="27830"/>
                  </a:lnTo>
                  <a:lnTo>
                    <a:pt x="66886" y="28490"/>
                  </a:lnTo>
                  <a:lnTo>
                    <a:pt x="66980" y="28868"/>
                  </a:lnTo>
                  <a:lnTo>
                    <a:pt x="66886" y="28962"/>
                  </a:lnTo>
                  <a:lnTo>
                    <a:pt x="66697" y="28679"/>
                  </a:lnTo>
                  <a:lnTo>
                    <a:pt x="66697" y="29245"/>
                  </a:lnTo>
                  <a:lnTo>
                    <a:pt x="66791" y="29905"/>
                  </a:lnTo>
                  <a:lnTo>
                    <a:pt x="66886" y="29905"/>
                  </a:lnTo>
                  <a:lnTo>
                    <a:pt x="66886" y="30094"/>
                  </a:lnTo>
                  <a:lnTo>
                    <a:pt x="66886" y="30566"/>
                  </a:lnTo>
                  <a:lnTo>
                    <a:pt x="66697" y="30377"/>
                  </a:lnTo>
                  <a:lnTo>
                    <a:pt x="66603" y="30188"/>
                  </a:lnTo>
                  <a:lnTo>
                    <a:pt x="66603" y="30094"/>
                  </a:lnTo>
                  <a:lnTo>
                    <a:pt x="66697" y="29905"/>
                  </a:lnTo>
                  <a:lnTo>
                    <a:pt x="66508" y="28679"/>
                  </a:lnTo>
                  <a:lnTo>
                    <a:pt x="66225" y="27358"/>
                  </a:lnTo>
                  <a:lnTo>
                    <a:pt x="66603" y="30283"/>
                  </a:lnTo>
                  <a:lnTo>
                    <a:pt x="66697" y="31792"/>
                  </a:lnTo>
                  <a:lnTo>
                    <a:pt x="66697" y="33302"/>
                  </a:lnTo>
                  <a:lnTo>
                    <a:pt x="66603" y="34717"/>
                  </a:lnTo>
                  <a:lnTo>
                    <a:pt x="66414" y="36226"/>
                  </a:lnTo>
                  <a:lnTo>
                    <a:pt x="66131" y="37547"/>
                  </a:lnTo>
                  <a:lnTo>
                    <a:pt x="65659" y="38962"/>
                  </a:lnTo>
                  <a:lnTo>
                    <a:pt x="65848" y="38584"/>
                  </a:lnTo>
                  <a:lnTo>
                    <a:pt x="65942" y="38584"/>
                  </a:lnTo>
                  <a:lnTo>
                    <a:pt x="65848" y="39245"/>
                  </a:lnTo>
                  <a:lnTo>
                    <a:pt x="65565" y="40188"/>
                  </a:lnTo>
                  <a:lnTo>
                    <a:pt x="65471" y="40471"/>
                  </a:lnTo>
                  <a:lnTo>
                    <a:pt x="65282" y="40660"/>
                  </a:lnTo>
                  <a:lnTo>
                    <a:pt x="65282" y="40566"/>
                  </a:lnTo>
                  <a:lnTo>
                    <a:pt x="65093" y="41132"/>
                  </a:lnTo>
                  <a:lnTo>
                    <a:pt x="64433" y="43018"/>
                  </a:lnTo>
                  <a:lnTo>
                    <a:pt x="63678" y="45282"/>
                  </a:lnTo>
                  <a:lnTo>
                    <a:pt x="62735" y="47264"/>
                  </a:lnTo>
                  <a:lnTo>
                    <a:pt x="61697" y="49056"/>
                  </a:lnTo>
                  <a:lnTo>
                    <a:pt x="60659" y="50943"/>
                  </a:lnTo>
                  <a:lnTo>
                    <a:pt x="59433" y="52735"/>
                  </a:lnTo>
                  <a:lnTo>
                    <a:pt x="58207" y="54433"/>
                  </a:lnTo>
                  <a:lnTo>
                    <a:pt x="56886" y="56037"/>
                  </a:lnTo>
                  <a:lnTo>
                    <a:pt x="55376" y="57641"/>
                  </a:lnTo>
                  <a:lnTo>
                    <a:pt x="53867" y="59150"/>
                  </a:lnTo>
                  <a:lnTo>
                    <a:pt x="52169" y="60376"/>
                  </a:lnTo>
                  <a:lnTo>
                    <a:pt x="48961" y="62452"/>
                  </a:lnTo>
                  <a:lnTo>
                    <a:pt x="44528" y="65282"/>
                  </a:lnTo>
                  <a:lnTo>
                    <a:pt x="44622" y="65188"/>
                  </a:lnTo>
                  <a:lnTo>
                    <a:pt x="44716" y="65093"/>
                  </a:lnTo>
                  <a:lnTo>
                    <a:pt x="45094" y="64810"/>
                  </a:lnTo>
                  <a:lnTo>
                    <a:pt x="45660" y="64527"/>
                  </a:lnTo>
                  <a:lnTo>
                    <a:pt x="43867" y="65376"/>
                  </a:lnTo>
                  <a:lnTo>
                    <a:pt x="43113" y="65754"/>
                  </a:lnTo>
                  <a:lnTo>
                    <a:pt x="42924" y="65754"/>
                  </a:lnTo>
                  <a:lnTo>
                    <a:pt x="43113" y="65659"/>
                  </a:lnTo>
                  <a:lnTo>
                    <a:pt x="41603" y="66037"/>
                  </a:lnTo>
                  <a:lnTo>
                    <a:pt x="39999" y="66320"/>
                  </a:lnTo>
                  <a:lnTo>
                    <a:pt x="38396" y="66508"/>
                  </a:lnTo>
                  <a:lnTo>
                    <a:pt x="36792" y="66697"/>
                  </a:lnTo>
                  <a:lnTo>
                    <a:pt x="33584" y="66980"/>
                  </a:lnTo>
                  <a:lnTo>
                    <a:pt x="32169" y="67169"/>
                  </a:lnTo>
                  <a:lnTo>
                    <a:pt x="30754" y="67357"/>
                  </a:lnTo>
                  <a:lnTo>
                    <a:pt x="30094" y="67357"/>
                  </a:lnTo>
                  <a:lnTo>
                    <a:pt x="29339" y="67263"/>
                  </a:lnTo>
                  <a:lnTo>
                    <a:pt x="27830" y="66886"/>
                  </a:lnTo>
                  <a:lnTo>
                    <a:pt x="26415" y="66508"/>
                  </a:lnTo>
                  <a:lnTo>
                    <a:pt x="25754" y="66414"/>
                  </a:lnTo>
                  <a:lnTo>
                    <a:pt x="25094" y="66414"/>
                  </a:lnTo>
                  <a:lnTo>
                    <a:pt x="25566" y="66980"/>
                  </a:lnTo>
                  <a:lnTo>
                    <a:pt x="25471" y="67074"/>
                  </a:lnTo>
                  <a:lnTo>
                    <a:pt x="25188" y="66980"/>
                  </a:lnTo>
                  <a:lnTo>
                    <a:pt x="24339" y="66791"/>
                  </a:lnTo>
                  <a:lnTo>
                    <a:pt x="23773" y="66508"/>
                  </a:lnTo>
                  <a:lnTo>
                    <a:pt x="24245" y="66414"/>
                  </a:lnTo>
                  <a:lnTo>
                    <a:pt x="24717" y="66603"/>
                  </a:lnTo>
                  <a:lnTo>
                    <a:pt x="24811" y="66414"/>
                  </a:lnTo>
                  <a:lnTo>
                    <a:pt x="24811" y="66320"/>
                  </a:lnTo>
                  <a:lnTo>
                    <a:pt x="24717" y="66225"/>
                  </a:lnTo>
                  <a:lnTo>
                    <a:pt x="24528" y="66131"/>
                  </a:lnTo>
                  <a:lnTo>
                    <a:pt x="24151" y="66225"/>
                  </a:lnTo>
                  <a:lnTo>
                    <a:pt x="23679" y="66320"/>
                  </a:lnTo>
                  <a:lnTo>
                    <a:pt x="23018" y="66414"/>
                  </a:lnTo>
                  <a:lnTo>
                    <a:pt x="23490" y="66225"/>
                  </a:lnTo>
                  <a:lnTo>
                    <a:pt x="22075" y="65942"/>
                  </a:lnTo>
                  <a:lnTo>
                    <a:pt x="20943" y="65659"/>
                  </a:lnTo>
                  <a:lnTo>
                    <a:pt x="20000" y="65282"/>
                  </a:lnTo>
                  <a:lnTo>
                    <a:pt x="19056" y="64810"/>
                  </a:lnTo>
                  <a:lnTo>
                    <a:pt x="19056" y="64810"/>
                  </a:lnTo>
                  <a:lnTo>
                    <a:pt x="19717" y="64999"/>
                  </a:lnTo>
                  <a:lnTo>
                    <a:pt x="19151" y="64716"/>
                  </a:lnTo>
                  <a:lnTo>
                    <a:pt x="18962" y="64810"/>
                  </a:lnTo>
                  <a:lnTo>
                    <a:pt x="19151" y="64905"/>
                  </a:lnTo>
                  <a:lnTo>
                    <a:pt x="18490" y="64905"/>
                  </a:lnTo>
                  <a:lnTo>
                    <a:pt x="17830" y="64716"/>
                  </a:lnTo>
                  <a:lnTo>
                    <a:pt x="17264" y="64527"/>
                  </a:lnTo>
                  <a:lnTo>
                    <a:pt x="16698" y="64150"/>
                  </a:lnTo>
                  <a:lnTo>
                    <a:pt x="16981" y="64056"/>
                  </a:lnTo>
                  <a:lnTo>
                    <a:pt x="17264" y="64150"/>
                  </a:lnTo>
                  <a:lnTo>
                    <a:pt x="17264" y="64150"/>
                  </a:lnTo>
                  <a:lnTo>
                    <a:pt x="15188" y="63207"/>
                  </a:lnTo>
                  <a:lnTo>
                    <a:pt x="14622" y="62829"/>
                  </a:lnTo>
                  <a:lnTo>
                    <a:pt x="14717" y="62924"/>
                  </a:lnTo>
                  <a:lnTo>
                    <a:pt x="13773" y="62546"/>
                  </a:lnTo>
                  <a:lnTo>
                    <a:pt x="12924" y="62075"/>
                  </a:lnTo>
                  <a:lnTo>
                    <a:pt x="12358" y="61697"/>
                  </a:lnTo>
                  <a:lnTo>
                    <a:pt x="12264" y="61508"/>
                  </a:lnTo>
                  <a:lnTo>
                    <a:pt x="12170" y="61320"/>
                  </a:lnTo>
                  <a:lnTo>
                    <a:pt x="11698" y="60942"/>
                  </a:lnTo>
                  <a:lnTo>
                    <a:pt x="11132" y="60471"/>
                  </a:lnTo>
                  <a:lnTo>
                    <a:pt x="9906" y="59244"/>
                  </a:lnTo>
                  <a:lnTo>
                    <a:pt x="9906" y="59244"/>
                  </a:lnTo>
                  <a:lnTo>
                    <a:pt x="10566" y="59527"/>
                  </a:lnTo>
                  <a:lnTo>
                    <a:pt x="9434" y="58584"/>
                  </a:lnTo>
                  <a:lnTo>
                    <a:pt x="8207" y="57546"/>
                  </a:lnTo>
                  <a:lnTo>
                    <a:pt x="7547" y="56886"/>
                  </a:lnTo>
                  <a:lnTo>
                    <a:pt x="6981" y="56131"/>
                  </a:lnTo>
                  <a:lnTo>
                    <a:pt x="6226" y="55094"/>
                  </a:lnTo>
                  <a:lnTo>
                    <a:pt x="6415" y="55377"/>
                  </a:lnTo>
                  <a:lnTo>
                    <a:pt x="6038" y="54905"/>
                  </a:lnTo>
                  <a:lnTo>
                    <a:pt x="5472" y="54244"/>
                  </a:lnTo>
                  <a:lnTo>
                    <a:pt x="5283" y="53961"/>
                  </a:lnTo>
                  <a:lnTo>
                    <a:pt x="5094" y="53867"/>
                  </a:lnTo>
                  <a:lnTo>
                    <a:pt x="5377" y="54622"/>
                  </a:lnTo>
                  <a:lnTo>
                    <a:pt x="5849" y="55282"/>
                  </a:lnTo>
                  <a:lnTo>
                    <a:pt x="6321" y="55943"/>
                  </a:lnTo>
                  <a:lnTo>
                    <a:pt x="6698" y="56603"/>
                  </a:lnTo>
                  <a:lnTo>
                    <a:pt x="6226" y="56226"/>
                  </a:lnTo>
                  <a:lnTo>
                    <a:pt x="5943" y="55848"/>
                  </a:lnTo>
                  <a:lnTo>
                    <a:pt x="6038" y="56037"/>
                  </a:lnTo>
                  <a:lnTo>
                    <a:pt x="5943" y="55943"/>
                  </a:lnTo>
                  <a:lnTo>
                    <a:pt x="5377" y="55188"/>
                  </a:lnTo>
                  <a:lnTo>
                    <a:pt x="5000" y="54716"/>
                  </a:lnTo>
                  <a:lnTo>
                    <a:pt x="4717" y="54150"/>
                  </a:lnTo>
                  <a:lnTo>
                    <a:pt x="4528" y="53678"/>
                  </a:lnTo>
                  <a:lnTo>
                    <a:pt x="4528" y="53584"/>
                  </a:lnTo>
                  <a:lnTo>
                    <a:pt x="4623" y="53395"/>
                  </a:lnTo>
                  <a:lnTo>
                    <a:pt x="5094" y="54244"/>
                  </a:lnTo>
                  <a:lnTo>
                    <a:pt x="4717" y="53301"/>
                  </a:lnTo>
                  <a:lnTo>
                    <a:pt x="4528" y="53018"/>
                  </a:lnTo>
                  <a:lnTo>
                    <a:pt x="4151" y="52263"/>
                  </a:lnTo>
                  <a:lnTo>
                    <a:pt x="4151" y="52169"/>
                  </a:lnTo>
                  <a:lnTo>
                    <a:pt x="3774" y="51509"/>
                  </a:lnTo>
                  <a:lnTo>
                    <a:pt x="3396" y="50660"/>
                  </a:lnTo>
                  <a:lnTo>
                    <a:pt x="3585" y="51603"/>
                  </a:lnTo>
                  <a:lnTo>
                    <a:pt x="3396" y="51226"/>
                  </a:lnTo>
                  <a:lnTo>
                    <a:pt x="3208" y="50848"/>
                  </a:lnTo>
                  <a:lnTo>
                    <a:pt x="3208" y="50471"/>
                  </a:lnTo>
                  <a:lnTo>
                    <a:pt x="3208" y="50094"/>
                  </a:lnTo>
                  <a:lnTo>
                    <a:pt x="3585" y="50754"/>
                  </a:lnTo>
                  <a:lnTo>
                    <a:pt x="3868" y="51509"/>
                  </a:lnTo>
                  <a:lnTo>
                    <a:pt x="3868" y="51509"/>
                  </a:lnTo>
                  <a:lnTo>
                    <a:pt x="3208" y="49528"/>
                  </a:lnTo>
                  <a:lnTo>
                    <a:pt x="3208" y="49528"/>
                  </a:lnTo>
                  <a:lnTo>
                    <a:pt x="3868" y="50754"/>
                  </a:lnTo>
                  <a:lnTo>
                    <a:pt x="3208" y="48962"/>
                  </a:lnTo>
                  <a:lnTo>
                    <a:pt x="3585" y="49339"/>
                  </a:lnTo>
                  <a:lnTo>
                    <a:pt x="3774" y="49433"/>
                  </a:lnTo>
                  <a:lnTo>
                    <a:pt x="3962" y="49528"/>
                  </a:lnTo>
                  <a:lnTo>
                    <a:pt x="4057" y="49905"/>
                  </a:lnTo>
                  <a:lnTo>
                    <a:pt x="3868" y="48962"/>
                  </a:lnTo>
                  <a:lnTo>
                    <a:pt x="3491" y="47924"/>
                  </a:lnTo>
                  <a:lnTo>
                    <a:pt x="2641" y="45565"/>
                  </a:lnTo>
                  <a:lnTo>
                    <a:pt x="2170" y="43867"/>
                  </a:lnTo>
                  <a:lnTo>
                    <a:pt x="1698" y="41886"/>
                  </a:lnTo>
                  <a:lnTo>
                    <a:pt x="1698" y="41886"/>
                  </a:lnTo>
                  <a:lnTo>
                    <a:pt x="1887" y="42075"/>
                  </a:lnTo>
                  <a:lnTo>
                    <a:pt x="1981" y="41981"/>
                  </a:lnTo>
                  <a:lnTo>
                    <a:pt x="2075" y="42075"/>
                  </a:lnTo>
                  <a:lnTo>
                    <a:pt x="2264" y="42169"/>
                  </a:lnTo>
                  <a:lnTo>
                    <a:pt x="2170" y="40283"/>
                  </a:lnTo>
                  <a:lnTo>
                    <a:pt x="2075" y="38301"/>
                  </a:lnTo>
                  <a:lnTo>
                    <a:pt x="2170" y="36415"/>
                  </a:lnTo>
                  <a:lnTo>
                    <a:pt x="2358" y="35566"/>
                  </a:lnTo>
                  <a:lnTo>
                    <a:pt x="2453" y="34811"/>
                  </a:lnTo>
                  <a:lnTo>
                    <a:pt x="2830" y="32830"/>
                  </a:lnTo>
                  <a:lnTo>
                    <a:pt x="2830" y="33207"/>
                  </a:lnTo>
                  <a:lnTo>
                    <a:pt x="2924" y="33490"/>
                  </a:lnTo>
                  <a:lnTo>
                    <a:pt x="2924" y="32453"/>
                  </a:lnTo>
                  <a:lnTo>
                    <a:pt x="3019" y="31415"/>
                  </a:lnTo>
                  <a:lnTo>
                    <a:pt x="3396" y="29245"/>
                  </a:lnTo>
                  <a:lnTo>
                    <a:pt x="3868" y="27075"/>
                  </a:lnTo>
                  <a:lnTo>
                    <a:pt x="4623" y="25000"/>
                  </a:lnTo>
                  <a:lnTo>
                    <a:pt x="5566" y="22830"/>
                  </a:lnTo>
                  <a:lnTo>
                    <a:pt x="6604" y="20849"/>
                  </a:lnTo>
                  <a:lnTo>
                    <a:pt x="7830" y="18868"/>
                  </a:lnTo>
                  <a:lnTo>
                    <a:pt x="9151" y="16887"/>
                  </a:lnTo>
                  <a:lnTo>
                    <a:pt x="10566" y="15094"/>
                  </a:lnTo>
                  <a:lnTo>
                    <a:pt x="12075" y="13302"/>
                  </a:lnTo>
                  <a:lnTo>
                    <a:pt x="13773" y="11698"/>
                  </a:lnTo>
                  <a:lnTo>
                    <a:pt x="15377" y="10095"/>
                  </a:lnTo>
                  <a:lnTo>
                    <a:pt x="17170" y="8679"/>
                  </a:lnTo>
                  <a:lnTo>
                    <a:pt x="18962" y="7453"/>
                  </a:lnTo>
                  <a:lnTo>
                    <a:pt x="20754" y="6321"/>
                  </a:lnTo>
                  <a:lnTo>
                    <a:pt x="22547" y="5378"/>
                  </a:lnTo>
                  <a:lnTo>
                    <a:pt x="21603" y="6227"/>
                  </a:lnTo>
                  <a:lnTo>
                    <a:pt x="22641" y="5472"/>
                  </a:lnTo>
                  <a:lnTo>
                    <a:pt x="23302" y="5095"/>
                  </a:lnTo>
                  <a:lnTo>
                    <a:pt x="25377" y="4151"/>
                  </a:lnTo>
                  <a:lnTo>
                    <a:pt x="24811" y="4151"/>
                  </a:lnTo>
                  <a:lnTo>
                    <a:pt x="25660" y="3774"/>
                  </a:lnTo>
                  <a:lnTo>
                    <a:pt x="26886" y="3208"/>
                  </a:lnTo>
                  <a:lnTo>
                    <a:pt x="26603" y="3585"/>
                  </a:lnTo>
                  <a:lnTo>
                    <a:pt x="26886" y="3585"/>
                  </a:lnTo>
                  <a:lnTo>
                    <a:pt x="26886" y="3680"/>
                  </a:lnTo>
                  <a:lnTo>
                    <a:pt x="26792" y="3774"/>
                  </a:lnTo>
                  <a:lnTo>
                    <a:pt x="28301" y="3302"/>
                  </a:lnTo>
                  <a:lnTo>
                    <a:pt x="29622" y="2736"/>
                  </a:lnTo>
                  <a:lnTo>
                    <a:pt x="31037" y="2264"/>
                  </a:lnTo>
                  <a:lnTo>
                    <a:pt x="31792" y="2076"/>
                  </a:lnTo>
                  <a:lnTo>
                    <a:pt x="32641" y="1981"/>
                  </a:lnTo>
                  <a:lnTo>
                    <a:pt x="32547" y="2076"/>
                  </a:lnTo>
                  <a:lnTo>
                    <a:pt x="32924" y="1981"/>
                  </a:lnTo>
                  <a:lnTo>
                    <a:pt x="34245" y="1793"/>
                  </a:lnTo>
                  <a:lnTo>
                    <a:pt x="35848" y="1415"/>
                  </a:lnTo>
                  <a:lnTo>
                    <a:pt x="36981" y="1132"/>
                  </a:lnTo>
                  <a:lnTo>
                    <a:pt x="36981" y="1415"/>
                  </a:lnTo>
                  <a:lnTo>
                    <a:pt x="40943" y="1227"/>
                  </a:lnTo>
                  <a:lnTo>
                    <a:pt x="41509" y="1038"/>
                  </a:lnTo>
                  <a:lnTo>
                    <a:pt x="41697" y="1132"/>
                  </a:lnTo>
                  <a:lnTo>
                    <a:pt x="41509" y="1227"/>
                  </a:lnTo>
                  <a:lnTo>
                    <a:pt x="41320" y="1321"/>
                  </a:lnTo>
                  <a:lnTo>
                    <a:pt x="42263" y="1321"/>
                  </a:lnTo>
                  <a:lnTo>
                    <a:pt x="43113" y="1227"/>
                  </a:lnTo>
                  <a:lnTo>
                    <a:pt x="43396" y="1415"/>
                  </a:lnTo>
                  <a:lnTo>
                    <a:pt x="44056" y="1604"/>
                  </a:lnTo>
                  <a:lnTo>
                    <a:pt x="45943" y="2076"/>
                  </a:lnTo>
                  <a:lnTo>
                    <a:pt x="48018" y="2359"/>
                  </a:lnTo>
                  <a:lnTo>
                    <a:pt x="49622" y="2736"/>
                  </a:lnTo>
                  <a:lnTo>
                    <a:pt x="47641" y="1981"/>
                  </a:lnTo>
                  <a:lnTo>
                    <a:pt x="45282" y="1321"/>
                  </a:lnTo>
                  <a:lnTo>
                    <a:pt x="42735" y="755"/>
                  </a:lnTo>
                  <a:lnTo>
                    <a:pt x="40188" y="283"/>
                  </a:lnTo>
                  <a:lnTo>
                    <a:pt x="37735" y="95"/>
                  </a:lnTo>
                  <a:lnTo>
                    <a:pt x="35471" y="0"/>
                  </a:lnTo>
                  <a:close/>
                </a:path>
              </a:pathLst>
            </a:custGeom>
            <a:solidFill>
              <a:schemeClr val="bg1">
                <a:lumMod val="95000"/>
              </a:schemeClr>
            </a:solidFill>
            <a:ln w="0">
              <a:solidFill>
                <a:srgbClr val="0079D1"/>
              </a:solidFill>
            </a:ln>
          </p:spPr>
          <p:txBody>
            <a:bodyPr spcFirstLastPara="1" wrap="square" lIns="91425" tIns="91425" rIns="91425" bIns="91425" anchor="ctr" anchorCtr="0">
              <a:noAutofit/>
            </a:bodyPr>
            <a:lstStyle/>
            <a:p>
              <a:pPr marL="0" lvl="0" indent="0">
                <a:spcBef>
                  <a:spcPts val="0"/>
                </a:spcBef>
                <a:spcAft>
                  <a:spcPts val="0"/>
                </a:spcAft>
                <a:buNone/>
              </a:pPr>
              <a:endParaRPr sz="1200">
                <a:latin typeface="+mj-lt"/>
              </a:endParaRPr>
            </a:p>
          </p:txBody>
        </p:sp>
        <p:sp>
          <p:nvSpPr>
            <p:cNvPr id="642" name="TextBox 641">
              <a:extLst>
                <a:ext uri="{FF2B5EF4-FFF2-40B4-BE49-F238E27FC236}">
                  <a16:creationId xmlns:a16="http://schemas.microsoft.com/office/drawing/2014/main" id="{E901F933-02C8-C446-AC80-36A79F9E05AB}"/>
                </a:ext>
              </a:extLst>
            </p:cNvPr>
            <p:cNvSpPr txBox="1"/>
            <p:nvPr/>
          </p:nvSpPr>
          <p:spPr>
            <a:xfrm>
              <a:off x="8676898" y="4619460"/>
              <a:ext cx="229951" cy="200055"/>
            </a:xfrm>
            <a:prstGeom prst="rect">
              <a:avLst/>
            </a:prstGeom>
            <a:noFill/>
          </p:spPr>
          <p:txBody>
            <a:bodyPr wrap="square" rtlCol="0">
              <a:spAutoFit/>
            </a:bodyPr>
            <a:lstStyle/>
            <a:p>
              <a:r>
                <a:rPr lang="en-US" sz="700" b="1" dirty="0">
                  <a:solidFill>
                    <a:srgbClr val="0079D1"/>
                  </a:solidFill>
                  <a:latin typeface="+mj-lt"/>
                </a:rPr>
                <a:t>C</a:t>
              </a:r>
            </a:p>
          </p:txBody>
        </p:sp>
      </p:grpSp>
      <p:sp>
        <p:nvSpPr>
          <p:cNvPr id="670" name="Rectangle 669">
            <a:extLst>
              <a:ext uri="{FF2B5EF4-FFF2-40B4-BE49-F238E27FC236}">
                <a16:creationId xmlns:a16="http://schemas.microsoft.com/office/drawing/2014/main" id="{660A07B9-04C4-E040-8B22-A656486FAB2C}"/>
              </a:ext>
            </a:extLst>
          </p:cNvPr>
          <p:cNvSpPr/>
          <p:nvPr/>
        </p:nvSpPr>
        <p:spPr>
          <a:xfrm>
            <a:off x="2296059" y="963488"/>
            <a:ext cx="1267357" cy="5412393"/>
          </a:xfrm>
          <a:prstGeom prst="rect">
            <a:avLst/>
          </a:prstGeom>
          <a:noFill/>
          <a:ln w="15875">
            <a:solidFill>
              <a:srgbClr val="E2E2E2"/>
            </a:solidFill>
            <a:prstDash val="dash"/>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a:solidFill>
                <a:srgbClr val="002D72"/>
              </a:solidFill>
              <a:latin typeface="Arial" pitchFamily="34" charset="0"/>
              <a:cs typeface="Arial" pitchFamily="34" charset="0"/>
            </a:endParaRPr>
          </a:p>
        </p:txBody>
      </p:sp>
      <p:sp>
        <p:nvSpPr>
          <p:cNvPr id="671" name="TextBox 670">
            <a:extLst>
              <a:ext uri="{FF2B5EF4-FFF2-40B4-BE49-F238E27FC236}">
                <a16:creationId xmlns:a16="http://schemas.microsoft.com/office/drawing/2014/main" id="{C70641A6-277C-AA45-9792-F5187D07C99E}"/>
              </a:ext>
            </a:extLst>
          </p:cNvPr>
          <p:cNvSpPr txBox="1"/>
          <p:nvPr/>
        </p:nvSpPr>
        <p:spPr>
          <a:xfrm>
            <a:off x="2296081" y="961776"/>
            <a:ext cx="926544" cy="304868"/>
          </a:xfrm>
          <a:prstGeom prst="rect">
            <a:avLst/>
          </a:prstGeom>
          <a:noFill/>
        </p:spPr>
        <p:txBody>
          <a:bodyPr wrap="square" tIns="90000" bIns="90000" rtlCol="0" anchor="t">
            <a:spAutoFit/>
          </a:bodyPr>
          <a:lstStyle/>
          <a:p>
            <a:pPr algn="just"/>
            <a:r>
              <a:rPr lang="en-US" sz="800" dirty="0">
                <a:solidFill>
                  <a:schemeClr val="bg1">
                    <a:lumMod val="65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Event Producer</a:t>
            </a:r>
          </a:p>
        </p:txBody>
      </p:sp>
      <p:sp>
        <p:nvSpPr>
          <p:cNvPr id="676" name="Rectangle 675">
            <a:extLst>
              <a:ext uri="{FF2B5EF4-FFF2-40B4-BE49-F238E27FC236}">
                <a16:creationId xmlns:a16="http://schemas.microsoft.com/office/drawing/2014/main" id="{89CA94B2-4485-2F44-97B3-BB85D3D35024}"/>
              </a:ext>
            </a:extLst>
          </p:cNvPr>
          <p:cNvSpPr/>
          <p:nvPr/>
        </p:nvSpPr>
        <p:spPr>
          <a:xfrm>
            <a:off x="10768824" y="963488"/>
            <a:ext cx="1147098" cy="5252664"/>
          </a:xfrm>
          <a:prstGeom prst="rect">
            <a:avLst/>
          </a:prstGeom>
          <a:noFill/>
          <a:ln w="15875">
            <a:solidFill>
              <a:srgbClr val="E2E2E2"/>
            </a:solidFill>
            <a:prstDash val="dash"/>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a:solidFill>
                <a:srgbClr val="002D72"/>
              </a:solidFill>
              <a:latin typeface="Arial" pitchFamily="34" charset="0"/>
              <a:cs typeface="Arial" pitchFamily="34" charset="0"/>
            </a:endParaRPr>
          </a:p>
        </p:txBody>
      </p:sp>
      <p:sp>
        <p:nvSpPr>
          <p:cNvPr id="677" name="TextBox 676">
            <a:extLst>
              <a:ext uri="{FF2B5EF4-FFF2-40B4-BE49-F238E27FC236}">
                <a16:creationId xmlns:a16="http://schemas.microsoft.com/office/drawing/2014/main" id="{F0E5B970-AADD-DF47-A69A-F0AC5C62C6A1}"/>
              </a:ext>
            </a:extLst>
          </p:cNvPr>
          <p:cNvSpPr txBox="1"/>
          <p:nvPr/>
        </p:nvSpPr>
        <p:spPr>
          <a:xfrm>
            <a:off x="10775952" y="972260"/>
            <a:ext cx="1113865" cy="304868"/>
          </a:xfrm>
          <a:prstGeom prst="rect">
            <a:avLst/>
          </a:prstGeom>
          <a:noFill/>
        </p:spPr>
        <p:txBody>
          <a:bodyPr wrap="square" tIns="90000" bIns="90000" rtlCol="0" anchor="t">
            <a:spAutoFit/>
          </a:bodyPr>
          <a:lstStyle/>
          <a:p>
            <a:pPr algn="just"/>
            <a:r>
              <a:rPr lang="en-US" sz="800" dirty="0">
                <a:solidFill>
                  <a:schemeClr val="bg1">
                    <a:lumMod val="65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Event Consumer</a:t>
            </a:r>
          </a:p>
        </p:txBody>
      </p:sp>
      <p:grpSp>
        <p:nvGrpSpPr>
          <p:cNvPr id="1064" name="Group 1063">
            <a:extLst>
              <a:ext uri="{FF2B5EF4-FFF2-40B4-BE49-F238E27FC236}">
                <a16:creationId xmlns:a16="http://schemas.microsoft.com/office/drawing/2014/main" id="{872806BE-94ED-9449-95CE-A4E8F9C3A2A0}"/>
              </a:ext>
            </a:extLst>
          </p:cNvPr>
          <p:cNvGrpSpPr/>
          <p:nvPr/>
        </p:nvGrpSpPr>
        <p:grpSpPr>
          <a:xfrm>
            <a:off x="6386521" y="1987025"/>
            <a:ext cx="1530747" cy="3526497"/>
            <a:chOff x="4659160" y="1635817"/>
            <a:chExt cx="1530747" cy="3779481"/>
          </a:xfrm>
        </p:grpSpPr>
        <p:sp>
          <p:nvSpPr>
            <p:cNvPr id="1065" name="Rounded Rectangle 1064">
              <a:extLst>
                <a:ext uri="{FF2B5EF4-FFF2-40B4-BE49-F238E27FC236}">
                  <a16:creationId xmlns:a16="http://schemas.microsoft.com/office/drawing/2014/main" id="{32DF8404-5AD9-1344-9F3F-09578DCA4892}"/>
                </a:ext>
              </a:extLst>
            </p:cNvPr>
            <p:cNvSpPr/>
            <p:nvPr/>
          </p:nvSpPr>
          <p:spPr>
            <a:xfrm>
              <a:off x="5209370" y="1780136"/>
              <a:ext cx="186062" cy="167874"/>
            </a:xfrm>
            <a:prstGeom prst="roundRect">
              <a:avLst/>
            </a:prstGeom>
            <a:solidFill>
              <a:schemeClr val="bg1"/>
            </a:solidFill>
            <a:ln w="31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066" name="Rounded Rectangle 1065">
              <a:extLst>
                <a:ext uri="{FF2B5EF4-FFF2-40B4-BE49-F238E27FC236}">
                  <a16:creationId xmlns:a16="http://schemas.microsoft.com/office/drawing/2014/main" id="{965340AC-B53F-B640-A987-628A27CFFB24}"/>
                </a:ext>
              </a:extLst>
            </p:cNvPr>
            <p:cNvSpPr/>
            <p:nvPr/>
          </p:nvSpPr>
          <p:spPr>
            <a:xfrm>
              <a:off x="5403533" y="1780135"/>
              <a:ext cx="186062" cy="167874"/>
            </a:xfrm>
            <a:prstGeom prst="roundRect">
              <a:avLst/>
            </a:prstGeom>
            <a:solidFill>
              <a:schemeClr val="bg1"/>
            </a:solidFill>
            <a:ln w="31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067" name="Rounded Rectangle 1066">
              <a:extLst>
                <a:ext uri="{FF2B5EF4-FFF2-40B4-BE49-F238E27FC236}">
                  <a16:creationId xmlns:a16="http://schemas.microsoft.com/office/drawing/2014/main" id="{3CC7B5CE-465C-9F44-9390-F1FA654943F5}"/>
                </a:ext>
              </a:extLst>
            </p:cNvPr>
            <p:cNvSpPr/>
            <p:nvPr/>
          </p:nvSpPr>
          <p:spPr>
            <a:xfrm>
              <a:off x="5597696" y="1780135"/>
              <a:ext cx="180437" cy="167874"/>
            </a:xfrm>
            <a:prstGeom prst="roundRect">
              <a:avLst/>
            </a:prstGeom>
            <a:solidFill>
              <a:schemeClr val="bg1"/>
            </a:solidFill>
            <a:ln w="31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068" name="Rounded Rectangle 1067">
              <a:extLst>
                <a:ext uri="{FF2B5EF4-FFF2-40B4-BE49-F238E27FC236}">
                  <a16:creationId xmlns:a16="http://schemas.microsoft.com/office/drawing/2014/main" id="{AE0C4B9A-464A-6444-B156-0D8B3E5F9B21}"/>
                </a:ext>
              </a:extLst>
            </p:cNvPr>
            <p:cNvSpPr/>
            <p:nvPr/>
          </p:nvSpPr>
          <p:spPr>
            <a:xfrm>
              <a:off x="5790105" y="1780413"/>
              <a:ext cx="186062" cy="167874"/>
            </a:xfrm>
            <a:prstGeom prst="roundRect">
              <a:avLst/>
            </a:prstGeom>
            <a:solidFill>
              <a:schemeClr val="bg1"/>
            </a:solidFill>
            <a:ln w="31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069" name="Rounded Rectangle 1068">
              <a:extLst>
                <a:ext uri="{FF2B5EF4-FFF2-40B4-BE49-F238E27FC236}">
                  <a16:creationId xmlns:a16="http://schemas.microsoft.com/office/drawing/2014/main" id="{D7A55958-A97D-1C42-8562-FEE30233AA64}"/>
                </a:ext>
              </a:extLst>
            </p:cNvPr>
            <p:cNvSpPr/>
            <p:nvPr/>
          </p:nvSpPr>
          <p:spPr>
            <a:xfrm>
              <a:off x="5970565" y="1783807"/>
              <a:ext cx="186062" cy="167874"/>
            </a:xfrm>
            <a:prstGeom prst="roundRect">
              <a:avLst/>
            </a:prstGeom>
            <a:solidFill>
              <a:schemeClr val="bg1"/>
            </a:solidFill>
            <a:ln w="31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070" name="Rounded Rectangle 1069">
              <a:extLst>
                <a:ext uri="{FF2B5EF4-FFF2-40B4-BE49-F238E27FC236}">
                  <a16:creationId xmlns:a16="http://schemas.microsoft.com/office/drawing/2014/main" id="{A09ECA0D-D37E-554F-B552-AECF1D2D276A}"/>
                </a:ext>
              </a:extLst>
            </p:cNvPr>
            <p:cNvSpPr/>
            <p:nvPr/>
          </p:nvSpPr>
          <p:spPr>
            <a:xfrm>
              <a:off x="5076873" y="2164587"/>
              <a:ext cx="186062" cy="167874"/>
            </a:xfrm>
            <a:prstGeom prst="roundRect">
              <a:avLst/>
            </a:prstGeom>
            <a:solidFill>
              <a:schemeClr val="bg1"/>
            </a:solidFill>
            <a:ln w="31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071" name="Rounded Rectangle 1070">
              <a:extLst>
                <a:ext uri="{FF2B5EF4-FFF2-40B4-BE49-F238E27FC236}">
                  <a16:creationId xmlns:a16="http://schemas.microsoft.com/office/drawing/2014/main" id="{4CF7818B-F149-A241-82A6-F6F5CF9CA04E}"/>
                </a:ext>
              </a:extLst>
            </p:cNvPr>
            <p:cNvSpPr/>
            <p:nvPr/>
          </p:nvSpPr>
          <p:spPr>
            <a:xfrm>
              <a:off x="5271036" y="2164586"/>
              <a:ext cx="186062" cy="167874"/>
            </a:xfrm>
            <a:prstGeom prst="roundRect">
              <a:avLst/>
            </a:prstGeom>
            <a:solidFill>
              <a:schemeClr val="bg1"/>
            </a:solidFill>
            <a:ln w="31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072" name="Rounded Rectangle 1071">
              <a:extLst>
                <a:ext uri="{FF2B5EF4-FFF2-40B4-BE49-F238E27FC236}">
                  <a16:creationId xmlns:a16="http://schemas.microsoft.com/office/drawing/2014/main" id="{9097668D-2FF8-1647-8605-8EA957A36D25}"/>
                </a:ext>
              </a:extLst>
            </p:cNvPr>
            <p:cNvSpPr/>
            <p:nvPr/>
          </p:nvSpPr>
          <p:spPr>
            <a:xfrm>
              <a:off x="5465199" y="2164586"/>
              <a:ext cx="180437" cy="167874"/>
            </a:xfrm>
            <a:prstGeom prst="roundRect">
              <a:avLst/>
            </a:prstGeom>
            <a:solidFill>
              <a:schemeClr val="bg1"/>
            </a:solidFill>
            <a:ln w="31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073" name="Rounded Rectangle 1072">
              <a:extLst>
                <a:ext uri="{FF2B5EF4-FFF2-40B4-BE49-F238E27FC236}">
                  <a16:creationId xmlns:a16="http://schemas.microsoft.com/office/drawing/2014/main" id="{50BF60E7-5E4E-924E-AB73-E08EF87E48E9}"/>
                </a:ext>
              </a:extLst>
            </p:cNvPr>
            <p:cNvSpPr/>
            <p:nvPr/>
          </p:nvSpPr>
          <p:spPr>
            <a:xfrm>
              <a:off x="5657608" y="2164864"/>
              <a:ext cx="186062" cy="167874"/>
            </a:xfrm>
            <a:prstGeom prst="roundRect">
              <a:avLst/>
            </a:prstGeom>
            <a:solidFill>
              <a:schemeClr val="bg1"/>
            </a:solidFill>
            <a:ln w="31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074" name="Rounded Rectangle 1073">
              <a:extLst>
                <a:ext uri="{FF2B5EF4-FFF2-40B4-BE49-F238E27FC236}">
                  <a16:creationId xmlns:a16="http://schemas.microsoft.com/office/drawing/2014/main" id="{B9B46F12-C5DD-F641-A09B-FA73BAF96EE4}"/>
                </a:ext>
              </a:extLst>
            </p:cNvPr>
            <p:cNvSpPr/>
            <p:nvPr/>
          </p:nvSpPr>
          <p:spPr>
            <a:xfrm>
              <a:off x="5838068" y="2158426"/>
              <a:ext cx="186062" cy="167874"/>
            </a:xfrm>
            <a:prstGeom prst="roundRect">
              <a:avLst/>
            </a:prstGeom>
            <a:solidFill>
              <a:schemeClr val="bg1"/>
            </a:solidFill>
            <a:ln w="31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075" name="TextBox 1074">
              <a:extLst>
                <a:ext uri="{FF2B5EF4-FFF2-40B4-BE49-F238E27FC236}">
                  <a16:creationId xmlns:a16="http://schemas.microsoft.com/office/drawing/2014/main" id="{2FC40F3B-BA95-6542-AAF4-B5FCED858CBE}"/>
                </a:ext>
              </a:extLst>
            </p:cNvPr>
            <p:cNvSpPr txBox="1"/>
            <p:nvPr/>
          </p:nvSpPr>
          <p:spPr>
            <a:xfrm>
              <a:off x="4876509" y="2272870"/>
              <a:ext cx="1268296" cy="343232"/>
            </a:xfrm>
            <a:prstGeom prst="rect">
              <a:avLst/>
            </a:prstGeom>
            <a:noFill/>
            <a:ln>
              <a:solidFill>
                <a:schemeClr val="bg2">
                  <a:lumMod val="50000"/>
                </a:schemeClr>
              </a:solidFill>
            </a:ln>
          </p:spPr>
          <p:txBody>
            <a:bodyPr wrap="none" tIns="90000" bIns="90000" rtlCol="0" anchor="t">
              <a:spAutoFit/>
            </a:bodyPr>
            <a:lstStyle/>
            <a:p>
              <a:pPr algn="ctr" defTabSz="457200"/>
              <a:r>
                <a:rPr lang="en-US" sz="9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Name Events (Topic)</a:t>
              </a:r>
            </a:p>
          </p:txBody>
        </p:sp>
        <p:sp>
          <p:nvSpPr>
            <p:cNvPr id="1076" name="Rounded Rectangle 1075">
              <a:extLst>
                <a:ext uri="{FF2B5EF4-FFF2-40B4-BE49-F238E27FC236}">
                  <a16:creationId xmlns:a16="http://schemas.microsoft.com/office/drawing/2014/main" id="{B4052D3D-4319-7642-A434-2B460D2CD047}"/>
                </a:ext>
              </a:extLst>
            </p:cNvPr>
            <p:cNvSpPr/>
            <p:nvPr/>
          </p:nvSpPr>
          <p:spPr>
            <a:xfrm>
              <a:off x="5092623" y="2649896"/>
              <a:ext cx="186062" cy="167874"/>
            </a:xfrm>
            <a:prstGeom prst="roundRect">
              <a:avLst/>
            </a:prstGeom>
            <a:solidFill>
              <a:schemeClr val="bg1"/>
            </a:solidFill>
            <a:ln w="31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077" name="Rounded Rectangle 1076">
              <a:extLst>
                <a:ext uri="{FF2B5EF4-FFF2-40B4-BE49-F238E27FC236}">
                  <a16:creationId xmlns:a16="http://schemas.microsoft.com/office/drawing/2014/main" id="{6159700D-91B6-A846-AA92-1ADC34E95115}"/>
                </a:ext>
              </a:extLst>
            </p:cNvPr>
            <p:cNvSpPr/>
            <p:nvPr/>
          </p:nvSpPr>
          <p:spPr>
            <a:xfrm>
              <a:off x="5286786" y="2649895"/>
              <a:ext cx="186062" cy="167874"/>
            </a:xfrm>
            <a:prstGeom prst="roundRect">
              <a:avLst/>
            </a:prstGeom>
            <a:solidFill>
              <a:schemeClr val="bg1"/>
            </a:solidFill>
            <a:ln w="31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078" name="Rounded Rectangle 1077">
              <a:extLst>
                <a:ext uri="{FF2B5EF4-FFF2-40B4-BE49-F238E27FC236}">
                  <a16:creationId xmlns:a16="http://schemas.microsoft.com/office/drawing/2014/main" id="{FDCE5637-C141-9F43-A488-F102F0626CCD}"/>
                </a:ext>
              </a:extLst>
            </p:cNvPr>
            <p:cNvSpPr/>
            <p:nvPr/>
          </p:nvSpPr>
          <p:spPr>
            <a:xfrm>
              <a:off x="5480949" y="2649895"/>
              <a:ext cx="180437" cy="167874"/>
            </a:xfrm>
            <a:prstGeom prst="roundRect">
              <a:avLst/>
            </a:prstGeom>
            <a:solidFill>
              <a:schemeClr val="bg1"/>
            </a:solidFill>
            <a:ln w="31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079" name="Rounded Rectangle 1078">
              <a:extLst>
                <a:ext uri="{FF2B5EF4-FFF2-40B4-BE49-F238E27FC236}">
                  <a16:creationId xmlns:a16="http://schemas.microsoft.com/office/drawing/2014/main" id="{3A96D8B1-D798-2049-99A4-32FAAF59277F}"/>
                </a:ext>
              </a:extLst>
            </p:cNvPr>
            <p:cNvSpPr/>
            <p:nvPr/>
          </p:nvSpPr>
          <p:spPr>
            <a:xfrm>
              <a:off x="5673358" y="2650173"/>
              <a:ext cx="186062" cy="167874"/>
            </a:xfrm>
            <a:prstGeom prst="roundRect">
              <a:avLst/>
            </a:prstGeom>
            <a:solidFill>
              <a:schemeClr val="bg1"/>
            </a:solidFill>
            <a:ln w="31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080" name="Rounded Rectangle 1079">
              <a:extLst>
                <a:ext uri="{FF2B5EF4-FFF2-40B4-BE49-F238E27FC236}">
                  <a16:creationId xmlns:a16="http://schemas.microsoft.com/office/drawing/2014/main" id="{B9A624AC-1F88-694A-A1AB-4DF358A82A1E}"/>
                </a:ext>
              </a:extLst>
            </p:cNvPr>
            <p:cNvSpPr/>
            <p:nvPr/>
          </p:nvSpPr>
          <p:spPr>
            <a:xfrm>
              <a:off x="5853818" y="2653567"/>
              <a:ext cx="186062" cy="167874"/>
            </a:xfrm>
            <a:prstGeom prst="roundRect">
              <a:avLst/>
            </a:prstGeom>
            <a:solidFill>
              <a:schemeClr val="bg1"/>
            </a:solidFill>
            <a:ln w="31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081" name="TextBox 1080">
              <a:extLst>
                <a:ext uri="{FF2B5EF4-FFF2-40B4-BE49-F238E27FC236}">
                  <a16:creationId xmlns:a16="http://schemas.microsoft.com/office/drawing/2014/main" id="{387C4C02-1D9B-1A4E-BBA4-A4E3BAB394F8}"/>
                </a:ext>
              </a:extLst>
            </p:cNvPr>
            <p:cNvSpPr txBox="1"/>
            <p:nvPr/>
          </p:nvSpPr>
          <p:spPr>
            <a:xfrm>
              <a:off x="4892259" y="2758179"/>
              <a:ext cx="1268296" cy="343232"/>
            </a:xfrm>
            <a:prstGeom prst="rect">
              <a:avLst/>
            </a:prstGeom>
            <a:noFill/>
            <a:ln>
              <a:solidFill>
                <a:schemeClr val="bg2">
                  <a:lumMod val="50000"/>
                </a:schemeClr>
              </a:solidFill>
            </a:ln>
          </p:spPr>
          <p:txBody>
            <a:bodyPr wrap="none" tIns="90000" bIns="90000" rtlCol="0" anchor="t">
              <a:spAutoFit/>
            </a:bodyPr>
            <a:lstStyle/>
            <a:p>
              <a:pPr algn="ctr" defTabSz="457200"/>
              <a:r>
                <a:rPr lang="en-US" sz="9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Name Events (Topic)</a:t>
              </a:r>
            </a:p>
          </p:txBody>
        </p:sp>
        <p:sp>
          <p:nvSpPr>
            <p:cNvPr id="1082" name="Rounded Rectangle 1081">
              <a:extLst>
                <a:ext uri="{FF2B5EF4-FFF2-40B4-BE49-F238E27FC236}">
                  <a16:creationId xmlns:a16="http://schemas.microsoft.com/office/drawing/2014/main" id="{9A5838E9-50B9-B743-AE49-E870D0C847B1}"/>
                </a:ext>
              </a:extLst>
            </p:cNvPr>
            <p:cNvSpPr/>
            <p:nvPr/>
          </p:nvSpPr>
          <p:spPr>
            <a:xfrm>
              <a:off x="5103159" y="3086711"/>
              <a:ext cx="186062" cy="167874"/>
            </a:xfrm>
            <a:prstGeom prst="roundRect">
              <a:avLst/>
            </a:prstGeom>
            <a:solidFill>
              <a:schemeClr val="bg1"/>
            </a:solidFill>
            <a:ln w="31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083" name="Rounded Rectangle 1082">
              <a:extLst>
                <a:ext uri="{FF2B5EF4-FFF2-40B4-BE49-F238E27FC236}">
                  <a16:creationId xmlns:a16="http://schemas.microsoft.com/office/drawing/2014/main" id="{B832EC12-AD77-3347-A594-BB594666DD91}"/>
                </a:ext>
              </a:extLst>
            </p:cNvPr>
            <p:cNvSpPr/>
            <p:nvPr/>
          </p:nvSpPr>
          <p:spPr>
            <a:xfrm>
              <a:off x="5297322" y="3086710"/>
              <a:ext cx="186062" cy="167874"/>
            </a:xfrm>
            <a:prstGeom prst="roundRect">
              <a:avLst/>
            </a:prstGeom>
            <a:solidFill>
              <a:schemeClr val="bg1"/>
            </a:solidFill>
            <a:ln w="31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084" name="Rounded Rectangle 1083">
              <a:extLst>
                <a:ext uri="{FF2B5EF4-FFF2-40B4-BE49-F238E27FC236}">
                  <a16:creationId xmlns:a16="http://schemas.microsoft.com/office/drawing/2014/main" id="{4B7AE518-E8D3-EE4D-B41A-308A51C84CC4}"/>
                </a:ext>
              </a:extLst>
            </p:cNvPr>
            <p:cNvSpPr/>
            <p:nvPr/>
          </p:nvSpPr>
          <p:spPr>
            <a:xfrm>
              <a:off x="5491485" y="3084152"/>
              <a:ext cx="186062" cy="167874"/>
            </a:xfrm>
            <a:prstGeom prst="roundRect">
              <a:avLst/>
            </a:prstGeom>
            <a:solidFill>
              <a:schemeClr val="bg1"/>
            </a:solidFill>
            <a:ln w="31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085" name="Rounded Rectangle 1084">
              <a:extLst>
                <a:ext uri="{FF2B5EF4-FFF2-40B4-BE49-F238E27FC236}">
                  <a16:creationId xmlns:a16="http://schemas.microsoft.com/office/drawing/2014/main" id="{1B0C8335-F82D-C34D-982E-DA283B04F020}"/>
                </a:ext>
              </a:extLst>
            </p:cNvPr>
            <p:cNvSpPr/>
            <p:nvPr/>
          </p:nvSpPr>
          <p:spPr>
            <a:xfrm>
              <a:off x="5674062" y="3086988"/>
              <a:ext cx="186062" cy="167874"/>
            </a:xfrm>
            <a:prstGeom prst="roundRect">
              <a:avLst/>
            </a:prstGeom>
            <a:solidFill>
              <a:schemeClr val="bg1"/>
            </a:solidFill>
            <a:ln w="31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086" name="Rounded Rectangle 1085">
              <a:extLst>
                <a:ext uri="{FF2B5EF4-FFF2-40B4-BE49-F238E27FC236}">
                  <a16:creationId xmlns:a16="http://schemas.microsoft.com/office/drawing/2014/main" id="{F02726D3-721A-D249-8018-5E2D5F428ADA}"/>
                </a:ext>
              </a:extLst>
            </p:cNvPr>
            <p:cNvSpPr/>
            <p:nvPr/>
          </p:nvSpPr>
          <p:spPr>
            <a:xfrm>
              <a:off x="5864354" y="3090382"/>
              <a:ext cx="186062" cy="167874"/>
            </a:xfrm>
            <a:prstGeom prst="roundRect">
              <a:avLst/>
            </a:prstGeom>
            <a:solidFill>
              <a:schemeClr val="bg1"/>
            </a:solidFill>
            <a:ln w="31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087" name="TextBox 1086">
              <a:extLst>
                <a:ext uri="{FF2B5EF4-FFF2-40B4-BE49-F238E27FC236}">
                  <a16:creationId xmlns:a16="http://schemas.microsoft.com/office/drawing/2014/main" id="{DBAD9213-A236-6E46-97AC-12DE75B2131A}"/>
                </a:ext>
              </a:extLst>
            </p:cNvPr>
            <p:cNvSpPr txBox="1"/>
            <p:nvPr/>
          </p:nvSpPr>
          <p:spPr>
            <a:xfrm>
              <a:off x="4902795" y="3194994"/>
              <a:ext cx="1268296" cy="343232"/>
            </a:xfrm>
            <a:prstGeom prst="rect">
              <a:avLst/>
            </a:prstGeom>
            <a:noFill/>
            <a:ln>
              <a:solidFill>
                <a:schemeClr val="bg2">
                  <a:lumMod val="50000"/>
                </a:schemeClr>
              </a:solidFill>
            </a:ln>
          </p:spPr>
          <p:txBody>
            <a:bodyPr wrap="none" tIns="90000" bIns="90000" rtlCol="0" anchor="t">
              <a:spAutoFit/>
            </a:bodyPr>
            <a:lstStyle/>
            <a:p>
              <a:pPr algn="ctr" defTabSz="457200"/>
              <a:r>
                <a:rPr lang="en-US" sz="9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Name Events (Topic)</a:t>
              </a:r>
            </a:p>
          </p:txBody>
        </p:sp>
        <p:sp>
          <p:nvSpPr>
            <p:cNvPr id="1088" name="TextBox 1087">
              <a:extLst>
                <a:ext uri="{FF2B5EF4-FFF2-40B4-BE49-F238E27FC236}">
                  <a16:creationId xmlns:a16="http://schemas.microsoft.com/office/drawing/2014/main" id="{960234E4-91D1-5E4C-867C-767712D41C5C}"/>
                </a:ext>
              </a:extLst>
            </p:cNvPr>
            <p:cNvSpPr txBox="1"/>
            <p:nvPr/>
          </p:nvSpPr>
          <p:spPr>
            <a:xfrm>
              <a:off x="4897923" y="3662657"/>
              <a:ext cx="1268296" cy="343232"/>
            </a:xfrm>
            <a:prstGeom prst="rect">
              <a:avLst/>
            </a:prstGeom>
            <a:noFill/>
            <a:ln>
              <a:solidFill>
                <a:schemeClr val="bg2">
                  <a:lumMod val="50000"/>
                </a:schemeClr>
              </a:solidFill>
            </a:ln>
          </p:spPr>
          <p:txBody>
            <a:bodyPr wrap="none" tIns="90000" bIns="90000" rtlCol="0" anchor="t">
              <a:spAutoFit/>
            </a:bodyPr>
            <a:lstStyle/>
            <a:p>
              <a:pPr algn="ctr" defTabSz="457200"/>
              <a:r>
                <a:rPr lang="en-US" sz="9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Name Events (Topic)</a:t>
              </a:r>
            </a:p>
          </p:txBody>
        </p:sp>
        <p:sp>
          <p:nvSpPr>
            <p:cNvPr id="1089" name="TextBox 1088">
              <a:extLst>
                <a:ext uri="{FF2B5EF4-FFF2-40B4-BE49-F238E27FC236}">
                  <a16:creationId xmlns:a16="http://schemas.microsoft.com/office/drawing/2014/main" id="{12EF1275-83B9-8A43-8F84-255AFB3EA15F}"/>
                </a:ext>
              </a:extLst>
            </p:cNvPr>
            <p:cNvSpPr txBox="1"/>
            <p:nvPr/>
          </p:nvSpPr>
          <p:spPr>
            <a:xfrm>
              <a:off x="4921611" y="4098276"/>
              <a:ext cx="1268296" cy="343232"/>
            </a:xfrm>
            <a:prstGeom prst="rect">
              <a:avLst/>
            </a:prstGeom>
            <a:noFill/>
            <a:ln>
              <a:solidFill>
                <a:schemeClr val="bg2">
                  <a:lumMod val="50000"/>
                </a:schemeClr>
              </a:solidFill>
            </a:ln>
          </p:spPr>
          <p:txBody>
            <a:bodyPr wrap="none" tIns="90000" bIns="90000" rtlCol="0" anchor="t">
              <a:spAutoFit/>
            </a:bodyPr>
            <a:lstStyle/>
            <a:p>
              <a:pPr algn="ctr" defTabSz="457200"/>
              <a:r>
                <a:rPr lang="en-US" sz="9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Name Events (Topic)</a:t>
              </a:r>
            </a:p>
          </p:txBody>
        </p:sp>
        <p:sp>
          <p:nvSpPr>
            <p:cNvPr id="1090" name="Rounded Rectangle 1089">
              <a:extLst>
                <a:ext uri="{FF2B5EF4-FFF2-40B4-BE49-F238E27FC236}">
                  <a16:creationId xmlns:a16="http://schemas.microsoft.com/office/drawing/2014/main" id="{95CC4F23-4B14-9748-BD16-B5FD5F89F6C2}"/>
                </a:ext>
              </a:extLst>
            </p:cNvPr>
            <p:cNvSpPr/>
            <p:nvPr/>
          </p:nvSpPr>
          <p:spPr>
            <a:xfrm>
              <a:off x="5044812" y="1683032"/>
              <a:ext cx="186062" cy="167874"/>
            </a:xfrm>
            <a:prstGeom prst="roundRect">
              <a:avLst/>
            </a:prstGeom>
            <a:solidFill>
              <a:schemeClr val="bg1"/>
            </a:solidFill>
            <a:ln w="31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091" name="Rounded Rectangle 1090">
              <a:extLst>
                <a:ext uri="{FF2B5EF4-FFF2-40B4-BE49-F238E27FC236}">
                  <a16:creationId xmlns:a16="http://schemas.microsoft.com/office/drawing/2014/main" id="{918417BA-3E52-B14F-8165-A70E63D2338A}"/>
                </a:ext>
              </a:extLst>
            </p:cNvPr>
            <p:cNvSpPr/>
            <p:nvPr/>
          </p:nvSpPr>
          <p:spPr>
            <a:xfrm>
              <a:off x="5238975" y="1683031"/>
              <a:ext cx="186062" cy="167874"/>
            </a:xfrm>
            <a:prstGeom prst="roundRect">
              <a:avLst/>
            </a:prstGeom>
            <a:solidFill>
              <a:schemeClr val="bg1"/>
            </a:solidFill>
            <a:ln w="31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092" name="Rounded Rectangle 1091">
              <a:extLst>
                <a:ext uri="{FF2B5EF4-FFF2-40B4-BE49-F238E27FC236}">
                  <a16:creationId xmlns:a16="http://schemas.microsoft.com/office/drawing/2014/main" id="{05BC7937-964A-0347-A19A-C1684C7F4ADE}"/>
                </a:ext>
              </a:extLst>
            </p:cNvPr>
            <p:cNvSpPr/>
            <p:nvPr/>
          </p:nvSpPr>
          <p:spPr>
            <a:xfrm>
              <a:off x="5433138" y="1680473"/>
              <a:ext cx="186062" cy="167874"/>
            </a:xfrm>
            <a:prstGeom prst="roundRect">
              <a:avLst/>
            </a:prstGeom>
            <a:solidFill>
              <a:schemeClr val="bg1"/>
            </a:solidFill>
            <a:ln w="31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093" name="Rounded Rectangle 1092">
              <a:extLst>
                <a:ext uri="{FF2B5EF4-FFF2-40B4-BE49-F238E27FC236}">
                  <a16:creationId xmlns:a16="http://schemas.microsoft.com/office/drawing/2014/main" id="{33E46F50-8716-8845-AA65-B6FC777181D8}"/>
                </a:ext>
              </a:extLst>
            </p:cNvPr>
            <p:cNvSpPr/>
            <p:nvPr/>
          </p:nvSpPr>
          <p:spPr>
            <a:xfrm>
              <a:off x="5625547" y="1683309"/>
              <a:ext cx="186062" cy="167874"/>
            </a:xfrm>
            <a:prstGeom prst="roundRect">
              <a:avLst/>
            </a:prstGeom>
            <a:solidFill>
              <a:schemeClr val="bg1"/>
            </a:solidFill>
            <a:ln w="31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094" name="Rounded Rectangle 1093">
              <a:extLst>
                <a:ext uri="{FF2B5EF4-FFF2-40B4-BE49-F238E27FC236}">
                  <a16:creationId xmlns:a16="http://schemas.microsoft.com/office/drawing/2014/main" id="{4D4D7328-494C-484C-941C-80AAC7A6BA9B}"/>
                </a:ext>
              </a:extLst>
            </p:cNvPr>
            <p:cNvSpPr/>
            <p:nvPr/>
          </p:nvSpPr>
          <p:spPr>
            <a:xfrm>
              <a:off x="5816281" y="1687145"/>
              <a:ext cx="186062" cy="167874"/>
            </a:xfrm>
            <a:prstGeom prst="roundRect">
              <a:avLst/>
            </a:prstGeom>
            <a:solidFill>
              <a:schemeClr val="bg1"/>
            </a:solidFill>
            <a:ln w="31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095" name="TextBox 1094">
              <a:extLst>
                <a:ext uri="{FF2B5EF4-FFF2-40B4-BE49-F238E27FC236}">
                  <a16:creationId xmlns:a16="http://schemas.microsoft.com/office/drawing/2014/main" id="{B956AC35-42E0-9A44-836A-408D56A53DB6}"/>
                </a:ext>
              </a:extLst>
            </p:cNvPr>
            <p:cNvSpPr txBox="1"/>
            <p:nvPr/>
          </p:nvSpPr>
          <p:spPr>
            <a:xfrm>
              <a:off x="4844448" y="1791315"/>
              <a:ext cx="1268296" cy="343232"/>
            </a:xfrm>
            <a:prstGeom prst="rect">
              <a:avLst/>
            </a:prstGeom>
            <a:noFill/>
            <a:ln>
              <a:solidFill>
                <a:schemeClr val="bg2">
                  <a:lumMod val="50000"/>
                </a:schemeClr>
              </a:solidFill>
            </a:ln>
          </p:spPr>
          <p:txBody>
            <a:bodyPr wrap="none" tIns="90000" bIns="90000" rtlCol="0" anchor="t">
              <a:spAutoFit/>
            </a:bodyPr>
            <a:lstStyle/>
            <a:p>
              <a:pPr algn="ctr" defTabSz="457200"/>
              <a:r>
                <a:rPr lang="en-US" sz="9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Name Events (Topic)</a:t>
              </a:r>
            </a:p>
          </p:txBody>
        </p:sp>
        <p:sp>
          <p:nvSpPr>
            <p:cNvPr id="1096" name="TextBox 1095">
              <a:extLst>
                <a:ext uri="{FF2B5EF4-FFF2-40B4-BE49-F238E27FC236}">
                  <a16:creationId xmlns:a16="http://schemas.microsoft.com/office/drawing/2014/main" id="{A0F3DAD4-6081-7344-B26B-33C64C01A7F2}"/>
                </a:ext>
              </a:extLst>
            </p:cNvPr>
            <p:cNvSpPr txBox="1"/>
            <p:nvPr/>
          </p:nvSpPr>
          <p:spPr>
            <a:xfrm>
              <a:off x="4755752" y="2185593"/>
              <a:ext cx="1268296" cy="343232"/>
            </a:xfrm>
            <a:prstGeom prst="rect">
              <a:avLst/>
            </a:prstGeom>
            <a:noFill/>
            <a:ln>
              <a:solidFill>
                <a:schemeClr val="bg2">
                  <a:lumMod val="50000"/>
                </a:schemeClr>
              </a:solidFill>
            </a:ln>
          </p:spPr>
          <p:txBody>
            <a:bodyPr wrap="none" tIns="90000" bIns="90000" rtlCol="0" anchor="t">
              <a:spAutoFit/>
            </a:bodyPr>
            <a:lstStyle/>
            <a:p>
              <a:pPr algn="ctr" defTabSz="457200"/>
              <a:r>
                <a:rPr lang="en-US" sz="9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Name Events (Topic)</a:t>
              </a:r>
            </a:p>
          </p:txBody>
        </p:sp>
        <p:sp>
          <p:nvSpPr>
            <p:cNvPr id="1097" name="TextBox 1096">
              <a:extLst>
                <a:ext uri="{FF2B5EF4-FFF2-40B4-BE49-F238E27FC236}">
                  <a16:creationId xmlns:a16="http://schemas.microsoft.com/office/drawing/2014/main" id="{191848EE-E3EE-524F-9C69-D0D21F069350}"/>
                </a:ext>
              </a:extLst>
            </p:cNvPr>
            <p:cNvSpPr txBox="1"/>
            <p:nvPr/>
          </p:nvSpPr>
          <p:spPr>
            <a:xfrm>
              <a:off x="4701223" y="2662188"/>
              <a:ext cx="1268296" cy="343232"/>
            </a:xfrm>
            <a:prstGeom prst="rect">
              <a:avLst/>
            </a:prstGeom>
            <a:noFill/>
            <a:ln>
              <a:solidFill>
                <a:schemeClr val="bg2">
                  <a:lumMod val="50000"/>
                </a:schemeClr>
              </a:solidFill>
            </a:ln>
          </p:spPr>
          <p:txBody>
            <a:bodyPr wrap="none" tIns="90000" bIns="90000" rtlCol="0" anchor="t">
              <a:spAutoFit/>
            </a:bodyPr>
            <a:lstStyle/>
            <a:p>
              <a:pPr algn="ctr" defTabSz="457200"/>
              <a:r>
                <a:rPr lang="en-US" sz="9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Name Events (Topic)</a:t>
              </a:r>
            </a:p>
          </p:txBody>
        </p:sp>
        <p:sp>
          <p:nvSpPr>
            <p:cNvPr id="1098" name="Rounded Rectangle 1097">
              <a:extLst>
                <a:ext uri="{FF2B5EF4-FFF2-40B4-BE49-F238E27FC236}">
                  <a16:creationId xmlns:a16="http://schemas.microsoft.com/office/drawing/2014/main" id="{764C1EE8-7912-774B-B149-FF9386FAFC37}"/>
                </a:ext>
              </a:extLst>
            </p:cNvPr>
            <p:cNvSpPr/>
            <p:nvPr/>
          </p:nvSpPr>
          <p:spPr>
            <a:xfrm>
              <a:off x="4917337" y="3039214"/>
              <a:ext cx="186062" cy="167874"/>
            </a:xfrm>
            <a:prstGeom prst="roundRect">
              <a:avLst/>
            </a:prstGeom>
            <a:solidFill>
              <a:schemeClr val="bg1"/>
            </a:solidFill>
            <a:ln w="31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099" name="Rounded Rectangle 1098">
              <a:extLst>
                <a:ext uri="{FF2B5EF4-FFF2-40B4-BE49-F238E27FC236}">
                  <a16:creationId xmlns:a16="http://schemas.microsoft.com/office/drawing/2014/main" id="{C3F4400B-1896-D044-96A3-4A7E06ADBF1D}"/>
                </a:ext>
              </a:extLst>
            </p:cNvPr>
            <p:cNvSpPr/>
            <p:nvPr/>
          </p:nvSpPr>
          <p:spPr>
            <a:xfrm>
              <a:off x="5111500" y="3039213"/>
              <a:ext cx="186062" cy="167874"/>
            </a:xfrm>
            <a:prstGeom prst="roundRect">
              <a:avLst/>
            </a:prstGeom>
            <a:solidFill>
              <a:schemeClr val="bg1"/>
            </a:solidFill>
            <a:ln w="31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100" name="Rounded Rectangle 1099">
              <a:extLst>
                <a:ext uri="{FF2B5EF4-FFF2-40B4-BE49-F238E27FC236}">
                  <a16:creationId xmlns:a16="http://schemas.microsoft.com/office/drawing/2014/main" id="{1E0DEBEA-FA02-B346-9783-3DE323F97F94}"/>
                </a:ext>
              </a:extLst>
            </p:cNvPr>
            <p:cNvSpPr/>
            <p:nvPr/>
          </p:nvSpPr>
          <p:spPr>
            <a:xfrm>
              <a:off x="5305663" y="3039213"/>
              <a:ext cx="180437" cy="167874"/>
            </a:xfrm>
            <a:prstGeom prst="roundRect">
              <a:avLst/>
            </a:prstGeom>
            <a:solidFill>
              <a:schemeClr val="bg1"/>
            </a:solidFill>
            <a:ln w="31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101" name="Rounded Rectangle 1100">
              <a:extLst>
                <a:ext uri="{FF2B5EF4-FFF2-40B4-BE49-F238E27FC236}">
                  <a16:creationId xmlns:a16="http://schemas.microsoft.com/office/drawing/2014/main" id="{ADB42ADA-0AA2-5C49-B1E1-0A06CAEF14AB}"/>
                </a:ext>
              </a:extLst>
            </p:cNvPr>
            <p:cNvSpPr/>
            <p:nvPr/>
          </p:nvSpPr>
          <p:spPr>
            <a:xfrm>
              <a:off x="5498072" y="3039491"/>
              <a:ext cx="186062" cy="167874"/>
            </a:xfrm>
            <a:prstGeom prst="roundRect">
              <a:avLst/>
            </a:prstGeom>
            <a:solidFill>
              <a:schemeClr val="bg1"/>
            </a:solidFill>
            <a:ln w="31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102" name="Rounded Rectangle 1101">
              <a:extLst>
                <a:ext uri="{FF2B5EF4-FFF2-40B4-BE49-F238E27FC236}">
                  <a16:creationId xmlns:a16="http://schemas.microsoft.com/office/drawing/2014/main" id="{C66123D4-61DA-7E4C-973D-E267B496344B}"/>
                </a:ext>
              </a:extLst>
            </p:cNvPr>
            <p:cNvSpPr/>
            <p:nvPr/>
          </p:nvSpPr>
          <p:spPr>
            <a:xfrm>
              <a:off x="5678532" y="3042885"/>
              <a:ext cx="186062" cy="167874"/>
            </a:xfrm>
            <a:prstGeom prst="roundRect">
              <a:avLst/>
            </a:prstGeom>
            <a:solidFill>
              <a:schemeClr val="bg1"/>
            </a:solidFill>
            <a:ln w="31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103" name="Rounded Rectangle 1102">
              <a:extLst>
                <a:ext uri="{FF2B5EF4-FFF2-40B4-BE49-F238E27FC236}">
                  <a16:creationId xmlns:a16="http://schemas.microsoft.com/office/drawing/2014/main" id="{9578CDB9-39FB-2C4C-94A8-85E2CAC39F29}"/>
                </a:ext>
              </a:extLst>
            </p:cNvPr>
            <p:cNvSpPr/>
            <p:nvPr/>
          </p:nvSpPr>
          <p:spPr>
            <a:xfrm>
              <a:off x="5872695" y="3042884"/>
              <a:ext cx="186062" cy="167874"/>
            </a:xfrm>
            <a:prstGeom prst="roundRect">
              <a:avLst/>
            </a:prstGeom>
            <a:solidFill>
              <a:schemeClr val="bg1"/>
            </a:solidFill>
            <a:ln w="31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104" name="TextBox 1103">
              <a:extLst>
                <a:ext uri="{FF2B5EF4-FFF2-40B4-BE49-F238E27FC236}">
                  <a16:creationId xmlns:a16="http://schemas.microsoft.com/office/drawing/2014/main" id="{62F8EABC-830A-5D4C-903B-75081B14FF9F}"/>
                </a:ext>
              </a:extLst>
            </p:cNvPr>
            <p:cNvSpPr txBox="1"/>
            <p:nvPr/>
          </p:nvSpPr>
          <p:spPr>
            <a:xfrm>
              <a:off x="4716973" y="3147497"/>
              <a:ext cx="1268296" cy="343232"/>
            </a:xfrm>
            <a:prstGeom prst="rect">
              <a:avLst/>
            </a:prstGeom>
            <a:noFill/>
            <a:ln>
              <a:solidFill>
                <a:schemeClr val="bg2">
                  <a:lumMod val="50000"/>
                </a:schemeClr>
              </a:solidFill>
            </a:ln>
          </p:spPr>
          <p:txBody>
            <a:bodyPr wrap="none" tIns="90000" bIns="90000" rtlCol="0" anchor="t">
              <a:spAutoFit/>
            </a:bodyPr>
            <a:lstStyle/>
            <a:p>
              <a:pPr algn="ctr" defTabSz="457200"/>
              <a:r>
                <a:rPr lang="en-US" sz="9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Name Events (Topic)</a:t>
              </a:r>
            </a:p>
          </p:txBody>
        </p:sp>
        <p:sp>
          <p:nvSpPr>
            <p:cNvPr id="1105" name="TextBox 1104">
              <a:extLst>
                <a:ext uri="{FF2B5EF4-FFF2-40B4-BE49-F238E27FC236}">
                  <a16:creationId xmlns:a16="http://schemas.microsoft.com/office/drawing/2014/main" id="{9437CD36-5975-A642-8DDA-A8EEDB16092B}"/>
                </a:ext>
              </a:extLst>
            </p:cNvPr>
            <p:cNvSpPr txBox="1"/>
            <p:nvPr/>
          </p:nvSpPr>
          <p:spPr>
            <a:xfrm>
              <a:off x="4727509" y="3584312"/>
              <a:ext cx="1268296" cy="343232"/>
            </a:xfrm>
            <a:prstGeom prst="rect">
              <a:avLst/>
            </a:prstGeom>
            <a:noFill/>
            <a:ln>
              <a:solidFill>
                <a:schemeClr val="bg2">
                  <a:lumMod val="50000"/>
                </a:schemeClr>
              </a:solidFill>
            </a:ln>
          </p:spPr>
          <p:txBody>
            <a:bodyPr wrap="none" tIns="90000" bIns="90000" rtlCol="0" anchor="t">
              <a:spAutoFit/>
            </a:bodyPr>
            <a:lstStyle/>
            <a:p>
              <a:pPr algn="ctr" defTabSz="457200"/>
              <a:r>
                <a:rPr lang="en-US" sz="9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Name Events (Topic)</a:t>
              </a:r>
            </a:p>
          </p:txBody>
        </p:sp>
        <p:sp>
          <p:nvSpPr>
            <p:cNvPr id="1106" name="TextBox 1105">
              <a:extLst>
                <a:ext uri="{FF2B5EF4-FFF2-40B4-BE49-F238E27FC236}">
                  <a16:creationId xmlns:a16="http://schemas.microsoft.com/office/drawing/2014/main" id="{9EC92710-AD13-6345-8D80-54DA3FCFE3C8}"/>
                </a:ext>
              </a:extLst>
            </p:cNvPr>
            <p:cNvSpPr txBox="1"/>
            <p:nvPr/>
          </p:nvSpPr>
          <p:spPr>
            <a:xfrm>
              <a:off x="4722637" y="4051975"/>
              <a:ext cx="1268296" cy="343232"/>
            </a:xfrm>
            <a:prstGeom prst="rect">
              <a:avLst/>
            </a:prstGeom>
            <a:noFill/>
            <a:ln>
              <a:solidFill>
                <a:schemeClr val="bg2">
                  <a:lumMod val="50000"/>
                </a:schemeClr>
              </a:solidFill>
            </a:ln>
          </p:spPr>
          <p:txBody>
            <a:bodyPr wrap="none" tIns="90000" bIns="90000" rtlCol="0" anchor="t">
              <a:spAutoFit/>
            </a:bodyPr>
            <a:lstStyle/>
            <a:p>
              <a:pPr algn="ctr" defTabSz="457200"/>
              <a:r>
                <a:rPr lang="en-US" sz="9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Name Events (Topic)</a:t>
              </a:r>
            </a:p>
          </p:txBody>
        </p:sp>
        <p:sp>
          <p:nvSpPr>
            <p:cNvPr id="1107" name="Rounded Rectangle 1106">
              <a:extLst>
                <a:ext uri="{FF2B5EF4-FFF2-40B4-BE49-F238E27FC236}">
                  <a16:creationId xmlns:a16="http://schemas.microsoft.com/office/drawing/2014/main" id="{94007B04-BCF8-2547-BD0D-DB90997E4F29}"/>
                </a:ext>
              </a:extLst>
            </p:cNvPr>
            <p:cNvSpPr/>
            <p:nvPr/>
          </p:nvSpPr>
          <p:spPr>
            <a:xfrm>
              <a:off x="4659160" y="1635817"/>
              <a:ext cx="1519745" cy="3779481"/>
            </a:xfrm>
            <a:prstGeom prst="roundRect">
              <a:avLst/>
            </a:prstGeom>
            <a:solidFill>
              <a:schemeClr val="bg1">
                <a:lumMod val="95000"/>
              </a:schemeClr>
            </a:solidFill>
            <a:ln w="3175">
              <a:solidFill>
                <a:schemeClr val="bg1">
                  <a:lumMod val="7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600" b="1" dirty="0">
                  <a:solidFill>
                    <a:schemeClr val="bg1">
                      <a:lumMod val="50000"/>
                    </a:schemeClr>
                  </a:solidFill>
                  <a:latin typeface="+mj-lt"/>
                  <a:ea typeface="Nanum Pen Script" panose="03040600000000000000" pitchFamily="66" charset="-127"/>
                </a:rPr>
                <a:t>Kafka Cluster </a:t>
              </a:r>
            </a:p>
            <a:p>
              <a:r>
                <a:rPr lang="en-US" sz="600" b="1" dirty="0">
                  <a:solidFill>
                    <a:schemeClr val="bg1">
                      <a:lumMod val="50000"/>
                    </a:schemeClr>
                  </a:solidFill>
                  <a:latin typeface="+mj-lt"/>
                  <a:ea typeface="Nanum Pen Script" panose="03040600000000000000" pitchFamily="66" charset="-127"/>
                </a:rPr>
                <a:t>(Brokers, Zookeeper)</a:t>
              </a:r>
            </a:p>
            <a:p>
              <a:pPr algn="ctr"/>
              <a:endParaRPr lang="en-US" sz="700" b="1" dirty="0">
                <a:solidFill>
                  <a:schemeClr val="bg1">
                    <a:lumMod val="50000"/>
                  </a:schemeClr>
                </a:solidFill>
                <a:latin typeface="+mj-lt"/>
                <a:ea typeface="Nanum Pen Script" panose="03040600000000000000" pitchFamily="66" charset="-127"/>
              </a:endParaRPr>
            </a:p>
            <a:p>
              <a:pPr algn="ctr"/>
              <a:endParaRPr lang="en-US" sz="700" b="1" dirty="0">
                <a:solidFill>
                  <a:schemeClr val="bg1">
                    <a:lumMod val="50000"/>
                  </a:schemeClr>
                </a:solidFill>
                <a:latin typeface="+mj-lt"/>
                <a:ea typeface="Nanum Pen Script" panose="03040600000000000000" pitchFamily="66" charset="-127"/>
              </a:endParaRPr>
            </a:p>
            <a:p>
              <a:pPr algn="ctr"/>
              <a:endParaRPr lang="en-US" sz="700" b="1" dirty="0">
                <a:solidFill>
                  <a:schemeClr val="bg1">
                    <a:lumMod val="50000"/>
                  </a:schemeClr>
                </a:solidFill>
                <a:latin typeface="+mj-lt"/>
                <a:ea typeface="Nanum Pen Script" panose="03040600000000000000" pitchFamily="66" charset="-127"/>
              </a:endParaRPr>
            </a:p>
            <a:p>
              <a:pPr algn="ctr"/>
              <a:endParaRPr lang="en-US" sz="600" b="1" dirty="0">
                <a:solidFill>
                  <a:schemeClr val="bg1">
                    <a:lumMod val="50000"/>
                  </a:schemeClr>
                </a:solidFill>
                <a:latin typeface="+mj-lt"/>
                <a:ea typeface="Nanum Pen Script" panose="03040600000000000000" pitchFamily="66" charset="-127"/>
              </a:endParaRPr>
            </a:p>
            <a:p>
              <a:pPr algn="ctr"/>
              <a:endParaRPr lang="en-US" sz="600" b="1" dirty="0">
                <a:solidFill>
                  <a:schemeClr val="bg1">
                    <a:lumMod val="50000"/>
                  </a:schemeClr>
                </a:solidFill>
                <a:latin typeface="+mj-lt"/>
                <a:ea typeface="Nanum Pen Script" panose="03040600000000000000" pitchFamily="66" charset="-127"/>
              </a:endParaRPr>
            </a:p>
            <a:p>
              <a:pPr algn="ctr"/>
              <a:endParaRPr lang="en-US" sz="600" b="1" dirty="0">
                <a:solidFill>
                  <a:schemeClr val="bg1">
                    <a:lumMod val="50000"/>
                  </a:schemeClr>
                </a:solidFill>
                <a:latin typeface="+mj-lt"/>
                <a:ea typeface="Nanum Pen Script" panose="03040600000000000000" pitchFamily="66" charset="-127"/>
              </a:endParaRPr>
            </a:p>
            <a:p>
              <a:pPr algn="ctr"/>
              <a:endParaRPr lang="en-US" sz="600" b="1" dirty="0">
                <a:solidFill>
                  <a:schemeClr val="bg1">
                    <a:lumMod val="50000"/>
                  </a:schemeClr>
                </a:solidFill>
                <a:latin typeface="+mj-lt"/>
                <a:ea typeface="Nanum Pen Script" panose="03040600000000000000" pitchFamily="66" charset="-127"/>
              </a:endParaRPr>
            </a:p>
            <a:p>
              <a:pPr algn="ctr"/>
              <a:endParaRPr lang="en-US" sz="1400" dirty="0">
                <a:solidFill>
                  <a:schemeClr val="tx1"/>
                </a:solidFill>
                <a:latin typeface="+mj-lt"/>
                <a:ea typeface="Nanum Pen Script" panose="03040600000000000000" pitchFamily="66" charset="-127"/>
              </a:endParaRPr>
            </a:p>
            <a:p>
              <a:pPr algn="ctr"/>
              <a:endParaRPr lang="en-US" sz="1400" dirty="0">
                <a:solidFill>
                  <a:schemeClr val="tx1"/>
                </a:solidFill>
                <a:latin typeface="+mj-lt"/>
                <a:ea typeface="Nanum Pen Script" panose="03040600000000000000" pitchFamily="66" charset="-127"/>
              </a:endParaRPr>
            </a:p>
          </p:txBody>
        </p:sp>
        <p:sp>
          <p:nvSpPr>
            <p:cNvPr id="1108" name="TextBox 1107">
              <a:extLst>
                <a:ext uri="{FF2B5EF4-FFF2-40B4-BE49-F238E27FC236}">
                  <a16:creationId xmlns:a16="http://schemas.microsoft.com/office/drawing/2014/main" id="{49C22A35-CEE5-A145-B536-8CF981B01413}"/>
                </a:ext>
              </a:extLst>
            </p:cNvPr>
            <p:cNvSpPr txBox="1"/>
            <p:nvPr/>
          </p:nvSpPr>
          <p:spPr>
            <a:xfrm>
              <a:off x="4795155" y="2085549"/>
              <a:ext cx="1027845" cy="310247"/>
            </a:xfrm>
            <a:prstGeom prst="rect">
              <a:avLst/>
            </a:prstGeom>
            <a:noFill/>
            <a:ln>
              <a:solidFill>
                <a:schemeClr val="bg2">
                  <a:lumMod val="50000"/>
                </a:schemeClr>
              </a:solidFill>
            </a:ln>
          </p:spPr>
          <p:txBody>
            <a:bodyPr wrap="none" tIns="90000" bIns="90000" rtlCol="0" anchor="t">
              <a:spAutoFit/>
            </a:bodyPr>
            <a:lstStyle/>
            <a:p>
              <a:pPr algn="ctr" defTabSz="457200"/>
              <a:r>
                <a:rPr lang="en-US" sz="7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Name Events (Topic)</a:t>
              </a:r>
            </a:p>
          </p:txBody>
        </p:sp>
        <p:sp>
          <p:nvSpPr>
            <p:cNvPr id="1109" name="TextBox 1108">
              <a:extLst>
                <a:ext uri="{FF2B5EF4-FFF2-40B4-BE49-F238E27FC236}">
                  <a16:creationId xmlns:a16="http://schemas.microsoft.com/office/drawing/2014/main" id="{B58512AA-2DE1-EC43-AA8C-F4E24435E767}"/>
                </a:ext>
              </a:extLst>
            </p:cNvPr>
            <p:cNvSpPr txBox="1"/>
            <p:nvPr/>
          </p:nvSpPr>
          <p:spPr>
            <a:xfrm>
              <a:off x="4784427" y="2571971"/>
              <a:ext cx="1027845" cy="310247"/>
            </a:xfrm>
            <a:prstGeom prst="rect">
              <a:avLst/>
            </a:prstGeom>
            <a:noFill/>
            <a:ln>
              <a:solidFill>
                <a:schemeClr val="bg2">
                  <a:lumMod val="50000"/>
                </a:schemeClr>
              </a:solidFill>
            </a:ln>
          </p:spPr>
          <p:txBody>
            <a:bodyPr wrap="none" tIns="90000" bIns="90000" rtlCol="0" anchor="t">
              <a:spAutoFit/>
            </a:bodyPr>
            <a:lstStyle/>
            <a:p>
              <a:pPr algn="ctr" defTabSz="457200"/>
              <a:r>
                <a:rPr lang="en-US" sz="7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Name Events (Topic)</a:t>
              </a:r>
            </a:p>
          </p:txBody>
        </p:sp>
        <p:sp>
          <p:nvSpPr>
            <p:cNvPr id="1110" name="TextBox 1109">
              <a:extLst>
                <a:ext uri="{FF2B5EF4-FFF2-40B4-BE49-F238E27FC236}">
                  <a16:creationId xmlns:a16="http://schemas.microsoft.com/office/drawing/2014/main" id="{C95D4246-3883-9948-A943-FC7B342AFD2B}"/>
                </a:ext>
              </a:extLst>
            </p:cNvPr>
            <p:cNvSpPr txBox="1"/>
            <p:nvPr/>
          </p:nvSpPr>
          <p:spPr>
            <a:xfrm>
              <a:off x="4729898" y="3048566"/>
              <a:ext cx="1027845" cy="310247"/>
            </a:xfrm>
            <a:prstGeom prst="rect">
              <a:avLst/>
            </a:prstGeom>
            <a:noFill/>
            <a:ln>
              <a:solidFill>
                <a:schemeClr val="bg2">
                  <a:lumMod val="50000"/>
                </a:schemeClr>
              </a:solidFill>
            </a:ln>
          </p:spPr>
          <p:txBody>
            <a:bodyPr wrap="none" tIns="90000" bIns="90000" rtlCol="0" anchor="t">
              <a:spAutoFit/>
            </a:bodyPr>
            <a:lstStyle/>
            <a:p>
              <a:pPr algn="ctr" defTabSz="457200"/>
              <a:r>
                <a:rPr lang="en-US" sz="7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Name Events (Topic)</a:t>
              </a:r>
            </a:p>
          </p:txBody>
        </p:sp>
        <p:sp>
          <p:nvSpPr>
            <p:cNvPr id="1111" name="TextBox 1110">
              <a:extLst>
                <a:ext uri="{FF2B5EF4-FFF2-40B4-BE49-F238E27FC236}">
                  <a16:creationId xmlns:a16="http://schemas.microsoft.com/office/drawing/2014/main" id="{6CE0B9BE-C7E0-944D-B320-BAEB3CA521EF}"/>
                </a:ext>
              </a:extLst>
            </p:cNvPr>
            <p:cNvSpPr txBox="1"/>
            <p:nvPr/>
          </p:nvSpPr>
          <p:spPr>
            <a:xfrm>
              <a:off x="4745648" y="3533875"/>
              <a:ext cx="1027845" cy="310247"/>
            </a:xfrm>
            <a:prstGeom prst="rect">
              <a:avLst/>
            </a:prstGeom>
            <a:noFill/>
            <a:ln>
              <a:solidFill>
                <a:schemeClr val="bg2">
                  <a:lumMod val="50000"/>
                </a:schemeClr>
              </a:solidFill>
            </a:ln>
          </p:spPr>
          <p:txBody>
            <a:bodyPr wrap="none" tIns="90000" bIns="90000" rtlCol="0" anchor="t">
              <a:spAutoFit/>
            </a:bodyPr>
            <a:lstStyle/>
            <a:p>
              <a:pPr algn="ctr" defTabSz="457200"/>
              <a:r>
                <a:rPr lang="en-US" sz="7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Name Events (Topic)</a:t>
              </a:r>
            </a:p>
          </p:txBody>
        </p:sp>
        <p:sp>
          <p:nvSpPr>
            <p:cNvPr id="1112" name="TextBox 1111">
              <a:extLst>
                <a:ext uri="{FF2B5EF4-FFF2-40B4-BE49-F238E27FC236}">
                  <a16:creationId xmlns:a16="http://schemas.microsoft.com/office/drawing/2014/main" id="{BA063D21-FE85-DB4E-B07C-451FBDF2A369}"/>
                </a:ext>
              </a:extLst>
            </p:cNvPr>
            <p:cNvSpPr txBox="1"/>
            <p:nvPr/>
          </p:nvSpPr>
          <p:spPr>
            <a:xfrm>
              <a:off x="4756184" y="3970691"/>
              <a:ext cx="1027845" cy="310247"/>
            </a:xfrm>
            <a:prstGeom prst="rect">
              <a:avLst/>
            </a:prstGeom>
            <a:noFill/>
            <a:ln>
              <a:solidFill>
                <a:schemeClr val="bg2">
                  <a:lumMod val="50000"/>
                </a:schemeClr>
              </a:solidFill>
            </a:ln>
          </p:spPr>
          <p:txBody>
            <a:bodyPr wrap="none" tIns="90000" bIns="90000" rtlCol="0" anchor="t">
              <a:spAutoFit/>
            </a:bodyPr>
            <a:lstStyle/>
            <a:p>
              <a:pPr algn="ctr" defTabSz="457200"/>
              <a:r>
                <a:rPr lang="en-US" sz="7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Name Events (Topic)</a:t>
              </a:r>
            </a:p>
          </p:txBody>
        </p:sp>
        <p:sp>
          <p:nvSpPr>
            <p:cNvPr id="1113" name="TextBox 1112">
              <a:extLst>
                <a:ext uri="{FF2B5EF4-FFF2-40B4-BE49-F238E27FC236}">
                  <a16:creationId xmlns:a16="http://schemas.microsoft.com/office/drawing/2014/main" id="{4A4A5700-1E30-C14F-BEA9-EE9C7B2136AB}"/>
                </a:ext>
              </a:extLst>
            </p:cNvPr>
            <p:cNvSpPr txBox="1"/>
            <p:nvPr/>
          </p:nvSpPr>
          <p:spPr>
            <a:xfrm>
              <a:off x="4751312" y="4438353"/>
              <a:ext cx="1027845" cy="310247"/>
            </a:xfrm>
            <a:prstGeom prst="rect">
              <a:avLst/>
            </a:prstGeom>
            <a:noFill/>
            <a:ln>
              <a:solidFill>
                <a:schemeClr val="bg2">
                  <a:lumMod val="50000"/>
                </a:schemeClr>
              </a:solidFill>
            </a:ln>
          </p:spPr>
          <p:txBody>
            <a:bodyPr wrap="none" tIns="90000" bIns="90000" rtlCol="0" anchor="t">
              <a:spAutoFit/>
            </a:bodyPr>
            <a:lstStyle/>
            <a:p>
              <a:pPr algn="ctr" defTabSz="457200"/>
              <a:r>
                <a:rPr lang="en-US" sz="7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Name Events (Topic)</a:t>
              </a:r>
            </a:p>
          </p:txBody>
        </p:sp>
        <p:sp>
          <p:nvSpPr>
            <p:cNvPr id="1114" name="TextBox 1113">
              <a:extLst>
                <a:ext uri="{FF2B5EF4-FFF2-40B4-BE49-F238E27FC236}">
                  <a16:creationId xmlns:a16="http://schemas.microsoft.com/office/drawing/2014/main" id="{B9D61BD1-844E-B841-9F1A-394A26A8EE14}"/>
                </a:ext>
              </a:extLst>
            </p:cNvPr>
            <p:cNvSpPr txBox="1"/>
            <p:nvPr/>
          </p:nvSpPr>
          <p:spPr>
            <a:xfrm>
              <a:off x="4775000" y="4873972"/>
              <a:ext cx="1027845" cy="310247"/>
            </a:xfrm>
            <a:prstGeom prst="rect">
              <a:avLst/>
            </a:prstGeom>
            <a:noFill/>
            <a:ln>
              <a:solidFill>
                <a:schemeClr val="bg2">
                  <a:lumMod val="50000"/>
                </a:schemeClr>
              </a:solidFill>
            </a:ln>
          </p:spPr>
          <p:txBody>
            <a:bodyPr wrap="none" tIns="90000" bIns="90000" rtlCol="0" anchor="t">
              <a:spAutoFit/>
            </a:bodyPr>
            <a:lstStyle/>
            <a:p>
              <a:pPr algn="ctr" defTabSz="457200"/>
              <a:r>
                <a:rPr lang="en-US" sz="7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Name Events (Topic)</a:t>
              </a:r>
            </a:p>
          </p:txBody>
        </p:sp>
        <p:sp>
          <p:nvSpPr>
            <p:cNvPr id="1115" name="Rounded Rectangle 1114">
              <a:extLst>
                <a:ext uri="{FF2B5EF4-FFF2-40B4-BE49-F238E27FC236}">
                  <a16:creationId xmlns:a16="http://schemas.microsoft.com/office/drawing/2014/main" id="{31F7741E-C673-3F48-85D3-3B77D6424151}"/>
                </a:ext>
              </a:extLst>
            </p:cNvPr>
            <p:cNvSpPr/>
            <p:nvPr/>
          </p:nvSpPr>
          <p:spPr>
            <a:xfrm>
              <a:off x="4842611" y="2353182"/>
              <a:ext cx="80315" cy="191497"/>
            </a:xfrm>
            <a:prstGeom prst="roundRect">
              <a:avLst/>
            </a:prstGeom>
            <a:solidFill>
              <a:schemeClr val="bg1"/>
            </a:solidFill>
            <a:ln w="31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116" name="Rounded Rectangle 1115">
              <a:extLst>
                <a:ext uri="{FF2B5EF4-FFF2-40B4-BE49-F238E27FC236}">
                  <a16:creationId xmlns:a16="http://schemas.microsoft.com/office/drawing/2014/main" id="{E0260567-3B63-8E4A-A120-DE1FD69AA3AC}"/>
                </a:ext>
              </a:extLst>
            </p:cNvPr>
            <p:cNvSpPr/>
            <p:nvPr/>
          </p:nvSpPr>
          <p:spPr>
            <a:xfrm>
              <a:off x="4932320" y="2351718"/>
              <a:ext cx="80315" cy="191497"/>
            </a:xfrm>
            <a:prstGeom prst="roundRect">
              <a:avLst/>
            </a:prstGeom>
            <a:solidFill>
              <a:schemeClr val="bg1"/>
            </a:solidFill>
            <a:ln w="31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117" name="Rounded Rectangle 1116">
              <a:extLst>
                <a:ext uri="{FF2B5EF4-FFF2-40B4-BE49-F238E27FC236}">
                  <a16:creationId xmlns:a16="http://schemas.microsoft.com/office/drawing/2014/main" id="{C4E4D26D-AC7E-0145-807D-97673160CE1E}"/>
                </a:ext>
              </a:extLst>
            </p:cNvPr>
            <p:cNvSpPr/>
            <p:nvPr/>
          </p:nvSpPr>
          <p:spPr>
            <a:xfrm>
              <a:off x="5015611" y="2352450"/>
              <a:ext cx="80315" cy="191497"/>
            </a:xfrm>
            <a:prstGeom prst="roundRect">
              <a:avLst/>
            </a:prstGeom>
            <a:solidFill>
              <a:schemeClr val="bg1"/>
            </a:solidFill>
            <a:ln w="31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118" name="Rounded Rectangle 1117">
              <a:extLst>
                <a:ext uri="{FF2B5EF4-FFF2-40B4-BE49-F238E27FC236}">
                  <a16:creationId xmlns:a16="http://schemas.microsoft.com/office/drawing/2014/main" id="{00059CCC-07E7-2948-9F33-CC286AAD8AF1}"/>
                </a:ext>
              </a:extLst>
            </p:cNvPr>
            <p:cNvSpPr/>
            <p:nvPr/>
          </p:nvSpPr>
          <p:spPr>
            <a:xfrm>
              <a:off x="5105320" y="2350986"/>
              <a:ext cx="80315" cy="191497"/>
            </a:xfrm>
            <a:prstGeom prst="roundRect">
              <a:avLst/>
            </a:prstGeom>
            <a:solidFill>
              <a:schemeClr val="bg1"/>
            </a:solidFill>
            <a:ln w="31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119" name="Rounded Rectangle 1118">
              <a:extLst>
                <a:ext uri="{FF2B5EF4-FFF2-40B4-BE49-F238E27FC236}">
                  <a16:creationId xmlns:a16="http://schemas.microsoft.com/office/drawing/2014/main" id="{80B44D21-8A9E-5847-A86E-C25860A6B3C4}"/>
                </a:ext>
              </a:extLst>
            </p:cNvPr>
            <p:cNvSpPr/>
            <p:nvPr/>
          </p:nvSpPr>
          <p:spPr>
            <a:xfrm>
              <a:off x="5190138" y="2350175"/>
              <a:ext cx="80315" cy="191497"/>
            </a:xfrm>
            <a:prstGeom prst="roundRect">
              <a:avLst/>
            </a:prstGeom>
            <a:solidFill>
              <a:schemeClr val="bg1"/>
            </a:solidFill>
            <a:ln w="31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120" name="Rounded Rectangle 1119">
              <a:extLst>
                <a:ext uri="{FF2B5EF4-FFF2-40B4-BE49-F238E27FC236}">
                  <a16:creationId xmlns:a16="http://schemas.microsoft.com/office/drawing/2014/main" id="{B4D19048-27B7-E741-880A-4E03DC187501}"/>
                </a:ext>
              </a:extLst>
            </p:cNvPr>
            <p:cNvSpPr/>
            <p:nvPr/>
          </p:nvSpPr>
          <p:spPr>
            <a:xfrm>
              <a:off x="5279847" y="2355799"/>
              <a:ext cx="80315" cy="191497"/>
            </a:xfrm>
            <a:prstGeom prst="roundRect">
              <a:avLst/>
            </a:prstGeom>
            <a:solidFill>
              <a:schemeClr val="bg1"/>
            </a:solidFill>
            <a:ln w="31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121" name="Rounded Rectangle 1120">
              <a:extLst>
                <a:ext uri="{FF2B5EF4-FFF2-40B4-BE49-F238E27FC236}">
                  <a16:creationId xmlns:a16="http://schemas.microsoft.com/office/drawing/2014/main" id="{7DE06D60-0C22-9949-87EC-76830A4EA5BE}"/>
                </a:ext>
              </a:extLst>
            </p:cNvPr>
            <p:cNvSpPr/>
            <p:nvPr/>
          </p:nvSpPr>
          <p:spPr>
            <a:xfrm>
              <a:off x="5363138" y="2356531"/>
              <a:ext cx="80315" cy="191497"/>
            </a:xfrm>
            <a:prstGeom prst="roundRect">
              <a:avLst/>
            </a:prstGeom>
            <a:solidFill>
              <a:schemeClr val="bg1"/>
            </a:solidFill>
            <a:ln w="31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122" name="Rounded Rectangle 1121">
              <a:extLst>
                <a:ext uri="{FF2B5EF4-FFF2-40B4-BE49-F238E27FC236}">
                  <a16:creationId xmlns:a16="http://schemas.microsoft.com/office/drawing/2014/main" id="{11E8A10A-E30F-6646-9431-D6E91EE398EC}"/>
                </a:ext>
              </a:extLst>
            </p:cNvPr>
            <p:cNvSpPr/>
            <p:nvPr/>
          </p:nvSpPr>
          <p:spPr>
            <a:xfrm>
              <a:off x="5445759" y="2355067"/>
              <a:ext cx="80315" cy="191497"/>
            </a:xfrm>
            <a:prstGeom prst="roundRect">
              <a:avLst/>
            </a:prstGeom>
            <a:solidFill>
              <a:schemeClr val="bg1"/>
            </a:solidFill>
            <a:ln w="31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123" name="Rounded Rectangle 1122">
              <a:extLst>
                <a:ext uri="{FF2B5EF4-FFF2-40B4-BE49-F238E27FC236}">
                  <a16:creationId xmlns:a16="http://schemas.microsoft.com/office/drawing/2014/main" id="{5473BBB6-9D27-0948-BE61-F7F98F52ED80}"/>
                </a:ext>
              </a:extLst>
            </p:cNvPr>
            <p:cNvSpPr/>
            <p:nvPr/>
          </p:nvSpPr>
          <p:spPr>
            <a:xfrm>
              <a:off x="4827394" y="2855319"/>
              <a:ext cx="80315" cy="191497"/>
            </a:xfrm>
            <a:prstGeom prst="roundRect">
              <a:avLst/>
            </a:prstGeom>
            <a:solidFill>
              <a:schemeClr val="bg1"/>
            </a:solidFill>
            <a:ln w="31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124" name="Rounded Rectangle 1123">
              <a:extLst>
                <a:ext uri="{FF2B5EF4-FFF2-40B4-BE49-F238E27FC236}">
                  <a16:creationId xmlns:a16="http://schemas.microsoft.com/office/drawing/2014/main" id="{2C58CF7A-DEA4-F849-98C2-29D0AECC13DA}"/>
                </a:ext>
              </a:extLst>
            </p:cNvPr>
            <p:cNvSpPr/>
            <p:nvPr/>
          </p:nvSpPr>
          <p:spPr>
            <a:xfrm>
              <a:off x="4917103" y="2853855"/>
              <a:ext cx="80315" cy="191497"/>
            </a:xfrm>
            <a:prstGeom prst="roundRect">
              <a:avLst/>
            </a:prstGeom>
            <a:solidFill>
              <a:schemeClr val="bg1"/>
            </a:solidFill>
            <a:ln w="31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125" name="Rounded Rectangle 1124">
              <a:extLst>
                <a:ext uri="{FF2B5EF4-FFF2-40B4-BE49-F238E27FC236}">
                  <a16:creationId xmlns:a16="http://schemas.microsoft.com/office/drawing/2014/main" id="{61A9AB24-1986-C243-A9D0-CDA5CCCADBCC}"/>
                </a:ext>
              </a:extLst>
            </p:cNvPr>
            <p:cNvSpPr/>
            <p:nvPr/>
          </p:nvSpPr>
          <p:spPr>
            <a:xfrm>
              <a:off x="5000394" y="2854587"/>
              <a:ext cx="80315" cy="191497"/>
            </a:xfrm>
            <a:prstGeom prst="roundRect">
              <a:avLst/>
            </a:prstGeom>
            <a:solidFill>
              <a:schemeClr val="bg1"/>
            </a:solidFill>
            <a:ln w="31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126" name="Rounded Rectangle 1125">
              <a:extLst>
                <a:ext uri="{FF2B5EF4-FFF2-40B4-BE49-F238E27FC236}">
                  <a16:creationId xmlns:a16="http://schemas.microsoft.com/office/drawing/2014/main" id="{24ABACF4-AD59-B046-A710-BC27E6CE6703}"/>
                </a:ext>
              </a:extLst>
            </p:cNvPr>
            <p:cNvSpPr/>
            <p:nvPr/>
          </p:nvSpPr>
          <p:spPr>
            <a:xfrm>
              <a:off x="5083015" y="2853123"/>
              <a:ext cx="80315" cy="191497"/>
            </a:xfrm>
            <a:prstGeom prst="roundRect">
              <a:avLst/>
            </a:prstGeom>
            <a:solidFill>
              <a:schemeClr val="bg1"/>
            </a:solidFill>
            <a:ln w="31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127" name="Rounded Rectangle 1126">
              <a:extLst>
                <a:ext uri="{FF2B5EF4-FFF2-40B4-BE49-F238E27FC236}">
                  <a16:creationId xmlns:a16="http://schemas.microsoft.com/office/drawing/2014/main" id="{2204EF89-618E-1845-B5A6-4C5B73E32C08}"/>
                </a:ext>
              </a:extLst>
            </p:cNvPr>
            <p:cNvSpPr/>
            <p:nvPr/>
          </p:nvSpPr>
          <p:spPr>
            <a:xfrm>
              <a:off x="5167833" y="2859400"/>
              <a:ext cx="80315" cy="191497"/>
            </a:xfrm>
            <a:prstGeom prst="roundRect">
              <a:avLst/>
            </a:prstGeom>
            <a:solidFill>
              <a:schemeClr val="bg1"/>
            </a:solidFill>
            <a:ln w="31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128" name="Rounded Rectangle 1127">
              <a:extLst>
                <a:ext uri="{FF2B5EF4-FFF2-40B4-BE49-F238E27FC236}">
                  <a16:creationId xmlns:a16="http://schemas.microsoft.com/office/drawing/2014/main" id="{BA8FF576-856B-1E49-AF3C-DF53EEF4476D}"/>
                </a:ext>
              </a:extLst>
            </p:cNvPr>
            <p:cNvSpPr/>
            <p:nvPr/>
          </p:nvSpPr>
          <p:spPr>
            <a:xfrm>
              <a:off x="5243366" y="2857936"/>
              <a:ext cx="80315" cy="191497"/>
            </a:xfrm>
            <a:prstGeom prst="roundRect">
              <a:avLst/>
            </a:prstGeom>
            <a:solidFill>
              <a:schemeClr val="bg1"/>
            </a:solidFill>
            <a:ln w="31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129" name="Rounded Rectangle 1128">
              <a:extLst>
                <a:ext uri="{FF2B5EF4-FFF2-40B4-BE49-F238E27FC236}">
                  <a16:creationId xmlns:a16="http://schemas.microsoft.com/office/drawing/2014/main" id="{B265D329-133A-F246-8B1B-719D56D8C866}"/>
                </a:ext>
              </a:extLst>
            </p:cNvPr>
            <p:cNvSpPr/>
            <p:nvPr/>
          </p:nvSpPr>
          <p:spPr>
            <a:xfrm>
              <a:off x="5326657" y="2858668"/>
              <a:ext cx="80315" cy="191497"/>
            </a:xfrm>
            <a:prstGeom prst="roundRect">
              <a:avLst/>
            </a:prstGeom>
            <a:solidFill>
              <a:schemeClr val="bg1"/>
            </a:solidFill>
            <a:ln w="31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130" name="Rounded Rectangle 1129">
              <a:extLst>
                <a:ext uri="{FF2B5EF4-FFF2-40B4-BE49-F238E27FC236}">
                  <a16:creationId xmlns:a16="http://schemas.microsoft.com/office/drawing/2014/main" id="{9B0A21F4-D5A6-4D4E-BDE3-C56E3120BF06}"/>
                </a:ext>
              </a:extLst>
            </p:cNvPr>
            <p:cNvSpPr/>
            <p:nvPr/>
          </p:nvSpPr>
          <p:spPr>
            <a:xfrm>
              <a:off x="5409278" y="2857204"/>
              <a:ext cx="80315" cy="191497"/>
            </a:xfrm>
            <a:prstGeom prst="roundRect">
              <a:avLst/>
            </a:prstGeom>
            <a:solidFill>
              <a:schemeClr val="bg1"/>
            </a:solidFill>
            <a:ln w="31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131" name="Rounded Rectangle 1130">
              <a:extLst>
                <a:ext uri="{FF2B5EF4-FFF2-40B4-BE49-F238E27FC236}">
                  <a16:creationId xmlns:a16="http://schemas.microsoft.com/office/drawing/2014/main" id="{D695C8C6-F8F3-E54F-B3B1-153F7ACFD1C9}"/>
                </a:ext>
              </a:extLst>
            </p:cNvPr>
            <p:cNvSpPr/>
            <p:nvPr/>
          </p:nvSpPr>
          <p:spPr>
            <a:xfrm>
              <a:off x="5495004" y="2853160"/>
              <a:ext cx="80315" cy="191497"/>
            </a:xfrm>
            <a:prstGeom prst="roundRect">
              <a:avLst/>
            </a:prstGeom>
            <a:solidFill>
              <a:schemeClr val="bg1"/>
            </a:solidFill>
            <a:ln w="31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132" name="Rounded Rectangle 1131">
              <a:extLst>
                <a:ext uri="{FF2B5EF4-FFF2-40B4-BE49-F238E27FC236}">
                  <a16:creationId xmlns:a16="http://schemas.microsoft.com/office/drawing/2014/main" id="{1B850363-6FB3-0746-A3F1-ACB8DE1EF815}"/>
                </a:ext>
              </a:extLst>
            </p:cNvPr>
            <p:cNvSpPr/>
            <p:nvPr/>
          </p:nvSpPr>
          <p:spPr>
            <a:xfrm>
              <a:off x="5585383" y="2853892"/>
              <a:ext cx="80315" cy="191497"/>
            </a:xfrm>
            <a:prstGeom prst="roundRect">
              <a:avLst/>
            </a:prstGeom>
            <a:solidFill>
              <a:schemeClr val="bg1"/>
            </a:solidFill>
            <a:ln w="31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133" name="Rounded Rectangle 1132">
              <a:extLst>
                <a:ext uri="{FF2B5EF4-FFF2-40B4-BE49-F238E27FC236}">
                  <a16:creationId xmlns:a16="http://schemas.microsoft.com/office/drawing/2014/main" id="{9D8DFA1B-A736-5349-AF5C-7ADE5E5A0FBB}"/>
                </a:ext>
              </a:extLst>
            </p:cNvPr>
            <p:cNvSpPr/>
            <p:nvPr/>
          </p:nvSpPr>
          <p:spPr>
            <a:xfrm>
              <a:off x="5660916" y="2859516"/>
              <a:ext cx="80315" cy="191497"/>
            </a:xfrm>
            <a:prstGeom prst="roundRect">
              <a:avLst/>
            </a:prstGeom>
            <a:solidFill>
              <a:schemeClr val="bg1"/>
            </a:solidFill>
            <a:ln w="31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134" name="Rounded Rectangle 1133">
              <a:extLst>
                <a:ext uri="{FF2B5EF4-FFF2-40B4-BE49-F238E27FC236}">
                  <a16:creationId xmlns:a16="http://schemas.microsoft.com/office/drawing/2014/main" id="{86A1CB56-3C91-F14D-9944-6EED3C15F4BE}"/>
                </a:ext>
              </a:extLst>
            </p:cNvPr>
            <p:cNvSpPr/>
            <p:nvPr/>
          </p:nvSpPr>
          <p:spPr>
            <a:xfrm>
              <a:off x="5321261" y="3362222"/>
              <a:ext cx="80315" cy="191497"/>
            </a:xfrm>
            <a:prstGeom prst="roundRect">
              <a:avLst/>
            </a:prstGeom>
            <a:solidFill>
              <a:schemeClr val="bg1"/>
            </a:solidFill>
            <a:ln w="31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135" name="Rounded Rectangle 1134">
              <a:extLst>
                <a:ext uri="{FF2B5EF4-FFF2-40B4-BE49-F238E27FC236}">
                  <a16:creationId xmlns:a16="http://schemas.microsoft.com/office/drawing/2014/main" id="{B7D5FE96-F244-514D-ADBE-AD6A21AA06BA}"/>
                </a:ext>
              </a:extLst>
            </p:cNvPr>
            <p:cNvSpPr/>
            <p:nvPr/>
          </p:nvSpPr>
          <p:spPr>
            <a:xfrm>
              <a:off x="5404552" y="3362954"/>
              <a:ext cx="80315" cy="191497"/>
            </a:xfrm>
            <a:prstGeom prst="roundRect">
              <a:avLst/>
            </a:prstGeom>
            <a:solidFill>
              <a:schemeClr val="bg1"/>
            </a:solidFill>
            <a:ln w="31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136" name="Rounded Rectangle 1135">
              <a:extLst>
                <a:ext uri="{FF2B5EF4-FFF2-40B4-BE49-F238E27FC236}">
                  <a16:creationId xmlns:a16="http://schemas.microsoft.com/office/drawing/2014/main" id="{7D09C9EE-D102-0840-8E7C-ADA986FFFAC7}"/>
                </a:ext>
              </a:extLst>
            </p:cNvPr>
            <p:cNvSpPr/>
            <p:nvPr/>
          </p:nvSpPr>
          <p:spPr>
            <a:xfrm>
              <a:off x="5487173" y="3361490"/>
              <a:ext cx="80315" cy="191497"/>
            </a:xfrm>
            <a:prstGeom prst="roundRect">
              <a:avLst/>
            </a:prstGeom>
            <a:solidFill>
              <a:schemeClr val="bg1"/>
            </a:solidFill>
            <a:ln w="31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137" name="Rounded Rectangle 1136">
              <a:extLst>
                <a:ext uri="{FF2B5EF4-FFF2-40B4-BE49-F238E27FC236}">
                  <a16:creationId xmlns:a16="http://schemas.microsoft.com/office/drawing/2014/main" id="{7724260E-4B32-4944-977E-5403F9EAFDBD}"/>
                </a:ext>
              </a:extLst>
            </p:cNvPr>
            <p:cNvSpPr/>
            <p:nvPr/>
          </p:nvSpPr>
          <p:spPr>
            <a:xfrm>
              <a:off x="5572898" y="3356598"/>
              <a:ext cx="80315" cy="191497"/>
            </a:xfrm>
            <a:prstGeom prst="roundRect">
              <a:avLst/>
            </a:prstGeom>
            <a:solidFill>
              <a:schemeClr val="bg1"/>
            </a:solidFill>
            <a:ln w="31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138" name="Rounded Rectangle 1137">
              <a:extLst>
                <a:ext uri="{FF2B5EF4-FFF2-40B4-BE49-F238E27FC236}">
                  <a16:creationId xmlns:a16="http://schemas.microsoft.com/office/drawing/2014/main" id="{16B49084-3B11-7A41-8DAA-CC512F3B53D1}"/>
                </a:ext>
              </a:extLst>
            </p:cNvPr>
            <p:cNvSpPr/>
            <p:nvPr/>
          </p:nvSpPr>
          <p:spPr>
            <a:xfrm>
              <a:off x="5663277" y="3357330"/>
              <a:ext cx="80315" cy="191497"/>
            </a:xfrm>
            <a:prstGeom prst="roundRect">
              <a:avLst/>
            </a:prstGeom>
            <a:solidFill>
              <a:schemeClr val="bg1"/>
            </a:solidFill>
            <a:ln w="31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139" name="Rounded Rectangle 1138">
              <a:extLst>
                <a:ext uri="{FF2B5EF4-FFF2-40B4-BE49-F238E27FC236}">
                  <a16:creationId xmlns:a16="http://schemas.microsoft.com/office/drawing/2014/main" id="{9723CDFB-F309-5842-96CD-3C6B21A6BA59}"/>
                </a:ext>
              </a:extLst>
            </p:cNvPr>
            <p:cNvSpPr/>
            <p:nvPr/>
          </p:nvSpPr>
          <p:spPr>
            <a:xfrm>
              <a:off x="5745898" y="3362954"/>
              <a:ext cx="80315" cy="191497"/>
            </a:xfrm>
            <a:prstGeom prst="roundRect">
              <a:avLst/>
            </a:prstGeom>
            <a:solidFill>
              <a:schemeClr val="bg1"/>
            </a:solidFill>
            <a:ln w="31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140" name="Rounded Rectangle 1139">
              <a:extLst>
                <a:ext uri="{FF2B5EF4-FFF2-40B4-BE49-F238E27FC236}">
                  <a16:creationId xmlns:a16="http://schemas.microsoft.com/office/drawing/2014/main" id="{8B8F81CC-5ADD-6042-A874-9C61BD203975}"/>
                </a:ext>
              </a:extLst>
            </p:cNvPr>
            <p:cNvSpPr/>
            <p:nvPr/>
          </p:nvSpPr>
          <p:spPr>
            <a:xfrm>
              <a:off x="4814168" y="3362301"/>
              <a:ext cx="80315" cy="191497"/>
            </a:xfrm>
            <a:prstGeom prst="roundRect">
              <a:avLst/>
            </a:prstGeom>
            <a:solidFill>
              <a:schemeClr val="bg1"/>
            </a:solidFill>
            <a:ln w="31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141" name="Rounded Rectangle 1140">
              <a:extLst>
                <a:ext uri="{FF2B5EF4-FFF2-40B4-BE49-F238E27FC236}">
                  <a16:creationId xmlns:a16="http://schemas.microsoft.com/office/drawing/2014/main" id="{CCD032A2-CC99-2D46-BE0F-028B5286D333}"/>
                </a:ext>
              </a:extLst>
            </p:cNvPr>
            <p:cNvSpPr/>
            <p:nvPr/>
          </p:nvSpPr>
          <p:spPr>
            <a:xfrm>
              <a:off x="4897459" y="3363033"/>
              <a:ext cx="80315" cy="191497"/>
            </a:xfrm>
            <a:prstGeom prst="roundRect">
              <a:avLst/>
            </a:prstGeom>
            <a:solidFill>
              <a:schemeClr val="bg1"/>
            </a:solidFill>
            <a:ln w="31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142" name="Rounded Rectangle 1141">
              <a:extLst>
                <a:ext uri="{FF2B5EF4-FFF2-40B4-BE49-F238E27FC236}">
                  <a16:creationId xmlns:a16="http://schemas.microsoft.com/office/drawing/2014/main" id="{845B4ACD-CFF0-F744-9CCF-38A3ADD4D0F1}"/>
                </a:ext>
              </a:extLst>
            </p:cNvPr>
            <p:cNvSpPr/>
            <p:nvPr/>
          </p:nvSpPr>
          <p:spPr>
            <a:xfrm>
              <a:off x="4980080" y="3361569"/>
              <a:ext cx="80315" cy="191497"/>
            </a:xfrm>
            <a:prstGeom prst="roundRect">
              <a:avLst/>
            </a:prstGeom>
            <a:solidFill>
              <a:schemeClr val="bg1"/>
            </a:solidFill>
            <a:ln w="31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143" name="Rounded Rectangle 1142">
              <a:extLst>
                <a:ext uri="{FF2B5EF4-FFF2-40B4-BE49-F238E27FC236}">
                  <a16:creationId xmlns:a16="http://schemas.microsoft.com/office/drawing/2014/main" id="{218B2AD4-9561-BF44-9442-C02BF7538A34}"/>
                </a:ext>
              </a:extLst>
            </p:cNvPr>
            <p:cNvSpPr/>
            <p:nvPr/>
          </p:nvSpPr>
          <p:spPr>
            <a:xfrm>
              <a:off x="5058717" y="3356677"/>
              <a:ext cx="80315" cy="191497"/>
            </a:xfrm>
            <a:prstGeom prst="roundRect">
              <a:avLst/>
            </a:prstGeom>
            <a:solidFill>
              <a:schemeClr val="bg1"/>
            </a:solidFill>
            <a:ln w="31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144" name="Rounded Rectangle 1143">
              <a:extLst>
                <a:ext uri="{FF2B5EF4-FFF2-40B4-BE49-F238E27FC236}">
                  <a16:creationId xmlns:a16="http://schemas.microsoft.com/office/drawing/2014/main" id="{0A0EDAF0-86F6-C24C-8596-431D52C0F9E6}"/>
                </a:ext>
              </a:extLst>
            </p:cNvPr>
            <p:cNvSpPr/>
            <p:nvPr/>
          </p:nvSpPr>
          <p:spPr>
            <a:xfrm>
              <a:off x="5149096" y="3357409"/>
              <a:ext cx="80315" cy="191497"/>
            </a:xfrm>
            <a:prstGeom prst="roundRect">
              <a:avLst/>
            </a:prstGeom>
            <a:solidFill>
              <a:schemeClr val="bg1"/>
            </a:solidFill>
            <a:ln w="31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145" name="Rounded Rectangle 1144">
              <a:extLst>
                <a:ext uri="{FF2B5EF4-FFF2-40B4-BE49-F238E27FC236}">
                  <a16:creationId xmlns:a16="http://schemas.microsoft.com/office/drawing/2014/main" id="{463DB784-98CC-B846-9A7D-F69AA32CB93B}"/>
                </a:ext>
              </a:extLst>
            </p:cNvPr>
            <p:cNvSpPr/>
            <p:nvPr/>
          </p:nvSpPr>
          <p:spPr>
            <a:xfrm>
              <a:off x="5238805" y="3363033"/>
              <a:ext cx="80315" cy="191497"/>
            </a:xfrm>
            <a:prstGeom prst="roundRect">
              <a:avLst/>
            </a:prstGeom>
            <a:solidFill>
              <a:schemeClr val="bg1"/>
            </a:solidFill>
            <a:ln w="31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146" name="Rounded Rectangle 1145">
              <a:extLst>
                <a:ext uri="{FF2B5EF4-FFF2-40B4-BE49-F238E27FC236}">
                  <a16:creationId xmlns:a16="http://schemas.microsoft.com/office/drawing/2014/main" id="{B7318D9B-5CF9-6C47-87B3-D79ACBE8875E}"/>
                </a:ext>
              </a:extLst>
            </p:cNvPr>
            <p:cNvSpPr/>
            <p:nvPr/>
          </p:nvSpPr>
          <p:spPr>
            <a:xfrm>
              <a:off x="4812603" y="3808599"/>
              <a:ext cx="80315" cy="191497"/>
            </a:xfrm>
            <a:prstGeom prst="roundRect">
              <a:avLst/>
            </a:prstGeom>
            <a:solidFill>
              <a:schemeClr val="bg1"/>
            </a:solidFill>
            <a:ln w="31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147" name="Rounded Rectangle 1146">
              <a:extLst>
                <a:ext uri="{FF2B5EF4-FFF2-40B4-BE49-F238E27FC236}">
                  <a16:creationId xmlns:a16="http://schemas.microsoft.com/office/drawing/2014/main" id="{05B89E32-D0AA-F040-8D43-1F129DEB20B1}"/>
                </a:ext>
              </a:extLst>
            </p:cNvPr>
            <p:cNvSpPr/>
            <p:nvPr/>
          </p:nvSpPr>
          <p:spPr>
            <a:xfrm>
              <a:off x="4895894" y="3809331"/>
              <a:ext cx="80315" cy="191497"/>
            </a:xfrm>
            <a:prstGeom prst="roundRect">
              <a:avLst/>
            </a:prstGeom>
            <a:solidFill>
              <a:schemeClr val="bg1"/>
            </a:solidFill>
            <a:ln w="31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148" name="Rounded Rectangle 1147">
              <a:extLst>
                <a:ext uri="{FF2B5EF4-FFF2-40B4-BE49-F238E27FC236}">
                  <a16:creationId xmlns:a16="http://schemas.microsoft.com/office/drawing/2014/main" id="{8234718B-D504-B744-8D09-0E3A513D9CA3}"/>
                </a:ext>
              </a:extLst>
            </p:cNvPr>
            <p:cNvSpPr/>
            <p:nvPr/>
          </p:nvSpPr>
          <p:spPr>
            <a:xfrm>
              <a:off x="4971427" y="3807867"/>
              <a:ext cx="80315" cy="191497"/>
            </a:xfrm>
            <a:prstGeom prst="roundRect">
              <a:avLst/>
            </a:prstGeom>
            <a:solidFill>
              <a:schemeClr val="bg1"/>
            </a:solidFill>
            <a:ln w="31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149" name="Rounded Rectangle 1148">
              <a:extLst>
                <a:ext uri="{FF2B5EF4-FFF2-40B4-BE49-F238E27FC236}">
                  <a16:creationId xmlns:a16="http://schemas.microsoft.com/office/drawing/2014/main" id="{9191A887-0A95-014E-BAE6-269F6B2C493F}"/>
                </a:ext>
              </a:extLst>
            </p:cNvPr>
            <p:cNvSpPr/>
            <p:nvPr/>
          </p:nvSpPr>
          <p:spPr>
            <a:xfrm>
              <a:off x="5057152" y="3802975"/>
              <a:ext cx="80315" cy="191497"/>
            </a:xfrm>
            <a:prstGeom prst="roundRect">
              <a:avLst/>
            </a:prstGeom>
            <a:solidFill>
              <a:schemeClr val="bg1"/>
            </a:solidFill>
            <a:ln w="31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150" name="Rounded Rectangle 1149">
              <a:extLst>
                <a:ext uri="{FF2B5EF4-FFF2-40B4-BE49-F238E27FC236}">
                  <a16:creationId xmlns:a16="http://schemas.microsoft.com/office/drawing/2014/main" id="{EA03B3C0-2024-D240-BC2C-C6E68401C786}"/>
                </a:ext>
              </a:extLst>
            </p:cNvPr>
            <p:cNvSpPr/>
            <p:nvPr/>
          </p:nvSpPr>
          <p:spPr>
            <a:xfrm>
              <a:off x="5133355" y="3803707"/>
              <a:ext cx="80315" cy="191497"/>
            </a:xfrm>
            <a:prstGeom prst="roundRect">
              <a:avLst/>
            </a:prstGeom>
            <a:solidFill>
              <a:schemeClr val="bg1"/>
            </a:solidFill>
            <a:ln w="31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151" name="Rounded Rectangle 1150">
              <a:extLst>
                <a:ext uri="{FF2B5EF4-FFF2-40B4-BE49-F238E27FC236}">
                  <a16:creationId xmlns:a16="http://schemas.microsoft.com/office/drawing/2014/main" id="{2B31DBA1-A878-9344-BD76-38392B0E47D3}"/>
                </a:ext>
              </a:extLst>
            </p:cNvPr>
            <p:cNvSpPr/>
            <p:nvPr/>
          </p:nvSpPr>
          <p:spPr>
            <a:xfrm>
              <a:off x="5215976" y="3809331"/>
              <a:ext cx="80315" cy="191497"/>
            </a:xfrm>
            <a:prstGeom prst="roundRect">
              <a:avLst/>
            </a:prstGeom>
            <a:solidFill>
              <a:schemeClr val="bg1"/>
            </a:solidFill>
            <a:ln w="31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152" name="Rounded Rectangle 1151">
              <a:extLst>
                <a:ext uri="{FF2B5EF4-FFF2-40B4-BE49-F238E27FC236}">
                  <a16:creationId xmlns:a16="http://schemas.microsoft.com/office/drawing/2014/main" id="{D72FBCD0-6851-8949-9E56-BB7246FC06B8}"/>
                </a:ext>
              </a:extLst>
            </p:cNvPr>
            <p:cNvSpPr/>
            <p:nvPr/>
          </p:nvSpPr>
          <p:spPr>
            <a:xfrm>
              <a:off x="5298157" y="3808706"/>
              <a:ext cx="80315" cy="191497"/>
            </a:xfrm>
            <a:prstGeom prst="roundRect">
              <a:avLst/>
            </a:prstGeom>
            <a:solidFill>
              <a:schemeClr val="bg1"/>
            </a:solidFill>
            <a:ln w="31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153" name="Rounded Rectangle 1152">
              <a:extLst>
                <a:ext uri="{FF2B5EF4-FFF2-40B4-BE49-F238E27FC236}">
                  <a16:creationId xmlns:a16="http://schemas.microsoft.com/office/drawing/2014/main" id="{B2548E3B-C19F-CE4A-A2DA-A36F211786DB}"/>
                </a:ext>
              </a:extLst>
            </p:cNvPr>
            <p:cNvSpPr/>
            <p:nvPr/>
          </p:nvSpPr>
          <p:spPr>
            <a:xfrm>
              <a:off x="5374360" y="3809438"/>
              <a:ext cx="80315" cy="191497"/>
            </a:xfrm>
            <a:prstGeom prst="roundRect">
              <a:avLst/>
            </a:prstGeom>
            <a:solidFill>
              <a:schemeClr val="bg1"/>
            </a:solidFill>
            <a:ln w="31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154" name="Rounded Rectangle 1153">
              <a:extLst>
                <a:ext uri="{FF2B5EF4-FFF2-40B4-BE49-F238E27FC236}">
                  <a16:creationId xmlns:a16="http://schemas.microsoft.com/office/drawing/2014/main" id="{0EBBDAAF-2843-2A45-8300-F56E55211AFA}"/>
                </a:ext>
              </a:extLst>
            </p:cNvPr>
            <p:cNvSpPr/>
            <p:nvPr/>
          </p:nvSpPr>
          <p:spPr>
            <a:xfrm>
              <a:off x="5456981" y="3807974"/>
              <a:ext cx="80315" cy="191497"/>
            </a:xfrm>
            <a:prstGeom prst="roundRect">
              <a:avLst/>
            </a:prstGeom>
            <a:solidFill>
              <a:schemeClr val="bg1"/>
            </a:solidFill>
            <a:ln w="31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155" name="Rounded Rectangle 1154">
              <a:extLst>
                <a:ext uri="{FF2B5EF4-FFF2-40B4-BE49-F238E27FC236}">
                  <a16:creationId xmlns:a16="http://schemas.microsoft.com/office/drawing/2014/main" id="{A056973D-8D94-524F-AA1F-B53997FBBDAB}"/>
                </a:ext>
              </a:extLst>
            </p:cNvPr>
            <p:cNvSpPr/>
            <p:nvPr/>
          </p:nvSpPr>
          <p:spPr>
            <a:xfrm>
              <a:off x="5542706" y="3803082"/>
              <a:ext cx="80315" cy="191497"/>
            </a:xfrm>
            <a:prstGeom prst="roundRect">
              <a:avLst/>
            </a:prstGeom>
            <a:solidFill>
              <a:schemeClr val="bg1"/>
            </a:solidFill>
            <a:ln w="31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156" name="Rounded Rectangle 1155">
              <a:extLst>
                <a:ext uri="{FF2B5EF4-FFF2-40B4-BE49-F238E27FC236}">
                  <a16:creationId xmlns:a16="http://schemas.microsoft.com/office/drawing/2014/main" id="{7A9BC222-86AD-484F-B20E-76B382798706}"/>
                </a:ext>
              </a:extLst>
            </p:cNvPr>
            <p:cNvSpPr/>
            <p:nvPr/>
          </p:nvSpPr>
          <p:spPr>
            <a:xfrm>
              <a:off x="5618909" y="3803814"/>
              <a:ext cx="80315" cy="191497"/>
            </a:xfrm>
            <a:prstGeom prst="roundRect">
              <a:avLst/>
            </a:prstGeom>
            <a:solidFill>
              <a:schemeClr val="bg1"/>
            </a:solidFill>
            <a:ln w="31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157" name="Rounded Rectangle 1156">
              <a:extLst>
                <a:ext uri="{FF2B5EF4-FFF2-40B4-BE49-F238E27FC236}">
                  <a16:creationId xmlns:a16="http://schemas.microsoft.com/office/drawing/2014/main" id="{8BC52A57-878B-EE40-B413-0600D6ED6764}"/>
                </a:ext>
              </a:extLst>
            </p:cNvPr>
            <p:cNvSpPr/>
            <p:nvPr/>
          </p:nvSpPr>
          <p:spPr>
            <a:xfrm>
              <a:off x="5701530" y="3809438"/>
              <a:ext cx="80315" cy="191497"/>
            </a:xfrm>
            <a:prstGeom prst="roundRect">
              <a:avLst/>
            </a:prstGeom>
            <a:solidFill>
              <a:schemeClr val="bg1"/>
            </a:solidFill>
            <a:ln w="31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158" name="Rounded Rectangle 1157">
              <a:extLst>
                <a:ext uri="{FF2B5EF4-FFF2-40B4-BE49-F238E27FC236}">
                  <a16:creationId xmlns:a16="http://schemas.microsoft.com/office/drawing/2014/main" id="{F408C87F-9CCA-A44E-9DC6-9912AF20C4FB}"/>
                </a:ext>
              </a:extLst>
            </p:cNvPr>
            <p:cNvSpPr/>
            <p:nvPr/>
          </p:nvSpPr>
          <p:spPr>
            <a:xfrm>
              <a:off x="4823574" y="4241579"/>
              <a:ext cx="80315" cy="191497"/>
            </a:xfrm>
            <a:prstGeom prst="roundRect">
              <a:avLst/>
            </a:prstGeom>
            <a:solidFill>
              <a:schemeClr val="bg1"/>
            </a:solidFill>
            <a:ln w="31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159" name="Rounded Rectangle 1158">
              <a:extLst>
                <a:ext uri="{FF2B5EF4-FFF2-40B4-BE49-F238E27FC236}">
                  <a16:creationId xmlns:a16="http://schemas.microsoft.com/office/drawing/2014/main" id="{4A786593-DA19-C44D-A178-7A8753DE61A7}"/>
                </a:ext>
              </a:extLst>
            </p:cNvPr>
            <p:cNvSpPr/>
            <p:nvPr/>
          </p:nvSpPr>
          <p:spPr>
            <a:xfrm>
              <a:off x="4906195" y="4240115"/>
              <a:ext cx="80315" cy="191497"/>
            </a:xfrm>
            <a:prstGeom prst="roundRect">
              <a:avLst/>
            </a:prstGeom>
            <a:solidFill>
              <a:schemeClr val="bg1"/>
            </a:solidFill>
            <a:ln w="31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160" name="Rounded Rectangle 1159">
              <a:extLst>
                <a:ext uri="{FF2B5EF4-FFF2-40B4-BE49-F238E27FC236}">
                  <a16:creationId xmlns:a16="http://schemas.microsoft.com/office/drawing/2014/main" id="{BD8FD5AF-5593-684B-83EC-E2CB4C06DE07}"/>
                </a:ext>
              </a:extLst>
            </p:cNvPr>
            <p:cNvSpPr/>
            <p:nvPr/>
          </p:nvSpPr>
          <p:spPr>
            <a:xfrm>
              <a:off x="4989486" y="4240847"/>
              <a:ext cx="80315" cy="191497"/>
            </a:xfrm>
            <a:prstGeom prst="roundRect">
              <a:avLst/>
            </a:prstGeom>
            <a:solidFill>
              <a:schemeClr val="bg1"/>
            </a:solidFill>
            <a:ln w="31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161" name="Rounded Rectangle 1160">
              <a:extLst>
                <a:ext uri="{FF2B5EF4-FFF2-40B4-BE49-F238E27FC236}">
                  <a16:creationId xmlns:a16="http://schemas.microsoft.com/office/drawing/2014/main" id="{C3A1D959-A1C0-1841-A68B-D538B0C1FD86}"/>
                </a:ext>
              </a:extLst>
            </p:cNvPr>
            <p:cNvSpPr/>
            <p:nvPr/>
          </p:nvSpPr>
          <p:spPr>
            <a:xfrm>
              <a:off x="5072107" y="4239383"/>
              <a:ext cx="80315" cy="191497"/>
            </a:xfrm>
            <a:prstGeom prst="roundRect">
              <a:avLst/>
            </a:prstGeom>
            <a:solidFill>
              <a:schemeClr val="bg1"/>
            </a:solidFill>
            <a:ln w="31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162" name="Rounded Rectangle 1161">
              <a:extLst>
                <a:ext uri="{FF2B5EF4-FFF2-40B4-BE49-F238E27FC236}">
                  <a16:creationId xmlns:a16="http://schemas.microsoft.com/office/drawing/2014/main" id="{42846F24-1125-3C40-B7B8-7B8ACA7770AF}"/>
                </a:ext>
              </a:extLst>
            </p:cNvPr>
            <p:cNvSpPr/>
            <p:nvPr/>
          </p:nvSpPr>
          <p:spPr>
            <a:xfrm>
              <a:off x="5156925" y="4238572"/>
              <a:ext cx="80315" cy="191497"/>
            </a:xfrm>
            <a:prstGeom prst="roundRect">
              <a:avLst/>
            </a:prstGeom>
            <a:solidFill>
              <a:schemeClr val="bg1"/>
            </a:solidFill>
            <a:ln w="31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163" name="Rounded Rectangle 1162">
              <a:extLst>
                <a:ext uri="{FF2B5EF4-FFF2-40B4-BE49-F238E27FC236}">
                  <a16:creationId xmlns:a16="http://schemas.microsoft.com/office/drawing/2014/main" id="{A2805DC9-81F2-4C4E-9B38-726054B7C763}"/>
                </a:ext>
              </a:extLst>
            </p:cNvPr>
            <p:cNvSpPr/>
            <p:nvPr/>
          </p:nvSpPr>
          <p:spPr>
            <a:xfrm>
              <a:off x="5239546" y="4237108"/>
              <a:ext cx="80315" cy="191497"/>
            </a:xfrm>
            <a:prstGeom prst="roundRect">
              <a:avLst/>
            </a:prstGeom>
            <a:solidFill>
              <a:schemeClr val="bg1"/>
            </a:solidFill>
            <a:ln w="31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164" name="Rounded Rectangle 1163">
              <a:extLst>
                <a:ext uri="{FF2B5EF4-FFF2-40B4-BE49-F238E27FC236}">
                  <a16:creationId xmlns:a16="http://schemas.microsoft.com/office/drawing/2014/main" id="{C4DC3A82-8236-BF4D-A43D-3CFB56F5E7DC}"/>
                </a:ext>
              </a:extLst>
            </p:cNvPr>
            <p:cNvSpPr/>
            <p:nvPr/>
          </p:nvSpPr>
          <p:spPr>
            <a:xfrm>
              <a:off x="5329925" y="4237840"/>
              <a:ext cx="80315" cy="191497"/>
            </a:xfrm>
            <a:prstGeom prst="roundRect">
              <a:avLst/>
            </a:prstGeom>
            <a:solidFill>
              <a:schemeClr val="bg1"/>
            </a:solidFill>
            <a:ln w="31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165" name="Rounded Rectangle 1164">
              <a:extLst>
                <a:ext uri="{FF2B5EF4-FFF2-40B4-BE49-F238E27FC236}">
                  <a16:creationId xmlns:a16="http://schemas.microsoft.com/office/drawing/2014/main" id="{AF53023D-3533-D647-842A-65914278F6E3}"/>
                </a:ext>
              </a:extLst>
            </p:cNvPr>
            <p:cNvSpPr/>
            <p:nvPr/>
          </p:nvSpPr>
          <p:spPr>
            <a:xfrm>
              <a:off x="5412546" y="4236376"/>
              <a:ext cx="80315" cy="191497"/>
            </a:xfrm>
            <a:prstGeom prst="roundRect">
              <a:avLst/>
            </a:prstGeom>
            <a:solidFill>
              <a:schemeClr val="bg1"/>
            </a:solidFill>
            <a:ln w="31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166" name="Rounded Rectangle 1165">
              <a:extLst>
                <a:ext uri="{FF2B5EF4-FFF2-40B4-BE49-F238E27FC236}">
                  <a16:creationId xmlns:a16="http://schemas.microsoft.com/office/drawing/2014/main" id="{8E65F6F2-0194-A246-B55D-3FEB2F866B96}"/>
                </a:ext>
              </a:extLst>
            </p:cNvPr>
            <p:cNvSpPr/>
            <p:nvPr/>
          </p:nvSpPr>
          <p:spPr>
            <a:xfrm>
              <a:off x="4788612" y="4712948"/>
              <a:ext cx="80315" cy="191497"/>
            </a:xfrm>
            <a:prstGeom prst="roundRect">
              <a:avLst/>
            </a:prstGeom>
            <a:solidFill>
              <a:schemeClr val="bg1"/>
            </a:solidFill>
            <a:ln w="31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167" name="Rounded Rectangle 1166">
              <a:extLst>
                <a:ext uri="{FF2B5EF4-FFF2-40B4-BE49-F238E27FC236}">
                  <a16:creationId xmlns:a16="http://schemas.microsoft.com/office/drawing/2014/main" id="{4A74EAC4-F105-E541-86CC-FD2EE4BB2B5D}"/>
                </a:ext>
              </a:extLst>
            </p:cNvPr>
            <p:cNvSpPr/>
            <p:nvPr/>
          </p:nvSpPr>
          <p:spPr>
            <a:xfrm>
              <a:off x="4871903" y="4713680"/>
              <a:ext cx="80315" cy="191497"/>
            </a:xfrm>
            <a:prstGeom prst="roundRect">
              <a:avLst/>
            </a:prstGeom>
            <a:solidFill>
              <a:schemeClr val="bg1"/>
            </a:solidFill>
            <a:ln w="31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168" name="Rounded Rectangle 1167">
              <a:extLst>
                <a:ext uri="{FF2B5EF4-FFF2-40B4-BE49-F238E27FC236}">
                  <a16:creationId xmlns:a16="http://schemas.microsoft.com/office/drawing/2014/main" id="{AD36ECC2-5B7C-B948-A871-09FD200D0D26}"/>
                </a:ext>
              </a:extLst>
            </p:cNvPr>
            <p:cNvSpPr/>
            <p:nvPr/>
          </p:nvSpPr>
          <p:spPr>
            <a:xfrm>
              <a:off x="4947436" y="4712216"/>
              <a:ext cx="80315" cy="191497"/>
            </a:xfrm>
            <a:prstGeom prst="roundRect">
              <a:avLst/>
            </a:prstGeom>
            <a:solidFill>
              <a:schemeClr val="bg1"/>
            </a:solidFill>
            <a:ln w="31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169" name="Rounded Rectangle 1168">
              <a:extLst>
                <a:ext uri="{FF2B5EF4-FFF2-40B4-BE49-F238E27FC236}">
                  <a16:creationId xmlns:a16="http://schemas.microsoft.com/office/drawing/2014/main" id="{FC6A8DE6-D30F-5C4B-A2A6-5EFB2218721C}"/>
                </a:ext>
              </a:extLst>
            </p:cNvPr>
            <p:cNvSpPr/>
            <p:nvPr/>
          </p:nvSpPr>
          <p:spPr>
            <a:xfrm>
              <a:off x="5026073" y="4714412"/>
              <a:ext cx="80315" cy="191497"/>
            </a:xfrm>
            <a:prstGeom prst="roundRect">
              <a:avLst/>
            </a:prstGeom>
            <a:solidFill>
              <a:schemeClr val="bg1"/>
            </a:solidFill>
            <a:ln w="31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170" name="Rounded Rectangle 1169">
              <a:extLst>
                <a:ext uri="{FF2B5EF4-FFF2-40B4-BE49-F238E27FC236}">
                  <a16:creationId xmlns:a16="http://schemas.microsoft.com/office/drawing/2014/main" id="{AD967243-A0A6-0143-9B46-FB19CC1A5141}"/>
                </a:ext>
              </a:extLst>
            </p:cNvPr>
            <p:cNvSpPr/>
            <p:nvPr/>
          </p:nvSpPr>
          <p:spPr>
            <a:xfrm>
              <a:off x="5102276" y="4715144"/>
              <a:ext cx="80315" cy="191497"/>
            </a:xfrm>
            <a:prstGeom prst="roundRect">
              <a:avLst/>
            </a:prstGeom>
            <a:solidFill>
              <a:schemeClr val="bg1"/>
            </a:solidFill>
            <a:ln w="31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171" name="Rounded Rectangle 1170">
              <a:extLst>
                <a:ext uri="{FF2B5EF4-FFF2-40B4-BE49-F238E27FC236}">
                  <a16:creationId xmlns:a16="http://schemas.microsoft.com/office/drawing/2014/main" id="{3808AB7A-4EA9-604A-9607-3D1D991920A8}"/>
                </a:ext>
              </a:extLst>
            </p:cNvPr>
            <p:cNvSpPr/>
            <p:nvPr/>
          </p:nvSpPr>
          <p:spPr>
            <a:xfrm>
              <a:off x="5184897" y="4713680"/>
              <a:ext cx="80315" cy="191497"/>
            </a:xfrm>
            <a:prstGeom prst="roundRect">
              <a:avLst/>
            </a:prstGeom>
            <a:solidFill>
              <a:schemeClr val="bg1"/>
            </a:solidFill>
            <a:ln w="31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172" name="Rounded Rectangle 1171">
              <a:extLst>
                <a:ext uri="{FF2B5EF4-FFF2-40B4-BE49-F238E27FC236}">
                  <a16:creationId xmlns:a16="http://schemas.microsoft.com/office/drawing/2014/main" id="{EDA3BB64-941E-464B-B954-89221089C3CF}"/>
                </a:ext>
              </a:extLst>
            </p:cNvPr>
            <p:cNvSpPr/>
            <p:nvPr/>
          </p:nvSpPr>
          <p:spPr>
            <a:xfrm>
              <a:off x="5267078" y="4713055"/>
              <a:ext cx="80315" cy="191497"/>
            </a:xfrm>
            <a:prstGeom prst="roundRect">
              <a:avLst/>
            </a:prstGeom>
            <a:solidFill>
              <a:schemeClr val="bg1"/>
            </a:solidFill>
            <a:ln w="31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173" name="Rounded Rectangle 1172">
              <a:extLst>
                <a:ext uri="{FF2B5EF4-FFF2-40B4-BE49-F238E27FC236}">
                  <a16:creationId xmlns:a16="http://schemas.microsoft.com/office/drawing/2014/main" id="{AB2BE894-F338-6F4B-B083-A8E61F319AD8}"/>
                </a:ext>
              </a:extLst>
            </p:cNvPr>
            <p:cNvSpPr/>
            <p:nvPr/>
          </p:nvSpPr>
          <p:spPr>
            <a:xfrm>
              <a:off x="5343281" y="4713787"/>
              <a:ext cx="80315" cy="191497"/>
            </a:xfrm>
            <a:prstGeom prst="roundRect">
              <a:avLst/>
            </a:prstGeom>
            <a:solidFill>
              <a:schemeClr val="bg1"/>
            </a:solidFill>
            <a:ln w="31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174" name="Rounded Rectangle 1173">
              <a:extLst>
                <a:ext uri="{FF2B5EF4-FFF2-40B4-BE49-F238E27FC236}">
                  <a16:creationId xmlns:a16="http://schemas.microsoft.com/office/drawing/2014/main" id="{24A2179B-E89C-2640-B63E-2807EDF2F2B4}"/>
                </a:ext>
              </a:extLst>
            </p:cNvPr>
            <p:cNvSpPr/>
            <p:nvPr/>
          </p:nvSpPr>
          <p:spPr>
            <a:xfrm>
              <a:off x="5425902" y="4712323"/>
              <a:ext cx="80315" cy="191497"/>
            </a:xfrm>
            <a:prstGeom prst="roundRect">
              <a:avLst/>
            </a:prstGeom>
            <a:solidFill>
              <a:schemeClr val="bg1"/>
            </a:solidFill>
            <a:ln w="31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175" name="Rounded Rectangle 1174">
              <a:extLst>
                <a:ext uri="{FF2B5EF4-FFF2-40B4-BE49-F238E27FC236}">
                  <a16:creationId xmlns:a16="http://schemas.microsoft.com/office/drawing/2014/main" id="{C9838EEA-0ABC-A349-B4D7-A41C6CCC57F0}"/>
                </a:ext>
              </a:extLst>
            </p:cNvPr>
            <p:cNvSpPr/>
            <p:nvPr/>
          </p:nvSpPr>
          <p:spPr>
            <a:xfrm>
              <a:off x="5511627" y="4714519"/>
              <a:ext cx="80315" cy="191497"/>
            </a:xfrm>
            <a:prstGeom prst="roundRect">
              <a:avLst/>
            </a:prstGeom>
            <a:solidFill>
              <a:schemeClr val="bg1"/>
            </a:solidFill>
            <a:ln w="31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176" name="Rounded Rectangle 1175">
              <a:extLst>
                <a:ext uri="{FF2B5EF4-FFF2-40B4-BE49-F238E27FC236}">
                  <a16:creationId xmlns:a16="http://schemas.microsoft.com/office/drawing/2014/main" id="{2C6B001F-237D-4547-9346-B4ABD4B6474A}"/>
                </a:ext>
              </a:extLst>
            </p:cNvPr>
            <p:cNvSpPr/>
            <p:nvPr/>
          </p:nvSpPr>
          <p:spPr>
            <a:xfrm>
              <a:off x="5594918" y="4715251"/>
              <a:ext cx="80315" cy="191497"/>
            </a:xfrm>
            <a:prstGeom prst="roundRect">
              <a:avLst/>
            </a:prstGeom>
            <a:solidFill>
              <a:schemeClr val="bg1"/>
            </a:solidFill>
            <a:ln w="31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177" name="Rounded Rectangle 1176">
              <a:extLst>
                <a:ext uri="{FF2B5EF4-FFF2-40B4-BE49-F238E27FC236}">
                  <a16:creationId xmlns:a16="http://schemas.microsoft.com/office/drawing/2014/main" id="{7BBEC1B3-F517-3A47-8E0B-5A6A66B42BFA}"/>
                </a:ext>
              </a:extLst>
            </p:cNvPr>
            <p:cNvSpPr/>
            <p:nvPr/>
          </p:nvSpPr>
          <p:spPr>
            <a:xfrm>
              <a:off x="5670451" y="4713787"/>
              <a:ext cx="80315" cy="191497"/>
            </a:xfrm>
            <a:prstGeom prst="roundRect">
              <a:avLst/>
            </a:prstGeom>
            <a:solidFill>
              <a:schemeClr val="bg1"/>
            </a:solidFill>
            <a:ln w="31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grpSp>
      <p:grpSp>
        <p:nvGrpSpPr>
          <p:cNvPr id="1178" name="Group 1177">
            <a:extLst>
              <a:ext uri="{FF2B5EF4-FFF2-40B4-BE49-F238E27FC236}">
                <a16:creationId xmlns:a16="http://schemas.microsoft.com/office/drawing/2014/main" id="{3BB88313-3962-5A40-844C-0BF1F6478220}"/>
              </a:ext>
            </a:extLst>
          </p:cNvPr>
          <p:cNvGrpSpPr/>
          <p:nvPr/>
        </p:nvGrpSpPr>
        <p:grpSpPr>
          <a:xfrm>
            <a:off x="6240040" y="2345518"/>
            <a:ext cx="1618142" cy="3545106"/>
            <a:chOff x="4659160" y="1635818"/>
            <a:chExt cx="1618142" cy="3545106"/>
          </a:xfrm>
        </p:grpSpPr>
        <p:sp>
          <p:nvSpPr>
            <p:cNvPr id="1179" name="Rounded Rectangle 1178">
              <a:extLst>
                <a:ext uri="{FF2B5EF4-FFF2-40B4-BE49-F238E27FC236}">
                  <a16:creationId xmlns:a16="http://schemas.microsoft.com/office/drawing/2014/main" id="{668B03C8-77C8-7E42-86E3-5A412AC0080E}"/>
                </a:ext>
              </a:extLst>
            </p:cNvPr>
            <p:cNvSpPr/>
            <p:nvPr/>
          </p:nvSpPr>
          <p:spPr>
            <a:xfrm>
              <a:off x="5209370" y="1780136"/>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180" name="Rounded Rectangle 1179">
              <a:extLst>
                <a:ext uri="{FF2B5EF4-FFF2-40B4-BE49-F238E27FC236}">
                  <a16:creationId xmlns:a16="http://schemas.microsoft.com/office/drawing/2014/main" id="{92F7B2DD-7688-AA46-BD94-71AB636BFD0D}"/>
                </a:ext>
              </a:extLst>
            </p:cNvPr>
            <p:cNvSpPr/>
            <p:nvPr/>
          </p:nvSpPr>
          <p:spPr>
            <a:xfrm>
              <a:off x="5403533" y="1780135"/>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181" name="Rounded Rectangle 1180">
              <a:extLst>
                <a:ext uri="{FF2B5EF4-FFF2-40B4-BE49-F238E27FC236}">
                  <a16:creationId xmlns:a16="http://schemas.microsoft.com/office/drawing/2014/main" id="{74E4FD55-FA3F-D84C-B5D9-D0748B5EFDDF}"/>
                </a:ext>
              </a:extLst>
            </p:cNvPr>
            <p:cNvSpPr/>
            <p:nvPr/>
          </p:nvSpPr>
          <p:spPr>
            <a:xfrm>
              <a:off x="5597696" y="1780135"/>
              <a:ext cx="180437"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182" name="Rounded Rectangle 1181">
              <a:extLst>
                <a:ext uri="{FF2B5EF4-FFF2-40B4-BE49-F238E27FC236}">
                  <a16:creationId xmlns:a16="http://schemas.microsoft.com/office/drawing/2014/main" id="{F57FA4DB-0DAB-F642-9379-25F341E9E0EF}"/>
                </a:ext>
              </a:extLst>
            </p:cNvPr>
            <p:cNvSpPr/>
            <p:nvPr/>
          </p:nvSpPr>
          <p:spPr>
            <a:xfrm>
              <a:off x="5790105" y="1780413"/>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183" name="Rounded Rectangle 1182">
              <a:extLst>
                <a:ext uri="{FF2B5EF4-FFF2-40B4-BE49-F238E27FC236}">
                  <a16:creationId xmlns:a16="http://schemas.microsoft.com/office/drawing/2014/main" id="{734306C6-B1A9-AB47-836C-86DBB8EDDC2F}"/>
                </a:ext>
              </a:extLst>
            </p:cNvPr>
            <p:cNvSpPr/>
            <p:nvPr/>
          </p:nvSpPr>
          <p:spPr>
            <a:xfrm>
              <a:off x="5970565" y="1783807"/>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184" name="TextBox 1183">
              <a:extLst>
                <a:ext uri="{FF2B5EF4-FFF2-40B4-BE49-F238E27FC236}">
                  <a16:creationId xmlns:a16="http://schemas.microsoft.com/office/drawing/2014/main" id="{39ECB056-0021-E941-A080-0932B33B8D9C}"/>
                </a:ext>
              </a:extLst>
            </p:cNvPr>
            <p:cNvSpPr txBox="1"/>
            <p:nvPr/>
          </p:nvSpPr>
          <p:spPr>
            <a:xfrm>
              <a:off x="5009006" y="1888419"/>
              <a:ext cx="1268296" cy="320257"/>
            </a:xfrm>
            <a:prstGeom prst="rect">
              <a:avLst/>
            </a:prstGeom>
            <a:noFill/>
          </p:spPr>
          <p:txBody>
            <a:bodyPr wrap="none" tIns="90000" bIns="90000" rtlCol="0" anchor="t">
              <a:spAutoFit/>
            </a:bodyPr>
            <a:lstStyle/>
            <a:p>
              <a:pPr algn="ctr" defTabSz="457200"/>
              <a:r>
                <a:rPr lang="en-US" sz="9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Name Events (Topic)</a:t>
              </a:r>
            </a:p>
          </p:txBody>
        </p:sp>
        <p:sp>
          <p:nvSpPr>
            <p:cNvPr id="1185" name="Rounded Rectangle 1184">
              <a:extLst>
                <a:ext uri="{FF2B5EF4-FFF2-40B4-BE49-F238E27FC236}">
                  <a16:creationId xmlns:a16="http://schemas.microsoft.com/office/drawing/2014/main" id="{3FBC0758-5BA2-FA48-AC93-188021386E1B}"/>
                </a:ext>
              </a:extLst>
            </p:cNvPr>
            <p:cNvSpPr/>
            <p:nvPr/>
          </p:nvSpPr>
          <p:spPr>
            <a:xfrm>
              <a:off x="5076873" y="2164587"/>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186" name="Rounded Rectangle 1185">
              <a:extLst>
                <a:ext uri="{FF2B5EF4-FFF2-40B4-BE49-F238E27FC236}">
                  <a16:creationId xmlns:a16="http://schemas.microsoft.com/office/drawing/2014/main" id="{4C32A478-FD6C-8749-829B-17015B55A539}"/>
                </a:ext>
              </a:extLst>
            </p:cNvPr>
            <p:cNvSpPr/>
            <p:nvPr/>
          </p:nvSpPr>
          <p:spPr>
            <a:xfrm>
              <a:off x="5271036" y="2164586"/>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187" name="Rounded Rectangle 1186">
              <a:extLst>
                <a:ext uri="{FF2B5EF4-FFF2-40B4-BE49-F238E27FC236}">
                  <a16:creationId xmlns:a16="http://schemas.microsoft.com/office/drawing/2014/main" id="{985D029C-19EB-3342-81CE-8DF795E327CB}"/>
                </a:ext>
              </a:extLst>
            </p:cNvPr>
            <p:cNvSpPr/>
            <p:nvPr/>
          </p:nvSpPr>
          <p:spPr>
            <a:xfrm>
              <a:off x="5465199" y="2164586"/>
              <a:ext cx="180437"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188" name="Rounded Rectangle 1187">
              <a:extLst>
                <a:ext uri="{FF2B5EF4-FFF2-40B4-BE49-F238E27FC236}">
                  <a16:creationId xmlns:a16="http://schemas.microsoft.com/office/drawing/2014/main" id="{50542ED2-2F14-9041-AAD2-0C71676FA225}"/>
                </a:ext>
              </a:extLst>
            </p:cNvPr>
            <p:cNvSpPr/>
            <p:nvPr/>
          </p:nvSpPr>
          <p:spPr>
            <a:xfrm>
              <a:off x="5657608" y="2164864"/>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189" name="Rounded Rectangle 1188">
              <a:extLst>
                <a:ext uri="{FF2B5EF4-FFF2-40B4-BE49-F238E27FC236}">
                  <a16:creationId xmlns:a16="http://schemas.microsoft.com/office/drawing/2014/main" id="{7790A512-5EB7-3B4A-82C2-68917379439D}"/>
                </a:ext>
              </a:extLst>
            </p:cNvPr>
            <p:cNvSpPr/>
            <p:nvPr/>
          </p:nvSpPr>
          <p:spPr>
            <a:xfrm>
              <a:off x="5838068" y="2158426"/>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190" name="TextBox 1189">
              <a:extLst>
                <a:ext uri="{FF2B5EF4-FFF2-40B4-BE49-F238E27FC236}">
                  <a16:creationId xmlns:a16="http://schemas.microsoft.com/office/drawing/2014/main" id="{59A42D4C-FF1F-114B-8460-E6454C567290}"/>
                </a:ext>
              </a:extLst>
            </p:cNvPr>
            <p:cNvSpPr txBox="1"/>
            <p:nvPr/>
          </p:nvSpPr>
          <p:spPr>
            <a:xfrm>
              <a:off x="4876509" y="2272870"/>
              <a:ext cx="1268296" cy="320257"/>
            </a:xfrm>
            <a:prstGeom prst="rect">
              <a:avLst/>
            </a:prstGeom>
            <a:noFill/>
          </p:spPr>
          <p:txBody>
            <a:bodyPr wrap="none" tIns="90000" bIns="90000" rtlCol="0" anchor="t">
              <a:spAutoFit/>
            </a:bodyPr>
            <a:lstStyle/>
            <a:p>
              <a:pPr algn="ctr" defTabSz="457200"/>
              <a:r>
                <a:rPr lang="en-US" sz="9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Name Events (Topic)</a:t>
              </a:r>
            </a:p>
          </p:txBody>
        </p:sp>
        <p:sp>
          <p:nvSpPr>
            <p:cNvPr id="1191" name="Rounded Rectangle 1190">
              <a:extLst>
                <a:ext uri="{FF2B5EF4-FFF2-40B4-BE49-F238E27FC236}">
                  <a16:creationId xmlns:a16="http://schemas.microsoft.com/office/drawing/2014/main" id="{E7FCAAC5-FB95-E54A-92C7-41EFCD5C7693}"/>
                </a:ext>
              </a:extLst>
            </p:cNvPr>
            <p:cNvSpPr/>
            <p:nvPr/>
          </p:nvSpPr>
          <p:spPr>
            <a:xfrm>
              <a:off x="5092623" y="2649896"/>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192" name="Rounded Rectangle 1191">
              <a:extLst>
                <a:ext uri="{FF2B5EF4-FFF2-40B4-BE49-F238E27FC236}">
                  <a16:creationId xmlns:a16="http://schemas.microsoft.com/office/drawing/2014/main" id="{21409802-3DBF-5D4E-8819-D39F1B571076}"/>
                </a:ext>
              </a:extLst>
            </p:cNvPr>
            <p:cNvSpPr/>
            <p:nvPr/>
          </p:nvSpPr>
          <p:spPr>
            <a:xfrm>
              <a:off x="5286786" y="2649895"/>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193" name="Rounded Rectangle 1192">
              <a:extLst>
                <a:ext uri="{FF2B5EF4-FFF2-40B4-BE49-F238E27FC236}">
                  <a16:creationId xmlns:a16="http://schemas.microsoft.com/office/drawing/2014/main" id="{B10E81F2-0FFA-8F46-A047-E030C98CE52D}"/>
                </a:ext>
              </a:extLst>
            </p:cNvPr>
            <p:cNvSpPr/>
            <p:nvPr/>
          </p:nvSpPr>
          <p:spPr>
            <a:xfrm>
              <a:off x="5480949" y="2649895"/>
              <a:ext cx="180437"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194" name="Rounded Rectangle 1193">
              <a:extLst>
                <a:ext uri="{FF2B5EF4-FFF2-40B4-BE49-F238E27FC236}">
                  <a16:creationId xmlns:a16="http://schemas.microsoft.com/office/drawing/2014/main" id="{68AACD51-D248-3B43-A732-5A833FC3CAE1}"/>
                </a:ext>
              </a:extLst>
            </p:cNvPr>
            <p:cNvSpPr/>
            <p:nvPr/>
          </p:nvSpPr>
          <p:spPr>
            <a:xfrm>
              <a:off x="5673358" y="2650173"/>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195" name="Rounded Rectangle 1194">
              <a:extLst>
                <a:ext uri="{FF2B5EF4-FFF2-40B4-BE49-F238E27FC236}">
                  <a16:creationId xmlns:a16="http://schemas.microsoft.com/office/drawing/2014/main" id="{5AE9B346-4F63-0143-99A5-64DE7107DED8}"/>
                </a:ext>
              </a:extLst>
            </p:cNvPr>
            <p:cNvSpPr/>
            <p:nvPr/>
          </p:nvSpPr>
          <p:spPr>
            <a:xfrm>
              <a:off x="5853818" y="2653567"/>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196" name="TextBox 1195">
              <a:extLst>
                <a:ext uri="{FF2B5EF4-FFF2-40B4-BE49-F238E27FC236}">
                  <a16:creationId xmlns:a16="http://schemas.microsoft.com/office/drawing/2014/main" id="{6BD9A5B6-99C5-2846-875B-CE8C982A5B9E}"/>
                </a:ext>
              </a:extLst>
            </p:cNvPr>
            <p:cNvSpPr txBox="1"/>
            <p:nvPr/>
          </p:nvSpPr>
          <p:spPr>
            <a:xfrm>
              <a:off x="4892259" y="2758179"/>
              <a:ext cx="1268296" cy="320257"/>
            </a:xfrm>
            <a:prstGeom prst="rect">
              <a:avLst/>
            </a:prstGeom>
            <a:noFill/>
          </p:spPr>
          <p:txBody>
            <a:bodyPr wrap="none" tIns="90000" bIns="90000" rtlCol="0" anchor="t">
              <a:spAutoFit/>
            </a:bodyPr>
            <a:lstStyle/>
            <a:p>
              <a:pPr algn="ctr" defTabSz="457200"/>
              <a:r>
                <a:rPr lang="en-US" sz="9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Name Events (Topic)</a:t>
              </a:r>
            </a:p>
          </p:txBody>
        </p:sp>
        <p:sp>
          <p:nvSpPr>
            <p:cNvPr id="1197" name="Rounded Rectangle 1196">
              <a:extLst>
                <a:ext uri="{FF2B5EF4-FFF2-40B4-BE49-F238E27FC236}">
                  <a16:creationId xmlns:a16="http://schemas.microsoft.com/office/drawing/2014/main" id="{EB3D2428-1A60-C447-A95E-B11383E820BA}"/>
                </a:ext>
              </a:extLst>
            </p:cNvPr>
            <p:cNvSpPr/>
            <p:nvPr/>
          </p:nvSpPr>
          <p:spPr>
            <a:xfrm>
              <a:off x="5103159" y="3086711"/>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198" name="Rounded Rectangle 1197">
              <a:extLst>
                <a:ext uri="{FF2B5EF4-FFF2-40B4-BE49-F238E27FC236}">
                  <a16:creationId xmlns:a16="http://schemas.microsoft.com/office/drawing/2014/main" id="{E306508F-FFA9-6147-922C-AE050FB291F5}"/>
                </a:ext>
              </a:extLst>
            </p:cNvPr>
            <p:cNvSpPr/>
            <p:nvPr/>
          </p:nvSpPr>
          <p:spPr>
            <a:xfrm>
              <a:off x="5297322" y="3086710"/>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199" name="Rounded Rectangle 1198">
              <a:extLst>
                <a:ext uri="{FF2B5EF4-FFF2-40B4-BE49-F238E27FC236}">
                  <a16:creationId xmlns:a16="http://schemas.microsoft.com/office/drawing/2014/main" id="{18FB4939-5F7E-9B4A-8C93-AAE587B6D44B}"/>
                </a:ext>
              </a:extLst>
            </p:cNvPr>
            <p:cNvSpPr/>
            <p:nvPr/>
          </p:nvSpPr>
          <p:spPr>
            <a:xfrm>
              <a:off x="5491485" y="3084152"/>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200" name="Rounded Rectangle 1199">
              <a:extLst>
                <a:ext uri="{FF2B5EF4-FFF2-40B4-BE49-F238E27FC236}">
                  <a16:creationId xmlns:a16="http://schemas.microsoft.com/office/drawing/2014/main" id="{BE1FC763-5AC1-6F43-BC82-2F5CB794EC8A}"/>
                </a:ext>
              </a:extLst>
            </p:cNvPr>
            <p:cNvSpPr/>
            <p:nvPr/>
          </p:nvSpPr>
          <p:spPr>
            <a:xfrm>
              <a:off x="5674062" y="3086988"/>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201" name="Rounded Rectangle 1200">
              <a:extLst>
                <a:ext uri="{FF2B5EF4-FFF2-40B4-BE49-F238E27FC236}">
                  <a16:creationId xmlns:a16="http://schemas.microsoft.com/office/drawing/2014/main" id="{7150A01E-9D15-2542-B3D9-D49FE2D2471E}"/>
                </a:ext>
              </a:extLst>
            </p:cNvPr>
            <p:cNvSpPr/>
            <p:nvPr/>
          </p:nvSpPr>
          <p:spPr>
            <a:xfrm>
              <a:off x="5864354" y="3090382"/>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202" name="TextBox 1201">
              <a:extLst>
                <a:ext uri="{FF2B5EF4-FFF2-40B4-BE49-F238E27FC236}">
                  <a16:creationId xmlns:a16="http://schemas.microsoft.com/office/drawing/2014/main" id="{D380DF2E-2502-2C40-93D8-E7B302711F21}"/>
                </a:ext>
              </a:extLst>
            </p:cNvPr>
            <p:cNvSpPr txBox="1"/>
            <p:nvPr/>
          </p:nvSpPr>
          <p:spPr>
            <a:xfrm>
              <a:off x="4902795" y="3194994"/>
              <a:ext cx="1268296" cy="320257"/>
            </a:xfrm>
            <a:prstGeom prst="rect">
              <a:avLst/>
            </a:prstGeom>
            <a:noFill/>
          </p:spPr>
          <p:txBody>
            <a:bodyPr wrap="none" tIns="90000" bIns="90000" rtlCol="0" anchor="t">
              <a:spAutoFit/>
            </a:bodyPr>
            <a:lstStyle/>
            <a:p>
              <a:pPr algn="ctr" defTabSz="457200"/>
              <a:r>
                <a:rPr lang="en-US" sz="9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Name Events (Topic)</a:t>
              </a:r>
            </a:p>
          </p:txBody>
        </p:sp>
        <p:sp>
          <p:nvSpPr>
            <p:cNvPr id="1203" name="TextBox 1202">
              <a:extLst>
                <a:ext uri="{FF2B5EF4-FFF2-40B4-BE49-F238E27FC236}">
                  <a16:creationId xmlns:a16="http://schemas.microsoft.com/office/drawing/2014/main" id="{96B692AA-D4E6-0D45-8BD7-EC9E3ACBA76E}"/>
                </a:ext>
              </a:extLst>
            </p:cNvPr>
            <p:cNvSpPr txBox="1"/>
            <p:nvPr/>
          </p:nvSpPr>
          <p:spPr>
            <a:xfrm>
              <a:off x="4897923" y="3662657"/>
              <a:ext cx="1268296" cy="320257"/>
            </a:xfrm>
            <a:prstGeom prst="rect">
              <a:avLst/>
            </a:prstGeom>
            <a:noFill/>
          </p:spPr>
          <p:txBody>
            <a:bodyPr wrap="none" tIns="90000" bIns="90000" rtlCol="0" anchor="t">
              <a:spAutoFit/>
            </a:bodyPr>
            <a:lstStyle/>
            <a:p>
              <a:pPr algn="ctr" defTabSz="457200"/>
              <a:r>
                <a:rPr lang="en-US" sz="9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Name Events (Topic)</a:t>
              </a:r>
            </a:p>
          </p:txBody>
        </p:sp>
        <p:sp>
          <p:nvSpPr>
            <p:cNvPr id="1204" name="TextBox 1203">
              <a:extLst>
                <a:ext uri="{FF2B5EF4-FFF2-40B4-BE49-F238E27FC236}">
                  <a16:creationId xmlns:a16="http://schemas.microsoft.com/office/drawing/2014/main" id="{68342FE6-64B0-194A-9BD6-7D259CAACD6C}"/>
                </a:ext>
              </a:extLst>
            </p:cNvPr>
            <p:cNvSpPr txBox="1"/>
            <p:nvPr/>
          </p:nvSpPr>
          <p:spPr>
            <a:xfrm>
              <a:off x="4921611" y="4098276"/>
              <a:ext cx="1268296" cy="320257"/>
            </a:xfrm>
            <a:prstGeom prst="rect">
              <a:avLst/>
            </a:prstGeom>
            <a:noFill/>
          </p:spPr>
          <p:txBody>
            <a:bodyPr wrap="none" tIns="90000" bIns="90000" rtlCol="0" anchor="t">
              <a:spAutoFit/>
            </a:bodyPr>
            <a:lstStyle/>
            <a:p>
              <a:pPr algn="ctr" defTabSz="457200"/>
              <a:r>
                <a:rPr lang="en-US" sz="9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Name Events (Topic)</a:t>
              </a:r>
            </a:p>
          </p:txBody>
        </p:sp>
        <p:sp>
          <p:nvSpPr>
            <p:cNvPr id="1205" name="Rounded Rectangle 1204">
              <a:extLst>
                <a:ext uri="{FF2B5EF4-FFF2-40B4-BE49-F238E27FC236}">
                  <a16:creationId xmlns:a16="http://schemas.microsoft.com/office/drawing/2014/main" id="{7ECFACC9-42FD-594C-A9EF-9D80219E6E4D}"/>
                </a:ext>
              </a:extLst>
            </p:cNvPr>
            <p:cNvSpPr/>
            <p:nvPr/>
          </p:nvSpPr>
          <p:spPr>
            <a:xfrm>
              <a:off x="5044812" y="1683032"/>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206" name="Rounded Rectangle 1205">
              <a:extLst>
                <a:ext uri="{FF2B5EF4-FFF2-40B4-BE49-F238E27FC236}">
                  <a16:creationId xmlns:a16="http://schemas.microsoft.com/office/drawing/2014/main" id="{8A96CC75-6E5B-C742-B2FB-7EED47D7BAFE}"/>
                </a:ext>
              </a:extLst>
            </p:cNvPr>
            <p:cNvSpPr/>
            <p:nvPr/>
          </p:nvSpPr>
          <p:spPr>
            <a:xfrm>
              <a:off x="5238975" y="1683031"/>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207" name="Rounded Rectangle 1206">
              <a:extLst>
                <a:ext uri="{FF2B5EF4-FFF2-40B4-BE49-F238E27FC236}">
                  <a16:creationId xmlns:a16="http://schemas.microsoft.com/office/drawing/2014/main" id="{53B70F50-1C48-894C-8D05-5698ACEC916C}"/>
                </a:ext>
              </a:extLst>
            </p:cNvPr>
            <p:cNvSpPr/>
            <p:nvPr/>
          </p:nvSpPr>
          <p:spPr>
            <a:xfrm>
              <a:off x="5433138" y="1680473"/>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208" name="Rounded Rectangle 1207">
              <a:extLst>
                <a:ext uri="{FF2B5EF4-FFF2-40B4-BE49-F238E27FC236}">
                  <a16:creationId xmlns:a16="http://schemas.microsoft.com/office/drawing/2014/main" id="{581CA673-810C-4C42-87B1-C23189CB5D75}"/>
                </a:ext>
              </a:extLst>
            </p:cNvPr>
            <p:cNvSpPr/>
            <p:nvPr/>
          </p:nvSpPr>
          <p:spPr>
            <a:xfrm>
              <a:off x="5625547" y="1683309"/>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209" name="Rounded Rectangle 1208">
              <a:extLst>
                <a:ext uri="{FF2B5EF4-FFF2-40B4-BE49-F238E27FC236}">
                  <a16:creationId xmlns:a16="http://schemas.microsoft.com/office/drawing/2014/main" id="{C36C6E4E-4F77-A240-8E3F-2907E5CFA858}"/>
                </a:ext>
              </a:extLst>
            </p:cNvPr>
            <p:cNvSpPr/>
            <p:nvPr/>
          </p:nvSpPr>
          <p:spPr>
            <a:xfrm>
              <a:off x="5816281" y="1687145"/>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210" name="TextBox 1209">
              <a:extLst>
                <a:ext uri="{FF2B5EF4-FFF2-40B4-BE49-F238E27FC236}">
                  <a16:creationId xmlns:a16="http://schemas.microsoft.com/office/drawing/2014/main" id="{58865994-4100-1049-A59B-29E187F82A1D}"/>
                </a:ext>
              </a:extLst>
            </p:cNvPr>
            <p:cNvSpPr txBox="1"/>
            <p:nvPr/>
          </p:nvSpPr>
          <p:spPr>
            <a:xfrm>
              <a:off x="4844448" y="1791315"/>
              <a:ext cx="1268296" cy="320257"/>
            </a:xfrm>
            <a:prstGeom prst="rect">
              <a:avLst/>
            </a:prstGeom>
            <a:noFill/>
          </p:spPr>
          <p:txBody>
            <a:bodyPr wrap="none" tIns="90000" bIns="90000" rtlCol="0" anchor="t">
              <a:spAutoFit/>
            </a:bodyPr>
            <a:lstStyle/>
            <a:p>
              <a:pPr algn="ctr" defTabSz="457200"/>
              <a:r>
                <a:rPr lang="en-US" sz="9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Name Events (Topic)</a:t>
              </a:r>
            </a:p>
          </p:txBody>
        </p:sp>
        <p:sp>
          <p:nvSpPr>
            <p:cNvPr id="1211" name="TextBox 1210">
              <a:extLst>
                <a:ext uri="{FF2B5EF4-FFF2-40B4-BE49-F238E27FC236}">
                  <a16:creationId xmlns:a16="http://schemas.microsoft.com/office/drawing/2014/main" id="{0FE70EB7-1576-3242-B907-39594551E258}"/>
                </a:ext>
              </a:extLst>
            </p:cNvPr>
            <p:cNvSpPr txBox="1"/>
            <p:nvPr/>
          </p:nvSpPr>
          <p:spPr>
            <a:xfrm>
              <a:off x="4755752" y="2185593"/>
              <a:ext cx="1268296" cy="320257"/>
            </a:xfrm>
            <a:prstGeom prst="rect">
              <a:avLst/>
            </a:prstGeom>
            <a:noFill/>
          </p:spPr>
          <p:txBody>
            <a:bodyPr wrap="none" tIns="90000" bIns="90000" rtlCol="0" anchor="t">
              <a:spAutoFit/>
            </a:bodyPr>
            <a:lstStyle/>
            <a:p>
              <a:pPr algn="ctr" defTabSz="457200"/>
              <a:r>
                <a:rPr lang="en-US" sz="9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Name Events (Topic)</a:t>
              </a:r>
            </a:p>
          </p:txBody>
        </p:sp>
        <p:sp>
          <p:nvSpPr>
            <p:cNvPr id="1212" name="TextBox 1211">
              <a:extLst>
                <a:ext uri="{FF2B5EF4-FFF2-40B4-BE49-F238E27FC236}">
                  <a16:creationId xmlns:a16="http://schemas.microsoft.com/office/drawing/2014/main" id="{C2AFB6D5-B74E-7848-BF9F-CC5FE09CE8D3}"/>
                </a:ext>
              </a:extLst>
            </p:cNvPr>
            <p:cNvSpPr txBox="1"/>
            <p:nvPr/>
          </p:nvSpPr>
          <p:spPr>
            <a:xfrm>
              <a:off x="4701223" y="2662188"/>
              <a:ext cx="1268296" cy="320257"/>
            </a:xfrm>
            <a:prstGeom prst="rect">
              <a:avLst/>
            </a:prstGeom>
            <a:noFill/>
          </p:spPr>
          <p:txBody>
            <a:bodyPr wrap="none" tIns="90000" bIns="90000" rtlCol="0" anchor="t">
              <a:spAutoFit/>
            </a:bodyPr>
            <a:lstStyle/>
            <a:p>
              <a:pPr algn="ctr" defTabSz="457200"/>
              <a:r>
                <a:rPr lang="en-US" sz="9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Name Events (Topic)</a:t>
              </a:r>
            </a:p>
          </p:txBody>
        </p:sp>
        <p:sp>
          <p:nvSpPr>
            <p:cNvPr id="1213" name="Rounded Rectangle 1212">
              <a:extLst>
                <a:ext uri="{FF2B5EF4-FFF2-40B4-BE49-F238E27FC236}">
                  <a16:creationId xmlns:a16="http://schemas.microsoft.com/office/drawing/2014/main" id="{10D957D5-FF95-C346-A08E-029DD6B9588C}"/>
                </a:ext>
              </a:extLst>
            </p:cNvPr>
            <p:cNvSpPr/>
            <p:nvPr/>
          </p:nvSpPr>
          <p:spPr>
            <a:xfrm>
              <a:off x="4917337" y="3039214"/>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214" name="Rounded Rectangle 1213">
              <a:extLst>
                <a:ext uri="{FF2B5EF4-FFF2-40B4-BE49-F238E27FC236}">
                  <a16:creationId xmlns:a16="http://schemas.microsoft.com/office/drawing/2014/main" id="{2FCC66EA-787B-4949-84C2-33791E2A225F}"/>
                </a:ext>
              </a:extLst>
            </p:cNvPr>
            <p:cNvSpPr/>
            <p:nvPr/>
          </p:nvSpPr>
          <p:spPr>
            <a:xfrm>
              <a:off x="5111500" y="3039213"/>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215" name="Rounded Rectangle 1214">
              <a:extLst>
                <a:ext uri="{FF2B5EF4-FFF2-40B4-BE49-F238E27FC236}">
                  <a16:creationId xmlns:a16="http://schemas.microsoft.com/office/drawing/2014/main" id="{A8FCA3AA-F020-4F47-88FF-53E639E13C17}"/>
                </a:ext>
              </a:extLst>
            </p:cNvPr>
            <p:cNvSpPr/>
            <p:nvPr/>
          </p:nvSpPr>
          <p:spPr>
            <a:xfrm>
              <a:off x="5305663" y="3039213"/>
              <a:ext cx="180437"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216" name="Rounded Rectangle 1215">
              <a:extLst>
                <a:ext uri="{FF2B5EF4-FFF2-40B4-BE49-F238E27FC236}">
                  <a16:creationId xmlns:a16="http://schemas.microsoft.com/office/drawing/2014/main" id="{3F1C7C32-3555-0A48-ABB6-ECC3E5A4A7DB}"/>
                </a:ext>
              </a:extLst>
            </p:cNvPr>
            <p:cNvSpPr/>
            <p:nvPr/>
          </p:nvSpPr>
          <p:spPr>
            <a:xfrm>
              <a:off x="5498072" y="3039491"/>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217" name="Rounded Rectangle 1216">
              <a:extLst>
                <a:ext uri="{FF2B5EF4-FFF2-40B4-BE49-F238E27FC236}">
                  <a16:creationId xmlns:a16="http://schemas.microsoft.com/office/drawing/2014/main" id="{AB7C340D-3599-104B-9EDE-FE2F604E5238}"/>
                </a:ext>
              </a:extLst>
            </p:cNvPr>
            <p:cNvSpPr/>
            <p:nvPr/>
          </p:nvSpPr>
          <p:spPr>
            <a:xfrm>
              <a:off x="5678532" y="3042885"/>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218" name="Rounded Rectangle 1217">
              <a:extLst>
                <a:ext uri="{FF2B5EF4-FFF2-40B4-BE49-F238E27FC236}">
                  <a16:creationId xmlns:a16="http://schemas.microsoft.com/office/drawing/2014/main" id="{1CD622BF-6694-0649-B2DF-44075B980E82}"/>
                </a:ext>
              </a:extLst>
            </p:cNvPr>
            <p:cNvSpPr/>
            <p:nvPr/>
          </p:nvSpPr>
          <p:spPr>
            <a:xfrm>
              <a:off x="5872695" y="3042884"/>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219" name="TextBox 1218">
              <a:extLst>
                <a:ext uri="{FF2B5EF4-FFF2-40B4-BE49-F238E27FC236}">
                  <a16:creationId xmlns:a16="http://schemas.microsoft.com/office/drawing/2014/main" id="{09E51050-986F-8E48-B248-2A5E966A4389}"/>
                </a:ext>
              </a:extLst>
            </p:cNvPr>
            <p:cNvSpPr txBox="1"/>
            <p:nvPr/>
          </p:nvSpPr>
          <p:spPr>
            <a:xfrm>
              <a:off x="4716973" y="3147497"/>
              <a:ext cx="1268296" cy="320257"/>
            </a:xfrm>
            <a:prstGeom prst="rect">
              <a:avLst/>
            </a:prstGeom>
            <a:noFill/>
          </p:spPr>
          <p:txBody>
            <a:bodyPr wrap="none" tIns="90000" bIns="90000" rtlCol="0" anchor="t">
              <a:spAutoFit/>
            </a:bodyPr>
            <a:lstStyle/>
            <a:p>
              <a:pPr algn="ctr" defTabSz="457200"/>
              <a:r>
                <a:rPr lang="en-US" sz="9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Name Events (Topic)</a:t>
              </a:r>
            </a:p>
          </p:txBody>
        </p:sp>
        <p:sp>
          <p:nvSpPr>
            <p:cNvPr id="1220" name="TextBox 1219">
              <a:extLst>
                <a:ext uri="{FF2B5EF4-FFF2-40B4-BE49-F238E27FC236}">
                  <a16:creationId xmlns:a16="http://schemas.microsoft.com/office/drawing/2014/main" id="{3985201A-EFED-5941-8180-77998C281FC0}"/>
                </a:ext>
              </a:extLst>
            </p:cNvPr>
            <p:cNvSpPr txBox="1"/>
            <p:nvPr/>
          </p:nvSpPr>
          <p:spPr>
            <a:xfrm>
              <a:off x="4727509" y="3584312"/>
              <a:ext cx="1268296" cy="320257"/>
            </a:xfrm>
            <a:prstGeom prst="rect">
              <a:avLst/>
            </a:prstGeom>
            <a:noFill/>
          </p:spPr>
          <p:txBody>
            <a:bodyPr wrap="none" tIns="90000" bIns="90000" rtlCol="0" anchor="t">
              <a:spAutoFit/>
            </a:bodyPr>
            <a:lstStyle/>
            <a:p>
              <a:pPr algn="ctr" defTabSz="457200"/>
              <a:r>
                <a:rPr lang="en-US" sz="9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Name Events (Topic)</a:t>
              </a:r>
            </a:p>
          </p:txBody>
        </p:sp>
        <p:sp>
          <p:nvSpPr>
            <p:cNvPr id="1221" name="TextBox 1220">
              <a:extLst>
                <a:ext uri="{FF2B5EF4-FFF2-40B4-BE49-F238E27FC236}">
                  <a16:creationId xmlns:a16="http://schemas.microsoft.com/office/drawing/2014/main" id="{0A3C45B2-02CC-4640-B51A-7043E7929090}"/>
                </a:ext>
              </a:extLst>
            </p:cNvPr>
            <p:cNvSpPr txBox="1"/>
            <p:nvPr/>
          </p:nvSpPr>
          <p:spPr>
            <a:xfrm>
              <a:off x="4722637" y="4051975"/>
              <a:ext cx="1268296" cy="320257"/>
            </a:xfrm>
            <a:prstGeom prst="rect">
              <a:avLst/>
            </a:prstGeom>
            <a:noFill/>
          </p:spPr>
          <p:txBody>
            <a:bodyPr wrap="none" tIns="90000" bIns="90000" rtlCol="0" anchor="t">
              <a:spAutoFit/>
            </a:bodyPr>
            <a:lstStyle/>
            <a:p>
              <a:pPr algn="ctr" defTabSz="457200"/>
              <a:r>
                <a:rPr lang="en-US" sz="9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Name Events (Topic)</a:t>
              </a:r>
            </a:p>
          </p:txBody>
        </p:sp>
        <p:sp>
          <p:nvSpPr>
            <p:cNvPr id="1222" name="Rounded Rectangle 1221">
              <a:extLst>
                <a:ext uri="{FF2B5EF4-FFF2-40B4-BE49-F238E27FC236}">
                  <a16:creationId xmlns:a16="http://schemas.microsoft.com/office/drawing/2014/main" id="{00A9F3CE-5E3B-3E48-B40C-C9A31327FA84}"/>
                </a:ext>
              </a:extLst>
            </p:cNvPr>
            <p:cNvSpPr/>
            <p:nvPr/>
          </p:nvSpPr>
          <p:spPr>
            <a:xfrm>
              <a:off x="4659160" y="1635818"/>
              <a:ext cx="1519745" cy="3545106"/>
            </a:xfrm>
            <a:prstGeom prst="roundRect">
              <a:avLst/>
            </a:prstGeom>
            <a:solidFill>
              <a:schemeClr val="bg1">
                <a:lumMod val="95000"/>
              </a:schemeClr>
            </a:solidFill>
            <a:ln w="3175">
              <a:solidFill>
                <a:schemeClr val="bg1">
                  <a:lumMod val="50000"/>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600" b="1" dirty="0">
                  <a:solidFill>
                    <a:schemeClr val="bg1">
                      <a:lumMod val="50000"/>
                    </a:schemeClr>
                  </a:solidFill>
                  <a:latin typeface="+mj-lt"/>
                  <a:ea typeface="Nanum Pen Script" panose="03040600000000000000" pitchFamily="66" charset="-127"/>
                </a:rPr>
                <a:t>Kafka Cluster </a:t>
              </a:r>
            </a:p>
            <a:p>
              <a:r>
                <a:rPr lang="en-US" sz="600" b="1" dirty="0">
                  <a:solidFill>
                    <a:schemeClr val="bg1">
                      <a:lumMod val="50000"/>
                    </a:schemeClr>
                  </a:solidFill>
                  <a:latin typeface="+mj-lt"/>
                  <a:ea typeface="Nanum Pen Script" panose="03040600000000000000" pitchFamily="66" charset="-127"/>
                </a:rPr>
                <a:t>(Brokers, Zookeeper)</a:t>
              </a:r>
            </a:p>
            <a:p>
              <a:pPr algn="ctr"/>
              <a:endParaRPr lang="en-US" sz="700" b="1" dirty="0">
                <a:solidFill>
                  <a:schemeClr val="bg1">
                    <a:lumMod val="50000"/>
                  </a:schemeClr>
                </a:solidFill>
                <a:latin typeface="+mj-lt"/>
                <a:ea typeface="Nanum Pen Script" panose="03040600000000000000" pitchFamily="66" charset="-127"/>
              </a:endParaRPr>
            </a:p>
            <a:p>
              <a:pPr algn="ctr"/>
              <a:endParaRPr lang="en-US" sz="700" b="1" dirty="0">
                <a:solidFill>
                  <a:schemeClr val="bg1">
                    <a:lumMod val="50000"/>
                  </a:schemeClr>
                </a:solidFill>
                <a:latin typeface="+mj-lt"/>
                <a:ea typeface="Nanum Pen Script" panose="03040600000000000000" pitchFamily="66" charset="-127"/>
              </a:endParaRPr>
            </a:p>
            <a:p>
              <a:pPr algn="ctr"/>
              <a:endParaRPr lang="en-US" sz="700" b="1" dirty="0">
                <a:solidFill>
                  <a:schemeClr val="bg1">
                    <a:lumMod val="50000"/>
                  </a:schemeClr>
                </a:solidFill>
                <a:latin typeface="+mj-lt"/>
                <a:ea typeface="Nanum Pen Script" panose="03040600000000000000" pitchFamily="66" charset="-127"/>
              </a:endParaRPr>
            </a:p>
            <a:p>
              <a:pPr algn="ctr"/>
              <a:endParaRPr lang="en-US" sz="600" b="1" dirty="0">
                <a:solidFill>
                  <a:schemeClr val="bg1">
                    <a:lumMod val="50000"/>
                  </a:schemeClr>
                </a:solidFill>
                <a:latin typeface="+mj-lt"/>
                <a:ea typeface="Nanum Pen Script" panose="03040600000000000000" pitchFamily="66" charset="-127"/>
              </a:endParaRPr>
            </a:p>
            <a:p>
              <a:pPr algn="ctr"/>
              <a:endParaRPr lang="en-US" sz="600" b="1" dirty="0">
                <a:solidFill>
                  <a:schemeClr val="bg1">
                    <a:lumMod val="50000"/>
                  </a:schemeClr>
                </a:solidFill>
                <a:latin typeface="+mj-lt"/>
                <a:ea typeface="Nanum Pen Script" panose="03040600000000000000" pitchFamily="66" charset="-127"/>
              </a:endParaRPr>
            </a:p>
            <a:p>
              <a:pPr algn="ctr"/>
              <a:endParaRPr lang="en-US" sz="600" b="1" dirty="0">
                <a:solidFill>
                  <a:schemeClr val="bg1">
                    <a:lumMod val="50000"/>
                  </a:schemeClr>
                </a:solidFill>
                <a:latin typeface="+mj-lt"/>
                <a:ea typeface="Nanum Pen Script" panose="03040600000000000000" pitchFamily="66" charset="-127"/>
              </a:endParaRPr>
            </a:p>
            <a:p>
              <a:pPr algn="ctr"/>
              <a:endParaRPr lang="en-US" sz="600" b="1" dirty="0">
                <a:solidFill>
                  <a:schemeClr val="bg1">
                    <a:lumMod val="50000"/>
                  </a:schemeClr>
                </a:solidFill>
                <a:latin typeface="+mj-lt"/>
                <a:ea typeface="Nanum Pen Script" panose="03040600000000000000" pitchFamily="66" charset="-127"/>
              </a:endParaRPr>
            </a:p>
            <a:p>
              <a:pPr algn="ctr"/>
              <a:endParaRPr lang="en-US" sz="1400" dirty="0">
                <a:solidFill>
                  <a:schemeClr val="tx1"/>
                </a:solidFill>
                <a:latin typeface="+mj-lt"/>
                <a:ea typeface="Nanum Pen Script" panose="03040600000000000000" pitchFamily="66" charset="-127"/>
              </a:endParaRPr>
            </a:p>
            <a:p>
              <a:pPr algn="ctr"/>
              <a:endParaRPr lang="en-US" sz="1400" dirty="0">
                <a:solidFill>
                  <a:schemeClr val="tx1"/>
                </a:solidFill>
                <a:latin typeface="+mj-lt"/>
                <a:ea typeface="Nanum Pen Script" panose="03040600000000000000" pitchFamily="66" charset="-127"/>
              </a:endParaRPr>
            </a:p>
          </p:txBody>
        </p:sp>
        <p:sp>
          <p:nvSpPr>
            <p:cNvPr id="1223" name="TextBox 1222">
              <a:extLst>
                <a:ext uri="{FF2B5EF4-FFF2-40B4-BE49-F238E27FC236}">
                  <a16:creationId xmlns:a16="http://schemas.microsoft.com/office/drawing/2014/main" id="{A0999161-160D-5341-A0D5-2A784B084F14}"/>
                </a:ext>
              </a:extLst>
            </p:cNvPr>
            <p:cNvSpPr txBox="1"/>
            <p:nvPr/>
          </p:nvSpPr>
          <p:spPr>
            <a:xfrm>
              <a:off x="4795155" y="2085549"/>
              <a:ext cx="1027845" cy="289480"/>
            </a:xfrm>
            <a:prstGeom prst="rect">
              <a:avLst/>
            </a:prstGeom>
            <a:noFill/>
          </p:spPr>
          <p:txBody>
            <a:bodyPr wrap="none" tIns="90000" bIns="90000" rtlCol="0" anchor="t">
              <a:spAutoFit/>
            </a:bodyPr>
            <a:lstStyle/>
            <a:p>
              <a:pPr algn="ctr" defTabSz="457200"/>
              <a:r>
                <a:rPr lang="en-US" sz="7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Name Events (Topic)</a:t>
              </a:r>
            </a:p>
          </p:txBody>
        </p:sp>
        <p:sp>
          <p:nvSpPr>
            <p:cNvPr id="1224" name="TextBox 1223">
              <a:extLst>
                <a:ext uri="{FF2B5EF4-FFF2-40B4-BE49-F238E27FC236}">
                  <a16:creationId xmlns:a16="http://schemas.microsoft.com/office/drawing/2014/main" id="{85056728-E2C8-4647-93F4-DF2E9BCFC521}"/>
                </a:ext>
              </a:extLst>
            </p:cNvPr>
            <p:cNvSpPr txBox="1"/>
            <p:nvPr/>
          </p:nvSpPr>
          <p:spPr>
            <a:xfrm>
              <a:off x="4784427" y="2571971"/>
              <a:ext cx="1027845" cy="289480"/>
            </a:xfrm>
            <a:prstGeom prst="rect">
              <a:avLst/>
            </a:prstGeom>
            <a:noFill/>
          </p:spPr>
          <p:txBody>
            <a:bodyPr wrap="none" tIns="90000" bIns="90000" rtlCol="0" anchor="t">
              <a:spAutoFit/>
            </a:bodyPr>
            <a:lstStyle/>
            <a:p>
              <a:pPr algn="ctr" defTabSz="457200"/>
              <a:r>
                <a:rPr lang="en-US" sz="7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Name Events (Topic)</a:t>
              </a:r>
            </a:p>
          </p:txBody>
        </p:sp>
        <p:sp>
          <p:nvSpPr>
            <p:cNvPr id="1225" name="TextBox 1224">
              <a:extLst>
                <a:ext uri="{FF2B5EF4-FFF2-40B4-BE49-F238E27FC236}">
                  <a16:creationId xmlns:a16="http://schemas.microsoft.com/office/drawing/2014/main" id="{3E84D851-1CD8-8C44-A01A-C1B377C320BB}"/>
                </a:ext>
              </a:extLst>
            </p:cNvPr>
            <p:cNvSpPr txBox="1"/>
            <p:nvPr/>
          </p:nvSpPr>
          <p:spPr>
            <a:xfrm>
              <a:off x="4729898" y="3048566"/>
              <a:ext cx="1027845" cy="289480"/>
            </a:xfrm>
            <a:prstGeom prst="rect">
              <a:avLst/>
            </a:prstGeom>
            <a:noFill/>
          </p:spPr>
          <p:txBody>
            <a:bodyPr wrap="none" tIns="90000" bIns="90000" rtlCol="0" anchor="t">
              <a:spAutoFit/>
            </a:bodyPr>
            <a:lstStyle/>
            <a:p>
              <a:pPr algn="ctr" defTabSz="457200"/>
              <a:r>
                <a:rPr lang="en-US" sz="7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Name Events (Topic)</a:t>
              </a:r>
            </a:p>
          </p:txBody>
        </p:sp>
        <p:sp>
          <p:nvSpPr>
            <p:cNvPr id="1226" name="TextBox 1225">
              <a:extLst>
                <a:ext uri="{FF2B5EF4-FFF2-40B4-BE49-F238E27FC236}">
                  <a16:creationId xmlns:a16="http://schemas.microsoft.com/office/drawing/2014/main" id="{26CF2C8B-C7BA-9046-BE79-7212C9DFA972}"/>
                </a:ext>
              </a:extLst>
            </p:cNvPr>
            <p:cNvSpPr txBox="1"/>
            <p:nvPr/>
          </p:nvSpPr>
          <p:spPr>
            <a:xfrm>
              <a:off x="4745648" y="3533875"/>
              <a:ext cx="1027845" cy="289480"/>
            </a:xfrm>
            <a:prstGeom prst="rect">
              <a:avLst/>
            </a:prstGeom>
            <a:noFill/>
          </p:spPr>
          <p:txBody>
            <a:bodyPr wrap="none" tIns="90000" bIns="90000" rtlCol="0" anchor="t">
              <a:spAutoFit/>
            </a:bodyPr>
            <a:lstStyle/>
            <a:p>
              <a:pPr algn="ctr" defTabSz="457200"/>
              <a:r>
                <a:rPr lang="en-US" sz="7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Name Events (Topic)</a:t>
              </a:r>
            </a:p>
          </p:txBody>
        </p:sp>
        <p:sp>
          <p:nvSpPr>
            <p:cNvPr id="1227" name="TextBox 1226">
              <a:extLst>
                <a:ext uri="{FF2B5EF4-FFF2-40B4-BE49-F238E27FC236}">
                  <a16:creationId xmlns:a16="http://schemas.microsoft.com/office/drawing/2014/main" id="{0F134EC7-011F-A646-9DC5-848523E8B6D6}"/>
                </a:ext>
              </a:extLst>
            </p:cNvPr>
            <p:cNvSpPr txBox="1"/>
            <p:nvPr/>
          </p:nvSpPr>
          <p:spPr>
            <a:xfrm>
              <a:off x="4756184" y="3970690"/>
              <a:ext cx="1027845" cy="289480"/>
            </a:xfrm>
            <a:prstGeom prst="rect">
              <a:avLst/>
            </a:prstGeom>
            <a:noFill/>
          </p:spPr>
          <p:txBody>
            <a:bodyPr wrap="none" tIns="90000" bIns="90000" rtlCol="0" anchor="t">
              <a:spAutoFit/>
            </a:bodyPr>
            <a:lstStyle/>
            <a:p>
              <a:pPr algn="ctr" defTabSz="457200"/>
              <a:r>
                <a:rPr lang="en-US" sz="7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Name Events (Topic)</a:t>
              </a:r>
            </a:p>
          </p:txBody>
        </p:sp>
        <p:sp>
          <p:nvSpPr>
            <p:cNvPr id="1228" name="TextBox 1227">
              <a:extLst>
                <a:ext uri="{FF2B5EF4-FFF2-40B4-BE49-F238E27FC236}">
                  <a16:creationId xmlns:a16="http://schemas.microsoft.com/office/drawing/2014/main" id="{7447FA76-24A0-8E45-A5C2-C27A847D6C2C}"/>
                </a:ext>
              </a:extLst>
            </p:cNvPr>
            <p:cNvSpPr txBox="1"/>
            <p:nvPr/>
          </p:nvSpPr>
          <p:spPr>
            <a:xfrm>
              <a:off x="4751312" y="4438353"/>
              <a:ext cx="1027845" cy="289480"/>
            </a:xfrm>
            <a:prstGeom prst="rect">
              <a:avLst/>
            </a:prstGeom>
            <a:noFill/>
          </p:spPr>
          <p:txBody>
            <a:bodyPr wrap="none" tIns="90000" bIns="90000" rtlCol="0" anchor="t">
              <a:spAutoFit/>
            </a:bodyPr>
            <a:lstStyle/>
            <a:p>
              <a:pPr algn="ctr" defTabSz="457200"/>
              <a:r>
                <a:rPr lang="en-US" sz="7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Name Events (Topic)</a:t>
              </a:r>
            </a:p>
          </p:txBody>
        </p:sp>
        <p:sp>
          <p:nvSpPr>
            <p:cNvPr id="1229" name="TextBox 1228">
              <a:extLst>
                <a:ext uri="{FF2B5EF4-FFF2-40B4-BE49-F238E27FC236}">
                  <a16:creationId xmlns:a16="http://schemas.microsoft.com/office/drawing/2014/main" id="{7666378B-F22F-5145-ABF0-85A95E8AB606}"/>
                </a:ext>
              </a:extLst>
            </p:cNvPr>
            <p:cNvSpPr txBox="1"/>
            <p:nvPr/>
          </p:nvSpPr>
          <p:spPr>
            <a:xfrm>
              <a:off x="4775000" y="4873972"/>
              <a:ext cx="1027845" cy="289480"/>
            </a:xfrm>
            <a:prstGeom prst="rect">
              <a:avLst/>
            </a:prstGeom>
            <a:noFill/>
          </p:spPr>
          <p:txBody>
            <a:bodyPr wrap="none" tIns="90000" bIns="90000" rtlCol="0" anchor="t">
              <a:spAutoFit/>
            </a:bodyPr>
            <a:lstStyle/>
            <a:p>
              <a:pPr algn="ctr" defTabSz="457200"/>
              <a:r>
                <a:rPr lang="en-US" sz="7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Name Events (Topic)</a:t>
              </a:r>
            </a:p>
          </p:txBody>
        </p:sp>
        <p:sp>
          <p:nvSpPr>
            <p:cNvPr id="1230" name="Rounded Rectangle 1229">
              <a:extLst>
                <a:ext uri="{FF2B5EF4-FFF2-40B4-BE49-F238E27FC236}">
                  <a16:creationId xmlns:a16="http://schemas.microsoft.com/office/drawing/2014/main" id="{DE40EBE7-737F-FC4D-B03F-08AE8A0467E5}"/>
                </a:ext>
              </a:extLst>
            </p:cNvPr>
            <p:cNvSpPr/>
            <p:nvPr/>
          </p:nvSpPr>
          <p:spPr>
            <a:xfrm>
              <a:off x="4842611" y="2353182"/>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231" name="Rounded Rectangle 1230">
              <a:extLst>
                <a:ext uri="{FF2B5EF4-FFF2-40B4-BE49-F238E27FC236}">
                  <a16:creationId xmlns:a16="http://schemas.microsoft.com/office/drawing/2014/main" id="{467E0481-63A5-E840-B68E-F8F8F1C50E75}"/>
                </a:ext>
              </a:extLst>
            </p:cNvPr>
            <p:cNvSpPr/>
            <p:nvPr/>
          </p:nvSpPr>
          <p:spPr>
            <a:xfrm>
              <a:off x="4932320" y="2351718"/>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232" name="Rounded Rectangle 1231">
              <a:extLst>
                <a:ext uri="{FF2B5EF4-FFF2-40B4-BE49-F238E27FC236}">
                  <a16:creationId xmlns:a16="http://schemas.microsoft.com/office/drawing/2014/main" id="{3DE7D0CE-911E-A14F-B2B9-9B9341E8DED0}"/>
                </a:ext>
              </a:extLst>
            </p:cNvPr>
            <p:cNvSpPr/>
            <p:nvPr/>
          </p:nvSpPr>
          <p:spPr>
            <a:xfrm>
              <a:off x="5015611" y="2352450"/>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233" name="Rounded Rectangle 1232">
              <a:extLst>
                <a:ext uri="{FF2B5EF4-FFF2-40B4-BE49-F238E27FC236}">
                  <a16:creationId xmlns:a16="http://schemas.microsoft.com/office/drawing/2014/main" id="{85A3F456-AD96-814C-B76C-BC9D5DA6AFB1}"/>
                </a:ext>
              </a:extLst>
            </p:cNvPr>
            <p:cNvSpPr/>
            <p:nvPr/>
          </p:nvSpPr>
          <p:spPr>
            <a:xfrm>
              <a:off x="5105320" y="2350986"/>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234" name="Rounded Rectangle 1233">
              <a:extLst>
                <a:ext uri="{FF2B5EF4-FFF2-40B4-BE49-F238E27FC236}">
                  <a16:creationId xmlns:a16="http://schemas.microsoft.com/office/drawing/2014/main" id="{52940E3D-2D0A-7548-B7B3-267457D76696}"/>
                </a:ext>
              </a:extLst>
            </p:cNvPr>
            <p:cNvSpPr/>
            <p:nvPr/>
          </p:nvSpPr>
          <p:spPr>
            <a:xfrm>
              <a:off x="5190138" y="2350175"/>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235" name="Rounded Rectangle 1234">
              <a:extLst>
                <a:ext uri="{FF2B5EF4-FFF2-40B4-BE49-F238E27FC236}">
                  <a16:creationId xmlns:a16="http://schemas.microsoft.com/office/drawing/2014/main" id="{36A2AE19-6EE6-A648-8640-5545D493E711}"/>
                </a:ext>
              </a:extLst>
            </p:cNvPr>
            <p:cNvSpPr/>
            <p:nvPr/>
          </p:nvSpPr>
          <p:spPr>
            <a:xfrm>
              <a:off x="5279847" y="2355799"/>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236" name="Rounded Rectangle 1235">
              <a:extLst>
                <a:ext uri="{FF2B5EF4-FFF2-40B4-BE49-F238E27FC236}">
                  <a16:creationId xmlns:a16="http://schemas.microsoft.com/office/drawing/2014/main" id="{E4F6E0C3-48C3-3040-BB9C-416FC8F2B47D}"/>
                </a:ext>
              </a:extLst>
            </p:cNvPr>
            <p:cNvSpPr/>
            <p:nvPr/>
          </p:nvSpPr>
          <p:spPr>
            <a:xfrm>
              <a:off x="5363138" y="2356531"/>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237" name="Rounded Rectangle 1236">
              <a:extLst>
                <a:ext uri="{FF2B5EF4-FFF2-40B4-BE49-F238E27FC236}">
                  <a16:creationId xmlns:a16="http://schemas.microsoft.com/office/drawing/2014/main" id="{D25D8777-B32F-BC4A-B05F-84660B083E5E}"/>
                </a:ext>
              </a:extLst>
            </p:cNvPr>
            <p:cNvSpPr/>
            <p:nvPr/>
          </p:nvSpPr>
          <p:spPr>
            <a:xfrm>
              <a:off x="5445759" y="2355067"/>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238" name="Rounded Rectangle 1237">
              <a:extLst>
                <a:ext uri="{FF2B5EF4-FFF2-40B4-BE49-F238E27FC236}">
                  <a16:creationId xmlns:a16="http://schemas.microsoft.com/office/drawing/2014/main" id="{69AE2FDB-4D54-D641-883B-976572FF84AC}"/>
                </a:ext>
              </a:extLst>
            </p:cNvPr>
            <p:cNvSpPr/>
            <p:nvPr/>
          </p:nvSpPr>
          <p:spPr>
            <a:xfrm>
              <a:off x="4827394" y="2855319"/>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239" name="Rounded Rectangle 1238">
              <a:extLst>
                <a:ext uri="{FF2B5EF4-FFF2-40B4-BE49-F238E27FC236}">
                  <a16:creationId xmlns:a16="http://schemas.microsoft.com/office/drawing/2014/main" id="{B74983FD-8E28-664E-A937-8839D1531E99}"/>
                </a:ext>
              </a:extLst>
            </p:cNvPr>
            <p:cNvSpPr/>
            <p:nvPr/>
          </p:nvSpPr>
          <p:spPr>
            <a:xfrm>
              <a:off x="4917103" y="2853855"/>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240" name="Rounded Rectangle 1239">
              <a:extLst>
                <a:ext uri="{FF2B5EF4-FFF2-40B4-BE49-F238E27FC236}">
                  <a16:creationId xmlns:a16="http://schemas.microsoft.com/office/drawing/2014/main" id="{008EECA4-8125-B342-871F-6CE25606B344}"/>
                </a:ext>
              </a:extLst>
            </p:cNvPr>
            <p:cNvSpPr/>
            <p:nvPr/>
          </p:nvSpPr>
          <p:spPr>
            <a:xfrm>
              <a:off x="5000394" y="2854587"/>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241" name="Rounded Rectangle 1240">
              <a:extLst>
                <a:ext uri="{FF2B5EF4-FFF2-40B4-BE49-F238E27FC236}">
                  <a16:creationId xmlns:a16="http://schemas.microsoft.com/office/drawing/2014/main" id="{7F9DC5ED-2326-5746-9A96-FBF6F99AF533}"/>
                </a:ext>
              </a:extLst>
            </p:cNvPr>
            <p:cNvSpPr/>
            <p:nvPr/>
          </p:nvSpPr>
          <p:spPr>
            <a:xfrm>
              <a:off x="5083015" y="2853123"/>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242" name="Rounded Rectangle 1241">
              <a:extLst>
                <a:ext uri="{FF2B5EF4-FFF2-40B4-BE49-F238E27FC236}">
                  <a16:creationId xmlns:a16="http://schemas.microsoft.com/office/drawing/2014/main" id="{284C6DB1-569A-E449-A1D8-91C40E3D073A}"/>
                </a:ext>
              </a:extLst>
            </p:cNvPr>
            <p:cNvSpPr/>
            <p:nvPr/>
          </p:nvSpPr>
          <p:spPr>
            <a:xfrm>
              <a:off x="5167833" y="2859400"/>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243" name="Rounded Rectangle 1242">
              <a:extLst>
                <a:ext uri="{FF2B5EF4-FFF2-40B4-BE49-F238E27FC236}">
                  <a16:creationId xmlns:a16="http://schemas.microsoft.com/office/drawing/2014/main" id="{D9E2D7DF-E67A-F64D-8D88-64232FFC07F6}"/>
                </a:ext>
              </a:extLst>
            </p:cNvPr>
            <p:cNvSpPr/>
            <p:nvPr/>
          </p:nvSpPr>
          <p:spPr>
            <a:xfrm>
              <a:off x="5243366" y="2857936"/>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244" name="Rounded Rectangle 1243">
              <a:extLst>
                <a:ext uri="{FF2B5EF4-FFF2-40B4-BE49-F238E27FC236}">
                  <a16:creationId xmlns:a16="http://schemas.microsoft.com/office/drawing/2014/main" id="{EE26E27B-D479-CD43-8C94-5929D9AD0A18}"/>
                </a:ext>
              </a:extLst>
            </p:cNvPr>
            <p:cNvSpPr/>
            <p:nvPr/>
          </p:nvSpPr>
          <p:spPr>
            <a:xfrm>
              <a:off x="5326657" y="2858668"/>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245" name="Rounded Rectangle 1244">
              <a:extLst>
                <a:ext uri="{FF2B5EF4-FFF2-40B4-BE49-F238E27FC236}">
                  <a16:creationId xmlns:a16="http://schemas.microsoft.com/office/drawing/2014/main" id="{269191C2-2F19-444C-8B9B-F6F931FCF037}"/>
                </a:ext>
              </a:extLst>
            </p:cNvPr>
            <p:cNvSpPr/>
            <p:nvPr/>
          </p:nvSpPr>
          <p:spPr>
            <a:xfrm>
              <a:off x="5409278" y="2857204"/>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246" name="Rounded Rectangle 1245">
              <a:extLst>
                <a:ext uri="{FF2B5EF4-FFF2-40B4-BE49-F238E27FC236}">
                  <a16:creationId xmlns:a16="http://schemas.microsoft.com/office/drawing/2014/main" id="{347BC244-B5B6-124D-B1F8-072E30F91969}"/>
                </a:ext>
              </a:extLst>
            </p:cNvPr>
            <p:cNvSpPr/>
            <p:nvPr/>
          </p:nvSpPr>
          <p:spPr>
            <a:xfrm>
              <a:off x="5495004" y="2853160"/>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247" name="Rounded Rectangle 1246">
              <a:extLst>
                <a:ext uri="{FF2B5EF4-FFF2-40B4-BE49-F238E27FC236}">
                  <a16:creationId xmlns:a16="http://schemas.microsoft.com/office/drawing/2014/main" id="{175F7982-C4C4-1F4E-BF68-F66B75070819}"/>
                </a:ext>
              </a:extLst>
            </p:cNvPr>
            <p:cNvSpPr/>
            <p:nvPr/>
          </p:nvSpPr>
          <p:spPr>
            <a:xfrm>
              <a:off x="5585383" y="2853892"/>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248" name="Rounded Rectangle 1247">
              <a:extLst>
                <a:ext uri="{FF2B5EF4-FFF2-40B4-BE49-F238E27FC236}">
                  <a16:creationId xmlns:a16="http://schemas.microsoft.com/office/drawing/2014/main" id="{BC5C0DA8-C9EA-4145-BBE6-948E967D3EEE}"/>
                </a:ext>
              </a:extLst>
            </p:cNvPr>
            <p:cNvSpPr/>
            <p:nvPr/>
          </p:nvSpPr>
          <p:spPr>
            <a:xfrm>
              <a:off x="5660916" y="2859516"/>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249" name="Rounded Rectangle 1248">
              <a:extLst>
                <a:ext uri="{FF2B5EF4-FFF2-40B4-BE49-F238E27FC236}">
                  <a16:creationId xmlns:a16="http://schemas.microsoft.com/office/drawing/2014/main" id="{7A431B56-8102-FF41-8033-019C11E4D3CF}"/>
                </a:ext>
              </a:extLst>
            </p:cNvPr>
            <p:cNvSpPr/>
            <p:nvPr/>
          </p:nvSpPr>
          <p:spPr>
            <a:xfrm>
              <a:off x="5321261" y="3362222"/>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250" name="Rounded Rectangle 1249">
              <a:extLst>
                <a:ext uri="{FF2B5EF4-FFF2-40B4-BE49-F238E27FC236}">
                  <a16:creationId xmlns:a16="http://schemas.microsoft.com/office/drawing/2014/main" id="{1A45C2A7-A65F-2C4D-8EA7-F021AB1E844A}"/>
                </a:ext>
              </a:extLst>
            </p:cNvPr>
            <p:cNvSpPr/>
            <p:nvPr/>
          </p:nvSpPr>
          <p:spPr>
            <a:xfrm>
              <a:off x="5404552" y="3362954"/>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251" name="Rounded Rectangle 1250">
              <a:extLst>
                <a:ext uri="{FF2B5EF4-FFF2-40B4-BE49-F238E27FC236}">
                  <a16:creationId xmlns:a16="http://schemas.microsoft.com/office/drawing/2014/main" id="{66BFAD4D-DDC4-B641-ACC0-599E74BE8CAC}"/>
                </a:ext>
              </a:extLst>
            </p:cNvPr>
            <p:cNvSpPr/>
            <p:nvPr/>
          </p:nvSpPr>
          <p:spPr>
            <a:xfrm>
              <a:off x="5487173" y="3361490"/>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252" name="Rounded Rectangle 1251">
              <a:extLst>
                <a:ext uri="{FF2B5EF4-FFF2-40B4-BE49-F238E27FC236}">
                  <a16:creationId xmlns:a16="http://schemas.microsoft.com/office/drawing/2014/main" id="{D56BDBF6-6A49-B54A-B3CA-724B949BC74D}"/>
                </a:ext>
              </a:extLst>
            </p:cNvPr>
            <p:cNvSpPr/>
            <p:nvPr/>
          </p:nvSpPr>
          <p:spPr>
            <a:xfrm>
              <a:off x="5572898" y="3356598"/>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253" name="Rounded Rectangle 1252">
              <a:extLst>
                <a:ext uri="{FF2B5EF4-FFF2-40B4-BE49-F238E27FC236}">
                  <a16:creationId xmlns:a16="http://schemas.microsoft.com/office/drawing/2014/main" id="{F8ABDDC0-493C-B645-BF31-182968620559}"/>
                </a:ext>
              </a:extLst>
            </p:cNvPr>
            <p:cNvSpPr/>
            <p:nvPr/>
          </p:nvSpPr>
          <p:spPr>
            <a:xfrm>
              <a:off x="5663277" y="3357330"/>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254" name="Rounded Rectangle 1253">
              <a:extLst>
                <a:ext uri="{FF2B5EF4-FFF2-40B4-BE49-F238E27FC236}">
                  <a16:creationId xmlns:a16="http://schemas.microsoft.com/office/drawing/2014/main" id="{85F84BE8-EC80-AE40-9C0A-0D847A01CAFE}"/>
                </a:ext>
              </a:extLst>
            </p:cNvPr>
            <p:cNvSpPr/>
            <p:nvPr/>
          </p:nvSpPr>
          <p:spPr>
            <a:xfrm>
              <a:off x="5745898" y="3362954"/>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255" name="Rounded Rectangle 1254">
              <a:extLst>
                <a:ext uri="{FF2B5EF4-FFF2-40B4-BE49-F238E27FC236}">
                  <a16:creationId xmlns:a16="http://schemas.microsoft.com/office/drawing/2014/main" id="{64E468F0-7328-534B-969F-878E28392A1C}"/>
                </a:ext>
              </a:extLst>
            </p:cNvPr>
            <p:cNvSpPr/>
            <p:nvPr/>
          </p:nvSpPr>
          <p:spPr>
            <a:xfrm>
              <a:off x="4814168" y="3362301"/>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256" name="Rounded Rectangle 1255">
              <a:extLst>
                <a:ext uri="{FF2B5EF4-FFF2-40B4-BE49-F238E27FC236}">
                  <a16:creationId xmlns:a16="http://schemas.microsoft.com/office/drawing/2014/main" id="{FBBBF87A-BAB0-3E4A-BB73-C9BBF68E4973}"/>
                </a:ext>
              </a:extLst>
            </p:cNvPr>
            <p:cNvSpPr/>
            <p:nvPr/>
          </p:nvSpPr>
          <p:spPr>
            <a:xfrm>
              <a:off x="4897459" y="3363033"/>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257" name="Rounded Rectangle 1256">
              <a:extLst>
                <a:ext uri="{FF2B5EF4-FFF2-40B4-BE49-F238E27FC236}">
                  <a16:creationId xmlns:a16="http://schemas.microsoft.com/office/drawing/2014/main" id="{A285ABA9-B6DF-274E-A9C4-93E1003CEE4D}"/>
                </a:ext>
              </a:extLst>
            </p:cNvPr>
            <p:cNvSpPr/>
            <p:nvPr/>
          </p:nvSpPr>
          <p:spPr>
            <a:xfrm>
              <a:off x="4980080" y="3361569"/>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258" name="Rounded Rectangle 1257">
              <a:extLst>
                <a:ext uri="{FF2B5EF4-FFF2-40B4-BE49-F238E27FC236}">
                  <a16:creationId xmlns:a16="http://schemas.microsoft.com/office/drawing/2014/main" id="{30ACB1BB-3A98-5A4D-AEC3-79BE6FBE43F8}"/>
                </a:ext>
              </a:extLst>
            </p:cNvPr>
            <p:cNvSpPr/>
            <p:nvPr/>
          </p:nvSpPr>
          <p:spPr>
            <a:xfrm>
              <a:off x="5058717" y="3356677"/>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259" name="Rounded Rectangle 1258">
              <a:extLst>
                <a:ext uri="{FF2B5EF4-FFF2-40B4-BE49-F238E27FC236}">
                  <a16:creationId xmlns:a16="http://schemas.microsoft.com/office/drawing/2014/main" id="{F5F63F84-70D8-F041-92D4-5CF02A2EA5FD}"/>
                </a:ext>
              </a:extLst>
            </p:cNvPr>
            <p:cNvSpPr/>
            <p:nvPr/>
          </p:nvSpPr>
          <p:spPr>
            <a:xfrm>
              <a:off x="5149096" y="3357409"/>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260" name="Rounded Rectangle 1259">
              <a:extLst>
                <a:ext uri="{FF2B5EF4-FFF2-40B4-BE49-F238E27FC236}">
                  <a16:creationId xmlns:a16="http://schemas.microsoft.com/office/drawing/2014/main" id="{5BB3EB9E-4800-DD42-9F8C-221EC28007C6}"/>
                </a:ext>
              </a:extLst>
            </p:cNvPr>
            <p:cNvSpPr/>
            <p:nvPr/>
          </p:nvSpPr>
          <p:spPr>
            <a:xfrm>
              <a:off x="5238805" y="3363033"/>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261" name="Rounded Rectangle 1260">
              <a:extLst>
                <a:ext uri="{FF2B5EF4-FFF2-40B4-BE49-F238E27FC236}">
                  <a16:creationId xmlns:a16="http://schemas.microsoft.com/office/drawing/2014/main" id="{CC6A5088-B885-F345-8F22-FFCC30F280ED}"/>
                </a:ext>
              </a:extLst>
            </p:cNvPr>
            <p:cNvSpPr/>
            <p:nvPr/>
          </p:nvSpPr>
          <p:spPr>
            <a:xfrm>
              <a:off x="4812603" y="3808599"/>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262" name="Rounded Rectangle 1261">
              <a:extLst>
                <a:ext uri="{FF2B5EF4-FFF2-40B4-BE49-F238E27FC236}">
                  <a16:creationId xmlns:a16="http://schemas.microsoft.com/office/drawing/2014/main" id="{EE2C9581-EC2D-1745-90E8-367BC079E97C}"/>
                </a:ext>
              </a:extLst>
            </p:cNvPr>
            <p:cNvSpPr/>
            <p:nvPr/>
          </p:nvSpPr>
          <p:spPr>
            <a:xfrm>
              <a:off x="4895894" y="3809331"/>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263" name="Rounded Rectangle 1262">
              <a:extLst>
                <a:ext uri="{FF2B5EF4-FFF2-40B4-BE49-F238E27FC236}">
                  <a16:creationId xmlns:a16="http://schemas.microsoft.com/office/drawing/2014/main" id="{C2091BF5-F747-854B-91F2-751313ED6DE9}"/>
                </a:ext>
              </a:extLst>
            </p:cNvPr>
            <p:cNvSpPr/>
            <p:nvPr/>
          </p:nvSpPr>
          <p:spPr>
            <a:xfrm>
              <a:off x="4971427" y="3807867"/>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264" name="Rounded Rectangle 1263">
              <a:extLst>
                <a:ext uri="{FF2B5EF4-FFF2-40B4-BE49-F238E27FC236}">
                  <a16:creationId xmlns:a16="http://schemas.microsoft.com/office/drawing/2014/main" id="{7FC33CCA-AD00-DA49-949C-6722D0940794}"/>
                </a:ext>
              </a:extLst>
            </p:cNvPr>
            <p:cNvSpPr/>
            <p:nvPr/>
          </p:nvSpPr>
          <p:spPr>
            <a:xfrm>
              <a:off x="5057152" y="3802975"/>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265" name="Rounded Rectangle 1264">
              <a:extLst>
                <a:ext uri="{FF2B5EF4-FFF2-40B4-BE49-F238E27FC236}">
                  <a16:creationId xmlns:a16="http://schemas.microsoft.com/office/drawing/2014/main" id="{23E2EEB1-0F02-A648-933C-A24CB16E7674}"/>
                </a:ext>
              </a:extLst>
            </p:cNvPr>
            <p:cNvSpPr/>
            <p:nvPr/>
          </p:nvSpPr>
          <p:spPr>
            <a:xfrm>
              <a:off x="5133355" y="3803707"/>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266" name="Rounded Rectangle 1265">
              <a:extLst>
                <a:ext uri="{FF2B5EF4-FFF2-40B4-BE49-F238E27FC236}">
                  <a16:creationId xmlns:a16="http://schemas.microsoft.com/office/drawing/2014/main" id="{5BC91975-4097-F245-B36B-D51E95BD067A}"/>
                </a:ext>
              </a:extLst>
            </p:cNvPr>
            <p:cNvSpPr/>
            <p:nvPr/>
          </p:nvSpPr>
          <p:spPr>
            <a:xfrm>
              <a:off x="5215976" y="3809331"/>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267" name="Rounded Rectangle 1266">
              <a:extLst>
                <a:ext uri="{FF2B5EF4-FFF2-40B4-BE49-F238E27FC236}">
                  <a16:creationId xmlns:a16="http://schemas.microsoft.com/office/drawing/2014/main" id="{B0328FD4-C58F-B74E-A2C7-7B7386C662E4}"/>
                </a:ext>
              </a:extLst>
            </p:cNvPr>
            <p:cNvSpPr/>
            <p:nvPr/>
          </p:nvSpPr>
          <p:spPr>
            <a:xfrm>
              <a:off x="5298157" y="3808706"/>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268" name="Rounded Rectangle 1267">
              <a:extLst>
                <a:ext uri="{FF2B5EF4-FFF2-40B4-BE49-F238E27FC236}">
                  <a16:creationId xmlns:a16="http://schemas.microsoft.com/office/drawing/2014/main" id="{A95FDAA5-C7D3-1147-9572-7D22581D99A9}"/>
                </a:ext>
              </a:extLst>
            </p:cNvPr>
            <p:cNvSpPr/>
            <p:nvPr/>
          </p:nvSpPr>
          <p:spPr>
            <a:xfrm>
              <a:off x="5374360" y="3809438"/>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269" name="Rounded Rectangle 1268">
              <a:extLst>
                <a:ext uri="{FF2B5EF4-FFF2-40B4-BE49-F238E27FC236}">
                  <a16:creationId xmlns:a16="http://schemas.microsoft.com/office/drawing/2014/main" id="{1C156507-C699-1D46-B1D4-04DD1FEAF4FE}"/>
                </a:ext>
              </a:extLst>
            </p:cNvPr>
            <p:cNvSpPr/>
            <p:nvPr/>
          </p:nvSpPr>
          <p:spPr>
            <a:xfrm>
              <a:off x="5456981" y="3807974"/>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270" name="Rounded Rectangle 1269">
              <a:extLst>
                <a:ext uri="{FF2B5EF4-FFF2-40B4-BE49-F238E27FC236}">
                  <a16:creationId xmlns:a16="http://schemas.microsoft.com/office/drawing/2014/main" id="{CDE4E72E-9F06-304D-952A-A7457CA23BBA}"/>
                </a:ext>
              </a:extLst>
            </p:cNvPr>
            <p:cNvSpPr/>
            <p:nvPr/>
          </p:nvSpPr>
          <p:spPr>
            <a:xfrm>
              <a:off x="5542706" y="3803082"/>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271" name="Rounded Rectangle 1270">
              <a:extLst>
                <a:ext uri="{FF2B5EF4-FFF2-40B4-BE49-F238E27FC236}">
                  <a16:creationId xmlns:a16="http://schemas.microsoft.com/office/drawing/2014/main" id="{FF37C68E-803C-804C-BCA9-20B02F919D81}"/>
                </a:ext>
              </a:extLst>
            </p:cNvPr>
            <p:cNvSpPr/>
            <p:nvPr/>
          </p:nvSpPr>
          <p:spPr>
            <a:xfrm>
              <a:off x="5618909" y="3803814"/>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272" name="Rounded Rectangle 1271">
              <a:extLst>
                <a:ext uri="{FF2B5EF4-FFF2-40B4-BE49-F238E27FC236}">
                  <a16:creationId xmlns:a16="http://schemas.microsoft.com/office/drawing/2014/main" id="{B1E84862-5D05-9E47-8E7B-95B7D09870E8}"/>
                </a:ext>
              </a:extLst>
            </p:cNvPr>
            <p:cNvSpPr/>
            <p:nvPr/>
          </p:nvSpPr>
          <p:spPr>
            <a:xfrm>
              <a:off x="5701530" y="3809438"/>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273" name="Rounded Rectangle 1272">
              <a:extLst>
                <a:ext uri="{FF2B5EF4-FFF2-40B4-BE49-F238E27FC236}">
                  <a16:creationId xmlns:a16="http://schemas.microsoft.com/office/drawing/2014/main" id="{D4E9AC15-8B78-B749-8DC3-15E852C0C368}"/>
                </a:ext>
              </a:extLst>
            </p:cNvPr>
            <p:cNvSpPr/>
            <p:nvPr/>
          </p:nvSpPr>
          <p:spPr>
            <a:xfrm>
              <a:off x="4823574" y="4241579"/>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274" name="Rounded Rectangle 1273">
              <a:extLst>
                <a:ext uri="{FF2B5EF4-FFF2-40B4-BE49-F238E27FC236}">
                  <a16:creationId xmlns:a16="http://schemas.microsoft.com/office/drawing/2014/main" id="{2C2307F6-140D-4140-BA50-55E626E26D74}"/>
                </a:ext>
              </a:extLst>
            </p:cNvPr>
            <p:cNvSpPr/>
            <p:nvPr/>
          </p:nvSpPr>
          <p:spPr>
            <a:xfrm>
              <a:off x="4906195" y="4240115"/>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275" name="Rounded Rectangle 1274">
              <a:extLst>
                <a:ext uri="{FF2B5EF4-FFF2-40B4-BE49-F238E27FC236}">
                  <a16:creationId xmlns:a16="http://schemas.microsoft.com/office/drawing/2014/main" id="{A2A739B8-FA7B-D347-A6A7-6F0D9A7CBCFF}"/>
                </a:ext>
              </a:extLst>
            </p:cNvPr>
            <p:cNvSpPr/>
            <p:nvPr/>
          </p:nvSpPr>
          <p:spPr>
            <a:xfrm>
              <a:off x="4989486" y="4240847"/>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276" name="Rounded Rectangle 1275">
              <a:extLst>
                <a:ext uri="{FF2B5EF4-FFF2-40B4-BE49-F238E27FC236}">
                  <a16:creationId xmlns:a16="http://schemas.microsoft.com/office/drawing/2014/main" id="{A2837821-2758-7F46-A3EF-0EC300A7E993}"/>
                </a:ext>
              </a:extLst>
            </p:cNvPr>
            <p:cNvSpPr/>
            <p:nvPr/>
          </p:nvSpPr>
          <p:spPr>
            <a:xfrm>
              <a:off x="5072107" y="4239383"/>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277" name="Rounded Rectangle 1276">
              <a:extLst>
                <a:ext uri="{FF2B5EF4-FFF2-40B4-BE49-F238E27FC236}">
                  <a16:creationId xmlns:a16="http://schemas.microsoft.com/office/drawing/2014/main" id="{F64B1180-CA46-6D4A-B19D-7A91F44A250C}"/>
                </a:ext>
              </a:extLst>
            </p:cNvPr>
            <p:cNvSpPr/>
            <p:nvPr/>
          </p:nvSpPr>
          <p:spPr>
            <a:xfrm>
              <a:off x="5156925" y="4238572"/>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278" name="Rounded Rectangle 1277">
              <a:extLst>
                <a:ext uri="{FF2B5EF4-FFF2-40B4-BE49-F238E27FC236}">
                  <a16:creationId xmlns:a16="http://schemas.microsoft.com/office/drawing/2014/main" id="{4489E786-EFE1-124E-B6E5-2AD4B15FBD29}"/>
                </a:ext>
              </a:extLst>
            </p:cNvPr>
            <p:cNvSpPr/>
            <p:nvPr/>
          </p:nvSpPr>
          <p:spPr>
            <a:xfrm>
              <a:off x="5239546" y="4237108"/>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279" name="Rounded Rectangle 1278">
              <a:extLst>
                <a:ext uri="{FF2B5EF4-FFF2-40B4-BE49-F238E27FC236}">
                  <a16:creationId xmlns:a16="http://schemas.microsoft.com/office/drawing/2014/main" id="{E49C9CF7-B4A1-6A4D-B281-0910FB67EB66}"/>
                </a:ext>
              </a:extLst>
            </p:cNvPr>
            <p:cNvSpPr/>
            <p:nvPr/>
          </p:nvSpPr>
          <p:spPr>
            <a:xfrm>
              <a:off x="5329925" y="4237840"/>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280" name="Rounded Rectangle 1279">
              <a:extLst>
                <a:ext uri="{FF2B5EF4-FFF2-40B4-BE49-F238E27FC236}">
                  <a16:creationId xmlns:a16="http://schemas.microsoft.com/office/drawing/2014/main" id="{4E66F4F3-70E5-5E40-A1C4-23D430E4A14E}"/>
                </a:ext>
              </a:extLst>
            </p:cNvPr>
            <p:cNvSpPr/>
            <p:nvPr/>
          </p:nvSpPr>
          <p:spPr>
            <a:xfrm>
              <a:off x="5412546" y="4236376"/>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281" name="Rounded Rectangle 1280">
              <a:extLst>
                <a:ext uri="{FF2B5EF4-FFF2-40B4-BE49-F238E27FC236}">
                  <a16:creationId xmlns:a16="http://schemas.microsoft.com/office/drawing/2014/main" id="{FD772121-1180-5949-85CB-DEA222FB738E}"/>
                </a:ext>
              </a:extLst>
            </p:cNvPr>
            <p:cNvSpPr/>
            <p:nvPr/>
          </p:nvSpPr>
          <p:spPr>
            <a:xfrm>
              <a:off x="4788612" y="4712948"/>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282" name="Rounded Rectangle 1281">
              <a:extLst>
                <a:ext uri="{FF2B5EF4-FFF2-40B4-BE49-F238E27FC236}">
                  <a16:creationId xmlns:a16="http://schemas.microsoft.com/office/drawing/2014/main" id="{AA218EA6-3EB3-7547-9677-EA97581CFF16}"/>
                </a:ext>
              </a:extLst>
            </p:cNvPr>
            <p:cNvSpPr/>
            <p:nvPr/>
          </p:nvSpPr>
          <p:spPr>
            <a:xfrm>
              <a:off x="4871903" y="4713680"/>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283" name="Rounded Rectangle 1282">
              <a:extLst>
                <a:ext uri="{FF2B5EF4-FFF2-40B4-BE49-F238E27FC236}">
                  <a16:creationId xmlns:a16="http://schemas.microsoft.com/office/drawing/2014/main" id="{DD408D48-3011-5F4D-8755-CAFF32B9F00C}"/>
                </a:ext>
              </a:extLst>
            </p:cNvPr>
            <p:cNvSpPr/>
            <p:nvPr/>
          </p:nvSpPr>
          <p:spPr>
            <a:xfrm>
              <a:off x="4947436" y="4712216"/>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284" name="Rounded Rectangle 1283">
              <a:extLst>
                <a:ext uri="{FF2B5EF4-FFF2-40B4-BE49-F238E27FC236}">
                  <a16:creationId xmlns:a16="http://schemas.microsoft.com/office/drawing/2014/main" id="{90B5C241-A519-B740-A3BF-1E49FCAEC21D}"/>
                </a:ext>
              </a:extLst>
            </p:cNvPr>
            <p:cNvSpPr/>
            <p:nvPr/>
          </p:nvSpPr>
          <p:spPr>
            <a:xfrm>
              <a:off x="5026073" y="4714412"/>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285" name="Rounded Rectangle 1284">
              <a:extLst>
                <a:ext uri="{FF2B5EF4-FFF2-40B4-BE49-F238E27FC236}">
                  <a16:creationId xmlns:a16="http://schemas.microsoft.com/office/drawing/2014/main" id="{43A08CAE-E107-7F4A-89B1-361C1F2AED1F}"/>
                </a:ext>
              </a:extLst>
            </p:cNvPr>
            <p:cNvSpPr/>
            <p:nvPr/>
          </p:nvSpPr>
          <p:spPr>
            <a:xfrm>
              <a:off x="5102276" y="4715144"/>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286" name="Rounded Rectangle 1285">
              <a:extLst>
                <a:ext uri="{FF2B5EF4-FFF2-40B4-BE49-F238E27FC236}">
                  <a16:creationId xmlns:a16="http://schemas.microsoft.com/office/drawing/2014/main" id="{712D634A-F842-E647-9507-AD0FF7F3709D}"/>
                </a:ext>
              </a:extLst>
            </p:cNvPr>
            <p:cNvSpPr/>
            <p:nvPr/>
          </p:nvSpPr>
          <p:spPr>
            <a:xfrm>
              <a:off x="5184897" y="4713680"/>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287" name="Rounded Rectangle 1286">
              <a:extLst>
                <a:ext uri="{FF2B5EF4-FFF2-40B4-BE49-F238E27FC236}">
                  <a16:creationId xmlns:a16="http://schemas.microsoft.com/office/drawing/2014/main" id="{A9C488AA-0683-BE40-B992-0BE0D19EC783}"/>
                </a:ext>
              </a:extLst>
            </p:cNvPr>
            <p:cNvSpPr/>
            <p:nvPr/>
          </p:nvSpPr>
          <p:spPr>
            <a:xfrm>
              <a:off x="5267078" y="4713055"/>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288" name="Rounded Rectangle 1287">
              <a:extLst>
                <a:ext uri="{FF2B5EF4-FFF2-40B4-BE49-F238E27FC236}">
                  <a16:creationId xmlns:a16="http://schemas.microsoft.com/office/drawing/2014/main" id="{511A8CA2-52B3-DC44-B088-D67ABC377043}"/>
                </a:ext>
              </a:extLst>
            </p:cNvPr>
            <p:cNvSpPr/>
            <p:nvPr/>
          </p:nvSpPr>
          <p:spPr>
            <a:xfrm>
              <a:off x="5343281" y="4713787"/>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289" name="Rounded Rectangle 1288">
              <a:extLst>
                <a:ext uri="{FF2B5EF4-FFF2-40B4-BE49-F238E27FC236}">
                  <a16:creationId xmlns:a16="http://schemas.microsoft.com/office/drawing/2014/main" id="{69C9038F-DD1F-8440-83A4-82EDC74534AD}"/>
                </a:ext>
              </a:extLst>
            </p:cNvPr>
            <p:cNvSpPr/>
            <p:nvPr/>
          </p:nvSpPr>
          <p:spPr>
            <a:xfrm>
              <a:off x="5425902" y="4712323"/>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290" name="Rounded Rectangle 1289">
              <a:extLst>
                <a:ext uri="{FF2B5EF4-FFF2-40B4-BE49-F238E27FC236}">
                  <a16:creationId xmlns:a16="http://schemas.microsoft.com/office/drawing/2014/main" id="{760E493C-2DB8-544E-9078-465CADCECD82}"/>
                </a:ext>
              </a:extLst>
            </p:cNvPr>
            <p:cNvSpPr/>
            <p:nvPr/>
          </p:nvSpPr>
          <p:spPr>
            <a:xfrm>
              <a:off x="5511627" y="4714519"/>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291" name="Rounded Rectangle 1290">
              <a:extLst>
                <a:ext uri="{FF2B5EF4-FFF2-40B4-BE49-F238E27FC236}">
                  <a16:creationId xmlns:a16="http://schemas.microsoft.com/office/drawing/2014/main" id="{734B12FC-B746-8346-98E3-45FF6CBC6A67}"/>
                </a:ext>
              </a:extLst>
            </p:cNvPr>
            <p:cNvSpPr/>
            <p:nvPr/>
          </p:nvSpPr>
          <p:spPr>
            <a:xfrm>
              <a:off x="5594918" y="4715251"/>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292" name="Rounded Rectangle 1291">
              <a:extLst>
                <a:ext uri="{FF2B5EF4-FFF2-40B4-BE49-F238E27FC236}">
                  <a16:creationId xmlns:a16="http://schemas.microsoft.com/office/drawing/2014/main" id="{DA64799D-ED28-AD4F-BA58-A6F9E7BB6B92}"/>
                </a:ext>
              </a:extLst>
            </p:cNvPr>
            <p:cNvSpPr/>
            <p:nvPr/>
          </p:nvSpPr>
          <p:spPr>
            <a:xfrm>
              <a:off x="5670451" y="4713787"/>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grpSp>
      <p:grpSp>
        <p:nvGrpSpPr>
          <p:cNvPr id="1293" name="Group 1292">
            <a:extLst>
              <a:ext uri="{FF2B5EF4-FFF2-40B4-BE49-F238E27FC236}">
                <a16:creationId xmlns:a16="http://schemas.microsoft.com/office/drawing/2014/main" id="{D764AA0C-273C-C049-A80C-83B0DC3E469E}"/>
              </a:ext>
            </a:extLst>
          </p:cNvPr>
          <p:cNvGrpSpPr/>
          <p:nvPr/>
        </p:nvGrpSpPr>
        <p:grpSpPr>
          <a:xfrm>
            <a:off x="6126187" y="2705341"/>
            <a:ext cx="1618142" cy="3421418"/>
            <a:chOff x="4659160" y="1635818"/>
            <a:chExt cx="1618142" cy="3421418"/>
          </a:xfrm>
        </p:grpSpPr>
        <p:sp>
          <p:nvSpPr>
            <p:cNvPr id="1294" name="Rounded Rectangle 1293">
              <a:extLst>
                <a:ext uri="{FF2B5EF4-FFF2-40B4-BE49-F238E27FC236}">
                  <a16:creationId xmlns:a16="http://schemas.microsoft.com/office/drawing/2014/main" id="{47D8E4ED-1F9F-6748-8457-B01F6B1194F7}"/>
                </a:ext>
              </a:extLst>
            </p:cNvPr>
            <p:cNvSpPr/>
            <p:nvPr/>
          </p:nvSpPr>
          <p:spPr>
            <a:xfrm>
              <a:off x="5209370" y="1780136"/>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295" name="Rounded Rectangle 1294">
              <a:extLst>
                <a:ext uri="{FF2B5EF4-FFF2-40B4-BE49-F238E27FC236}">
                  <a16:creationId xmlns:a16="http://schemas.microsoft.com/office/drawing/2014/main" id="{324F4D3A-21CA-4640-8ED4-FEE86F4D969C}"/>
                </a:ext>
              </a:extLst>
            </p:cNvPr>
            <p:cNvSpPr/>
            <p:nvPr/>
          </p:nvSpPr>
          <p:spPr>
            <a:xfrm>
              <a:off x="5403533" y="1780135"/>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296" name="Rounded Rectangle 1295">
              <a:extLst>
                <a:ext uri="{FF2B5EF4-FFF2-40B4-BE49-F238E27FC236}">
                  <a16:creationId xmlns:a16="http://schemas.microsoft.com/office/drawing/2014/main" id="{F1202FC7-2F92-8145-BFC9-4EF5F919E8FE}"/>
                </a:ext>
              </a:extLst>
            </p:cNvPr>
            <p:cNvSpPr/>
            <p:nvPr/>
          </p:nvSpPr>
          <p:spPr>
            <a:xfrm>
              <a:off x="5597696" y="1780135"/>
              <a:ext cx="180437"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297" name="Rounded Rectangle 1296">
              <a:extLst>
                <a:ext uri="{FF2B5EF4-FFF2-40B4-BE49-F238E27FC236}">
                  <a16:creationId xmlns:a16="http://schemas.microsoft.com/office/drawing/2014/main" id="{2642FD7D-13BD-FD44-BC88-0679C1F47286}"/>
                </a:ext>
              </a:extLst>
            </p:cNvPr>
            <p:cNvSpPr/>
            <p:nvPr/>
          </p:nvSpPr>
          <p:spPr>
            <a:xfrm>
              <a:off x="5790105" y="1780413"/>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298" name="Rounded Rectangle 1297">
              <a:extLst>
                <a:ext uri="{FF2B5EF4-FFF2-40B4-BE49-F238E27FC236}">
                  <a16:creationId xmlns:a16="http://schemas.microsoft.com/office/drawing/2014/main" id="{422C604D-E410-294D-8C4D-B0E0ADCDE42C}"/>
                </a:ext>
              </a:extLst>
            </p:cNvPr>
            <p:cNvSpPr/>
            <p:nvPr/>
          </p:nvSpPr>
          <p:spPr>
            <a:xfrm>
              <a:off x="5970565" y="1783807"/>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299" name="TextBox 1298">
              <a:extLst>
                <a:ext uri="{FF2B5EF4-FFF2-40B4-BE49-F238E27FC236}">
                  <a16:creationId xmlns:a16="http://schemas.microsoft.com/office/drawing/2014/main" id="{5D21E2DE-27A8-9E46-9B7F-A35D46820954}"/>
                </a:ext>
              </a:extLst>
            </p:cNvPr>
            <p:cNvSpPr txBox="1"/>
            <p:nvPr/>
          </p:nvSpPr>
          <p:spPr>
            <a:xfrm>
              <a:off x="5009006" y="1888419"/>
              <a:ext cx="1268296" cy="320257"/>
            </a:xfrm>
            <a:prstGeom prst="rect">
              <a:avLst/>
            </a:prstGeom>
            <a:noFill/>
          </p:spPr>
          <p:txBody>
            <a:bodyPr wrap="none" tIns="90000" bIns="90000" rtlCol="0" anchor="t">
              <a:spAutoFit/>
            </a:bodyPr>
            <a:lstStyle/>
            <a:p>
              <a:pPr algn="ctr" defTabSz="457200"/>
              <a:r>
                <a:rPr lang="en-US" sz="9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Name Events (Topic)</a:t>
              </a:r>
            </a:p>
          </p:txBody>
        </p:sp>
        <p:sp>
          <p:nvSpPr>
            <p:cNvPr id="1300" name="Rounded Rectangle 1299">
              <a:extLst>
                <a:ext uri="{FF2B5EF4-FFF2-40B4-BE49-F238E27FC236}">
                  <a16:creationId xmlns:a16="http://schemas.microsoft.com/office/drawing/2014/main" id="{1713AF15-8044-5E46-AE3F-2B9A7681BB79}"/>
                </a:ext>
              </a:extLst>
            </p:cNvPr>
            <p:cNvSpPr/>
            <p:nvPr/>
          </p:nvSpPr>
          <p:spPr>
            <a:xfrm>
              <a:off x="5076873" y="2164587"/>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301" name="Rounded Rectangle 1300">
              <a:extLst>
                <a:ext uri="{FF2B5EF4-FFF2-40B4-BE49-F238E27FC236}">
                  <a16:creationId xmlns:a16="http://schemas.microsoft.com/office/drawing/2014/main" id="{D94CCC01-30CD-2E4F-816D-37BB43131BCA}"/>
                </a:ext>
              </a:extLst>
            </p:cNvPr>
            <p:cNvSpPr/>
            <p:nvPr/>
          </p:nvSpPr>
          <p:spPr>
            <a:xfrm>
              <a:off x="5271036" y="2164586"/>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302" name="Rounded Rectangle 1301">
              <a:extLst>
                <a:ext uri="{FF2B5EF4-FFF2-40B4-BE49-F238E27FC236}">
                  <a16:creationId xmlns:a16="http://schemas.microsoft.com/office/drawing/2014/main" id="{A7CF89AA-078C-5F4D-9C8F-45FABBB88A9F}"/>
                </a:ext>
              </a:extLst>
            </p:cNvPr>
            <p:cNvSpPr/>
            <p:nvPr/>
          </p:nvSpPr>
          <p:spPr>
            <a:xfrm>
              <a:off x="5465199" y="2164586"/>
              <a:ext cx="180437"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303" name="Rounded Rectangle 1302">
              <a:extLst>
                <a:ext uri="{FF2B5EF4-FFF2-40B4-BE49-F238E27FC236}">
                  <a16:creationId xmlns:a16="http://schemas.microsoft.com/office/drawing/2014/main" id="{80A7EE0A-9223-334C-A7EF-B6EAF1074077}"/>
                </a:ext>
              </a:extLst>
            </p:cNvPr>
            <p:cNvSpPr/>
            <p:nvPr/>
          </p:nvSpPr>
          <p:spPr>
            <a:xfrm>
              <a:off x="5657608" y="2164864"/>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304" name="Rounded Rectangle 1303">
              <a:extLst>
                <a:ext uri="{FF2B5EF4-FFF2-40B4-BE49-F238E27FC236}">
                  <a16:creationId xmlns:a16="http://schemas.microsoft.com/office/drawing/2014/main" id="{E4FFCAC0-483A-F94A-A486-931BC9F0BB2C}"/>
                </a:ext>
              </a:extLst>
            </p:cNvPr>
            <p:cNvSpPr/>
            <p:nvPr/>
          </p:nvSpPr>
          <p:spPr>
            <a:xfrm>
              <a:off x="5838068" y="2158426"/>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305" name="TextBox 1304">
              <a:extLst>
                <a:ext uri="{FF2B5EF4-FFF2-40B4-BE49-F238E27FC236}">
                  <a16:creationId xmlns:a16="http://schemas.microsoft.com/office/drawing/2014/main" id="{D8B89A08-348F-3448-B3D1-FE0062868F09}"/>
                </a:ext>
              </a:extLst>
            </p:cNvPr>
            <p:cNvSpPr txBox="1"/>
            <p:nvPr/>
          </p:nvSpPr>
          <p:spPr>
            <a:xfrm>
              <a:off x="4876509" y="2272870"/>
              <a:ext cx="1268296" cy="320257"/>
            </a:xfrm>
            <a:prstGeom prst="rect">
              <a:avLst/>
            </a:prstGeom>
            <a:noFill/>
          </p:spPr>
          <p:txBody>
            <a:bodyPr wrap="none" tIns="90000" bIns="90000" rtlCol="0" anchor="t">
              <a:spAutoFit/>
            </a:bodyPr>
            <a:lstStyle/>
            <a:p>
              <a:pPr algn="ctr" defTabSz="457200"/>
              <a:r>
                <a:rPr lang="en-US" sz="9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Name Events (Topic)</a:t>
              </a:r>
            </a:p>
          </p:txBody>
        </p:sp>
        <p:sp>
          <p:nvSpPr>
            <p:cNvPr id="1306" name="Rounded Rectangle 1305">
              <a:extLst>
                <a:ext uri="{FF2B5EF4-FFF2-40B4-BE49-F238E27FC236}">
                  <a16:creationId xmlns:a16="http://schemas.microsoft.com/office/drawing/2014/main" id="{3D1BF25B-572B-7C45-BA83-9248D4168CCF}"/>
                </a:ext>
              </a:extLst>
            </p:cNvPr>
            <p:cNvSpPr/>
            <p:nvPr/>
          </p:nvSpPr>
          <p:spPr>
            <a:xfrm>
              <a:off x="5092623" y="2649896"/>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307" name="Rounded Rectangle 1306">
              <a:extLst>
                <a:ext uri="{FF2B5EF4-FFF2-40B4-BE49-F238E27FC236}">
                  <a16:creationId xmlns:a16="http://schemas.microsoft.com/office/drawing/2014/main" id="{9D7B181C-CF8F-C24E-8340-041FE79A198A}"/>
                </a:ext>
              </a:extLst>
            </p:cNvPr>
            <p:cNvSpPr/>
            <p:nvPr/>
          </p:nvSpPr>
          <p:spPr>
            <a:xfrm>
              <a:off x="5286786" y="2649895"/>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308" name="Rounded Rectangle 1307">
              <a:extLst>
                <a:ext uri="{FF2B5EF4-FFF2-40B4-BE49-F238E27FC236}">
                  <a16:creationId xmlns:a16="http://schemas.microsoft.com/office/drawing/2014/main" id="{C49DEE6D-36D9-AD42-B14C-8F4B91609379}"/>
                </a:ext>
              </a:extLst>
            </p:cNvPr>
            <p:cNvSpPr/>
            <p:nvPr/>
          </p:nvSpPr>
          <p:spPr>
            <a:xfrm>
              <a:off x="5480949" y="2649895"/>
              <a:ext cx="180437"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309" name="Rounded Rectangle 1308">
              <a:extLst>
                <a:ext uri="{FF2B5EF4-FFF2-40B4-BE49-F238E27FC236}">
                  <a16:creationId xmlns:a16="http://schemas.microsoft.com/office/drawing/2014/main" id="{A1D6B253-96C9-F048-B085-EDD644BEE584}"/>
                </a:ext>
              </a:extLst>
            </p:cNvPr>
            <p:cNvSpPr/>
            <p:nvPr/>
          </p:nvSpPr>
          <p:spPr>
            <a:xfrm>
              <a:off x="5673358" y="2650173"/>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310" name="Rounded Rectangle 1309">
              <a:extLst>
                <a:ext uri="{FF2B5EF4-FFF2-40B4-BE49-F238E27FC236}">
                  <a16:creationId xmlns:a16="http://schemas.microsoft.com/office/drawing/2014/main" id="{09DFA78A-3475-484E-B433-F5EB22A2C687}"/>
                </a:ext>
              </a:extLst>
            </p:cNvPr>
            <p:cNvSpPr/>
            <p:nvPr/>
          </p:nvSpPr>
          <p:spPr>
            <a:xfrm>
              <a:off x="5853818" y="2653567"/>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311" name="TextBox 1310">
              <a:extLst>
                <a:ext uri="{FF2B5EF4-FFF2-40B4-BE49-F238E27FC236}">
                  <a16:creationId xmlns:a16="http://schemas.microsoft.com/office/drawing/2014/main" id="{AF0001D6-2221-664C-B75C-52F8B7B51F8F}"/>
                </a:ext>
              </a:extLst>
            </p:cNvPr>
            <p:cNvSpPr txBox="1"/>
            <p:nvPr/>
          </p:nvSpPr>
          <p:spPr>
            <a:xfrm>
              <a:off x="4892259" y="2758179"/>
              <a:ext cx="1268296" cy="320257"/>
            </a:xfrm>
            <a:prstGeom prst="rect">
              <a:avLst/>
            </a:prstGeom>
            <a:noFill/>
          </p:spPr>
          <p:txBody>
            <a:bodyPr wrap="none" tIns="90000" bIns="90000" rtlCol="0" anchor="t">
              <a:spAutoFit/>
            </a:bodyPr>
            <a:lstStyle/>
            <a:p>
              <a:pPr algn="ctr" defTabSz="457200"/>
              <a:r>
                <a:rPr lang="en-US" sz="9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Name Events (Topic)</a:t>
              </a:r>
            </a:p>
          </p:txBody>
        </p:sp>
        <p:sp>
          <p:nvSpPr>
            <p:cNvPr id="1312" name="Rounded Rectangle 1311">
              <a:extLst>
                <a:ext uri="{FF2B5EF4-FFF2-40B4-BE49-F238E27FC236}">
                  <a16:creationId xmlns:a16="http://schemas.microsoft.com/office/drawing/2014/main" id="{370DF3DA-ABAE-FA45-A1DD-B4FFA47416BE}"/>
                </a:ext>
              </a:extLst>
            </p:cNvPr>
            <p:cNvSpPr/>
            <p:nvPr/>
          </p:nvSpPr>
          <p:spPr>
            <a:xfrm>
              <a:off x="5103159" y="3086711"/>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313" name="Rounded Rectangle 1312">
              <a:extLst>
                <a:ext uri="{FF2B5EF4-FFF2-40B4-BE49-F238E27FC236}">
                  <a16:creationId xmlns:a16="http://schemas.microsoft.com/office/drawing/2014/main" id="{23058112-28C0-A942-BE71-3C801C0DE9D5}"/>
                </a:ext>
              </a:extLst>
            </p:cNvPr>
            <p:cNvSpPr/>
            <p:nvPr/>
          </p:nvSpPr>
          <p:spPr>
            <a:xfrm>
              <a:off x="5297322" y="3086710"/>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314" name="Rounded Rectangle 1313">
              <a:extLst>
                <a:ext uri="{FF2B5EF4-FFF2-40B4-BE49-F238E27FC236}">
                  <a16:creationId xmlns:a16="http://schemas.microsoft.com/office/drawing/2014/main" id="{9D5EDAAA-ED68-FB48-87BB-A898D710CA14}"/>
                </a:ext>
              </a:extLst>
            </p:cNvPr>
            <p:cNvSpPr/>
            <p:nvPr/>
          </p:nvSpPr>
          <p:spPr>
            <a:xfrm>
              <a:off x="5491485" y="3084152"/>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315" name="Rounded Rectangle 1314">
              <a:extLst>
                <a:ext uri="{FF2B5EF4-FFF2-40B4-BE49-F238E27FC236}">
                  <a16:creationId xmlns:a16="http://schemas.microsoft.com/office/drawing/2014/main" id="{23272D6E-4AB4-864C-A843-1A00DD5C3677}"/>
                </a:ext>
              </a:extLst>
            </p:cNvPr>
            <p:cNvSpPr/>
            <p:nvPr/>
          </p:nvSpPr>
          <p:spPr>
            <a:xfrm>
              <a:off x="5674062" y="3086988"/>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316" name="Rounded Rectangle 1315">
              <a:extLst>
                <a:ext uri="{FF2B5EF4-FFF2-40B4-BE49-F238E27FC236}">
                  <a16:creationId xmlns:a16="http://schemas.microsoft.com/office/drawing/2014/main" id="{8831C3A8-6B18-A140-B80D-054A37907D68}"/>
                </a:ext>
              </a:extLst>
            </p:cNvPr>
            <p:cNvSpPr/>
            <p:nvPr/>
          </p:nvSpPr>
          <p:spPr>
            <a:xfrm>
              <a:off x="5864354" y="3090382"/>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317" name="TextBox 1316">
              <a:extLst>
                <a:ext uri="{FF2B5EF4-FFF2-40B4-BE49-F238E27FC236}">
                  <a16:creationId xmlns:a16="http://schemas.microsoft.com/office/drawing/2014/main" id="{A84F34EC-342D-8046-81BC-0B0EEC46D404}"/>
                </a:ext>
              </a:extLst>
            </p:cNvPr>
            <p:cNvSpPr txBox="1"/>
            <p:nvPr/>
          </p:nvSpPr>
          <p:spPr>
            <a:xfrm>
              <a:off x="4902795" y="3194994"/>
              <a:ext cx="1268296" cy="320257"/>
            </a:xfrm>
            <a:prstGeom prst="rect">
              <a:avLst/>
            </a:prstGeom>
            <a:noFill/>
          </p:spPr>
          <p:txBody>
            <a:bodyPr wrap="none" tIns="90000" bIns="90000" rtlCol="0" anchor="t">
              <a:spAutoFit/>
            </a:bodyPr>
            <a:lstStyle/>
            <a:p>
              <a:pPr algn="ctr" defTabSz="457200"/>
              <a:r>
                <a:rPr lang="en-US" sz="9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Name Events (Topic)</a:t>
              </a:r>
            </a:p>
          </p:txBody>
        </p:sp>
        <p:sp>
          <p:nvSpPr>
            <p:cNvPr id="1318" name="TextBox 1317">
              <a:extLst>
                <a:ext uri="{FF2B5EF4-FFF2-40B4-BE49-F238E27FC236}">
                  <a16:creationId xmlns:a16="http://schemas.microsoft.com/office/drawing/2014/main" id="{C0882F00-CFD6-EB4C-9B4F-697750EAB707}"/>
                </a:ext>
              </a:extLst>
            </p:cNvPr>
            <p:cNvSpPr txBox="1"/>
            <p:nvPr/>
          </p:nvSpPr>
          <p:spPr>
            <a:xfrm>
              <a:off x="4897923" y="3662657"/>
              <a:ext cx="1268296" cy="320257"/>
            </a:xfrm>
            <a:prstGeom prst="rect">
              <a:avLst/>
            </a:prstGeom>
            <a:noFill/>
          </p:spPr>
          <p:txBody>
            <a:bodyPr wrap="none" tIns="90000" bIns="90000" rtlCol="0" anchor="t">
              <a:spAutoFit/>
            </a:bodyPr>
            <a:lstStyle/>
            <a:p>
              <a:pPr algn="ctr" defTabSz="457200"/>
              <a:r>
                <a:rPr lang="en-US" sz="9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Name Events (Topic)</a:t>
              </a:r>
            </a:p>
          </p:txBody>
        </p:sp>
        <p:sp>
          <p:nvSpPr>
            <p:cNvPr id="1319" name="TextBox 1318">
              <a:extLst>
                <a:ext uri="{FF2B5EF4-FFF2-40B4-BE49-F238E27FC236}">
                  <a16:creationId xmlns:a16="http://schemas.microsoft.com/office/drawing/2014/main" id="{A87AAA7E-6986-104D-B122-048F84C25AE5}"/>
                </a:ext>
              </a:extLst>
            </p:cNvPr>
            <p:cNvSpPr txBox="1"/>
            <p:nvPr/>
          </p:nvSpPr>
          <p:spPr>
            <a:xfrm>
              <a:off x="4921611" y="4098276"/>
              <a:ext cx="1268296" cy="320257"/>
            </a:xfrm>
            <a:prstGeom prst="rect">
              <a:avLst/>
            </a:prstGeom>
            <a:noFill/>
          </p:spPr>
          <p:txBody>
            <a:bodyPr wrap="none" tIns="90000" bIns="90000" rtlCol="0" anchor="t">
              <a:spAutoFit/>
            </a:bodyPr>
            <a:lstStyle/>
            <a:p>
              <a:pPr algn="ctr" defTabSz="457200"/>
              <a:r>
                <a:rPr lang="en-US" sz="9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Name Events (Topic)</a:t>
              </a:r>
            </a:p>
          </p:txBody>
        </p:sp>
        <p:sp>
          <p:nvSpPr>
            <p:cNvPr id="1320" name="Rounded Rectangle 1319">
              <a:extLst>
                <a:ext uri="{FF2B5EF4-FFF2-40B4-BE49-F238E27FC236}">
                  <a16:creationId xmlns:a16="http://schemas.microsoft.com/office/drawing/2014/main" id="{A690B6AC-7494-DB4B-A0DC-B1591C1FDDD8}"/>
                </a:ext>
              </a:extLst>
            </p:cNvPr>
            <p:cNvSpPr/>
            <p:nvPr/>
          </p:nvSpPr>
          <p:spPr>
            <a:xfrm>
              <a:off x="5044812" y="1683032"/>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321" name="Rounded Rectangle 1320">
              <a:extLst>
                <a:ext uri="{FF2B5EF4-FFF2-40B4-BE49-F238E27FC236}">
                  <a16:creationId xmlns:a16="http://schemas.microsoft.com/office/drawing/2014/main" id="{DD3452D7-9D3B-0B45-B565-84B65B914F4F}"/>
                </a:ext>
              </a:extLst>
            </p:cNvPr>
            <p:cNvSpPr/>
            <p:nvPr/>
          </p:nvSpPr>
          <p:spPr>
            <a:xfrm>
              <a:off x="5238975" y="1683031"/>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322" name="Rounded Rectangle 1321">
              <a:extLst>
                <a:ext uri="{FF2B5EF4-FFF2-40B4-BE49-F238E27FC236}">
                  <a16:creationId xmlns:a16="http://schemas.microsoft.com/office/drawing/2014/main" id="{2A625518-0B4A-6C46-A8FF-0ABA319D7611}"/>
                </a:ext>
              </a:extLst>
            </p:cNvPr>
            <p:cNvSpPr/>
            <p:nvPr/>
          </p:nvSpPr>
          <p:spPr>
            <a:xfrm>
              <a:off x="5433138" y="1680473"/>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323" name="Rounded Rectangle 1322">
              <a:extLst>
                <a:ext uri="{FF2B5EF4-FFF2-40B4-BE49-F238E27FC236}">
                  <a16:creationId xmlns:a16="http://schemas.microsoft.com/office/drawing/2014/main" id="{9303E265-C3C2-5640-B418-FC9A730B77CE}"/>
                </a:ext>
              </a:extLst>
            </p:cNvPr>
            <p:cNvSpPr/>
            <p:nvPr/>
          </p:nvSpPr>
          <p:spPr>
            <a:xfrm>
              <a:off x="5625547" y="1683309"/>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324" name="Rounded Rectangle 1323">
              <a:extLst>
                <a:ext uri="{FF2B5EF4-FFF2-40B4-BE49-F238E27FC236}">
                  <a16:creationId xmlns:a16="http://schemas.microsoft.com/office/drawing/2014/main" id="{5494598C-986E-A146-84A2-C8AF484B8FB0}"/>
                </a:ext>
              </a:extLst>
            </p:cNvPr>
            <p:cNvSpPr/>
            <p:nvPr/>
          </p:nvSpPr>
          <p:spPr>
            <a:xfrm>
              <a:off x="5816281" y="1687145"/>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325" name="TextBox 1324">
              <a:extLst>
                <a:ext uri="{FF2B5EF4-FFF2-40B4-BE49-F238E27FC236}">
                  <a16:creationId xmlns:a16="http://schemas.microsoft.com/office/drawing/2014/main" id="{FD20B3FC-A605-4443-AF97-BF46CA213D3D}"/>
                </a:ext>
              </a:extLst>
            </p:cNvPr>
            <p:cNvSpPr txBox="1"/>
            <p:nvPr/>
          </p:nvSpPr>
          <p:spPr>
            <a:xfrm>
              <a:off x="4844448" y="1791315"/>
              <a:ext cx="1268296" cy="320257"/>
            </a:xfrm>
            <a:prstGeom prst="rect">
              <a:avLst/>
            </a:prstGeom>
            <a:noFill/>
          </p:spPr>
          <p:txBody>
            <a:bodyPr wrap="none" tIns="90000" bIns="90000" rtlCol="0" anchor="t">
              <a:spAutoFit/>
            </a:bodyPr>
            <a:lstStyle/>
            <a:p>
              <a:pPr algn="ctr" defTabSz="457200"/>
              <a:r>
                <a:rPr lang="en-US" sz="9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Name Events (Topic)</a:t>
              </a:r>
            </a:p>
          </p:txBody>
        </p:sp>
        <p:sp>
          <p:nvSpPr>
            <p:cNvPr id="1326" name="TextBox 1325">
              <a:extLst>
                <a:ext uri="{FF2B5EF4-FFF2-40B4-BE49-F238E27FC236}">
                  <a16:creationId xmlns:a16="http://schemas.microsoft.com/office/drawing/2014/main" id="{618A9997-E91E-6349-94C7-D09801CDD24D}"/>
                </a:ext>
              </a:extLst>
            </p:cNvPr>
            <p:cNvSpPr txBox="1"/>
            <p:nvPr/>
          </p:nvSpPr>
          <p:spPr>
            <a:xfrm>
              <a:off x="4755752" y="2185593"/>
              <a:ext cx="1268296" cy="320257"/>
            </a:xfrm>
            <a:prstGeom prst="rect">
              <a:avLst/>
            </a:prstGeom>
            <a:noFill/>
          </p:spPr>
          <p:txBody>
            <a:bodyPr wrap="none" tIns="90000" bIns="90000" rtlCol="0" anchor="t">
              <a:spAutoFit/>
            </a:bodyPr>
            <a:lstStyle/>
            <a:p>
              <a:pPr algn="ctr" defTabSz="457200"/>
              <a:r>
                <a:rPr lang="en-US" sz="9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Name Events (Topic)</a:t>
              </a:r>
            </a:p>
          </p:txBody>
        </p:sp>
        <p:sp>
          <p:nvSpPr>
            <p:cNvPr id="1327" name="TextBox 1326">
              <a:extLst>
                <a:ext uri="{FF2B5EF4-FFF2-40B4-BE49-F238E27FC236}">
                  <a16:creationId xmlns:a16="http://schemas.microsoft.com/office/drawing/2014/main" id="{6D679CEA-1650-8D4F-83CD-BCFD025F763F}"/>
                </a:ext>
              </a:extLst>
            </p:cNvPr>
            <p:cNvSpPr txBox="1"/>
            <p:nvPr/>
          </p:nvSpPr>
          <p:spPr>
            <a:xfrm>
              <a:off x="4701223" y="2662188"/>
              <a:ext cx="1268296" cy="320257"/>
            </a:xfrm>
            <a:prstGeom prst="rect">
              <a:avLst/>
            </a:prstGeom>
            <a:noFill/>
          </p:spPr>
          <p:txBody>
            <a:bodyPr wrap="none" tIns="90000" bIns="90000" rtlCol="0" anchor="t">
              <a:spAutoFit/>
            </a:bodyPr>
            <a:lstStyle/>
            <a:p>
              <a:pPr algn="ctr" defTabSz="457200"/>
              <a:r>
                <a:rPr lang="en-US" sz="9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Name Events (Topic)</a:t>
              </a:r>
            </a:p>
          </p:txBody>
        </p:sp>
        <p:sp>
          <p:nvSpPr>
            <p:cNvPr id="1328" name="Rounded Rectangle 1327">
              <a:extLst>
                <a:ext uri="{FF2B5EF4-FFF2-40B4-BE49-F238E27FC236}">
                  <a16:creationId xmlns:a16="http://schemas.microsoft.com/office/drawing/2014/main" id="{3D899080-06D3-124B-A444-61178697FE18}"/>
                </a:ext>
              </a:extLst>
            </p:cNvPr>
            <p:cNvSpPr/>
            <p:nvPr/>
          </p:nvSpPr>
          <p:spPr>
            <a:xfrm>
              <a:off x="4917337" y="3039214"/>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329" name="Rounded Rectangle 1328">
              <a:extLst>
                <a:ext uri="{FF2B5EF4-FFF2-40B4-BE49-F238E27FC236}">
                  <a16:creationId xmlns:a16="http://schemas.microsoft.com/office/drawing/2014/main" id="{FBEC7C1D-28FD-364F-9B37-06FE67335651}"/>
                </a:ext>
              </a:extLst>
            </p:cNvPr>
            <p:cNvSpPr/>
            <p:nvPr/>
          </p:nvSpPr>
          <p:spPr>
            <a:xfrm>
              <a:off x="5111500" y="3039213"/>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330" name="Rounded Rectangle 1329">
              <a:extLst>
                <a:ext uri="{FF2B5EF4-FFF2-40B4-BE49-F238E27FC236}">
                  <a16:creationId xmlns:a16="http://schemas.microsoft.com/office/drawing/2014/main" id="{80458FDC-1D12-E14C-8B34-FD01A2523DD8}"/>
                </a:ext>
              </a:extLst>
            </p:cNvPr>
            <p:cNvSpPr/>
            <p:nvPr/>
          </p:nvSpPr>
          <p:spPr>
            <a:xfrm>
              <a:off x="5305663" y="3039213"/>
              <a:ext cx="180437"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331" name="Rounded Rectangle 1330">
              <a:extLst>
                <a:ext uri="{FF2B5EF4-FFF2-40B4-BE49-F238E27FC236}">
                  <a16:creationId xmlns:a16="http://schemas.microsoft.com/office/drawing/2014/main" id="{4B6D9891-DACD-D246-9D6B-84F582A8C4E1}"/>
                </a:ext>
              </a:extLst>
            </p:cNvPr>
            <p:cNvSpPr/>
            <p:nvPr/>
          </p:nvSpPr>
          <p:spPr>
            <a:xfrm>
              <a:off x="5498072" y="3039491"/>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332" name="Rounded Rectangle 1331">
              <a:extLst>
                <a:ext uri="{FF2B5EF4-FFF2-40B4-BE49-F238E27FC236}">
                  <a16:creationId xmlns:a16="http://schemas.microsoft.com/office/drawing/2014/main" id="{75891675-F4CA-7843-A2A9-FE3EF74ED3B1}"/>
                </a:ext>
              </a:extLst>
            </p:cNvPr>
            <p:cNvSpPr/>
            <p:nvPr/>
          </p:nvSpPr>
          <p:spPr>
            <a:xfrm>
              <a:off x="5678532" y="3042885"/>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333" name="Rounded Rectangle 1332">
              <a:extLst>
                <a:ext uri="{FF2B5EF4-FFF2-40B4-BE49-F238E27FC236}">
                  <a16:creationId xmlns:a16="http://schemas.microsoft.com/office/drawing/2014/main" id="{2AE8C2AA-2332-8D40-930C-FDC1294DA368}"/>
                </a:ext>
              </a:extLst>
            </p:cNvPr>
            <p:cNvSpPr/>
            <p:nvPr/>
          </p:nvSpPr>
          <p:spPr>
            <a:xfrm>
              <a:off x="5872695" y="3042884"/>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334" name="TextBox 1333">
              <a:extLst>
                <a:ext uri="{FF2B5EF4-FFF2-40B4-BE49-F238E27FC236}">
                  <a16:creationId xmlns:a16="http://schemas.microsoft.com/office/drawing/2014/main" id="{85E7D424-AFEB-914C-AF95-97001BF78192}"/>
                </a:ext>
              </a:extLst>
            </p:cNvPr>
            <p:cNvSpPr txBox="1"/>
            <p:nvPr/>
          </p:nvSpPr>
          <p:spPr>
            <a:xfrm>
              <a:off x="4716973" y="3147497"/>
              <a:ext cx="1268296" cy="320257"/>
            </a:xfrm>
            <a:prstGeom prst="rect">
              <a:avLst/>
            </a:prstGeom>
            <a:noFill/>
          </p:spPr>
          <p:txBody>
            <a:bodyPr wrap="none" tIns="90000" bIns="90000" rtlCol="0" anchor="t">
              <a:spAutoFit/>
            </a:bodyPr>
            <a:lstStyle/>
            <a:p>
              <a:pPr algn="ctr" defTabSz="457200"/>
              <a:r>
                <a:rPr lang="en-US" sz="9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Name Events (Topic)</a:t>
              </a:r>
            </a:p>
          </p:txBody>
        </p:sp>
        <p:sp>
          <p:nvSpPr>
            <p:cNvPr id="1335" name="TextBox 1334">
              <a:extLst>
                <a:ext uri="{FF2B5EF4-FFF2-40B4-BE49-F238E27FC236}">
                  <a16:creationId xmlns:a16="http://schemas.microsoft.com/office/drawing/2014/main" id="{1D5203A7-84BF-7249-93D6-F32D9FB4ECC3}"/>
                </a:ext>
              </a:extLst>
            </p:cNvPr>
            <p:cNvSpPr txBox="1"/>
            <p:nvPr/>
          </p:nvSpPr>
          <p:spPr>
            <a:xfrm>
              <a:off x="4727509" y="3584312"/>
              <a:ext cx="1268296" cy="320257"/>
            </a:xfrm>
            <a:prstGeom prst="rect">
              <a:avLst/>
            </a:prstGeom>
            <a:noFill/>
          </p:spPr>
          <p:txBody>
            <a:bodyPr wrap="none" tIns="90000" bIns="90000" rtlCol="0" anchor="t">
              <a:spAutoFit/>
            </a:bodyPr>
            <a:lstStyle/>
            <a:p>
              <a:pPr algn="ctr" defTabSz="457200"/>
              <a:r>
                <a:rPr lang="en-US" sz="9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Name Events (Topic)</a:t>
              </a:r>
            </a:p>
          </p:txBody>
        </p:sp>
        <p:sp>
          <p:nvSpPr>
            <p:cNvPr id="1336" name="TextBox 1335">
              <a:extLst>
                <a:ext uri="{FF2B5EF4-FFF2-40B4-BE49-F238E27FC236}">
                  <a16:creationId xmlns:a16="http://schemas.microsoft.com/office/drawing/2014/main" id="{991D189B-DFD4-AF44-A168-31FF617A1A76}"/>
                </a:ext>
              </a:extLst>
            </p:cNvPr>
            <p:cNvSpPr txBox="1"/>
            <p:nvPr/>
          </p:nvSpPr>
          <p:spPr>
            <a:xfrm>
              <a:off x="4722637" y="4051975"/>
              <a:ext cx="1268296" cy="320257"/>
            </a:xfrm>
            <a:prstGeom prst="rect">
              <a:avLst/>
            </a:prstGeom>
            <a:noFill/>
          </p:spPr>
          <p:txBody>
            <a:bodyPr wrap="none" tIns="90000" bIns="90000" rtlCol="0" anchor="t">
              <a:spAutoFit/>
            </a:bodyPr>
            <a:lstStyle/>
            <a:p>
              <a:pPr algn="ctr" defTabSz="457200"/>
              <a:r>
                <a:rPr lang="en-US" sz="9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Name Events (Topic)</a:t>
              </a:r>
            </a:p>
          </p:txBody>
        </p:sp>
        <p:sp>
          <p:nvSpPr>
            <p:cNvPr id="1337" name="Rounded Rectangle 1336">
              <a:extLst>
                <a:ext uri="{FF2B5EF4-FFF2-40B4-BE49-F238E27FC236}">
                  <a16:creationId xmlns:a16="http://schemas.microsoft.com/office/drawing/2014/main" id="{B00BA93A-7A74-AE48-8483-EF0CA84FD2AE}"/>
                </a:ext>
              </a:extLst>
            </p:cNvPr>
            <p:cNvSpPr/>
            <p:nvPr/>
          </p:nvSpPr>
          <p:spPr>
            <a:xfrm>
              <a:off x="4659160" y="1635818"/>
              <a:ext cx="1519745" cy="3421418"/>
            </a:xfrm>
            <a:prstGeom prst="roundRect">
              <a:avLst/>
            </a:prstGeom>
            <a:solidFill>
              <a:schemeClr val="bg1">
                <a:lumMod val="95000"/>
              </a:schemeClr>
            </a:solidFill>
            <a:ln w="3175">
              <a:solidFill>
                <a:schemeClr val="bg1">
                  <a:lumMod val="50000"/>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600" b="1" dirty="0">
                  <a:solidFill>
                    <a:schemeClr val="bg1">
                      <a:lumMod val="50000"/>
                    </a:schemeClr>
                  </a:solidFill>
                  <a:latin typeface="+mj-lt"/>
                  <a:ea typeface="Nanum Pen Script" panose="03040600000000000000" pitchFamily="66" charset="-127"/>
                </a:rPr>
                <a:t>Kafka Cluster </a:t>
              </a:r>
            </a:p>
            <a:p>
              <a:r>
                <a:rPr lang="en-US" sz="600" b="1" dirty="0">
                  <a:solidFill>
                    <a:schemeClr val="bg1">
                      <a:lumMod val="50000"/>
                    </a:schemeClr>
                  </a:solidFill>
                  <a:latin typeface="+mj-lt"/>
                  <a:ea typeface="Nanum Pen Script" panose="03040600000000000000" pitchFamily="66" charset="-127"/>
                </a:rPr>
                <a:t>(Brokers, Zookeeper)</a:t>
              </a:r>
            </a:p>
            <a:p>
              <a:pPr algn="ctr"/>
              <a:endParaRPr lang="en-US" sz="700" b="1" dirty="0">
                <a:solidFill>
                  <a:schemeClr val="bg1">
                    <a:lumMod val="50000"/>
                  </a:schemeClr>
                </a:solidFill>
                <a:latin typeface="+mj-lt"/>
                <a:ea typeface="Nanum Pen Script" panose="03040600000000000000" pitchFamily="66" charset="-127"/>
              </a:endParaRPr>
            </a:p>
            <a:p>
              <a:pPr algn="ctr"/>
              <a:endParaRPr lang="en-US" sz="700" b="1" dirty="0">
                <a:solidFill>
                  <a:schemeClr val="bg1">
                    <a:lumMod val="50000"/>
                  </a:schemeClr>
                </a:solidFill>
                <a:latin typeface="+mj-lt"/>
                <a:ea typeface="Nanum Pen Script" panose="03040600000000000000" pitchFamily="66" charset="-127"/>
              </a:endParaRPr>
            </a:p>
            <a:p>
              <a:pPr algn="ctr"/>
              <a:endParaRPr lang="en-US" sz="700" b="1" dirty="0">
                <a:solidFill>
                  <a:schemeClr val="bg1">
                    <a:lumMod val="50000"/>
                  </a:schemeClr>
                </a:solidFill>
                <a:latin typeface="+mj-lt"/>
                <a:ea typeface="Nanum Pen Script" panose="03040600000000000000" pitchFamily="66" charset="-127"/>
              </a:endParaRPr>
            </a:p>
            <a:p>
              <a:pPr algn="ctr"/>
              <a:endParaRPr lang="en-US" sz="600" b="1" dirty="0">
                <a:solidFill>
                  <a:schemeClr val="bg1">
                    <a:lumMod val="50000"/>
                  </a:schemeClr>
                </a:solidFill>
                <a:latin typeface="+mj-lt"/>
                <a:ea typeface="Nanum Pen Script" panose="03040600000000000000" pitchFamily="66" charset="-127"/>
              </a:endParaRPr>
            </a:p>
            <a:p>
              <a:pPr algn="ctr"/>
              <a:endParaRPr lang="en-US" sz="600" b="1" dirty="0">
                <a:solidFill>
                  <a:schemeClr val="bg1">
                    <a:lumMod val="50000"/>
                  </a:schemeClr>
                </a:solidFill>
                <a:latin typeface="+mj-lt"/>
                <a:ea typeface="Nanum Pen Script" panose="03040600000000000000" pitchFamily="66" charset="-127"/>
              </a:endParaRPr>
            </a:p>
            <a:p>
              <a:pPr algn="ctr"/>
              <a:endParaRPr lang="en-US" sz="600" b="1" dirty="0">
                <a:solidFill>
                  <a:schemeClr val="bg1">
                    <a:lumMod val="50000"/>
                  </a:schemeClr>
                </a:solidFill>
                <a:latin typeface="+mj-lt"/>
                <a:ea typeface="Nanum Pen Script" panose="03040600000000000000" pitchFamily="66" charset="-127"/>
              </a:endParaRPr>
            </a:p>
            <a:p>
              <a:pPr algn="ctr"/>
              <a:endParaRPr lang="en-US" sz="600" b="1" dirty="0">
                <a:solidFill>
                  <a:schemeClr val="bg1">
                    <a:lumMod val="50000"/>
                  </a:schemeClr>
                </a:solidFill>
                <a:latin typeface="+mj-lt"/>
                <a:ea typeface="Nanum Pen Script" panose="03040600000000000000" pitchFamily="66" charset="-127"/>
              </a:endParaRPr>
            </a:p>
            <a:p>
              <a:pPr algn="ctr"/>
              <a:endParaRPr lang="en-US" sz="1400" dirty="0">
                <a:solidFill>
                  <a:schemeClr val="tx1"/>
                </a:solidFill>
                <a:latin typeface="+mj-lt"/>
                <a:ea typeface="Nanum Pen Script" panose="03040600000000000000" pitchFamily="66" charset="-127"/>
              </a:endParaRPr>
            </a:p>
            <a:p>
              <a:pPr algn="ctr"/>
              <a:endParaRPr lang="en-US" sz="1400" dirty="0">
                <a:solidFill>
                  <a:schemeClr val="tx1"/>
                </a:solidFill>
                <a:latin typeface="+mj-lt"/>
                <a:ea typeface="Nanum Pen Script" panose="03040600000000000000" pitchFamily="66" charset="-127"/>
              </a:endParaRPr>
            </a:p>
          </p:txBody>
        </p:sp>
        <p:sp>
          <p:nvSpPr>
            <p:cNvPr id="1338" name="TextBox 1337">
              <a:extLst>
                <a:ext uri="{FF2B5EF4-FFF2-40B4-BE49-F238E27FC236}">
                  <a16:creationId xmlns:a16="http://schemas.microsoft.com/office/drawing/2014/main" id="{59B0BF97-47E4-4747-995D-F48B606E7765}"/>
                </a:ext>
              </a:extLst>
            </p:cNvPr>
            <p:cNvSpPr txBox="1"/>
            <p:nvPr/>
          </p:nvSpPr>
          <p:spPr>
            <a:xfrm>
              <a:off x="4795155" y="2085549"/>
              <a:ext cx="1027845" cy="289480"/>
            </a:xfrm>
            <a:prstGeom prst="rect">
              <a:avLst/>
            </a:prstGeom>
            <a:noFill/>
          </p:spPr>
          <p:txBody>
            <a:bodyPr wrap="none" tIns="90000" bIns="90000" rtlCol="0" anchor="t">
              <a:spAutoFit/>
            </a:bodyPr>
            <a:lstStyle/>
            <a:p>
              <a:pPr algn="ctr" defTabSz="457200"/>
              <a:r>
                <a:rPr lang="en-US" sz="7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Name Events (Topic)</a:t>
              </a:r>
            </a:p>
          </p:txBody>
        </p:sp>
        <p:sp>
          <p:nvSpPr>
            <p:cNvPr id="1339" name="TextBox 1338">
              <a:extLst>
                <a:ext uri="{FF2B5EF4-FFF2-40B4-BE49-F238E27FC236}">
                  <a16:creationId xmlns:a16="http://schemas.microsoft.com/office/drawing/2014/main" id="{C6F24E29-CF11-2146-91C8-D36714D106EB}"/>
                </a:ext>
              </a:extLst>
            </p:cNvPr>
            <p:cNvSpPr txBox="1"/>
            <p:nvPr/>
          </p:nvSpPr>
          <p:spPr>
            <a:xfrm>
              <a:off x="4784427" y="2571971"/>
              <a:ext cx="1027845" cy="289480"/>
            </a:xfrm>
            <a:prstGeom prst="rect">
              <a:avLst/>
            </a:prstGeom>
            <a:noFill/>
          </p:spPr>
          <p:txBody>
            <a:bodyPr wrap="none" tIns="90000" bIns="90000" rtlCol="0" anchor="t">
              <a:spAutoFit/>
            </a:bodyPr>
            <a:lstStyle/>
            <a:p>
              <a:pPr algn="ctr" defTabSz="457200"/>
              <a:r>
                <a:rPr lang="en-US" sz="7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Name Events (Topic)</a:t>
              </a:r>
            </a:p>
          </p:txBody>
        </p:sp>
        <p:sp>
          <p:nvSpPr>
            <p:cNvPr id="1340" name="TextBox 1339">
              <a:extLst>
                <a:ext uri="{FF2B5EF4-FFF2-40B4-BE49-F238E27FC236}">
                  <a16:creationId xmlns:a16="http://schemas.microsoft.com/office/drawing/2014/main" id="{4EDEA0FF-F37C-1940-AA83-41D5289DC985}"/>
                </a:ext>
              </a:extLst>
            </p:cNvPr>
            <p:cNvSpPr txBox="1"/>
            <p:nvPr/>
          </p:nvSpPr>
          <p:spPr>
            <a:xfrm>
              <a:off x="4729898" y="3048566"/>
              <a:ext cx="1027845" cy="289480"/>
            </a:xfrm>
            <a:prstGeom prst="rect">
              <a:avLst/>
            </a:prstGeom>
            <a:noFill/>
          </p:spPr>
          <p:txBody>
            <a:bodyPr wrap="none" tIns="90000" bIns="90000" rtlCol="0" anchor="t">
              <a:spAutoFit/>
            </a:bodyPr>
            <a:lstStyle/>
            <a:p>
              <a:pPr algn="ctr" defTabSz="457200"/>
              <a:r>
                <a:rPr lang="en-US" sz="7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Name Events (Topic)</a:t>
              </a:r>
            </a:p>
          </p:txBody>
        </p:sp>
        <p:sp>
          <p:nvSpPr>
            <p:cNvPr id="1341" name="TextBox 1340">
              <a:extLst>
                <a:ext uri="{FF2B5EF4-FFF2-40B4-BE49-F238E27FC236}">
                  <a16:creationId xmlns:a16="http://schemas.microsoft.com/office/drawing/2014/main" id="{1E4D7780-6A03-8F4A-994B-2F301729FDFD}"/>
                </a:ext>
              </a:extLst>
            </p:cNvPr>
            <p:cNvSpPr txBox="1"/>
            <p:nvPr/>
          </p:nvSpPr>
          <p:spPr>
            <a:xfrm>
              <a:off x="4745648" y="3533875"/>
              <a:ext cx="1027845" cy="289480"/>
            </a:xfrm>
            <a:prstGeom prst="rect">
              <a:avLst/>
            </a:prstGeom>
            <a:noFill/>
          </p:spPr>
          <p:txBody>
            <a:bodyPr wrap="none" tIns="90000" bIns="90000" rtlCol="0" anchor="t">
              <a:spAutoFit/>
            </a:bodyPr>
            <a:lstStyle/>
            <a:p>
              <a:pPr algn="ctr" defTabSz="457200"/>
              <a:r>
                <a:rPr lang="en-US" sz="7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Name Events (Topic)</a:t>
              </a:r>
            </a:p>
          </p:txBody>
        </p:sp>
        <p:sp>
          <p:nvSpPr>
            <p:cNvPr id="1342" name="TextBox 1341">
              <a:extLst>
                <a:ext uri="{FF2B5EF4-FFF2-40B4-BE49-F238E27FC236}">
                  <a16:creationId xmlns:a16="http://schemas.microsoft.com/office/drawing/2014/main" id="{381DB1EE-D372-0F41-9350-E188329EF096}"/>
                </a:ext>
              </a:extLst>
            </p:cNvPr>
            <p:cNvSpPr txBox="1"/>
            <p:nvPr/>
          </p:nvSpPr>
          <p:spPr>
            <a:xfrm>
              <a:off x="4756184" y="3970690"/>
              <a:ext cx="1027845" cy="289480"/>
            </a:xfrm>
            <a:prstGeom prst="rect">
              <a:avLst/>
            </a:prstGeom>
            <a:noFill/>
          </p:spPr>
          <p:txBody>
            <a:bodyPr wrap="none" tIns="90000" bIns="90000" rtlCol="0" anchor="t">
              <a:spAutoFit/>
            </a:bodyPr>
            <a:lstStyle/>
            <a:p>
              <a:pPr algn="ctr" defTabSz="457200"/>
              <a:r>
                <a:rPr lang="en-US" sz="7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Name Events (Topic)</a:t>
              </a:r>
            </a:p>
          </p:txBody>
        </p:sp>
        <p:sp>
          <p:nvSpPr>
            <p:cNvPr id="1343" name="TextBox 1342">
              <a:extLst>
                <a:ext uri="{FF2B5EF4-FFF2-40B4-BE49-F238E27FC236}">
                  <a16:creationId xmlns:a16="http://schemas.microsoft.com/office/drawing/2014/main" id="{4D41EFE1-BB33-9B4D-99AC-B1E2BF7C560C}"/>
                </a:ext>
              </a:extLst>
            </p:cNvPr>
            <p:cNvSpPr txBox="1"/>
            <p:nvPr/>
          </p:nvSpPr>
          <p:spPr>
            <a:xfrm>
              <a:off x="4751312" y="4438353"/>
              <a:ext cx="1027845" cy="289480"/>
            </a:xfrm>
            <a:prstGeom prst="rect">
              <a:avLst/>
            </a:prstGeom>
            <a:noFill/>
          </p:spPr>
          <p:txBody>
            <a:bodyPr wrap="none" tIns="90000" bIns="90000" rtlCol="0" anchor="t">
              <a:spAutoFit/>
            </a:bodyPr>
            <a:lstStyle/>
            <a:p>
              <a:pPr algn="ctr" defTabSz="457200"/>
              <a:r>
                <a:rPr lang="en-US" sz="7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Name Events (Topic)</a:t>
              </a:r>
            </a:p>
          </p:txBody>
        </p:sp>
        <p:sp>
          <p:nvSpPr>
            <p:cNvPr id="1345" name="Rounded Rectangle 1344">
              <a:extLst>
                <a:ext uri="{FF2B5EF4-FFF2-40B4-BE49-F238E27FC236}">
                  <a16:creationId xmlns:a16="http://schemas.microsoft.com/office/drawing/2014/main" id="{999E8248-2CE4-F649-820F-266DAC497253}"/>
                </a:ext>
              </a:extLst>
            </p:cNvPr>
            <p:cNvSpPr/>
            <p:nvPr/>
          </p:nvSpPr>
          <p:spPr>
            <a:xfrm>
              <a:off x="4842611" y="2353182"/>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346" name="Rounded Rectangle 1345">
              <a:extLst>
                <a:ext uri="{FF2B5EF4-FFF2-40B4-BE49-F238E27FC236}">
                  <a16:creationId xmlns:a16="http://schemas.microsoft.com/office/drawing/2014/main" id="{033D4858-687E-464D-829C-98DA465FF737}"/>
                </a:ext>
              </a:extLst>
            </p:cNvPr>
            <p:cNvSpPr/>
            <p:nvPr/>
          </p:nvSpPr>
          <p:spPr>
            <a:xfrm>
              <a:off x="4932320" y="2351718"/>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347" name="Rounded Rectangle 1346">
              <a:extLst>
                <a:ext uri="{FF2B5EF4-FFF2-40B4-BE49-F238E27FC236}">
                  <a16:creationId xmlns:a16="http://schemas.microsoft.com/office/drawing/2014/main" id="{FF310A8F-3308-354A-92B8-79C5F4E52DB1}"/>
                </a:ext>
              </a:extLst>
            </p:cNvPr>
            <p:cNvSpPr/>
            <p:nvPr/>
          </p:nvSpPr>
          <p:spPr>
            <a:xfrm>
              <a:off x="5015611" y="2352450"/>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348" name="Rounded Rectangle 1347">
              <a:extLst>
                <a:ext uri="{FF2B5EF4-FFF2-40B4-BE49-F238E27FC236}">
                  <a16:creationId xmlns:a16="http://schemas.microsoft.com/office/drawing/2014/main" id="{259C3DE8-5050-084B-9F32-742267EF6C4F}"/>
                </a:ext>
              </a:extLst>
            </p:cNvPr>
            <p:cNvSpPr/>
            <p:nvPr/>
          </p:nvSpPr>
          <p:spPr>
            <a:xfrm>
              <a:off x="5105320" y="2350986"/>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349" name="Rounded Rectangle 1348">
              <a:extLst>
                <a:ext uri="{FF2B5EF4-FFF2-40B4-BE49-F238E27FC236}">
                  <a16:creationId xmlns:a16="http://schemas.microsoft.com/office/drawing/2014/main" id="{E00460C9-5DC9-CA48-A93B-2DBB30C27F89}"/>
                </a:ext>
              </a:extLst>
            </p:cNvPr>
            <p:cNvSpPr/>
            <p:nvPr/>
          </p:nvSpPr>
          <p:spPr>
            <a:xfrm>
              <a:off x="5190138" y="2350175"/>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350" name="Rounded Rectangle 1349">
              <a:extLst>
                <a:ext uri="{FF2B5EF4-FFF2-40B4-BE49-F238E27FC236}">
                  <a16:creationId xmlns:a16="http://schemas.microsoft.com/office/drawing/2014/main" id="{71D1142A-023A-EC43-AABF-3C5C823AF945}"/>
                </a:ext>
              </a:extLst>
            </p:cNvPr>
            <p:cNvSpPr/>
            <p:nvPr/>
          </p:nvSpPr>
          <p:spPr>
            <a:xfrm>
              <a:off x="5279847" y="2346655"/>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351" name="Rounded Rectangle 1350">
              <a:extLst>
                <a:ext uri="{FF2B5EF4-FFF2-40B4-BE49-F238E27FC236}">
                  <a16:creationId xmlns:a16="http://schemas.microsoft.com/office/drawing/2014/main" id="{BF6ACD7F-7691-CF4D-9101-BB1D39EE8279}"/>
                </a:ext>
              </a:extLst>
            </p:cNvPr>
            <p:cNvSpPr/>
            <p:nvPr/>
          </p:nvSpPr>
          <p:spPr>
            <a:xfrm>
              <a:off x="5363138" y="2348291"/>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352" name="Rounded Rectangle 1351">
              <a:extLst>
                <a:ext uri="{FF2B5EF4-FFF2-40B4-BE49-F238E27FC236}">
                  <a16:creationId xmlns:a16="http://schemas.microsoft.com/office/drawing/2014/main" id="{D91E776B-2605-7649-A160-F8D23FA2AF24}"/>
                </a:ext>
              </a:extLst>
            </p:cNvPr>
            <p:cNvSpPr/>
            <p:nvPr/>
          </p:nvSpPr>
          <p:spPr>
            <a:xfrm>
              <a:off x="5445759" y="2345923"/>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353" name="Rounded Rectangle 1352">
              <a:extLst>
                <a:ext uri="{FF2B5EF4-FFF2-40B4-BE49-F238E27FC236}">
                  <a16:creationId xmlns:a16="http://schemas.microsoft.com/office/drawing/2014/main" id="{4A8A4048-6D31-FC4A-9939-CB98F9D072F6}"/>
                </a:ext>
              </a:extLst>
            </p:cNvPr>
            <p:cNvSpPr/>
            <p:nvPr/>
          </p:nvSpPr>
          <p:spPr>
            <a:xfrm>
              <a:off x="4827394" y="2855319"/>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354" name="Rounded Rectangle 1353">
              <a:extLst>
                <a:ext uri="{FF2B5EF4-FFF2-40B4-BE49-F238E27FC236}">
                  <a16:creationId xmlns:a16="http://schemas.microsoft.com/office/drawing/2014/main" id="{D891ED3F-4C78-B244-B29B-F7CDE59220CB}"/>
                </a:ext>
              </a:extLst>
            </p:cNvPr>
            <p:cNvSpPr/>
            <p:nvPr/>
          </p:nvSpPr>
          <p:spPr>
            <a:xfrm>
              <a:off x="4917103" y="2853855"/>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355" name="Rounded Rectangle 1354">
              <a:extLst>
                <a:ext uri="{FF2B5EF4-FFF2-40B4-BE49-F238E27FC236}">
                  <a16:creationId xmlns:a16="http://schemas.microsoft.com/office/drawing/2014/main" id="{DC4CDF85-DD0C-3047-96AC-CAC7EABA8F15}"/>
                </a:ext>
              </a:extLst>
            </p:cNvPr>
            <p:cNvSpPr/>
            <p:nvPr/>
          </p:nvSpPr>
          <p:spPr>
            <a:xfrm>
              <a:off x="5000394" y="2854587"/>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356" name="Rounded Rectangle 1355">
              <a:extLst>
                <a:ext uri="{FF2B5EF4-FFF2-40B4-BE49-F238E27FC236}">
                  <a16:creationId xmlns:a16="http://schemas.microsoft.com/office/drawing/2014/main" id="{419887CE-2F01-F54D-8E58-27CFFBA9BFE4}"/>
                </a:ext>
              </a:extLst>
            </p:cNvPr>
            <p:cNvSpPr/>
            <p:nvPr/>
          </p:nvSpPr>
          <p:spPr>
            <a:xfrm>
              <a:off x="5083015" y="2853123"/>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357" name="Rounded Rectangle 1356">
              <a:extLst>
                <a:ext uri="{FF2B5EF4-FFF2-40B4-BE49-F238E27FC236}">
                  <a16:creationId xmlns:a16="http://schemas.microsoft.com/office/drawing/2014/main" id="{57C9B2E8-84E1-2646-8331-F079F49F6A7E}"/>
                </a:ext>
              </a:extLst>
            </p:cNvPr>
            <p:cNvSpPr/>
            <p:nvPr/>
          </p:nvSpPr>
          <p:spPr>
            <a:xfrm>
              <a:off x="5158689" y="2850256"/>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358" name="Rounded Rectangle 1357">
              <a:extLst>
                <a:ext uri="{FF2B5EF4-FFF2-40B4-BE49-F238E27FC236}">
                  <a16:creationId xmlns:a16="http://schemas.microsoft.com/office/drawing/2014/main" id="{CCD9728D-4E3E-3C41-B8D4-74EF43D091BA}"/>
                </a:ext>
              </a:extLst>
            </p:cNvPr>
            <p:cNvSpPr/>
            <p:nvPr/>
          </p:nvSpPr>
          <p:spPr>
            <a:xfrm>
              <a:off x="5243366" y="2857936"/>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359" name="Rounded Rectangle 1358">
              <a:extLst>
                <a:ext uri="{FF2B5EF4-FFF2-40B4-BE49-F238E27FC236}">
                  <a16:creationId xmlns:a16="http://schemas.microsoft.com/office/drawing/2014/main" id="{068B26A7-3E87-7446-9504-ADF253B5D4EC}"/>
                </a:ext>
              </a:extLst>
            </p:cNvPr>
            <p:cNvSpPr/>
            <p:nvPr/>
          </p:nvSpPr>
          <p:spPr>
            <a:xfrm>
              <a:off x="5326657" y="2849524"/>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360" name="Rounded Rectangle 1359">
              <a:extLst>
                <a:ext uri="{FF2B5EF4-FFF2-40B4-BE49-F238E27FC236}">
                  <a16:creationId xmlns:a16="http://schemas.microsoft.com/office/drawing/2014/main" id="{4801D84C-9549-174C-A63B-090FA6725C70}"/>
                </a:ext>
              </a:extLst>
            </p:cNvPr>
            <p:cNvSpPr/>
            <p:nvPr/>
          </p:nvSpPr>
          <p:spPr>
            <a:xfrm>
              <a:off x="5409278" y="2857204"/>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361" name="Rounded Rectangle 1360">
              <a:extLst>
                <a:ext uri="{FF2B5EF4-FFF2-40B4-BE49-F238E27FC236}">
                  <a16:creationId xmlns:a16="http://schemas.microsoft.com/office/drawing/2014/main" id="{B281EDC9-3165-D141-97AF-F6156BFEDE1D}"/>
                </a:ext>
              </a:extLst>
            </p:cNvPr>
            <p:cNvSpPr/>
            <p:nvPr/>
          </p:nvSpPr>
          <p:spPr>
            <a:xfrm>
              <a:off x="5495004" y="2853160"/>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362" name="Rounded Rectangle 1361">
              <a:extLst>
                <a:ext uri="{FF2B5EF4-FFF2-40B4-BE49-F238E27FC236}">
                  <a16:creationId xmlns:a16="http://schemas.microsoft.com/office/drawing/2014/main" id="{63A8006B-8AE0-0440-B9CA-C005C4C9F697}"/>
                </a:ext>
              </a:extLst>
            </p:cNvPr>
            <p:cNvSpPr/>
            <p:nvPr/>
          </p:nvSpPr>
          <p:spPr>
            <a:xfrm>
              <a:off x="5576239" y="2853892"/>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363" name="Rounded Rectangle 1362">
              <a:extLst>
                <a:ext uri="{FF2B5EF4-FFF2-40B4-BE49-F238E27FC236}">
                  <a16:creationId xmlns:a16="http://schemas.microsoft.com/office/drawing/2014/main" id="{E15343F6-4308-EF45-A782-252B7B55346A}"/>
                </a:ext>
              </a:extLst>
            </p:cNvPr>
            <p:cNvSpPr/>
            <p:nvPr/>
          </p:nvSpPr>
          <p:spPr>
            <a:xfrm>
              <a:off x="5660916" y="2850372"/>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364" name="Rounded Rectangle 1363">
              <a:extLst>
                <a:ext uri="{FF2B5EF4-FFF2-40B4-BE49-F238E27FC236}">
                  <a16:creationId xmlns:a16="http://schemas.microsoft.com/office/drawing/2014/main" id="{F1127EA8-3FC4-AE45-9681-B4C93049DF16}"/>
                </a:ext>
              </a:extLst>
            </p:cNvPr>
            <p:cNvSpPr/>
            <p:nvPr/>
          </p:nvSpPr>
          <p:spPr>
            <a:xfrm>
              <a:off x="5312117" y="3353078"/>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365" name="Rounded Rectangle 1364">
              <a:extLst>
                <a:ext uri="{FF2B5EF4-FFF2-40B4-BE49-F238E27FC236}">
                  <a16:creationId xmlns:a16="http://schemas.microsoft.com/office/drawing/2014/main" id="{7E2248B5-CAE8-B141-9B60-F1DE4A42709F}"/>
                </a:ext>
              </a:extLst>
            </p:cNvPr>
            <p:cNvSpPr/>
            <p:nvPr/>
          </p:nvSpPr>
          <p:spPr>
            <a:xfrm>
              <a:off x="5404552" y="3353810"/>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366" name="Rounded Rectangle 1365">
              <a:extLst>
                <a:ext uri="{FF2B5EF4-FFF2-40B4-BE49-F238E27FC236}">
                  <a16:creationId xmlns:a16="http://schemas.microsoft.com/office/drawing/2014/main" id="{8C03D07C-B761-4642-8E2A-BBB6FE50941F}"/>
                </a:ext>
              </a:extLst>
            </p:cNvPr>
            <p:cNvSpPr/>
            <p:nvPr/>
          </p:nvSpPr>
          <p:spPr>
            <a:xfrm>
              <a:off x="5487173" y="3352346"/>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367" name="Rounded Rectangle 1366">
              <a:extLst>
                <a:ext uri="{FF2B5EF4-FFF2-40B4-BE49-F238E27FC236}">
                  <a16:creationId xmlns:a16="http://schemas.microsoft.com/office/drawing/2014/main" id="{D619C7CF-9406-8C49-B62B-7E8AF0B4A0FE}"/>
                </a:ext>
              </a:extLst>
            </p:cNvPr>
            <p:cNvSpPr/>
            <p:nvPr/>
          </p:nvSpPr>
          <p:spPr>
            <a:xfrm>
              <a:off x="5572898" y="3356598"/>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368" name="Rounded Rectangle 1367">
              <a:extLst>
                <a:ext uri="{FF2B5EF4-FFF2-40B4-BE49-F238E27FC236}">
                  <a16:creationId xmlns:a16="http://schemas.microsoft.com/office/drawing/2014/main" id="{DACCBDD0-B073-AC4E-B4AC-7A40E04FA39E}"/>
                </a:ext>
              </a:extLst>
            </p:cNvPr>
            <p:cNvSpPr/>
            <p:nvPr/>
          </p:nvSpPr>
          <p:spPr>
            <a:xfrm>
              <a:off x="5663277" y="3357330"/>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369" name="Rounded Rectangle 1368">
              <a:extLst>
                <a:ext uri="{FF2B5EF4-FFF2-40B4-BE49-F238E27FC236}">
                  <a16:creationId xmlns:a16="http://schemas.microsoft.com/office/drawing/2014/main" id="{D4E9C0B0-68EA-F94D-8A95-C1DCB807EB8E}"/>
                </a:ext>
              </a:extLst>
            </p:cNvPr>
            <p:cNvSpPr/>
            <p:nvPr/>
          </p:nvSpPr>
          <p:spPr>
            <a:xfrm>
              <a:off x="5745898" y="3353810"/>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370" name="Rounded Rectangle 1369">
              <a:extLst>
                <a:ext uri="{FF2B5EF4-FFF2-40B4-BE49-F238E27FC236}">
                  <a16:creationId xmlns:a16="http://schemas.microsoft.com/office/drawing/2014/main" id="{60B13377-57E3-784B-94D8-399C0CE2C9F0}"/>
                </a:ext>
              </a:extLst>
            </p:cNvPr>
            <p:cNvSpPr/>
            <p:nvPr/>
          </p:nvSpPr>
          <p:spPr>
            <a:xfrm>
              <a:off x="4814168" y="3353157"/>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371" name="Rounded Rectangle 1370">
              <a:extLst>
                <a:ext uri="{FF2B5EF4-FFF2-40B4-BE49-F238E27FC236}">
                  <a16:creationId xmlns:a16="http://schemas.microsoft.com/office/drawing/2014/main" id="{5961CBC7-1A93-D748-AFF6-AD7A5EE00379}"/>
                </a:ext>
              </a:extLst>
            </p:cNvPr>
            <p:cNvSpPr/>
            <p:nvPr/>
          </p:nvSpPr>
          <p:spPr>
            <a:xfrm>
              <a:off x="4897459" y="3353889"/>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372" name="Rounded Rectangle 1371">
              <a:extLst>
                <a:ext uri="{FF2B5EF4-FFF2-40B4-BE49-F238E27FC236}">
                  <a16:creationId xmlns:a16="http://schemas.microsoft.com/office/drawing/2014/main" id="{CC7699E4-5656-5A49-9154-F083A3BA97B2}"/>
                </a:ext>
              </a:extLst>
            </p:cNvPr>
            <p:cNvSpPr/>
            <p:nvPr/>
          </p:nvSpPr>
          <p:spPr>
            <a:xfrm>
              <a:off x="4980080" y="3352425"/>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373" name="Rounded Rectangle 1372">
              <a:extLst>
                <a:ext uri="{FF2B5EF4-FFF2-40B4-BE49-F238E27FC236}">
                  <a16:creationId xmlns:a16="http://schemas.microsoft.com/office/drawing/2014/main" id="{AF03DBC2-27D3-244D-A322-8E97E9BA7E43}"/>
                </a:ext>
              </a:extLst>
            </p:cNvPr>
            <p:cNvSpPr/>
            <p:nvPr/>
          </p:nvSpPr>
          <p:spPr>
            <a:xfrm>
              <a:off x="5058717" y="3356677"/>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374" name="Rounded Rectangle 1373">
              <a:extLst>
                <a:ext uri="{FF2B5EF4-FFF2-40B4-BE49-F238E27FC236}">
                  <a16:creationId xmlns:a16="http://schemas.microsoft.com/office/drawing/2014/main" id="{2C8676B7-4068-CC49-B00C-2E491DF133F9}"/>
                </a:ext>
              </a:extLst>
            </p:cNvPr>
            <p:cNvSpPr/>
            <p:nvPr/>
          </p:nvSpPr>
          <p:spPr>
            <a:xfrm>
              <a:off x="5139952" y="3357409"/>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375" name="Rounded Rectangle 1374">
              <a:extLst>
                <a:ext uri="{FF2B5EF4-FFF2-40B4-BE49-F238E27FC236}">
                  <a16:creationId xmlns:a16="http://schemas.microsoft.com/office/drawing/2014/main" id="{B67B5883-3808-0448-8763-89A8BD4142B7}"/>
                </a:ext>
              </a:extLst>
            </p:cNvPr>
            <p:cNvSpPr/>
            <p:nvPr/>
          </p:nvSpPr>
          <p:spPr>
            <a:xfrm>
              <a:off x="5229661" y="3353889"/>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376" name="Rounded Rectangle 1375">
              <a:extLst>
                <a:ext uri="{FF2B5EF4-FFF2-40B4-BE49-F238E27FC236}">
                  <a16:creationId xmlns:a16="http://schemas.microsoft.com/office/drawing/2014/main" id="{98B568C3-50F5-2445-AF72-2D9C4AAC23B1}"/>
                </a:ext>
              </a:extLst>
            </p:cNvPr>
            <p:cNvSpPr/>
            <p:nvPr/>
          </p:nvSpPr>
          <p:spPr>
            <a:xfrm>
              <a:off x="4812603" y="3808599"/>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377" name="Rounded Rectangle 1376">
              <a:extLst>
                <a:ext uri="{FF2B5EF4-FFF2-40B4-BE49-F238E27FC236}">
                  <a16:creationId xmlns:a16="http://schemas.microsoft.com/office/drawing/2014/main" id="{080D62C4-8FC1-D74C-A7EF-51764AF2A7ED}"/>
                </a:ext>
              </a:extLst>
            </p:cNvPr>
            <p:cNvSpPr/>
            <p:nvPr/>
          </p:nvSpPr>
          <p:spPr>
            <a:xfrm>
              <a:off x="4895894" y="3800187"/>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378" name="Rounded Rectangle 1377">
              <a:extLst>
                <a:ext uri="{FF2B5EF4-FFF2-40B4-BE49-F238E27FC236}">
                  <a16:creationId xmlns:a16="http://schemas.microsoft.com/office/drawing/2014/main" id="{98369BE3-1ADC-3E4C-9C6E-55E4279BADB6}"/>
                </a:ext>
              </a:extLst>
            </p:cNvPr>
            <p:cNvSpPr/>
            <p:nvPr/>
          </p:nvSpPr>
          <p:spPr>
            <a:xfrm>
              <a:off x="4971427" y="3807867"/>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379" name="Rounded Rectangle 1378">
              <a:extLst>
                <a:ext uri="{FF2B5EF4-FFF2-40B4-BE49-F238E27FC236}">
                  <a16:creationId xmlns:a16="http://schemas.microsoft.com/office/drawing/2014/main" id="{CB403E22-04FB-0346-8A0B-E2091CFE60FE}"/>
                </a:ext>
              </a:extLst>
            </p:cNvPr>
            <p:cNvSpPr/>
            <p:nvPr/>
          </p:nvSpPr>
          <p:spPr>
            <a:xfrm>
              <a:off x="5057152" y="3802975"/>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380" name="Rounded Rectangle 1379">
              <a:extLst>
                <a:ext uri="{FF2B5EF4-FFF2-40B4-BE49-F238E27FC236}">
                  <a16:creationId xmlns:a16="http://schemas.microsoft.com/office/drawing/2014/main" id="{07A93FB4-F4BD-0247-9720-A8E5B57009F5}"/>
                </a:ext>
              </a:extLst>
            </p:cNvPr>
            <p:cNvSpPr/>
            <p:nvPr/>
          </p:nvSpPr>
          <p:spPr>
            <a:xfrm>
              <a:off x="5133355" y="3803707"/>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381" name="Rounded Rectangle 1380">
              <a:extLst>
                <a:ext uri="{FF2B5EF4-FFF2-40B4-BE49-F238E27FC236}">
                  <a16:creationId xmlns:a16="http://schemas.microsoft.com/office/drawing/2014/main" id="{8A10B069-FB35-F248-A153-2B0AA4595446}"/>
                </a:ext>
              </a:extLst>
            </p:cNvPr>
            <p:cNvSpPr/>
            <p:nvPr/>
          </p:nvSpPr>
          <p:spPr>
            <a:xfrm>
              <a:off x="5215976" y="3800187"/>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382" name="Rounded Rectangle 1381">
              <a:extLst>
                <a:ext uri="{FF2B5EF4-FFF2-40B4-BE49-F238E27FC236}">
                  <a16:creationId xmlns:a16="http://schemas.microsoft.com/office/drawing/2014/main" id="{1BAC7EAE-D9AA-404A-8BE6-FE7D37125ECE}"/>
                </a:ext>
              </a:extLst>
            </p:cNvPr>
            <p:cNvSpPr/>
            <p:nvPr/>
          </p:nvSpPr>
          <p:spPr>
            <a:xfrm>
              <a:off x="5298157" y="3808706"/>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383" name="Rounded Rectangle 1382">
              <a:extLst>
                <a:ext uri="{FF2B5EF4-FFF2-40B4-BE49-F238E27FC236}">
                  <a16:creationId xmlns:a16="http://schemas.microsoft.com/office/drawing/2014/main" id="{6F0DF0E0-FE2B-E549-A36C-D8F829FCBD70}"/>
                </a:ext>
              </a:extLst>
            </p:cNvPr>
            <p:cNvSpPr/>
            <p:nvPr/>
          </p:nvSpPr>
          <p:spPr>
            <a:xfrm>
              <a:off x="5383504" y="3800294"/>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384" name="Rounded Rectangle 1383">
              <a:extLst>
                <a:ext uri="{FF2B5EF4-FFF2-40B4-BE49-F238E27FC236}">
                  <a16:creationId xmlns:a16="http://schemas.microsoft.com/office/drawing/2014/main" id="{35F1FA30-36C0-2642-87F8-4F676EDAC84E}"/>
                </a:ext>
              </a:extLst>
            </p:cNvPr>
            <p:cNvSpPr/>
            <p:nvPr/>
          </p:nvSpPr>
          <p:spPr>
            <a:xfrm>
              <a:off x="5466125" y="3807974"/>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385" name="Rounded Rectangle 1384">
              <a:extLst>
                <a:ext uri="{FF2B5EF4-FFF2-40B4-BE49-F238E27FC236}">
                  <a16:creationId xmlns:a16="http://schemas.microsoft.com/office/drawing/2014/main" id="{ABE2F0F2-41B5-F44A-A300-06E8A015CA82}"/>
                </a:ext>
              </a:extLst>
            </p:cNvPr>
            <p:cNvSpPr/>
            <p:nvPr/>
          </p:nvSpPr>
          <p:spPr>
            <a:xfrm>
              <a:off x="5542706" y="3803082"/>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386" name="Rounded Rectangle 1385">
              <a:extLst>
                <a:ext uri="{FF2B5EF4-FFF2-40B4-BE49-F238E27FC236}">
                  <a16:creationId xmlns:a16="http://schemas.microsoft.com/office/drawing/2014/main" id="{EF06DD6B-026D-B24B-BB0D-EDC5C64ED51F}"/>
                </a:ext>
              </a:extLst>
            </p:cNvPr>
            <p:cNvSpPr/>
            <p:nvPr/>
          </p:nvSpPr>
          <p:spPr>
            <a:xfrm>
              <a:off x="5618909" y="3803814"/>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387" name="Rounded Rectangle 1386">
              <a:extLst>
                <a:ext uri="{FF2B5EF4-FFF2-40B4-BE49-F238E27FC236}">
                  <a16:creationId xmlns:a16="http://schemas.microsoft.com/office/drawing/2014/main" id="{E3EF0357-00B3-7346-8C23-C1A613151CFA}"/>
                </a:ext>
              </a:extLst>
            </p:cNvPr>
            <p:cNvSpPr/>
            <p:nvPr/>
          </p:nvSpPr>
          <p:spPr>
            <a:xfrm>
              <a:off x="5701530" y="3800294"/>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388" name="Rounded Rectangle 1387">
              <a:extLst>
                <a:ext uri="{FF2B5EF4-FFF2-40B4-BE49-F238E27FC236}">
                  <a16:creationId xmlns:a16="http://schemas.microsoft.com/office/drawing/2014/main" id="{0025A1A2-87A8-ED4E-9FE6-DD94016601F1}"/>
                </a:ext>
              </a:extLst>
            </p:cNvPr>
            <p:cNvSpPr/>
            <p:nvPr/>
          </p:nvSpPr>
          <p:spPr>
            <a:xfrm>
              <a:off x="4823574" y="4241579"/>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389" name="Rounded Rectangle 1388">
              <a:extLst>
                <a:ext uri="{FF2B5EF4-FFF2-40B4-BE49-F238E27FC236}">
                  <a16:creationId xmlns:a16="http://schemas.microsoft.com/office/drawing/2014/main" id="{BBE83E73-982F-A64B-B036-58BDE17F37E0}"/>
                </a:ext>
              </a:extLst>
            </p:cNvPr>
            <p:cNvSpPr/>
            <p:nvPr/>
          </p:nvSpPr>
          <p:spPr>
            <a:xfrm>
              <a:off x="4897051" y="4240115"/>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390" name="Rounded Rectangle 1389">
              <a:extLst>
                <a:ext uri="{FF2B5EF4-FFF2-40B4-BE49-F238E27FC236}">
                  <a16:creationId xmlns:a16="http://schemas.microsoft.com/office/drawing/2014/main" id="{DE0E9849-06A4-1C4A-8CE7-B91DD87BE7F2}"/>
                </a:ext>
              </a:extLst>
            </p:cNvPr>
            <p:cNvSpPr/>
            <p:nvPr/>
          </p:nvSpPr>
          <p:spPr>
            <a:xfrm>
              <a:off x="4980342" y="4240847"/>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391" name="Rounded Rectangle 1390">
              <a:extLst>
                <a:ext uri="{FF2B5EF4-FFF2-40B4-BE49-F238E27FC236}">
                  <a16:creationId xmlns:a16="http://schemas.microsoft.com/office/drawing/2014/main" id="{EE7B4B31-1E5F-4A4E-BCD0-34CBCCB2E724}"/>
                </a:ext>
              </a:extLst>
            </p:cNvPr>
            <p:cNvSpPr/>
            <p:nvPr/>
          </p:nvSpPr>
          <p:spPr>
            <a:xfrm>
              <a:off x="5062963" y="4239383"/>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392" name="Rounded Rectangle 1391">
              <a:extLst>
                <a:ext uri="{FF2B5EF4-FFF2-40B4-BE49-F238E27FC236}">
                  <a16:creationId xmlns:a16="http://schemas.microsoft.com/office/drawing/2014/main" id="{DD9022D1-D393-E141-9EE9-DD9E7786EDD8}"/>
                </a:ext>
              </a:extLst>
            </p:cNvPr>
            <p:cNvSpPr/>
            <p:nvPr/>
          </p:nvSpPr>
          <p:spPr>
            <a:xfrm>
              <a:off x="5138637" y="4247716"/>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393" name="Rounded Rectangle 1392">
              <a:extLst>
                <a:ext uri="{FF2B5EF4-FFF2-40B4-BE49-F238E27FC236}">
                  <a16:creationId xmlns:a16="http://schemas.microsoft.com/office/drawing/2014/main" id="{EB09C65D-5B0D-164E-ABEB-FF3EF338212F}"/>
                </a:ext>
              </a:extLst>
            </p:cNvPr>
            <p:cNvSpPr/>
            <p:nvPr/>
          </p:nvSpPr>
          <p:spPr>
            <a:xfrm>
              <a:off x="5212114" y="4246252"/>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394" name="Rounded Rectangle 1393">
              <a:extLst>
                <a:ext uri="{FF2B5EF4-FFF2-40B4-BE49-F238E27FC236}">
                  <a16:creationId xmlns:a16="http://schemas.microsoft.com/office/drawing/2014/main" id="{4ADF7ED2-F44D-4C4F-8A17-1C7A6169E0BB}"/>
                </a:ext>
              </a:extLst>
            </p:cNvPr>
            <p:cNvSpPr/>
            <p:nvPr/>
          </p:nvSpPr>
          <p:spPr>
            <a:xfrm>
              <a:off x="5293349" y="4246984"/>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sp>
          <p:nvSpPr>
            <p:cNvPr id="1395" name="Rounded Rectangle 1394">
              <a:extLst>
                <a:ext uri="{FF2B5EF4-FFF2-40B4-BE49-F238E27FC236}">
                  <a16:creationId xmlns:a16="http://schemas.microsoft.com/office/drawing/2014/main" id="{40C09208-E117-B146-A02A-5DA3D2F6F183}"/>
                </a:ext>
              </a:extLst>
            </p:cNvPr>
            <p:cNvSpPr/>
            <p:nvPr/>
          </p:nvSpPr>
          <p:spPr>
            <a:xfrm>
              <a:off x="5366826" y="4245520"/>
              <a:ext cx="80315" cy="191497"/>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latin typeface="+mj-lt"/>
                <a:ea typeface="Nanum Pen Script" panose="03040600000000000000" pitchFamily="66" charset="-127"/>
              </a:endParaRPr>
            </a:p>
          </p:txBody>
        </p:sp>
      </p:grpSp>
      <p:sp>
        <p:nvSpPr>
          <p:cNvPr id="1412" name="Rounded Rectangle 1411">
            <a:extLst>
              <a:ext uri="{FF2B5EF4-FFF2-40B4-BE49-F238E27FC236}">
                <a16:creationId xmlns:a16="http://schemas.microsoft.com/office/drawing/2014/main" id="{4411AF1C-0633-1549-A239-2B81B9BF91D9}"/>
              </a:ext>
            </a:extLst>
          </p:cNvPr>
          <p:cNvSpPr/>
          <p:nvPr/>
        </p:nvSpPr>
        <p:spPr>
          <a:xfrm>
            <a:off x="5087509" y="1987025"/>
            <a:ext cx="975467" cy="3601989"/>
          </a:xfrm>
          <a:prstGeom prst="roundRect">
            <a:avLst/>
          </a:prstGeom>
          <a:solidFill>
            <a:schemeClr val="bg1">
              <a:lumMod val="95000"/>
            </a:schemeClr>
          </a:solidFill>
          <a:ln w="3175">
            <a:solidFill>
              <a:schemeClr val="bg1">
                <a:lumMod val="65000"/>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600" b="1" dirty="0">
                <a:solidFill>
                  <a:schemeClr val="bg1">
                    <a:lumMod val="50000"/>
                  </a:schemeClr>
                </a:solidFill>
                <a:latin typeface="+mj-lt"/>
                <a:ea typeface="Nanum Pen Script" panose="03040600000000000000" pitchFamily="66" charset="-127"/>
              </a:rPr>
              <a:t>Kafka Connect Cluster – Worker 3</a:t>
            </a:r>
          </a:p>
          <a:p>
            <a:pPr algn="ctr"/>
            <a:endParaRPr lang="en-US" sz="700" b="1" dirty="0">
              <a:solidFill>
                <a:schemeClr val="bg1">
                  <a:lumMod val="50000"/>
                </a:schemeClr>
              </a:solidFill>
              <a:latin typeface="+mj-lt"/>
              <a:ea typeface="Nanum Pen Script" panose="03040600000000000000" pitchFamily="66" charset="-127"/>
            </a:endParaRPr>
          </a:p>
          <a:p>
            <a:pPr algn="ctr"/>
            <a:endParaRPr lang="en-US" sz="700" b="1" dirty="0">
              <a:solidFill>
                <a:schemeClr val="bg1">
                  <a:lumMod val="50000"/>
                </a:schemeClr>
              </a:solidFill>
              <a:latin typeface="+mj-lt"/>
              <a:ea typeface="Nanum Pen Script" panose="03040600000000000000" pitchFamily="66" charset="-127"/>
            </a:endParaRPr>
          </a:p>
          <a:p>
            <a:pPr algn="ctr"/>
            <a:endParaRPr lang="en-US" sz="700" b="1" dirty="0">
              <a:solidFill>
                <a:schemeClr val="bg1">
                  <a:lumMod val="50000"/>
                </a:schemeClr>
              </a:solidFill>
              <a:latin typeface="+mj-lt"/>
              <a:ea typeface="Nanum Pen Script" panose="03040600000000000000" pitchFamily="66" charset="-127"/>
            </a:endParaRPr>
          </a:p>
          <a:p>
            <a:pPr algn="ctr"/>
            <a:endParaRPr lang="en-US" sz="600" b="1" dirty="0">
              <a:solidFill>
                <a:schemeClr val="bg1">
                  <a:lumMod val="50000"/>
                </a:schemeClr>
              </a:solidFill>
              <a:latin typeface="+mj-lt"/>
              <a:ea typeface="Nanum Pen Script" panose="03040600000000000000" pitchFamily="66" charset="-127"/>
            </a:endParaRPr>
          </a:p>
          <a:p>
            <a:pPr algn="ctr"/>
            <a:endParaRPr lang="en-US" sz="600" b="1" dirty="0">
              <a:solidFill>
                <a:schemeClr val="bg1">
                  <a:lumMod val="50000"/>
                </a:schemeClr>
              </a:solidFill>
              <a:latin typeface="+mj-lt"/>
              <a:ea typeface="Nanum Pen Script" panose="03040600000000000000" pitchFamily="66" charset="-127"/>
            </a:endParaRPr>
          </a:p>
          <a:p>
            <a:pPr algn="ctr"/>
            <a:endParaRPr lang="en-US" sz="600" b="1" dirty="0">
              <a:solidFill>
                <a:schemeClr val="bg1">
                  <a:lumMod val="50000"/>
                </a:schemeClr>
              </a:solidFill>
              <a:latin typeface="+mj-lt"/>
              <a:ea typeface="Nanum Pen Script" panose="03040600000000000000" pitchFamily="66" charset="-127"/>
            </a:endParaRPr>
          </a:p>
          <a:p>
            <a:pPr algn="ctr"/>
            <a:endParaRPr lang="en-US" sz="600" b="1" dirty="0">
              <a:solidFill>
                <a:schemeClr val="bg1">
                  <a:lumMod val="50000"/>
                </a:schemeClr>
              </a:solidFill>
              <a:latin typeface="+mj-lt"/>
              <a:ea typeface="Nanum Pen Script" panose="03040600000000000000" pitchFamily="66" charset="-127"/>
            </a:endParaRPr>
          </a:p>
          <a:p>
            <a:pPr algn="ctr"/>
            <a:endParaRPr lang="en-US" sz="1400" dirty="0">
              <a:solidFill>
                <a:schemeClr val="tx1"/>
              </a:solidFill>
              <a:latin typeface="+mj-lt"/>
              <a:ea typeface="Nanum Pen Script" panose="03040600000000000000" pitchFamily="66" charset="-127"/>
            </a:endParaRPr>
          </a:p>
          <a:p>
            <a:pPr algn="ctr"/>
            <a:endParaRPr lang="en-US" sz="1400" dirty="0">
              <a:solidFill>
                <a:schemeClr val="tx1"/>
              </a:solidFill>
              <a:latin typeface="+mj-lt"/>
              <a:ea typeface="Nanum Pen Script" panose="03040600000000000000" pitchFamily="66" charset="-127"/>
            </a:endParaRPr>
          </a:p>
        </p:txBody>
      </p:sp>
      <p:sp>
        <p:nvSpPr>
          <p:cNvPr id="1413" name="Rounded Rectangle 1412">
            <a:extLst>
              <a:ext uri="{FF2B5EF4-FFF2-40B4-BE49-F238E27FC236}">
                <a16:creationId xmlns:a16="http://schemas.microsoft.com/office/drawing/2014/main" id="{489263F4-48DF-B54D-A645-E8FAA90898A5}"/>
              </a:ext>
            </a:extLst>
          </p:cNvPr>
          <p:cNvSpPr/>
          <p:nvPr/>
        </p:nvSpPr>
        <p:spPr>
          <a:xfrm>
            <a:off x="4968682" y="2349407"/>
            <a:ext cx="958408" cy="3545105"/>
          </a:xfrm>
          <a:prstGeom prst="roundRect">
            <a:avLst/>
          </a:prstGeom>
          <a:solidFill>
            <a:schemeClr val="bg1">
              <a:lumMod val="95000"/>
            </a:schemeClr>
          </a:solidFill>
          <a:ln w="3175">
            <a:solidFill>
              <a:schemeClr val="bg1">
                <a:lumMod val="65000"/>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600" b="1" dirty="0">
                <a:solidFill>
                  <a:schemeClr val="bg1">
                    <a:lumMod val="50000"/>
                  </a:schemeClr>
                </a:solidFill>
                <a:latin typeface="+mj-lt"/>
                <a:ea typeface="Nanum Pen Script" panose="03040600000000000000" pitchFamily="66" charset="-127"/>
              </a:rPr>
              <a:t>Kafka Connect Cluster – Worker 2</a:t>
            </a:r>
          </a:p>
          <a:p>
            <a:pPr algn="ctr"/>
            <a:endParaRPr lang="en-US" sz="700" b="1" dirty="0">
              <a:solidFill>
                <a:schemeClr val="bg1">
                  <a:lumMod val="50000"/>
                </a:schemeClr>
              </a:solidFill>
              <a:latin typeface="+mj-lt"/>
              <a:ea typeface="Nanum Pen Script" panose="03040600000000000000" pitchFamily="66" charset="-127"/>
            </a:endParaRPr>
          </a:p>
          <a:p>
            <a:pPr algn="ctr"/>
            <a:endParaRPr lang="en-US" sz="700" b="1" dirty="0">
              <a:solidFill>
                <a:schemeClr val="bg1">
                  <a:lumMod val="50000"/>
                </a:schemeClr>
              </a:solidFill>
              <a:latin typeface="+mj-lt"/>
              <a:ea typeface="Nanum Pen Script" panose="03040600000000000000" pitchFamily="66" charset="-127"/>
            </a:endParaRPr>
          </a:p>
          <a:p>
            <a:pPr algn="ctr"/>
            <a:endParaRPr lang="en-US" sz="700" b="1" dirty="0">
              <a:solidFill>
                <a:schemeClr val="bg1">
                  <a:lumMod val="50000"/>
                </a:schemeClr>
              </a:solidFill>
              <a:latin typeface="+mj-lt"/>
              <a:ea typeface="Nanum Pen Script" panose="03040600000000000000" pitchFamily="66" charset="-127"/>
            </a:endParaRPr>
          </a:p>
          <a:p>
            <a:pPr algn="ctr"/>
            <a:endParaRPr lang="en-US" sz="600" b="1" dirty="0">
              <a:solidFill>
                <a:schemeClr val="bg1">
                  <a:lumMod val="50000"/>
                </a:schemeClr>
              </a:solidFill>
              <a:latin typeface="+mj-lt"/>
              <a:ea typeface="Nanum Pen Script" panose="03040600000000000000" pitchFamily="66" charset="-127"/>
            </a:endParaRPr>
          </a:p>
          <a:p>
            <a:pPr algn="ctr"/>
            <a:endParaRPr lang="en-US" sz="600" b="1" dirty="0">
              <a:solidFill>
                <a:schemeClr val="bg1">
                  <a:lumMod val="50000"/>
                </a:schemeClr>
              </a:solidFill>
              <a:latin typeface="+mj-lt"/>
              <a:ea typeface="Nanum Pen Script" panose="03040600000000000000" pitchFamily="66" charset="-127"/>
            </a:endParaRPr>
          </a:p>
          <a:p>
            <a:pPr algn="ctr"/>
            <a:endParaRPr lang="en-US" sz="600" b="1" dirty="0">
              <a:solidFill>
                <a:schemeClr val="bg1">
                  <a:lumMod val="50000"/>
                </a:schemeClr>
              </a:solidFill>
              <a:latin typeface="+mj-lt"/>
              <a:ea typeface="Nanum Pen Script" panose="03040600000000000000" pitchFamily="66" charset="-127"/>
            </a:endParaRPr>
          </a:p>
          <a:p>
            <a:pPr algn="ctr"/>
            <a:endParaRPr lang="en-US" sz="600" b="1" dirty="0">
              <a:solidFill>
                <a:schemeClr val="bg1">
                  <a:lumMod val="50000"/>
                </a:schemeClr>
              </a:solidFill>
              <a:latin typeface="+mj-lt"/>
              <a:ea typeface="Nanum Pen Script" panose="03040600000000000000" pitchFamily="66" charset="-127"/>
            </a:endParaRPr>
          </a:p>
          <a:p>
            <a:pPr algn="ctr"/>
            <a:endParaRPr lang="en-US" sz="1400" dirty="0">
              <a:solidFill>
                <a:schemeClr val="tx1"/>
              </a:solidFill>
              <a:latin typeface="+mj-lt"/>
              <a:ea typeface="Nanum Pen Script" panose="03040600000000000000" pitchFamily="66" charset="-127"/>
            </a:endParaRPr>
          </a:p>
          <a:p>
            <a:pPr algn="ctr"/>
            <a:endParaRPr lang="en-US" sz="1400" dirty="0">
              <a:solidFill>
                <a:schemeClr val="tx1"/>
              </a:solidFill>
              <a:latin typeface="+mj-lt"/>
              <a:ea typeface="Nanum Pen Script" panose="03040600000000000000" pitchFamily="66" charset="-127"/>
            </a:endParaRPr>
          </a:p>
        </p:txBody>
      </p:sp>
      <p:sp>
        <p:nvSpPr>
          <p:cNvPr id="1414" name="Rounded Rectangle 1413">
            <a:extLst>
              <a:ext uri="{FF2B5EF4-FFF2-40B4-BE49-F238E27FC236}">
                <a16:creationId xmlns:a16="http://schemas.microsoft.com/office/drawing/2014/main" id="{9175CEDA-8387-924F-BBBA-E7E8BA35C786}"/>
              </a:ext>
            </a:extLst>
          </p:cNvPr>
          <p:cNvSpPr/>
          <p:nvPr/>
        </p:nvSpPr>
        <p:spPr>
          <a:xfrm>
            <a:off x="4865124" y="2711790"/>
            <a:ext cx="958408" cy="3414968"/>
          </a:xfrm>
          <a:prstGeom prst="roundRect">
            <a:avLst/>
          </a:prstGeom>
          <a:solidFill>
            <a:schemeClr val="bg1">
              <a:lumMod val="95000"/>
            </a:schemeClr>
          </a:solidFill>
          <a:ln w="3175">
            <a:solidFill>
              <a:schemeClr val="bg1">
                <a:lumMod val="65000"/>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600" b="1" dirty="0">
                <a:solidFill>
                  <a:schemeClr val="bg1">
                    <a:lumMod val="50000"/>
                  </a:schemeClr>
                </a:solidFill>
                <a:latin typeface="+mj-lt"/>
                <a:ea typeface="Nanum Pen Script" panose="03040600000000000000" pitchFamily="66" charset="-127"/>
              </a:rPr>
              <a:t>Kafka Connect Cluster – Worker 1 </a:t>
            </a:r>
          </a:p>
          <a:p>
            <a:pPr algn="ctr"/>
            <a:endParaRPr lang="en-US" sz="700" b="1" dirty="0">
              <a:solidFill>
                <a:schemeClr val="bg1">
                  <a:lumMod val="50000"/>
                </a:schemeClr>
              </a:solidFill>
              <a:latin typeface="+mj-lt"/>
              <a:ea typeface="Nanum Pen Script" panose="03040600000000000000" pitchFamily="66" charset="-127"/>
            </a:endParaRPr>
          </a:p>
          <a:p>
            <a:pPr algn="ctr"/>
            <a:endParaRPr lang="en-US" sz="700" b="1" dirty="0">
              <a:solidFill>
                <a:schemeClr val="bg1">
                  <a:lumMod val="50000"/>
                </a:schemeClr>
              </a:solidFill>
              <a:latin typeface="+mj-lt"/>
              <a:ea typeface="Nanum Pen Script" panose="03040600000000000000" pitchFamily="66" charset="-127"/>
            </a:endParaRPr>
          </a:p>
          <a:p>
            <a:pPr algn="ctr"/>
            <a:endParaRPr lang="en-US" sz="700" b="1" dirty="0">
              <a:solidFill>
                <a:schemeClr val="bg1">
                  <a:lumMod val="50000"/>
                </a:schemeClr>
              </a:solidFill>
              <a:latin typeface="+mj-lt"/>
              <a:ea typeface="Nanum Pen Script" panose="03040600000000000000" pitchFamily="66" charset="-127"/>
            </a:endParaRPr>
          </a:p>
          <a:p>
            <a:pPr algn="ctr"/>
            <a:endParaRPr lang="en-US" sz="600" b="1" dirty="0">
              <a:solidFill>
                <a:schemeClr val="bg1">
                  <a:lumMod val="50000"/>
                </a:schemeClr>
              </a:solidFill>
              <a:latin typeface="+mj-lt"/>
              <a:ea typeface="Nanum Pen Script" panose="03040600000000000000" pitchFamily="66" charset="-127"/>
            </a:endParaRPr>
          </a:p>
          <a:p>
            <a:pPr algn="ctr"/>
            <a:endParaRPr lang="en-US" sz="600" b="1" dirty="0">
              <a:solidFill>
                <a:schemeClr val="bg1">
                  <a:lumMod val="50000"/>
                </a:schemeClr>
              </a:solidFill>
              <a:latin typeface="+mj-lt"/>
              <a:ea typeface="Nanum Pen Script" panose="03040600000000000000" pitchFamily="66" charset="-127"/>
            </a:endParaRPr>
          </a:p>
          <a:p>
            <a:pPr algn="ctr"/>
            <a:endParaRPr lang="en-US" sz="600" b="1" dirty="0">
              <a:solidFill>
                <a:schemeClr val="bg1">
                  <a:lumMod val="50000"/>
                </a:schemeClr>
              </a:solidFill>
              <a:latin typeface="+mj-lt"/>
              <a:ea typeface="Nanum Pen Script" panose="03040600000000000000" pitchFamily="66" charset="-127"/>
            </a:endParaRPr>
          </a:p>
          <a:p>
            <a:pPr algn="ctr"/>
            <a:endParaRPr lang="en-US" sz="600" b="1" dirty="0">
              <a:solidFill>
                <a:schemeClr val="bg1">
                  <a:lumMod val="50000"/>
                </a:schemeClr>
              </a:solidFill>
              <a:latin typeface="+mj-lt"/>
              <a:ea typeface="Nanum Pen Script" panose="03040600000000000000" pitchFamily="66" charset="-127"/>
            </a:endParaRPr>
          </a:p>
          <a:p>
            <a:pPr algn="ctr"/>
            <a:endParaRPr lang="en-US" sz="1400" dirty="0">
              <a:solidFill>
                <a:schemeClr val="tx1"/>
              </a:solidFill>
              <a:latin typeface="+mj-lt"/>
              <a:ea typeface="Nanum Pen Script" panose="03040600000000000000" pitchFamily="66" charset="-127"/>
            </a:endParaRPr>
          </a:p>
          <a:p>
            <a:pPr algn="ctr"/>
            <a:endParaRPr lang="en-US" sz="1400" dirty="0">
              <a:solidFill>
                <a:schemeClr val="tx1"/>
              </a:solidFill>
              <a:latin typeface="+mj-lt"/>
              <a:ea typeface="Nanum Pen Script" panose="03040600000000000000" pitchFamily="66" charset="-127"/>
            </a:endParaRPr>
          </a:p>
        </p:txBody>
      </p:sp>
      <p:sp>
        <p:nvSpPr>
          <p:cNvPr id="425" name="Rounded Rectangle 424">
            <a:extLst>
              <a:ext uri="{FF2B5EF4-FFF2-40B4-BE49-F238E27FC236}">
                <a16:creationId xmlns:a16="http://schemas.microsoft.com/office/drawing/2014/main" id="{6B7E97EF-BBDC-B64F-A74E-4F17EA895F72}"/>
              </a:ext>
            </a:extLst>
          </p:cNvPr>
          <p:cNvSpPr/>
          <p:nvPr/>
        </p:nvSpPr>
        <p:spPr>
          <a:xfrm>
            <a:off x="4932307" y="3318237"/>
            <a:ext cx="802889" cy="393866"/>
          </a:xfrm>
          <a:prstGeom prst="roundRect">
            <a:avLst/>
          </a:prstGeom>
          <a:solidFill>
            <a:schemeClr val="bg1">
              <a:lumMod val="85000"/>
            </a:schemeClr>
          </a:solidFill>
          <a:ln w="3175">
            <a:solidFill>
              <a:schemeClr val="bg1">
                <a:lumMod val="50000"/>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b="1" dirty="0">
              <a:solidFill>
                <a:schemeClr val="bg1">
                  <a:lumMod val="50000"/>
                </a:schemeClr>
              </a:solidFill>
              <a:latin typeface="+mj-lt"/>
              <a:ea typeface="Nanum Pen Script" panose="03040600000000000000" pitchFamily="66" charset="-127"/>
            </a:endParaRPr>
          </a:p>
          <a:p>
            <a:pPr algn="ctr"/>
            <a:endParaRPr lang="en-US" sz="600" b="1" dirty="0">
              <a:solidFill>
                <a:schemeClr val="bg1">
                  <a:lumMod val="50000"/>
                </a:schemeClr>
              </a:solidFill>
              <a:latin typeface="+mj-lt"/>
              <a:ea typeface="Nanum Pen Script" panose="03040600000000000000" pitchFamily="66" charset="-127"/>
            </a:endParaRPr>
          </a:p>
          <a:p>
            <a:pPr algn="ctr"/>
            <a:endParaRPr lang="en-US" sz="600" b="1" dirty="0">
              <a:solidFill>
                <a:schemeClr val="bg1">
                  <a:lumMod val="50000"/>
                </a:schemeClr>
              </a:solidFill>
              <a:latin typeface="+mj-lt"/>
              <a:ea typeface="Nanum Pen Script" panose="03040600000000000000" pitchFamily="66" charset="-127"/>
            </a:endParaRPr>
          </a:p>
          <a:p>
            <a:pPr algn="ctr"/>
            <a:endParaRPr lang="en-US" sz="600" b="1" dirty="0">
              <a:solidFill>
                <a:schemeClr val="bg1">
                  <a:lumMod val="50000"/>
                </a:schemeClr>
              </a:solidFill>
              <a:latin typeface="+mj-lt"/>
              <a:ea typeface="Nanum Pen Script" panose="03040600000000000000" pitchFamily="66" charset="-127"/>
            </a:endParaRPr>
          </a:p>
          <a:p>
            <a:pPr algn="ctr"/>
            <a:endParaRPr lang="en-US" sz="500" b="1" dirty="0">
              <a:solidFill>
                <a:schemeClr val="bg1">
                  <a:lumMod val="50000"/>
                </a:schemeClr>
              </a:solidFill>
              <a:latin typeface="+mj-lt"/>
              <a:ea typeface="Nanum Pen Script" panose="03040600000000000000" pitchFamily="66" charset="-127"/>
            </a:endParaRPr>
          </a:p>
          <a:p>
            <a:pPr algn="ctr"/>
            <a:r>
              <a:rPr lang="en-US" sz="700" b="1" dirty="0">
                <a:solidFill>
                  <a:schemeClr val="bg1">
                    <a:lumMod val="50000"/>
                  </a:schemeClr>
                </a:solidFill>
                <a:latin typeface="+mj-lt"/>
                <a:ea typeface="Nanum Pen Script" panose="03040600000000000000" pitchFamily="66" charset="-127"/>
              </a:rPr>
              <a:t>Connector 1</a:t>
            </a:r>
          </a:p>
          <a:p>
            <a:pPr algn="ctr"/>
            <a:r>
              <a:rPr lang="en-US" sz="700" b="1" dirty="0">
                <a:solidFill>
                  <a:schemeClr val="bg1">
                    <a:lumMod val="50000"/>
                  </a:schemeClr>
                </a:solidFill>
                <a:latin typeface="+mj-lt"/>
                <a:ea typeface="Nanum Pen Script" panose="03040600000000000000" pitchFamily="66" charset="-127"/>
              </a:rPr>
              <a:t>Task 1</a:t>
            </a:r>
          </a:p>
          <a:p>
            <a:pPr algn="ctr"/>
            <a:endParaRPr lang="en-US" sz="700" b="1" dirty="0">
              <a:solidFill>
                <a:schemeClr val="bg1">
                  <a:lumMod val="50000"/>
                </a:schemeClr>
              </a:solidFill>
              <a:latin typeface="+mj-lt"/>
              <a:ea typeface="Nanum Pen Script" panose="03040600000000000000" pitchFamily="66" charset="-127"/>
            </a:endParaRPr>
          </a:p>
          <a:p>
            <a:pPr algn="ctr"/>
            <a:endParaRPr lang="en-US" sz="1200" dirty="0">
              <a:solidFill>
                <a:schemeClr val="tx1"/>
              </a:solidFill>
              <a:latin typeface="+mj-lt"/>
              <a:ea typeface="Nanum Pen Script" panose="03040600000000000000" pitchFamily="66" charset="-127"/>
            </a:endParaRPr>
          </a:p>
          <a:p>
            <a:pPr algn="ctr"/>
            <a:endParaRPr lang="en-US" sz="1200" dirty="0">
              <a:solidFill>
                <a:schemeClr val="tx1"/>
              </a:solidFill>
              <a:latin typeface="+mj-lt"/>
              <a:ea typeface="Nanum Pen Script" panose="03040600000000000000" pitchFamily="66" charset="-127"/>
            </a:endParaRPr>
          </a:p>
        </p:txBody>
      </p:sp>
      <p:sp>
        <p:nvSpPr>
          <p:cNvPr id="1431" name="Rounded Rectangle 1430">
            <a:extLst>
              <a:ext uri="{FF2B5EF4-FFF2-40B4-BE49-F238E27FC236}">
                <a16:creationId xmlns:a16="http://schemas.microsoft.com/office/drawing/2014/main" id="{13F20276-EE4F-8A4D-8DB7-73D0B1826007}"/>
              </a:ext>
            </a:extLst>
          </p:cNvPr>
          <p:cNvSpPr/>
          <p:nvPr/>
        </p:nvSpPr>
        <p:spPr>
          <a:xfrm>
            <a:off x="4928012" y="3820220"/>
            <a:ext cx="807184" cy="393866"/>
          </a:xfrm>
          <a:prstGeom prst="roundRect">
            <a:avLst/>
          </a:prstGeom>
          <a:solidFill>
            <a:schemeClr val="bg1">
              <a:lumMod val="85000"/>
            </a:schemeClr>
          </a:solidFill>
          <a:ln w="3175">
            <a:solidFill>
              <a:schemeClr val="bg1">
                <a:lumMod val="50000"/>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b="1" dirty="0">
              <a:solidFill>
                <a:schemeClr val="bg1">
                  <a:lumMod val="50000"/>
                </a:schemeClr>
              </a:solidFill>
              <a:latin typeface="+mj-lt"/>
              <a:ea typeface="Nanum Pen Script" panose="03040600000000000000" pitchFamily="66" charset="-127"/>
            </a:endParaRPr>
          </a:p>
          <a:p>
            <a:pPr algn="ctr"/>
            <a:endParaRPr lang="en-US" sz="600" b="1" dirty="0">
              <a:solidFill>
                <a:schemeClr val="bg1">
                  <a:lumMod val="50000"/>
                </a:schemeClr>
              </a:solidFill>
              <a:latin typeface="+mj-lt"/>
              <a:ea typeface="Nanum Pen Script" panose="03040600000000000000" pitchFamily="66" charset="-127"/>
            </a:endParaRPr>
          </a:p>
          <a:p>
            <a:pPr algn="ctr"/>
            <a:endParaRPr lang="en-US" sz="600" b="1" dirty="0">
              <a:solidFill>
                <a:schemeClr val="bg1">
                  <a:lumMod val="50000"/>
                </a:schemeClr>
              </a:solidFill>
              <a:latin typeface="+mj-lt"/>
              <a:ea typeface="Nanum Pen Script" panose="03040600000000000000" pitchFamily="66" charset="-127"/>
            </a:endParaRPr>
          </a:p>
          <a:p>
            <a:pPr algn="ctr"/>
            <a:endParaRPr lang="en-US" sz="600" b="1" dirty="0">
              <a:solidFill>
                <a:schemeClr val="bg1">
                  <a:lumMod val="50000"/>
                </a:schemeClr>
              </a:solidFill>
              <a:latin typeface="+mj-lt"/>
              <a:ea typeface="Nanum Pen Script" panose="03040600000000000000" pitchFamily="66" charset="-127"/>
            </a:endParaRPr>
          </a:p>
          <a:p>
            <a:pPr algn="ctr"/>
            <a:endParaRPr lang="en-US" sz="500" b="1" dirty="0">
              <a:solidFill>
                <a:schemeClr val="bg1">
                  <a:lumMod val="50000"/>
                </a:schemeClr>
              </a:solidFill>
              <a:latin typeface="+mj-lt"/>
              <a:ea typeface="Nanum Pen Script" panose="03040600000000000000" pitchFamily="66" charset="-127"/>
            </a:endParaRPr>
          </a:p>
          <a:p>
            <a:pPr algn="ctr"/>
            <a:r>
              <a:rPr lang="en-US" sz="700" b="1" dirty="0">
                <a:solidFill>
                  <a:schemeClr val="bg1">
                    <a:lumMod val="50000"/>
                  </a:schemeClr>
                </a:solidFill>
                <a:latin typeface="+mj-lt"/>
                <a:ea typeface="Nanum Pen Script" panose="03040600000000000000" pitchFamily="66" charset="-127"/>
              </a:rPr>
              <a:t>Connector 3</a:t>
            </a:r>
          </a:p>
          <a:p>
            <a:pPr algn="ctr"/>
            <a:r>
              <a:rPr lang="en-US" sz="700" b="1" dirty="0">
                <a:solidFill>
                  <a:schemeClr val="bg1">
                    <a:lumMod val="50000"/>
                  </a:schemeClr>
                </a:solidFill>
                <a:latin typeface="+mj-lt"/>
                <a:ea typeface="Nanum Pen Script" panose="03040600000000000000" pitchFamily="66" charset="-127"/>
              </a:rPr>
              <a:t>Task 1</a:t>
            </a:r>
          </a:p>
          <a:p>
            <a:pPr algn="ctr"/>
            <a:endParaRPr lang="en-US" sz="700" b="1" dirty="0">
              <a:solidFill>
                <a:schemeClr val="bg1">
                  <a:lumMod val="50000"/>
                </a:schemeClr>
              </a:solidFill>
              <a:latin typeface="+mj-lt"/>
              <a:ea typeface="Nanum Pen Script" panose="03040600000000000000" pitchFamily="66" charset="-127"/>
            </a:endParaRPr>
          </a:p>
          <a:p>
            <a:pPr algn="ctr"/>
            <a:endParaRPr lang="en-US" sz="1200" dirty="0">
              <a:solidFill>
                <a:schemeClr val="tx1"/>
              </a:solidFill>
              <a:latin typeface="+mj-lt"/>
              <a:ea typeface="Nanum Pen Script" panose="03040600000000000000" pitchFamily="66" charset="-127"/>
            </a:endParaRPr>
          </a:p>
          <a:p>
            <a:pPr algn="ctr"/>
            <a:endParaRPr lang="en-US" sz="1200" dirty="0">
              <a:solidFill>
                <a:schemeClr val="tx1"/>
              </a:solidFill>
              <a:latin typeface="+mj-lt"/>
              <a:ea typeface="Nanum Pen Script" panose="03040600000000000000" pitchFamily="66" charset="-127"/>
            </a:endParaRPr>
          </a:p>
        </p:txBody>
      </p:sp>
      <p:sp>
        <p:nvSpPr>
          <p:cNvPr id="1432" name="Rounded Rectangle 1431">
            <a:extLst>
              <a:ext uri="{FF2B5EF4-FFF2-40B4-BE49-F238E27FC236}">
                <a16:creationId xmlns:a16="http://schemas.microsoft.com/office/drawing/2014/main" id="{D4D78594-D216-E14C-9947-1D5A6ECEDE20}"/>
              </a:ext>
            </a:extLst>
          </p:cNvPr>
          <p:cNvSpPr/>
          <p:nvPr/>
        </p:nvSpPr>
        <p:spPr>
          <a:xfrm>
            <a:off x="4929759" y="4369039"/>
            <a:ext cx="807184" cy="393866"/>
          </a:xfrm>
          <a:prstGeom prst="roundRect">
            <a:avLst/>
          </a:prstGeom>
          <a:solidFill>
            <a:schemeClr val="bg1">
              <a:lumMod val="85000"/>
            </a:schemeClr>
          </a:solidFill>
          <a:ln w="3175">
            <a:solidFill>
              <a:schemeClr val="bg1">
                <a:lumMod val="50000"/>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b="1" dirty="0">
              <a:solidFill>
                <a:schemeClr val="bg1">
                  <a:lumMod val="50000"/>
                </a:schemeClr>
              </a:solidFill>
              <a:latin typeface="+mj-lt"/>
              <a:ea typeface="Nanum Pen Script" panose="03040600000000000000" pitchFamily="66" charset="-127"/>
            </a:endParaRPr>
          </a:p>
          <a:p>
            <a:pPr algn="ctr"/>
            <a:endParaRPr lang="en-US" sz="600" b="1" dirty="0">
              <a:solidFill>
                <a:schemeClr val="bg1">
                  <a:lumMod val="50000"/>
                </a:schemeClr>
              </a:solidFill>
              <a:latin typeface="+mj-lt"/>
              <a:ea typeface="Nanum Pen Script" panose="03040600000000000000" pitchFamily="66" charset="-127"/>
            </a:endParaRPr>
          </a:p>
          <a:p>
            <a:pPr algn="ctr"/>
            <a:endParaRPr lang="en-US" sz="600" b="1" dirty="0">
              <a:solidFill>
                <a:schemeClr val="bg1">
                  <a:lumMod val="50000"/>
                </a:schemeClr>
              </a:solidFill>
              <a:latin typeface="+mj-lt"/>
              <a:ea typeface="Nanum Pen Script" panose="03040600000000000000" pitchFamily="66" charset="-127"/>
            </a:endParaRPr>
          </a:p>
          <a:p>
            <a:pPr algn="ctr"/>
            <a:endParaRPr lang="en-US" sz="600" b="1" dirty="0">
              <a:solidFill>
                <a:schemeClr val="bg1">
                  <a:lumMod val="50000"/>
                </a:schemeClr>
              </a:solidFill>
              <a:latin typeface="+mj-lt"/>
              <a:ea typeface="Nanum Pen Script" panose="03040600000000000000" pitchFamily="66" charset="-127"/>
            </a:endParaRPr>
          </a:p>
          <a:p>
            <a:pPr algn="ctr"/>
            <a:endParaRPr lang="en-US" sz="500" b="1" dirty="0">
              <a:solidFill>
                <a:schemeClr val="bg1">
                  <a:lumMod val="50000"/>
                </a:schemeClr>
              </a:solidFill>
              <a:latin typeface="+mj-lt"/>
              <a:ea typeface="Nanum Pen Script" panose="03040600000000000000" pitchFamily="66" charset="-127"/>
            </a:endParaRPr>
          </a:p>
          <a:p>
            <a:pPr algn="ctr"/>
            <a:r>
              <a:rPr lang="en-US" sz="700" b="1" dirty="0">
                <a:solidFill>
                  <a:schemeClr val="bg1">
                    <a:lumMod val="50000"/>
                  </a:schemeClr>
                </a:solidFill>
                <a:latin typeface="+mj-lt"/>
                <a:ea typeface="Nanum Pen Script" panose="03040600000000000000" pitchFamily="66" charset="-127"/>
              </a:rPr>
              <a:t>Connector 2</a:t>
            </a:r>
          </a:p>
          <a:p>
            <a:pPr algn="ctr"/>
            <a:r>
              <a:rPr lang="en-US" sz="700" b="1" dirty="0">
                <a:solidFill>
                  <a:schemeClr val="bg1">
                    <a:lumMod val="50000"/>
                  </a:schemeClr>
                </a:solidFill>
                <a:latin typeface="+mj-lt"/>
                <a:ea typeface="Nanum Pen Script" panose="03040600000000000000" pitchFamily="66" charset="-127"/>
              </a:rPr>
              <a:t>Task 2</a:t>
            </a:r>
          </a:p>
          <a:p>
            <a:pPr algn="ctr"/>
            <a:endParaRPr lang="en-US" sz="700" b="1" dirty="0">
              <a:solidFill>
                <a:schemeClr val="bg1">
                  <a:lumMod val="50000"/>
                </a:schemeClr>
              </a:solidFill>
              <a:latin typeface="+mj-lt"/>
              <a:ea typeface="Nanum Pen Script" panose="03040600000000000000" pitchFamily="66" charset="-127"/>
            </a:endParaRPr>
          </a:p>
          <a:p>
            <a:pPr algn="ctr"/>
            <a:endParaRPr lang="en-US" sz="1200" dirty="0">
              <a:solidFill>
                <a:schemeClr val="tx1"/>
              </a:solidFill>
              <a:latin typeface="+mj-lt"/>
              <a:ea typeface="Nanum Pen Script" panose="03040600000000000000" pitchFamily="66" charset="-127"/>
            </a:endParaRPr>
          </a:p>
          <a:p>
            <a:pPr algn="ctr"/>
            <a:endParaRPr lang="en-US" sz="1200" dirty="0">
              <a:solidFill>
                <a:schemeClr val="tx1"/>
              </a:solidFill>
              <a:latin typeface="+mj-lt"/>
              <a:ea typeface="Nanum Pen Script" panose="03040600000000000000" pitchFamily="66" charset="-127"/>
            </a:endParaRPr>
          </a:p>
        </p:txBody>
      </p:sp>
      <p:sp>
        <p:nvSpPr>
          <p:cNvPr id="1433" name="Rounded Rectangle 1432">
            <a:extLst>
              <a:ext uri="{FF2B5EF4-FFF2-40B4-BE49-F238E27FC236}">
                <a16:creationId xmlns:a16="http://schemas.microsoft.com/office/drawing/2014/main" id="{E93EEBDB-F080-DA45-9141-F20C8D860229}"/>
              </a:ext>
            </a:extLst>
          </p:cNvPr>
          <p:cNvSpPr/>
          <p:nvPr/>
        </p:nvSpPr>
        <p:spPr>
          <a:xfrm>
            <a:off x="4924096" y="4903862"/>
            <a:ext cx="807184" cy="393866"/>
          </a:xfrm>
          <a:prstGeom prst="roundRect">
            <a:avLst/>
          </a:prstGeom>
          <a:solidFill>
            <a:schemeClr val="bg1">
              <a:lumMod val="85000"/>
            </a:schemeClr>
          </a:solidFill>
          <a:ln w="3175">
            <a:solidFill>
              <a:schemeClr val="bg1">
                <a:lumMod val="50000"/>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b="1" dirty="0">
              <a:solidFill>
                <a:schemeClr val="bg1">
                  <a:lumMod val="50000"/>
                </a:schemeClr>
              </a:solidFill>
              <a:latin typeface="+mj-lt"/>
              <a:ea typeface="Nanum Pen Script" panose="03040600000000000000" pitchFamily="66" charset="-127"/>
            </a:endParaRPr>
          </a:p>
          <a:p>
            <a:pPr algn="ctr"/>
            <a:endParaRPr lang="en-US" sz="600" b="1" dirty="0">
              <a:solidFill>
                <a:schemeClr val="bg1">
                  <a:lumMod val="50000"/>
                </a:schemeClr>
              </a:solidFill>
              <a:latin typeface="+mj-lt"/>
              <a:ea typeface="Nanum Pen Script" panose="03040600000000000000" pitchFamily="66" charset="-127"/>
            </a:endParaRPr>
          </a:p>
          <a:p>
            <a:pPr algn="ctr"/>
            <a:endParaRPr lang="en-US" sz="600" b="1" dirty="0">
              <a:solidFill>
                <a:schemeClr val="bg1">
                  <a:lumMod val="50000"/>
                </a:schemeClr>
              </a:solidFill>
              <a:latin typeface="+mj-lt"/>
              <a:ea typeface="Nanum Pen Script" panose="03040600000000000000" pitchFamily="66" charset="-127"/>
            </a:endParaRPr>
          </a:p>
          <a:p>
            <a:pPr algn="ctr"/>
            <a:endParaRPr lang="en-US" sz="600" b="1" dirty="0">
              <a:solidFill>
                <a:schemeClr val="bg1">
                  <a:lumMod val="50000"/>
                </a:schemeClr>
              </a:solidFill>
              <a:latin typeface="+mj-lt"/>
              <a:ea typeface="Nanum Pen Script" panose="03040600000000000000" pitchFamily="66" charset="-127"/>
            </a:endParaRPr>
          </a:p>
          <a:p>
            <a:pPr algn="ctr"/>
            <a:endParaRPr lang="en-US" sz="500" b="1" dirty="0">
              <a:solidFill>
                <a:schemeClr val="bg1">
                  <a:lumMod val="50000"/>
                </a:schemeClr>
              </a:solidFill>
              <a:latin typeface="+mj-lt"/>
              <a:ea typeface="Nanum Pen Script" panose="03040600000000000000" pitchFamily="66" charset="-127"/>
            </a:endParaRPr>
          </a:p>
          <a:p>
            <a:pPr algn="ctr"/>
            <a:r>
              <a:rPr lang="en-US" sz="700" b="1" dirty="0">
                <a:solidFill>
                  <a:schemeClr val="bg1">
                    <a:lumMod val="50000"/>
                  </a:schemeClr>
                </a:solidFill>
                <a:latin typeface="+mj-lt"/>
                <a:ea typeface="Nanum Pen Script" panose="03040600000000000000" pitchFamily="66" charset="-127"/>
              </a:rPr>
              <a:t>Connector 3</a:t>
            </a:r>
          </a:p>
          <a:p>
            <a:pPr algn="ctr"/>
            <a:r>
              <a:rPr lang="en-US" sz="700" b="1" dirty="0">
                <a:solidFill>
                  <a:schemeClr val="bg1">
                    <a:lumMod val="50000"/>
                  </a:schemeClr>
                </a:solidFill>
                <a:latin typeface="+mj-lt"/>
                <a:ea typeface="Nanum Pen Script" panose="03040600000000000000" pitchFamily="66" charset="-127"/>
              </a:rPr>
              <a:t>Task 1</a:t>
            </a:r>
          </a:p>
          <a:p>
            <a:pPr algn="ctr"/>
            <a:endParaRPr lang="en-US" sz="700" b="1" dirty="0">
              <a:solidFill>
                <a:schemeClr val="bg1">
                  <a:lumMod val="50000"/>
                </a:schemeClr>
              </a:solidFill>
              <a:latin typeface="+mj-lt"/>
              <a:ea typeface="Nanum Pen Script" panose="03040600000000000000" pitchFamily="66" charset="-127"/>
            </a:endParaRPr>
          </a:p>
          <a:p>
            <a:pPr algn="ctr"/>
            <a:endParaRPr lang="en-US" sz="1200" dirty="0">
              <a:solidFill>
                <a:schemeClr val="tx1"/>
              </a:solidFill>
              <a:latin typeface="+mj-lt"/>
              <a:ea typeface="Nanum Pen Script" panose="03040600000000000000" pitchFamily="66" charset="-127"/>
            </a:endParaRPr>
          </a:p>
          <a:p>
            <a:pPr algn="ctr"/>
            <a:endParaRPr lang="en-US" sz="1200" dirty="0">
              <a:solidFill>
                <a:schemeClr val="tx1"/>
              </a:solidFill>
              <a:latin typeface="+mj-lt"/>
              <a:ea typeface="Nanum Pen Script" panose="03040600000000000000" pitchFamily="66" charset="-127"/>
            </a:endParaRPr>
          </a:p>
        </p:txBody>
      </p:sp>
      <p:sp>
        <p:nvSpPr>
          <p:cNvPr id="450" name="Rectangle 449">
            <a:extLst>
              <a:ext uri="{FF2B5EF4-FFF2-40B4-BE49-F238E27FC236}">
                <a16:creationId xmlns:a16="http://schemas.microsoft.com/office/drawing/2014/main" id="{00E403A6-848B-1A4B-A92F-00FCAABE5CC0}"/>
              </a:ext>
            </a:extLst>
          </p:cNvPr>
          <p:cNvSpPr/>
          <p:nvPr/>
        </p:nvSpPr>
        <p:spPr>
          <a:xfrm>
            <a:off x="4750888" y="963488"/>
            <a:ext cx="4617649" cy="5252663"/>
          </a:xfrm>
          <a:prstGeom prst="rect">
            <a:avLst/>
          </a:prstGeom>
          <a:noFill/>
          <a:ln w="15875">
            <a:solidFill>
              <a:srgbClr val="E2E2E2"/>
            </a:solidFill>
            <a:prstDash val="dash"/>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000" dirty="0">
              <a:solidFill>
                <a:srgbClr val="002D72"/>
              </a:solidFill>
              <a:latin typeface="+mj-lt"/>
              <a:cs typeface="Arial" pitchFamily="34" charset="0"/>
            </a:endParaRPr>
          </a:p>
        </p:txBody>
      </p:sp>
      <p:sp>
        <p:nvSpPr>
          <p:cNvPr id="451" name="Rounded Rectangle 450">
            <a:extLst>
              <a:ext uri="{FF2B5EF4-FFF2-40B4-BE49-F238E27FC236}">
                <a16:creationId xmlns:a16="http://schemas.microsoft.com/office/drawing/2014/main" id="{02B3C794-D1C5-4549-A91C-70571C8E2B25}"/>
              </a:ext>
            </a:extLst>
          </p:cNvPr>
          <p:cNvSpPr/>
          <p:nvPr/>
        </p:nvSpPr>
        <p:spPr>
          <a:xfrm>
            <a:off x="8093837" y="3959586"/>
            <a:ext cx="885419" cy="400106"/>
          </a:xfrm>
          <a:prstGeom prst="roundRect">
            <a:avLst/>
          </a:prstGeom>
          <a:solidFill>
            <a:schemeClr val="bg1">
              <a:lumMod val="85000"/>
            </a:schemeClr>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b="1" dirty="0">
              <a:solidFill>
                <a:schemeClr val="bg1">
                  <a:lumMod val="50000"/>
                </a:schemeClr>
              </a:solidFill>
              <a:latin typeface="+mj-lt"/>
              <a:ea typeface="Nanum Pen Script" panose="03040600000000000000" pitchFamily="66" charset="-127"/>
            </a:endParaRPr>
          </a:p>
          <a:p>
            <a:pPr algn="ctr"/>
            <a:endParaRPr lang="en-US" sz="1000" b="1" dirty="0">
              <a:solidFill>
                <a:schemeClr val="bg1">
                  <a:lumMod val="50000"/>
                </a:schemeClr>
              </a:solidFill>
              <a:latin typeface="+mj-lt"/>
              <a:ea typeface="Nanum Pen Script" panose="03040600000000000000" pitchFamily="66" charset="-127"/>
            </a:endParaRPr>
          </a:p>
          <a:p>
            <a:pPr algn="ctr"/>
            <a:endParaRPr lang="en-US" sz="1000" b="1" dirty="0">
              <a:solidFill>
                <a:schemeClr val="bg1">
                  <a:lumMod val="50000"/>
                </a:schemeClr>
              </a:solidFill>
              <a:latin typeface="+mj-lt"/>
              <a:ea typeface="Nanum Pen Script" panose="03040600000000000000" pitchFamily="66" charset="-127"/>
            </a:endParaRPr>
          </a:p>
          <a:p>
            <a:pPr algn="ctr"/>
            <a:endParaRPr lang="en-US" sz="1000" b="1" dirty="0">
              <a:solidFill>
                <a:schemeClr val="bg1">
                  <a:lumMod val="50000"/>
                </a:schemeClr>
              </a:solidFill>
              <a:latin typeface="+mj-lt"/>
              <a:ea typeface="Nanum Pen Script" panose="03040600000000000000" pitchFamily="66" charset="-127"/>
            </a:endParaRPr>
          </a:p>
          <a:p>
            <a:pPr algn="ctr"/>
            <a:endParaRPr lang="en-US" sz="900" b="1" dirty="0">
              <a:solidFill>
                <a:schemeClr val="bg1">
                  <a:lumMod val="50000"/>
                </a:schemeClr>
              </a:solidFill>
              <a:latin typeface="+mj-lt"/>
              <a:ea typeface="Nanum Pen Script" panose="03040600000000000000" pitchFamily="66" charset="-127"/>
            </a:endParaRPr>
          </a:p>
          <a:p>
            <a:pPr algn="ctr"/>
            <a:endParaRPr lang="en-US" sz="1050" b="1" dirty="0">
              <a:solidFill>
                <a:schemeClr val="bg1">
                  <a:lumMod val="50000"/>
                </a:schemeClr>
              </a:solidFill>
              <a:latin typeface="+mj-lt"/>
              <a:ea typeface="Nanum Pen Script" panose="03040600000000000000" pitchFamily="66" charset="-127"/>
            </a:endParaRPr>
          </a:p>
          <a:p>
            <a:pPr algn="ctr"/>
            <a:r>
              <a:rPr lang="en-US" sz="900" b="1" dirty="0">
                <a:solidFill>
                  <a:schemeClr val="bg1">
                    <a:lumMod val="50000"/>
                  </a:schemeClr>
                </a:solidFill>
                <a:latin typeface="+mj-lt"/>
                <a:ea typeface="Nanum Pen Script" panose="03040600000000000000" pitchFamily="66" charset="-127"/>
              </a:rPr>
              <a:t>Kafka Connect</a:t>
            </a:r>
          </a:p>
          <a:p>
            <a:pPr algn="ctr"/>
            <a:r>
              <a:rPr lang="en-US" sz="900" b="1" dirty="0">
                <a:solidFill>
                  <a:schemeClr val="bg1">
                    <a:lumMod val="50000"/>
                  </a:schemeClr>
                </a:solidFill>
                <a:latin typeface="+mj-lt"/>
                <a:ea typeface="Nanum Pen Script" panose="03040600000000000000" pitchFamily="66" charset="-127"/>
              </a:rPr>
              <a:t>Sink</a:t>
            </a:r>
          </a:p>
          <a:p>
            <a:pPr algn="ctr"/>
            <a:endParaRPr lang="en-US" sz="900" b="1" dirty="0">
              <a:solidFill>
                <a:schemeClr val="bg1">
                  <a:lumMod val="50000"/>
                </a:schemeClr>
              </a:solidFill>
              <a:latin typeface="+mj-lt"/>
              <a:ea typeface="Nanum Pen Script" panose="03040600000000000000" pitchFamily="66" charset="-127"/>
            </a:endParaRPr>
          </a:p>
          <a:p>
            <a:pPr algn="ctr"/>
            <a:endParaRPr lang="en-US" sz="2000" dirty="0">
              <a:solidFill>
                <a:schemeClr val="tx1"/>
              </a:solidFill>
              <a:latin typeface="+mj-lt"/>
              <a:ea typeface="Nanum Pen Script" panose="03040600000000000000" pitchFamily="66" charset="-127"/>
            </a:endParaRPr>
          </a:p>
          <a:p>
            <a:pPr algn="ctr"/>
            <a:endParaRPr lang="en-US" sz="2000" dirty="0">
              <a:solidFill>
                <a:schemeClr val="tx1"/>
              </a:solidFill>
              <a:latin typeface="+mj-lt"/>
              <a:ea typeface="Nanum Pen Script" panose="03040600000000000000" pitchFamily="66" charset="-127"/>
            </a:endParaRPr>
          </a:p>
        </p:txBody>
      </p:sp>
      <p:sp>
        <p:nvSpPr>
          <p:cNvPr id="452" name="Rounded Rectangle 451">
            <a:extLst>
              <a:ext uri="{FF2B5EF4-FFF2-40B4-BE49-F238E27FC236}">
                <a16:creationId xmlns:a16="http://schemas.microsoft.com/office/drawing/2014/main" id="{3BD8DC18-84FA-BC48-87C9-56CDABBFB03D}"/>
              </a:ext>
            </a:extLst>
          </p:cNvPr>
          <p:cNvSpPr/>
          <p:nvPr/>
        </p:nvSpPr>
        <p:spPr>
          <a:xfrm>
            <a:off x="8219169" y="1987025"/>
            <a:ext cx="975467" cy="3526497"/>
          </a:xfrm>
          <a:prstGeom prst="roundRect">
            <a:avLst/>
          </a:prstGeom>
          <a:solidFill>
            <a:schemeClr val="bg1">
              <a:lumMod val="95000"/>
            </a:schemeClr>
          </a:solidFill>
          <a:ln w="3175">
            <a:solidFill>
              <a:schemeClr val="bg1">
                <a:lumMod val="65000"/>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600" b="1" dirty="0">
                <a:solidFill>
                  <a:schemeClr val="bg1">
                    <a:lumMod val="50000"/>
                  </a:schemeClr>
                </a:solidFill>
                <a:latin typeface="+mj-lt"/>
                <a:ea typeface="Nanum Pen Script" panose="03040600000000000000" pitchFamily="66" charset="-127"/>
              </a:rPr>
              <a:t>Kafka Connect Cluster – worker 3</a:t>
            </a:r>
          </a:p>
        </p:txBody>
      </p:sp>
      <p:sp>
        <p:nvSpPr>
          <p:cNvPr id="453" name="Rounded Rectangle 452">
            <a:extLst>
              <a:ext uri="{FF2B5EF4-FFF2-40B4-BE49-F238E27FC236}">
                <a16:creationId xmlns:a16="http://schemas.microsoft.com/office/drawing/2014/main" id="{4B2D8BC6-A094-824B-AA48-6369FCCFE53C}"/>
              </a:ext>
            </a:extLst>
          </p:cNvPr>
          <p:cNvSpPr/>
          <p:nvPr/>
        </p:nvSpPr>
        <p:spPr>
          <a:xfrm>
            <a:off x="8100342" y="2349407"/>
            <a:ext cx="958408" cy="3414969"/>
          </a:xfrm>
          <a:prstGeom prst="roundRect">
            <a:avLst/>
          </a:prstGeom>
          <a:solidFill>
            <a:schemeClr val="bg1">
              <a:lumMod val="95000"/>
            </a:schemeClr>
          </a:solidFill>
          <a:ln w="3175">
            <a:solidFill>
              <a:schemeClr val="bg1">
                <a:lumMod val="65000"/>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600" b="1" dirty="0">
                <a:solidFill>
                  <a:schemeClr val="bg1">
                    <a:lumMod val="50000"/>
                  </a:schemeClr>
                </a:solidFill>
                <a:latin typeface="+mj-lt"/>
                <a:ea typeface="Nanum Pen Script" panose="03040600000000000000" pitchFamily="66" charset="-127"/>
              </a:rPr>
              <a:t>Kafka Connect Cluster – worker 2</a:t>
            </a:r>
            <a:endParaRPr lang="en-US" sz="700" b="1" dirty="0">
              <a:solidFill>
                <a:schemeClr val="bg1">
                  <a:lumMod val="50000"/>
                </a:schemeClr>
              </a:solidFill>
              <a:latin typeface="+mj-lt"/>
              <a:ea typeface="Nanum Pen Script" panose="03040600000000000000" pitchFamily="66" charset="-127"/>
            </a:endParaRPr>
          </a:p>
          <a:p>
            <a:pPr algn="ctr"/>
            <a:endParaRPr lang="en-US" sz="600" b="1" dirty="0">
              <a:solidFill>
                <a:schemeClr val="bg1">
                  <a:lumMod val="50000"/>
                </a:schemeClr>
              </a:solidFill>
              <a:latin typeface="+mj-lt"/>
              <a:ea typeface="Nanum Pen Script" panose="03040600000000000000" pitchFamily="66" charset="-127"/>
            </a:endParaRPr>
          </a:p>
          <a:p>
            <a:pPr algn="ctr"/>
            <a:endParaRPr lang="en-US" sz="600" b="1" dirty="0">
              <a:solidFill>
                <a:schemeClr val="bg1">
                  <a:lumMod val="50000"/>
                </a:schemeClr>
              </a:solidFill>
              <a:latin typeface="+mj-lt"/>
              <a:ea typeface="Nanum Pen Script" panose="03040600000000000000" pitchFamily="66" charset="-127"/>
            </a:endParaRPr>
          </a:p>
          <a:p>
            <a:pPr algn="ctr"/>
            <a:endParaRPr lang="en-US" sz="600" b="1" dirty="0">
              <a:solidFill>
                <a:schemeClr val="bg1">
                  <a:lumMod val="50000"/>
                </a:schemeClr>
              </a:solidFill>
              <a:latin typeface="+mj-lt"/>
              <a:ea typeface="Nanum Pen Script" panose="03040600000000000000" pitchFamily="66" charset="-127"/>
            </a:endParaRPr>
          </a:p>
          <a:p>
            <a:pPr algn="ctr"/>
            <a:endParaRPr lang="en-US" sz="600" b="1" dirty="0">
              <a:solidFill>
                <a:schemeClr val="bg1">
                  <a:lumMod val="50000"/>
                </a:schemeClr>
              </a:solidFill>
              <a:latin typeface="+mj-lt"/>
              <a:ea typeface="Nanum Pen Script" panose="03040600000000000000" pitchFamily="66" charset="-127"/>
            </a:endParaRPr>
          </a:p>
          <a:p>
            <a:pPr algn="ctr"/>
            <a:endParaRPr lang="en-US" sz="1400" dirty="0">
              <a:solidFill>
                <a:schemeClr val="tx1"/>
              </a:solidFill>
              <a:latin typeface="+mj-lt"/>
              <a:ea typeface="Nanum Pen Script" panose="03040600000000000000" pitchFamily="66" charset="-127"/>
            </a:endParaRPr>
          </a:p>
          <a:p>
            <a:pPr algn="ctr"/>
            <a:endParaRPr lang="en-US" sz="1400" dirty="0">
              <a:solidFill>
                <a:schemeClr val="tx1"/>
              </a:solidFill>
              <a:latin typeface="+mj-lt"/>
              <a:ea typeface="Nanum Pen Script" panose="03040600000000000000" pitchFamily="66" charset="-127"/>
            </a:endParaRPr>
          </a:p>
        </p:txBody>
      </p:sp>
      <p:sp>
        <p:nvSpPr>
          <p:cNvPr id="454" name="Rounded Rectangle 453">
            <a:extLst>
              <a:ext uri="{FF2B5EF4-FFF2-40B4-BE49-F238E27FC236}">
                <a16:creationId xmlns:a16="http://schemas.microsoft.com/office/drawing/2014/main" id="{85E64E73-AB02-1442-8B88-003CD9E631CE}"/>
              </a:ext>
            </a:extLst>
          </p:cNvPr>
          <p:cNvSpPr/>
          <p:nvPr/>
        </p:nvSpPr>
        <p:spPr>
          <a:xfrm>
            <a:off x="7996784" y="2711790"/>
            <a:ext cx="958408" cy="3414968"/>
          </a:xfrm>
          <a:prstGeom prst="roundRect">
            <a:avLst/>
          </a:prstGeom>
          <a:solidFill>
            <a:schemeClr val="bg1">
              <a:lumMod val="95000"/>
            </a:schemeClr>
          </a:solidFill>
          <a:ln w="3175">
            <a:solidFill>
              <a:schemeClr val="bg1">
                <a:lumMod val="65000"/>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600" b="1" dirty="0">
                <a:solidFill>
                  <a:schemeClr val="bg1">
                    <a:lumMod val="50000"/>
                  </a:schemeClr>
                </a:solidFill>
                <a:latin typeface="+mj-lt"/>
                <a:ea typeface="Nanum Pen Script" panose="03040600000000000000" pitchFamily="66" charset="-127"/>
              </a:rPr>
              <a:t>Kafka Connect Cluster – worker 1</a:t>
            </a:r>
          </a:p>
          <a:p>
            <a:endParaRPr lang="en-US" sz="600" b="1" dirty="0">
              <a:solidFill>
                <a:schemeClr val="bg1">
                  <a:lumMod val="50000"/>
                </a:schemeClr>
              </a:solidFill>
              <a:latin typeface="+mj-lt"/>
              <a:ea typeface="Nanum Pen Script" panose="03040600000000000000" pitchFamily="66" charset="-127"/>
            </a:endParaRPr>
          </a:p>
          <a:p>
            <a:pPr algn="ctr"/>
            <a:endParaRPr lang="en-US" sz="700" b="1" dirty="0">
              <a:solidFill>
                <a:schemeClr val="bg1">
                  <a:lumMod val="50000"/>
                </a:schemeClr>
              </a:solidFill>
              <a:latin typeface="+mj-lt"/>
              <a:ea typeface="Nanum Pen Script" panose="03040600000000000000" pitchFamily="66" charset="-127"/>
            </a:endParaRPr>
          </a:p>
          <a:p>
            <a:pPr algn="ctr"/>
            <a:endParaRPr lang="en-US" sz="700" b="1" dirty="0">
              <a:solidFill>
                <a:schemeClr val="bg1">
                  <a:lumMod val="50000"/>
                </a:schemeClr>
              </a:solidFill>
              <a:latin typeface="+mj-lt"/>
              <a:ea typeface="Nanum Pen Script" panose="03040600000000000000" pitchFamily="66" charset="-127"/>
            </a:endParaRPr>
          </a:p>
          <a:p>
            <a:pPr algn="ctr"/>
            <a:endParaRPr lang="en-US" sz="700" b="1" dirty="0">
              <a:solidFill>
                <a:schemeClr val="bg1">
                  <a:lumMod val="50000"/>
                </a:schemeClr>
              </a:solidFill>
              <a:latin typeface="+mj-lt"/>
              <a:ea typeface="Nanum Pen Script" panose="03040600000000000000" pitchFamily="66" charset="-127"/>
            </a:endParaRPr>
          </a:p>
          <a:p>
            <a:pPr algn="ctr"/>
            <a:endParaRPr lang="en-US" sz="600" b="1" dirty="0">
              <a:solidFill>
                <a:schemeClr val="bg1">
                  <a:lumMod val="50000"/>
                </a:schemeClr>
              </a:solidFill>
              <a:latin typeface="+mj-lt"/>
              <a:ea typeface="Nanum Pen Script" panose="03040600000000000000" pitchFamily="66" charset="-127"/>
            </a:endParaRPr>
          </a:p>
          <a:p>
            <a:pPr algn="ctr"/>
            <a:endParaRPr lang="en-US" sz="600" b="1" dirty="0">
              <a:solidFill>
                <a:schemeClr val="bg1">
                  <a:lumMod val="50000"/>
                </a:schemeClr>
              </a:solidFill>
              <a:latin typeface="+mj-lt"/>
              <a:ea typeface="Nanum Pen Script" panose="03040600000000000000" pitchFamily="66" charset="-127"/>
            </a:endParaRPr>
          </a:p>
          <a:p>
            <a:pPr algn="ctr"/>
            <a:endParaRPr lang="en-US" sz="600" b="1" dirty="0">
              <a:solidFill>
                <a:schemeClr val="bg1">
                  <a:lumMod val="50000"/>
                </a:schemeClr>
              </a:solidFill>
              <a:latin typeface="+mj-lt"/>
              <a:ea typeface="Nanum Pen Script" panose="03040600000000000000" pitchFamily="66" charset="-127"/>
            </a:endParaRPr>
          </a:p>
          <a:p>
            <a:pPr algn="ctr"/>
            <a:endParaRPr lang="en-US" sz="600" b="1" dirty="0">
              <a:solidFill>
                <a:schemeClr val="bg1">
                  <a:lumMod val="50000"/>
                </a:schemeClr>
              </a:solidFill>
              <a:latin typeface="+mj-lt"/>
              <a:ea typeface="Nanum Pen Script" panose="03040600000000000000" pitchFamily="66" charset="-127"/>
            </a:endParaRPr>
          </a:p>
          <a:p>
            <a:pPr algn="ctr"/>
            <a:endParaRPr lang="en-US" sz="1400" dirty="0">
              <a:solidFill>
                <a:schemeClr val="tx1"/>
              </a:solidFill>
              <a:latin typeface="+mj-lt"/>
              <a:ea typeface="Nanum Pen Script" panose="03040600000000000000" pitchFamily="66" charset="-127"/>
            </a:endParaRPr>
          </a:p>
          <a:p>
            <a:pPr algn="ctr"/>
            <a:endParaRPr lang="en-US" sz="1400" dirty="0">
              <a:solidFill>
                <a:schemeClr val="tx1"/>
              </a:solidFill>
              <a:latin typeface="+mj-lt"/>
              <a:ea typeface="Nanum Pen Script" panose="03040600000000000000" pitchFamily="66" charset="-127"/>
            </a:endParaRPr>
          </a:p>
        </p:txBody>
      </p:sp>
      <p:grpSp>
        <p:nvGrpSpPr>
          <p:cNvPr id="398" name="Group 397">
            <a:extLst>
              <a:ext uri="{FF2B5EF4-FFF2-40B4-BE49-F238E27FC236}">
                <a16:creationId xmlns:a16="http://schemas.microsoft.com/office/drawing/2014/main" id="{4998AF97-A986-1145-891A-4081951A417B}"/>
              </a:ext>
            </a:extLst>
          </p:cNvPr>
          <p:cNvGrpSpPr/>
          <p:nvPr/>
        </p:nvGrpSpPr>
        <p:grpSpPr>
          <a:xfrm>
            <a:off x="3195785" y="5439704"/>
            <a:ext cx="229951" cy="200055"/>
            <a:chOff x="8676898" y="4619460"/>
            <a:chExt cx="229951" cy="200055"/>
          </a:xfrm>
        </p:grpSpPr>
        <p:sp>
          <p:nvSpPr>
            <p:cNvPr id="399" name="Google Shape;431;p39">
              <a:extLst>
                <a:ext uri="{FF2B5EF4-FFF2-40B4-BE49-F238E27FC236}">
                  <a16:creationId xmlns:a16="http://schemas.microsoft.com/office/drawing/2014/main" id="{B79E4A4B-4F1D-D843-9C99-D08FE3013501}"/>
                </a:ext>
              </a:extLst>
            </p:cNvPr>
            <p:cNvSpPr/>
            <p:nvPr/>
          </p:nvSpPr>
          <p:spPr>
            <a:xfrm>
              <a:off x="8709950" y="4635551"/>
              <a:ext cx="179407" cy="167874"/>
            </a:xfrm>
            <a:custGeom>
              <a:avLst/>
              <a:gdLst/>
              <a:ahLst/>
              <a:cxnLst/>
              <a:rect l="0" t="0" r="0" b="0"/>
              <a:pathLst>
                <a:path w="67641" h="69056" extrusionOk="0">
                  <a:moveTo>
                    <a:pt x="49622" y="2736"/>
                  </a:moveTo>
                  <a:lnTo>
                    <a:pt x="49622" y="2736"/>
                  </a:lnTo>
                  <a:lnTo>
                    <a:pt x="49622" y="2736"/>
                  </a:lnTo>
                  <a:close/>
                  <a:moveTo>
                    <a:pt x="59622" y="55565"/>
                  </a:moveTo>
                  <a:lnTo>
                    <a:pt x="59622" y="55565"/>
                  </a:lnTo>
                  <a:lnTo>
                    <a:pt x="59622" y="55565"/>
                  </a:lnTo>
                  <a:close/>
                  <a:moveTo>
                    <a:pt x="35471" y="0"/>
                  </a:moveTo>
                  <a:lnTo>
                    <a:pt x="34433" y="95"/>
                  </a:lnTo>
                  <a:lnTo>
                    <a:pt x="33584" y="189"/>
                  </a:lnTo>
                  <a:lnTo>
                    <a:pt x="32735" y="378"/>
                  </a:lnTo>
                  <a:lnTo>
                    <a:pt x="32169" y="566"/>
                  </a:lnTo>
                  <a:lnTo>
                    <a:pt x="31509" y="472"/>
                  </a:lnTo>
                  <a:lnTo>
                    <a:pt x="30754" y="472"/>
                  </a:lnTo>
                  <a:lnTo>
                    <a:pt x="29339" y="566"/>
                  </a:lnTo>
                  <a:lnTo>
                    <a:pt x="27830" y="849"/>
                  </a:lnTo>
                  <a:lnTo>
                    <a:pt x="26320" y="1321"/>
                  </a:lnTo>
                  <a:lnTo>
                    <a:pt x="24811" y="1981"/>
                  </a:lnTo>
                  <a:lnTo>
                    <a:pt x="23207" y="2736"/>
                  </a:lnTo>
                  <a:lnTo>
                    <a:pt x="21698" y="3585"/>
                  </a:lnTo>
                  <a:lnTo>
                    <a:pt x="20188" y="4623"/>
                  </a:lnTo>
                  <a:lnTo>
                    <a:pt x="18679" y="5661"/>
                  </a:lnTo>
                  <a:lnTo>
                    <a:pt x="17170" y="6793"/>
                  </a:lnTo>
                  <a:lnTo>
                    <a:pt x="15754" y="8019"/>
                  </a:lnTo>
                  <a:lnTo>
                    <a:pt x="14434" y="9151"/>
                  </a:lnTo>
                  <a:lnTo>
                    <a:pt x="11981" y="11510"/>
                  </a:lnTo>
                  <a:lnTo>
                    <a:pt x="10000" y="13774"/>
                  </a:lnTo>
                  <a:lnTo>
                    <a:pt x="7736" y="16981"/>
                  </a:lnTo>
                  <a:lnTo>
                    <a:pt x="8019" y="16321"/>
                  </a:lnTo>
                  <a:lnTo>
                    <a:pt x="8302" y="15660"/>
                  </a:lnTo>
                  <a:lnTo>
                    <a:pt x="7736" y="16604"/>
                  </a:lnTo>
                  <a:lnTo>
                    <a:pt x="7075" y="17642"/>
                  </a:lnTo>
                  <a:lnTo>
                    <a:pt x="7170" y="17830"/>
                  </a:lnTo>
                  <a:lnTo>
                    <a:pt x="6509" y="18868"/>
                  </a:lnTo>
                  <a:lnTo>
                    <a:pt x="7075" y="17359"/>
                  </a:lnTo>
                  <a:lnTo>
                    <a:pt x="6132" y="19057"/>
                  </a:lnTo>
                  <a:lnTo>
                    <a:pt x="5189" y="20849"/>
                  </a:lnTo>
                  <a:lnTo>
                    <a:pt x="4434" y="22736"/>
                  </a:lnTo>
                  <a:lnTo>
                    <a:pt x="3679" y="24622"/>
                  </a:lnTo>
                  <a:lnTo>
                    <a:pt x="2453" y="28490"/>
                  </a:lnTo>
                  <a:lnTo>
                    <a:pt x="1321" y="32169"/>
                  </a:lnTo>
                  <a:lnTo>
                    <a:pt x="1509" y="32264"/>
                  </a:lnTo>
                  <a:lnTo>
                    <a:pt x="1604" y="32453"/>
                  </a:lnTo>
                  <a:lnTo>
                    <a:pt x="1604" y="32641"/>
                  </a:lnTo>
                  <a:lnTo>
                    <a:pt x="1509" y="32924"/>
                  </a:lnTo>
                  <a:lnTo>
                    <a:pt x="1226" y="33396"/>
                  </a:lnTo>
                  <a:lnTo>
                    <a:pt x="1038" y="33585"/>
                  </a:lnTo>
                  <a:lnTo>
                    <a:pt x="1038" y="33773"/>
                  </a:lnTo>
                  <a:lnTo>
                    <a:pt x="1038" y="35000"/>
                  </a:lnTo>
                  <a:lnTo>
                    <a:pt x="849" y="36132"/>
                  </a:lnTo>
                  <a:lnTo>
                    <a:pt x="660" y="37358"/>
                  </a:lnTo>
                  <a:lnTo>
                    <a:pt x="472" y="38867"/>
                  </a:lnTo>
                  <a:lnTo>
                    <a:pt x="283" y="38301"/>
                  </a:lnTo>
                  <a:lnTo>
                    <a:pt x="94" y="39811"/>
                  </a:lnTo>
                  <a:lnTo>
                    <a:pt x="0" y="41509"/>
                  </a:lnTo>
                  <a:lnTo>
                    <a:pt x="94" y="43301"/>
                  </a:lnTo>
                  <a:lnTo>
                    <a:pt x="283" y="44056"/>
                  </a:lnTo>
                  <a:lnTo>
                    <a:pt x="472" y="44622"/>
                  </a:lnTo>
                  <a:lnTo>
                    <a:pt x="566" y="45660"/>
                  </a:lnTo>
                  <a:lnTo>
                    <a:pt x="755" y="46792"/>
                  </a:lnTo>
                  <a:lnTo>
                    <a:pt x="1226" y="48962"/>
                  </a:lnTo>
                  <a:lnTo>
                    <a:pt x="1981" y="51037"/>
                  </a:lnTo>
                  <a:lnTo>
                    <a:pt x="2924" y="53112"/>
                  </a:lnTo>
                  <a:lnTo>
                    <a:pt x="4057" y="55094"/>
                  </a:lnTo>
                  <a:lnTo>
                    <a:pt x="5283" y="56980"/>
                  </a:lnTo>
                  <a:lnTo>
                    <a:pt x="6698" y="58678"/>
                  </a:lnTo>
                  <a:lnTo>
                    <a:pt x="8113" y="60282"/>
                  </a:lnTo>
                  <a:lnTo>
                    <a:pt x="9056" y="61131"/>
                  </a:lnTo>
                  <a:lnTo>
                    <a:pt x="10000" y="61980"/>
                  </a:lnTo>
                  <a:lnTo>
                    <a:pt x="11038" y="62829"/>
                  </a:lnTo>
                  <a:lnTo>
                    <a:pt x="12075" y="63584"/>
                  </a:lnTo>
                  <a:lnTo>
                    <a:pt x="14339" y="64905"/>
                  </a:lnTo>
                  <a:lnTo>
                    <a:pt x="16604" y="66131"/>
                  </a:lnTo>
                  <a:lnTo>
                    <a:pt x="19056" y="67169"/>
                  </a:lnTo>
                  <a:lnTo>
                    <a:pt x="21509" y="67923"/>
                  </a:lnTo>
                  <a:lnTo>
                    <a:pt x="24056" y="68584"/>
                  </a:lnTo>
                  <a:lnTo>
                    <a:pt x="26603" y="69055"/>
                  </a:lnTo>
                  <a:lnTo>
                    <a:pt x="27830" y="69055"/>
                  </a:lnTo>
                  <a:lnTo>
                    <a:pt x="30188" y="68867"/>
                  </a:lnTo>
                  <a:lnTo>
                    <a:pt x="33113" y="68678"/>
                  </a:lnTo>
                  <a:lnTo>
                    <a:pt x="36509" y="68301"/>
                  </a:lnTo>
                  <a:lnTo>
                    <a:pt x="39811" y="67923"/>
                  </a:lnTo>
                  <a:lnTo>
                    <a:pt x="42735" y="67452"/>
                  </a:lnTo>
                  <a:lnTo>
                    <a:pt x="44905" y="66980"/>
                  </a:lnTo>
                  <a:lnTo>
                    <a:pt x="45565" y="66791"/>
                  </a:lnTo>
                  <a:lnTo>
                    <a:pt x="45943" y="66508"/>
                  </a:lnTo>
                  <a:lnTo>
                    <a:pt x="47358" y="65942"/>
                  </a:lnTo>
                  <a:lnTo>
                    <a:pt x="48018" y="65565"/>
                  </a:lnTo>
                  <a:lnTo>
                    <a:pt x="48678" y="65188"/>
                  </a:lnTo>
                  <a:lnTo>
                    <a:pt x="47924" y="65471"/>
                  </a:lnTo>
                  <a:lnTo>
                    <a:pt x="51509" y="62924"/>
                  </a:lnTo>
                  <a:lnTo>
                    <a:pt x="53301" y="61508"/>
                  </a:lnTo>
                  <a:lnTo>
                    <a:pt x="55093" y="59905"/>
                  </a:lnTo>
                  <a:lnTo>
                    <a:pt x="55093" y="59905"/>
                  </a:lnTo>
                  <a:lnTo>
                    <a:pt x="54810" y="60376"/>
                  </a:lnTo>
                  <a:lnTo>
                    <a:pt x="54339" y="60754"/>
                  </a:lnTo>
                  <a:lnTo>
                    <a:pt x="55376" y="59999"/>
                  </a:lnTo>
                  <a:lnTo>
                    <a:pt x="56320" y="59056"/>
                  </a:lnTo>
                  <a:lnTo>
                    <a:pt x="57075" y="58395"/>
                  </a:lnTo>
                  <a:lnTo>
                    <a:pt x="57169" y="58207"/>
                  </a:lnTo>
                  <a:lnTo>
                    <a:pt x="57075" y="58207"/>
                  </a:lnTo>
                  <a:lnTo>
                    <a:pt x="57924" y="57546"/>
                  </a:lnTo>
                  <a:lnTo>
                    <a:pt x="58678" y="56697"/>
                  </a:lnTo>
                  <a:lnTo>
                    <a:pt x="59339" y="55754"/>
                  </a:lnTo>
                  <a:lnTo>
                    <a:pt x="59905" y="54905"/>
                  </a:lnTo>
                  <a:lnTo>
                    <a:pt x="59716" y="54999"/>
                  </a:lnTo>
                  <a:lnTo>
                    <a:pt x="59622" y="54999"/>
                  </a:lnTo>
                  <a:lnTo>
                    <a:pt x="59810" y="54622"/>
                  </a:lnTo>
                  <a:lnTo>
                    <a:pt x="59150" y="55565"/>
                  </a:lnTo>
                  <a:lnTo>
                    <a:pt x="59527" y="55094"/>
                  </a:lnTo>
                  <a:lnTo>
                    <a:pt x="59433" y="55377"/>
                  </a:lnTo>
                  <a:lnTo>
                    <a:pt x="58867" y="56037"/>
                  </a:lnTo>
                  <a:lnTo>
                    <a:pt x="59056" y="55660"/>
                  </a:lnTo>
                  <a:lnTo>
                    <a:pt x="59056" y="55660"/>
                  </a:lnTo>
                  <a:lnTo>
                    <a:pt x="58678" y="56037"/>
                  </a:lnTo>
                  <a:lnTo>
                    <a:pt x="59810" y="54339"/>
                  </a:lnTo>
                  <a:lnTo>
                    <a:pt x="60282" y="53490"/>
                  </a:lnTo>
                  <a:lnTo>
                    <a:pt x="60282" y="53301"/>
                  </a:lnTo>
                  <a:lnTo>
                    <a:pt x="60188" y="53395"/>
                  </a:lnTo>
                  <a:lnTo>
                    <a:pt x="60188" y="53395"/>
                  </a:lnTo>
                  <a:lnTo>
                    <a:pt x="60565" y="52924"/>
                  </a:lnTo>
                  <a:lnTo>
                    <a:pt x="61037" y="52452"/>
                  </a:lnTo>
                  <a:lnTo>
                    <a:pt x="61886" y="51509"/>
                  </a:lnTo>
                  <a:lnTo>
                    <a:pt x="61508" y="52452"/>
                  </a:lnTo>
                  <a:lnTo>
                    <a:pt x="60848" y="53584"/>
                  </a:lnTo>
                  <a:lnTo>
                    <a:pt x="59622" y="55565"/>
                  </a:lnTo>
                  <a:lnTo>
                    <a:pt x="60376" y="54528"/>
                  </a:lnTo>
                  <a:lnTo>
                    <a:pt x="60942" y="53678"/>
                  </a:lnTo>
                  <a:lnTo>
                    <a:pt x="61980" y="51792"/>
                  </a:lnTo>
                  <a:lnTo>
                    <a:pt x="61886" y="51886"/>
                  </a:lnTo>
                  <a:lnTo>
                    <a:pt x="61886" y="51697"/>
                  </a:lnTo>
                  <a:lnTo>
                    <a:pt x="62169" y="51037"/>
                  </a:lnTo>
                  <a:lnTo>
                    <a:pt x="62735" y="49999"/>
                  </a:lnTo>
                  <a:lnTo>
                    <a:pt x="61508" y="51603"/>
                  </a:lnTo>
                  <a:lnTo>
                    <a:pt x="61603" y="51037"/>
                  </a:lnTo>
                  <a:lnTo>
                    <a:pt x="61697" y="50377"/>
                  </a:lnTo>
                  <a:lnTo>
                    <a:pt x="62169" y="48962"/>
                  </a:lnTo>
                  <a:lnTo>
                    <a:pt x="62829" y="47358"/>
                  </a:lnTo>
                  <a:lnTo>
                    <a:pt x="63678" y="45565"/>
                  </a:lnTo>
                  <a:lnTo>
                    <a:pt x="65376" y="42169"/>
                  </a:lnTo>
                  <a:lnTo>
                    <a:pt x="66131" y="40660"/>
                  </a:lnTo>
                  <a:lnTo>
                    <a:pt x="66697" y="39339"/>
                  </a:lnTo>
                  <a:lnTo>
                    <a:pt x="66603" y="39528"/>
                  </a:lnTo>
                  <a:lnTo>
                    <a:pt x="66697" y="39056"/>
                  </a:lnTo>
                  <a:lnTo>
                    <a:pt x="66791" y="38962"/>
                  </a:lnTo>
                  <a:lnTo>
                    <a:pt x="66791" y="39056"/>
                  </a:lnTo>
                  <a:lnTo>
                    <a:pt x="66886" y="38584"/>
                  </a:lnTo>
                  <a:lnTo>
                    <a:pt x="66791" y="38867"/>
                  </a:lnTo>
                  <a:lnTo>
                    <a:pt x="66980" y="38207"/>
                  </a:lnTo>
                  <a:lnTo>
                    <a:pt x="67169" y="37264"/>
                  </a:lnTo>
                  <a:lnTo>
                    <a:pt x="67263" y="36415"/>
                  </a:lnTo>
                  <a:lnTo>
                    <a:pt x="67357" y="36509"/>
                  </a:lnTo>
                  <a:lnTo>
                    <a:pt x="67452" y="36509"/>
                  </a:lnTo>
                  <a:lnTo>
                    <a:pt x="67546" y="35943"/>
                  </a:lnTo>
                  <a:lnTo>
                    <a:pt x="67546" y="34811"/>
                  </a:lnTo>
                  <a:lnTo>
                    <a:pt x="67640" y="31037"/>
                  </a:lnTo>
                  <a:lnTo>
                    <a:pt x="67640" y="28490"/>
                  </a:lnTo>
                  <a:lnTo>
                    <a:pt x="67546" y="27736"/>
                  </a:lnTo>
                  <a:lnTo>
                    <a:pt x="67546" y="27547"/>
                  </a:lnTo>
                  <a:lnTo>
                    <a:pt x="67452" y="27547"/>
                  </a:lnTo>
                  <a:lnTo>
                    <a:pt x="67074" y="26792"/>
                  </a:lnTo>
                  <a:lnTo>
                    <a:pt x="66791" y="25660"/>
                  </a:lnTo>
                  <a:lnTo>
                    <a:pt x="66508" y="24528"/>
                  </a:lnTo>
                  <a:lnTo>
                    <a:pt x="66414" y="23585"/>
                  </a:lnTo>
                  <a:lnTo>
                    <a:pt x="66320" y="23679"/>
                  </a:lnTo>
                  <a:lnTo>
                    <a:pt x="66320" y="23490"/>
                  </a:lnTo>
                  <a:lnTo>
                    <a:pt x="65942" y="22924"/>
                  </a:lnTo>
                  <a:lnTo>
                    <a:pt x="65565" y="22358"/>
                  </a:lnTo>
                  <a:lnTo>
                    <a:pt x="64527" y="21132"/>
                  </a:lnTo>
                  <a:lnTo>
                    <a:pt x="63584" y="19906"/>
                  </a:lnTo>
                  <a:lnTo>
                    <a:pt x="63207" y="19340"/>
                  </a:lnTo>
                  <a:lnTo>
                    <a:pt x="63018" y="18774"/>
                  </a:lnTo>
                  <a:lnTo>
                    <a:pt x="63112" y="18962"/>
                  </a:lnTo>
                  <a:lnTo>
                    <a:pt x="63301" y="19057"/>
                  </a:lnTo>
                  <a:lnTo>
                    <a:pt x="63301" y="19057"/>
                  </a:lnTo>
                  <a:lnTo>
                    <a:pt x="63207" y="18868"/>
                  </a:lnTo>
                  <a:lnTo>
                    <a:pt x="62923" y="18491"/>
                  </a:lnTo>
                  <a:lnTo>
                    <a:pt x="61980" y="17453"/>
                  </a:lnTo>
                  <a:lnTo>
                    <a:pt x="61037" y="16509"/>
                  </a:lnTo>
                  <a:lnTo>
                    <a:pt x="61037" y="16698"/>
                  </a:lnTo>
                  <a:lnTo>
                    <a:pt x="61037" y="16887"/>
                  </a:lnTo>
                  <a:lnTo>
                    <a:pt x="60093" y="15943"/>
                  </a:lnTo>
                  <a:lnTo>
                    <a:pt x="60376" y="16321"/>
                  </a:lnTo>
                  <a:lnTo>
                    <a:pt x="59527" y="15377"/>
                  </a:lnTo>
                  <a:lnTo>
                    <a:pt x="59056" y="14906"/>
                  </a:lnTo>
                  <a:lnTo>
                    <a:pt x="59244" y="14906"/>
                  </a:lnTo>
                  <a:lnTo>
                    <a:pt x="59905" y="15472"/>
                  </a:lnTo>
                  <a:lnTo>
                    <a:pt x="59905" y="15472"/>
                  </a:lnTo>
                  <a:lnTo>
                    <a:pt x="57641" y="13396"/>
                  </a:lnTo>
                  <a:lnTo>
                    <a:pt x="58112" y="13868"/>
                  </a:lnTo>
                  <a:lnTo>
                    <a:pt x="56886" y="13019"/>
                  </a:lnTo>
                  <a:lnTo>
                    <a:pt x="55754" y="12453"/>
                  </a:lnTo>
                  <a:lnTo>
                    <a:pt x="56603" y="13113"/>
                  </a:lnTo>
                  <a:lnTo>
                    <a:pt x="57452" y="13774"/>
                  </a:lnTo>
                  <a:lnTo>
                    <a:pt x="58961" y="15283"/>
                  </a:lnTo>
                  <a:lnTo>
                    <a:pt x="60376" y="16604"/>
                  </a:lnTo>
                  <a:lnTo>
                    <a:pt x="61225" y="17264"/>
                  </a:lnTo>
                  <a:lnTo>
                    <a:pt x="62074" y="17925"/>
                  </a:lnTo>
                  <a:lnTo>
                    <a:pt x="62074" y="17925"/>
                  </a:lnTo>
                  <a:lnTo>
                    <a:pt x="61414" y="17547"/>
                  </a:lnTo>
                  <a:lnTo>
                    <a:pt x="60659" y="16981"/>
                  </a:lnTo>
                  <a:lnTo>
                    <a:pt x="60754" y="17264"/>
                  </a:lnTo>
                  <a:lnTo>
                    <a:pt x="60942" y="17642"/>
                  </a:lnTo>
                  <a:lnTo>
                    <a:pt x="61980" y="19151"/>
                  </a:lnTo>
                  <a:lnTo>
                    <a:pt x="63301" y="20943"/>
                  </a:lnTo>
                  <a:lnTo>
                    <a:pt x="63207" y="20943"/>
                  </a:lnTo>
                  <a:lnTo>
                    <a:pt x="63395" y="21038"/>
                  </a:lnTo>
                  <a:lnTo>
                    <a:pt x="63490" y="21321"/>
                  </a:lnTo>
                  <a:lnTo>
                    <a:pt x="63678" y="21604"/>
                  </a:lnTo>
                  <a:lnTo>
                    <a:pt x="63773" y="21698"/>
                  </a:lnTo>
                  <a:lnTo>
                    <a:pt x="63584" y="21321"/>
                  </a:lnTo>
                  <a:lnTo>
                    <a:pt x="63584" y="21321"/>
                  </a:lnTo>
                  <a:lnTo>
                    <a:pt x="64244" y="22170"/>
                  </a:lnTo>
                  <a:lnTo>
                    <a:pt x="64716" y="22641"/>
                  </a:lnTo>
                  <a:lnTo>
                    <a:pt x="64905" y="22830"/>
                  </a:lnTo>
                  <a:lnTo>
                    <a:pt x="64999" y="22830"/>
                  </a:lnTo>
                  <a:lnTo>
                    <a:pt x="64999" y="22641"/>
                  </a:lnTo>
                  <a:lnTo>
                    <a:pt x="64905" y="22358"/>
                  </a:lnTo>
                  <a:lnTo>
                    <a:pt x="65282" y="23207"/>
                  </a:lnTo>
                  <a:lnTo>
                    <a:pt x="65565" y="24056"/>
                  </a:lnTo>
                  <a:lnTo>
                    <a:pt x="66225" y="25943"/>
                  </a:lnTo>
                  <a:lnTo>
                    <a:pt x="66697" y="27830"/>
                  </a:lnTo>
                  <a:lnTo>
                    <a:pt x="66886" y="28490"/>
                  </a:lnTo>
                  <a:lnTo>
                    <a:pt x="66980" y="28868"/>
                  </a:lnTo>
                  <a:lnTo>
                    <a:pt x="66886" y="28962"/>
                  </a:lnTo>
                  <a:lnTo>
                    <a:pt x="66697" y="28679"/>
                  </a:lnTo>
                  <a:lnTo>
                    <a:pt x="66697" y="29245"/>
                  </a:lnTo>
                  <a:lnTo>
                    <a:pt x="66791" y="29905"/>
                  </a:lnTo>
                  <a:lnTo>
                    <a:pt x="66886" y="29905"/>
                  </a:lnTo>
                  <a:lnTo>
                    <a:pt x="66886" y="30094"/>
                  </a:lnTo>
                  <a:lnTo>
                    <a:pt x="66886" y="30566"/>
                  </a:lnTo>
                  <a:lnTo>
                    <a:pt x="66697" y="30377"/>
                  </a:lnTo>
                  <a:lnTo>
                    <a:pt x="66603" y="30188"/>
                  </a:lnTo>
                  <a:lnTo>
                    <a:pt x="66603" y="30094"/>
                  </a:lnTo>
                  <a:lnTo>
                    <a:pt x="66697" y="29905"/>
                  </a:lnTo>
                  <a:lnTo>
                    <a:pt x="66508" y="28679"/>
                  </a:lnTo>
                  <a:lnTo>
                    <a:pt x="66225" y="27358"/>
                  </a:lnTo>
                  <a:lnTo>
                    <a:pt x="66603" y="30283"/>
                  </a:lnTo>
                  <a:lnTo>
                    <a:pt x="66697" y="31792"/>
                  </a:lnTo>
                  <a:lnTo>
                    <a:pt x="66697" y="33302"/>
                  </a:lnTo>
                  <a:lnTo>
                    <a:pt x="66603" y="34717"/>
                  </a:lnTo>
                  <a:lnTo>
                    <a:pt x="66414" y="36226"/>
                  </a:lnTo>
                  <a:lnTo>
                    <a:pt x="66131" y="37547"/>
                  </a:lnTo>
                  <a:lnTo>
                    <a:pt x="65659" y="38962"/>
                  </a:lnTo>
                  <a:lnTo>
                    <a:pt x="65848" y="38584"/>
                  </a:lnTo>
                  <a:lnTo>
                    <a:pt x="65942" y="38584"/>
                  </a:lnTo>
                  <a:lnTo>
                    <a:pt x="65848" y="39245"/>
                  </a:lnTo>
                  <a:lnTo>
                    <a:pt x="65565" y="40188"/>
                  </a:lnTo>
                  <a:lnTo>
                    <a:pt x="65471" y="40471"/>
                  </a:lnTo>
                  <a:lnTo>
                    <a:pt x="65282" y="40660"/>
                  </a:lnTo>
                  <a:lnTo>
                    <a:pt x="65282" y="40566"/>
                  </a:lnTo>
                  <a:lnTo>
                    <a:pt x="65093" y="41132"/>
                  </a:lnTo>
                  <a:lnTo>
                    <a:pt x="64433" y="43018"/>
                  </a:lnTo>
                  <a:lnTo>
                    <a:pt x="63678" y="45282"/>
                  </a:lnTo>
                  <a:lnTo>
                    <a:pt x="62735" y="47264"/>
                  </a:lnTo>
                  <a:lnTo>
                    <a:pt x="61697" y="49056"/>
                  </a:lnTo>
                  <a:lnTo>
                    <a:pt x="60659" y="50943"/>
                  </a:lnTo>
                  <a:lnTo>
                    <a:pt x="59433" y="52735"/>
                  </a:lnTo>
                  <a:lnTo>
                    <a:pt x="58207" y="54433"/>
                  </a:lnTo>
                  <a:lnTo>
                    <a:pt x="56886" y="56037"/>
                  </a:lnTo>
                  <a:lnTo>
                    <a:pt x="55376" y="57641"/>
                  </a:lnTo>
                  <a:lnTo>
                    <a:pt x="53867" y="59150"/>
                  </a:lnTo>
                  <a:lnTo>
                    <a:pt x="52169" y="60376"/>
                  </a:lnTo>
                  <a:lnTo>
                    <a:pt x="48961" y="62452"/>
                  </a:lnTo>
                  <a:lnTo>
                    <a:pt x="44528" y="65282"/>
                  </a:lnTo>
                  <a:lnTo>
                    <a:pt x="44622" y="65188"/>
                  </a:lnTo>
                  <a:lnTo>
                    <a:pt x="44716" y="65093"/>
                  </a:lnTo>
                  <a:lnTo>
                    <a:pt x="45094" y="64810"/>
                  </a:lnTo>
                  <a:lnTo>
                    <a:pt x="45660" y="64527"/>
                  </a:lnTo>
                  <a:lnTo>
                    <a:pt x="43867" y="65376"/>
                  </a:lnTo>
                  <a:lnTo>
                    <a:pt x="43113" y="65754"/>
                  </a:lnTo>
                  <a:lnTo>
                    <a:pt x="42924" y="65754"/>
                  </a:lnTo>
                  <a:lnTo>
                    <a:pt x="43113" y="65659"/>
                  </a:lnTo>
                  <a:lnTo>
                    <a:pt x="41603" y="66037"/>
                  </a:lnTo>
                  <a:lnTo>
                    <a:pt x="39999" y="66320"/>
                  </a:lnTo>
                  <a:lnTo>
                    <a:pt x="38396" y="66508"/>
                  </a:lnTo>
                  <a:lnTo>
                    <a:pt x="36792" y="66697"/>
                  </a:lnTo>
                  <a:lnTo>
                    <a:pt x="33584" y="66980"/>
                  </a:lnTo>
                  <a:lnTo>
                    <a:pt x="32169" y="67169"/>
                  </a:lnTo>
                  <a:lnTo>
                    <a:pt x="30754" y="67357"/>
                  </a:lnTo>
                  <a:lnTo>
                    <a:pt x="30094" y="67357"/>
                  </a:lnTo>
                  <a:lnTo>
                    <a:pt x="29339" y="67263"/>
                  </a:lnTo>
                  <a:lnTo>
                    <a:pt x="27830" y="66886"/>
                  </a:lnTo>
                  <a:lnTo>
                    <a:pt x="26415" y="66508"/>
                  </a:lnTo>
                  <a:lnTo>
                    <a:pt x="25754" y="66414"/>
                  </a:lnTo>
                  <a:lnTo>
                    <a:pt x="25094" y="66414"/>
                  </a:lnTo>
                  <a:lnTo>
                    <a:pt x="25566" y="66980"/>
                  </a:lnTo>
                  <a:lnTo>
                    <a:pt x="25471" y="67074"/>
                  </a:lnTo>
                  <a:lnTo>
                    <a:pt x="25188" y="66980"/>
                  </a:lnTo>
                  <a:lnTo>
                    <a:pt x="24339" y="66791"/>
                  </a:lnTo>
                  <a:lnTo>
                    <a:pt x="23773" y="66508"/>
                  </a:lnTo>
                  <a:lnTo>
                    <a:pt x="24245" y="66414"/>
                  </a:lnTo>
                  <a:lnTo>
                    <a:pt x="24717" y="66603"/>
                  </a:lnTo>
                  <a:lnTo>
                    <a:pt x="24811" y="66414"/>
                  </a:lnTo>
                  <a:lnTo>
                    <a:pt x="24811" y="66320"/>
                  </a:lnTo>
                  <a:lnTo>
                    <a:pt x="24717" y="66225"/>
                  </a:lnTo>
                  <a:lnTo>
                    <a:pt x="24528" y="66131"/>
                  </a:lnTo>
                  <a:lnTo>
                    <a:pt x="24151" y="66225"/>
                  </a:lnTo>
                  <a:lnTo>
                    <a:pt x="23679" y="66320"/>
                  </a:lnTo>
                  <a:lnTo>
                    <a:pt x="23018" y="66414"/>
                  </a:lnTo>
                  <a:lnTo>
                    <a:pt x="23490" y="66225"/>
                  </a:lnTo>
                  <a:lnTo>
                    <a:pt x="22075" y="65942"/>
                  </a:lnTo>
                  <a:lnTo>
                    <a:pt x="20943" y="65659"/>
                  </a:lnTo>
                  <a:lnTo>
                    <a:pt x="20000" y="65282"/>
                  </a:lnTo>
                  <a:lnTo>
                    <a:pt x="19056" y="64810"/>
                  </a:lnTo>
                  <a:lnTo>
                    <a:pt x="19056" y="64810"/>
                  </a:lnTo>
                  <a:lnTo>
                    <a:pt x="19717" y="64999"/>
                  </a:lnTo>
                  <a:lnTo>
                    <a:pt x="19151" y="64716"/>
                  </a:lnTo>
                  <a:lnTo>
                    <a:pt x="18962" y="64810"/>
                  </a:lnTo>
                  <a:lnTo>
                    <a:pt x="19151" y="64905"/>
                  </a:lnTo>
                  <a:lnTo>
                    <a:pt x="18490" y="64905"/>
                  </a:lnTo>
                  <a:lnTo>
                    <a:pt x="17830" y="64716"/>
                  </a:lnTo>
                  <a:lnTo>
                    <a:pt x="17264" y="64527"/>
                  </a:lnTo>
                  <a:lnTo>
                    <a:pt x="16698" y="64150"/>
                  </a:lnTo>
                  <a:lnTo>
                    <a:pt x="16981" y="64056"/>
                  </a:lnTo>
                  <a:lnTo>
                    <a:pt x="17264" y="64150"/>
                  </a:lnTo>
                  <a:lnTo>
                    <a:pt x="17264" y="64150"/>
                  </a:lnTo>
                  <a:lnTo>
                    <a:pt x="15188" y="63207"/>
                  </a:lnTo>
                  <a:lnTo>
                    <a:pt x="14622" y="62829"/>
                  </a:lnTo>
                  <a:lnTo>
                    <a:pt x="14717" y="62924"/>
                  </a:lnTo>
                  <a:lnTo>
                    <a:pt x="13773" y="62546"/>
                  </a:lnTo>
                  <a:lnTo>
                    <a:pt x="12924" y="62075"/>
                  </a:lnTo>
                  <a:lnTo>
                    <a:pt x="12358" y="61697"/>
                  </a:lnTo>
                  <a:lnTo>
                    <a:pt x="12264" y="61508"/>
                  </a:lnTo>
                  <a:lnTo>
                    <a:pt x="12170" y="61320"/>
                  </a:lnTo>
                  <a:lnTo>
                    <a:pt x="11698" y="60942"/>
                  </a:lnTo>
                  <a:lnTo>
                    <a:pt x="11132" y="60471"/>
                  </a:lnTo>
                  <a:lnTo>
                    <a:pt x="9906" y="59244"/>
                  </a:lnTo>
                  <a:lnTo>
                    <a:pt x="9906" y="59244"/>
                  </a:lnTo>
                  <a:lnTo>
                    <a:pt x="10566" y="59527"/>
                  </a:lnTo>
                  <a:lnTo>
                    <a:pt x="9434" y="58584"/>
                  </a:lnTo>
                  <a:lnTo>
                    <a:pt x="8207" y="57546"/>
                  </a:lnTo>
                  <a:lnTo>
                    <a:pt x="7547" y="56886"/>
                  </a:lnTo>
                  <a:lnTo>
                    <a:pt x="6981" y="56131"/>
                  </a:lnTo>
                  <a:lnTo>
                    <a:pt x="6226" y="55094"/>
                  </a:lnTo>
                  <a:lnTo>
                    <a:pt x="6415" y="55377"/>
                  </a:lnTo>
                  <a:lnTo>
                    <a:pt x="6038" y="54905"/>
                  </a:lnTo>
                  <a:lnTo>
                    <a:pt x="5472" y="54244"/>
                  </a:lnTo>
                  <a:lnTo>
                    <a:pt x="5283" y="53961"/>
                  </a:lnTo>
                  <a:lnTo>
                    <a:pt x="5094" y="53867"/>
                  </a:lnTo>
                  <a:lnTo>
                    <a:pt x="5377" y="54622"/>
                  </a:lnTo>
                  <a:lnTo>
                    <a:pt x="5849" y="55282"/>
                  </a:lnTo>
                  <a:lnTo>
                    <a:pt x="6321" y="55943"/>
                  </a:lnTo>
                  <a:lnTo>
                    <a:pt x="6698" y="56603"/>
                  </a:lnTo>
                  <a:lnTo>
                    <a:pt x="6226" y="56226"/>
                  </a:lnTo>
                  <a:lnTo>
                    <a:pt x="5943" y="55848"/>
                  </a:lnTo>
                  <a:lnTo>
                    <a:pt x="6038" y="56037"/>
                  </a:lnTo>
                  <a:lnTo>
                    <a:pt x="5943" y="55943"/>
                  </a:lnTo>
                  <a:lnTo>
                    <a:pt x="5377" y="55188"/>
                  </a:lnTo>
                  <a:lnTo>
                    <a:pt x="5000" y="54716"/>
                  </a:lnTo>
                  <a:lnTo>
                    <a:pt x="4717" y="54150"/>
                  </a:lnTo>
                  <a:lnTo>
                    <a:pt x="4528" y="53678"/>
                  </a:lnTo>
                  <a:lnTo>
                    <a:pt x="4528" y="53584"/>
                  </a:lnTo>
                  <a:lnTo>
                    <a:pt x="4623" y="53395"/>
                  </a:lnTo>
                  <a:lnTo>
                    <a:pt x="5094" y="54244"/>
                  </a:lnTo>
                  <a:lnTo>
                    <a:pt x="4717" y="53301"/>
                  </a:lnTo>
                  <a:lnTo>
                    <a:pt x="4528" y="53018"/>
                  </a:lnTo>
                  <a:lnTo>
                    <a:pt x="4151" y="52263"/>
                  </a:lnTo>
                  <a:lnTo>
                    <a:pt x="4151" y="52169"/>
                  </a:lnTo>
                  <a:lnTo>
                    <a:pt x="3774" y="51509"/>
                  </a:lnTo>
                  <a:lnTo>
                    <a:pt x="3396" y="50660"/>
                  </a:lnTo>
                  <a:lnTo>
                    <a:pt x="3585" y="51603"/>
                  </a:lnTo>
                  <a:lnTo>
                    <a:pt x="3396" y="51226"/>
                  </a:lnTo>
                  <a:lnTo>
                    <a:pt x="3208" y="50848"/>
                  </a:lnTo>
                  <a:lnTo>
                    <a:pt x="3208" y="50471"/>
                  </a:lnTo>
                  <a:lnTo>
                    <a:pt x="3208" y="50094"/>
                  </a:lnTo>
                  <a:lnTo>
                    <a:pt x="3585" y="50754"/>
                  </a:lnTo>
                  <a:lnTo>
                    <a:pt x="3868" y="51509"/>
                  </a:lnTo>
                  <a:lnTo>
                    <a:pt x="3868" y="51509"/>
                  </a:lnTo>
                  <a:lnTo>
                    <a:pt x="3208" y="49528"/>
                  </a:lnTo>
                  <a:lnTo>
                    <a:pt x="3208" y="49528"/>
                  </a:lnTo>
                  <a:lnTo>
                    <a:pt x="3868" y="50754"/>
                  </a:lnTo>
                  <a:lnTo>
                    <a:pt x="3208" y="48962"/>
                  </a:lnTo>
                  <a:lnTo>
                    <a:pt x="3585" y="49339"/>
                  </a:lnTo>
                  <a:lnTo>
                    <a:pt x="3774" y="49433"/>
                  </a:lnTo>
                  <a:lnTo>
                    <a:pt x="3962" y="49528"/>
                  </a:lnTo>
                  <a:lnTo>
                    <a:pt x="4057" y="49905"/>
                  </a:lnTo>
                  <a:lnTo>
                    <a:pt x="3868" y="48962"/>
                  </a:lnTo>
                  <a:lnTo>
                    <a:pt x="3491" y="47924"/>
                  </a:lnTo>
                  <a:lnTo>
                    <a:pt x="2641" y="45565"/>
                  </a:lnTo>
                  <a:lnTo>
                    <a:pt x="2170" y="43867"/>
                  </a:lnTo>
                  <a:lnTo>
                    <a:pt x="1698" y="41886"/>
                  </a:lnTo>
                  <a:lnTo>
                    <a:pt x="1698" y="41886"/>
                  </a:lnTo>
                  <a:lnTo>
                    <a:pt x="1887" y="42075"/>
                  </a:lnTo>
                  <a:lnTo>
                    <a:pt x="1981" y="41981"/>
                  </a:lnTo>
                  <a:lnTo>
                    <a:pt x="2075" y="42075"/>
                  </a:lnTo>
                  <a:lnTo>
                    <a:pt x="2264" y="42169"/>
                  </a:lnTo>
                  <a:lnTo>
                    <a:pt x="2170" y="40283"/>
                  </a:lnTo>
                  <a:lnTo>
                    <a:pt x="2075" y="38301"/>
                  </a:lnTo>
                  <a:lnTo>
                    <a:pt x="2170" y="36415"/>
                  </a:lnTo>
                  <a:lnTo>
                    <a:pt x="2358" y="35566"/>
                  </a:lnTo>
                  <a:lnTo>
                    <a:pt x="2453" y="34811"/>
                  </a:lnTo>
                  <a:lnTo>
                    <a:pt x="2830" y="32830"/>
                  </a:lnTo>
                  <a:lnTo>
                    <a:pt x="2830" y="33207"/>
                  </a:lnTo>
                  <a:lnTo>
                    <a:pt x="2924" y="33490"/>
                  </a:lnTo>
                  <a:lnTo>
                    <a:pt x="2924" y="32453"/>
                  </a:lnTo>
                  <a:lnTo>
                    <a:pt x="3019" y="31415"/>
                  </a:lnTo>
                  <a:lnTo>
                    <a:pt x="3396" y="29245"/>
                  </a:lnTo>
                  <a:lnTo>
                    <a:pt x="3868" y="27075"/>
                  </a:lnTo>
                  <a:lnTo>
                    <a:pt x="4623" y="25000"/>
                  </a:lnTo>
                  <a:lnTo>
                    <a:pt x="5566" y="22830"/>
                  </a:lnTo>
                  <a:lnTo>
                    <a:pt x="6604" y="20849"/>
                  </a:lnTo>
                  <a:lnTo>
                    <a:pt x="7830" y="18868"/>
                  </a:lnTo>
                  <a:lnTo>
                    <a:pt x="9151" y="16887"/>
                  </a:lnTo>
                  <a:lnTo>
                    <a:pt x="10566" y="15094"/>
                  </a:lnTo>
                  <a:lnTo>
                    <a:pt x="12075" y="13302"/>
                  </a:lnTo>
                  <a:lnTo>
                    <a:pt x="13773" y="11698"/>
                  </a:lnTo>
                  <a:lnTo>
                    <a:pt x="15377" y="10095"/>
                  </a:lnTo>
                  <a:lnTo>
                    <a:pt x="17170" y="8679"/>
                  </a:lnTo>
                  <a:lnTo>
                    <a:pt x="18962" y="7453"/>
                  </a:lnTo>
                  <a:lnTo>
                    <a:pt x="20754" y="6321"/>
                  </a:lnTo>
                  <a:lnTo>
                    <a:pt x="22547" y="5378"/>
                  </a:lnTo>
                  <a:lnTo>
                    <a:pt x="21603" y="6227"/>
                  </a:lnTo>
                  <a:lnTo>
                    <a:pt x="22641" y="5472"/>
                  </a:lnTo>
                  <a:lnTo>
                    <a:pt x="23302" y="5095"/>
                  </a:lnTo>
                  <a:lnTo>
                    <a:pt x="25377" y="4151"/>
                  </a:lnTo>
                  <a:lnTo>
                    <a:pt x="24811" y="4151"/>
                  </a:lnTo>
                  <a:lnTo>
                    <a:pt x="25660" y="3774"/>
                  </a:lnTo>
                  <a:lnTo>
                    <a:pt x="26886" y="3208"/>
                  </a:lnTo>
                  <a:lnTo>
                    <a:pt x="26603" y="3585"/>
                  </a:lnTo>
                  <a:lnTo>
                    <a:pt x="26886" y="3585"/>
                  </a:lnTo>
                  <a:lnTo>
                    <a:pt x="26886" y="3680"/>
                  </a:lnTo>
                  <a:lnTo>
                    <a:pt x="26792" y="3774"/>
                  </a:lnTo>
                  <a:lnTo>
                    <a:pt x="28301" y="3302"/>
                  </a:lnTo>
                  <a:lnTo>
                    <a:pt x="29622" y="2736"/>
                  </a:lnTo>
                  <a:lnTo>
                    <a:pt x="31037" y="2264"/>
                  </a:lnTo>
                  <a:lnTo>
                    <a:pt x="31792" y="2076"/>
                  </a:lnTo>
                  <a:lnTo>
                    <a:pt x="32641" y="1981"/>
                  </a:lnTo>
                  <a:lnTo>
                    <a:pt x="32547" y="2076"/>
                  </a:lnTo>
                  <a:lnTo>
                    <a:pt x="32924" y="1981"/>
                  </a:lnTo>
                  <a:lnTo>
                    <a:pt x="34245" y="1793"/>
                  </a:lnTo>
                  <a:lnTo>
                    <a:pt x="35848" y="1415"/>
                  </a:lnTo>
                  <a:lnTo>
                    <a:pt x="36981" y="1132"/>
                  </a:lnTo>
                  <a:lnTo>
                    <a:pt x="36981" y="1415"/>
                  </a:lnTo>
                  <a:lnTo>
                    <a:pt x="40943" y="1227"/>
                  </a:lnTo>
                  <a:lnTo>
                    <a:pt x="41509" y="1038"/>
                  </a:lnTo>
                  <a:lnTo>
                    <a:pt x="41697" y="1132"/>
                  </a:lnTo>
                  <a:lnTo>
                    <a:pt x="41509" y="1227"/>
                  </a:lnTo>
                  <a:lnTo>
                    <a:pt x="41320" y="1321"/>
                  </a:lnTo>
                  <a:lnTo>
                    <a:pt x="42263" y="1321"/>
                  </a:lnTo>
                  <a:lnTo>
                    <a:pt x="43113" y="1227"/>
                  </a:lnTo>
                  <a:lnTo>
                    <a:pt x="43396" y="1415"/>
                  </a:lnTo>
                  <a:lnTo>
                    <a:pt x="44056" y="1604"/>
                  </a:lnTo>
                  <a:lnTo>
                    <a:pt x="45943" y="2076"/>
                  </a:lnTo>
                  <a:lnTo>
                    <a:pt x="48018" y="2359"/>
                  </a:lnTo>
                  <a:lnTo>
                    <a:pt x="49622" y="2736"/>
                  </a:lnTo>
                  <a:lnTo>
                    <a:pt x="47641" y="1981"/>
                  </a:lnTo>
                  <a:lnTo>
                    <a:pt x="45282" y="1321"/>
                  </a:lnTo>
                  <a:lnTo>
                    <a:pt x="42735" y="755"/>
                  </a:lnTo>
                  <a:lnTo>
                    <a:pt x="40188" y="283"/>
                  </a:lnTo>
                  <a:lnTo>
                    <a:pt x="37735" y="95"/>
                  </a:lnTo>
                  <a:lnTo>
                    <a:pt x="35471" y="0"/>
                  </a:lnTo>
                  <a:close/>
                </a:path>
              </a:pathLst>
            </a:custGeom>
            <a:solidFill>
              <a:schemeClr val="bg1">
                <a:lumMod val="95000"/>
              </a:schemeClr>
            </a:solidFill>
            <a:ln w="0">
              <a:solidFill>
                <a:srgbClr val="0079D1"/>
              </a:solidFill>
            </a:ln>
          </p:spPr>
          <p:txBody>
            <a:bodyPr spcFirstLastPara="1" wrap="square" lIns="91425" tIns="91425" rIns="91425" bIns="91425" anchor="ctr" anchorCtr="0">
              <a:noAutofit/>
            </a:bodyPr>
            <a:lstStyle/>
            <a:p>
              <a:pPr marL="0" lvl="0" indent="0">
                <a:spcBef>
                  <a:spcPts val="0"/>
                </a:spcBef>
                <a:spcAft>
                  <a:spcPts val="0"/>
                </a:spcAft>
                <a:buNone/>
              </a:pPr>
              <a:endParaRPr sz="1200">
                <a:latin typeface="+mj-lt"/>
              </a:endParaRPr>
            </a:p>
          </p:txBody>
        </p:sp>
        <p:sp>
          <p:nvSpPr>
            <p:cNvPr id="400" name="TextBox 399">
              <a:extLst>
                <a:ext uri="{FF2B5EF4-FFF2-40B4-BE49-F238E27FC236}">
                  <a16:creationId xmlns:a16="http://schemas.microsoft.com/office/drawing/2014/main" id="{BA01771B-C503-F741-ABC7-723284B3D96E}"/>
                </a:ext>
              </a:extLst>
            </p:cNvPr>
            <p:cNvSpPr txBox="1"/>
            <p:nvPr/>
          </p:nvSpPr>
          <p:spPr>
            <a:xfrm>
              <a:off x="8676898" y="4619460"/>
              <a:ext cx="229951" cy="200055"/>
            </a:xfrm>
            <a:prstGeom prst="rect">
              <a:avLst/>
            </a:prstGeom>
            <a:noFill/>
          </p:spPr>
          <p:txBody>
            <a:bodyPr wrap="square" rtlCol="0">
              <a:spAutoFit/>
            </a:bodyPr>
            <a:lstStyle/>
            <a:p>
              <a:r>
                <a:rPr lang="en-US" sz="700" b="1" dirty="0">
                  <a:solidFill>
                    <a:srgbClr val="0079D1"/>
                  </a:solidFill>
                  <a:latin typeface="+mj-lt"/>
                </a:rPr>
                <a:t>G</a:t>
              </a:r>
            </a:p>
          </p:txBody>
        </p:sp>
      </p:grpSp>
      <p:sp>
        <p:nvSpPr>
          <p:cNvPr id="408" name="Rounded Rectangle 407">
            <a:extLst>
              <a:ext uri="{FF2B5EF4-FFF2-40B4-BE49-F238E27FC236}">
                <a16:creationId xmlns:a16="http://schemas.microsoft.com/office/drawing/2014/main" id="{38703A42-B6D2-7246-946B-470D5A4EF266}"/>
              </a:ext>
            </a:extLst>
          </p:cNvPr>
          <p:cNvSpPr/>
          <p:nvPr/>
        </p:nvSpPr>
        <p:spPr>
          <a:xfrm>
            <a:off x="8084607" y="3338713"/>
            <a:ext cx="802889" cy="393866"/>
          </a:xfrm>
          <a:prstGeom prst="roundRect">
            <a:avLst/>
          </a:prstGeom>
          <a:solidFill>
            <a:schemeClr val="bg1">
              <a:lumMod val="85000"/>
            </a:schemeClr>
          </a:solidFill>
          <a:ln w="3175">
            <a:solidFill>
              <a:schemeClr val="bg1">
                <a:lumMod val="50000"/>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b="1" dirty="0">
              <a:solidFill>
                <a:schemeClr val="bg1">
                  <a:lumMod val="50000"/>
                </a:schemeClr>
              </a:solidFill>
              <a:latin typeface="+mj-lt"/>
              <a:ea typeface="Nanum Pen Script" panose="03040600000000000000" pitchFamily="66" charset="-127"/>
            </a:endParaRPr>
          </a:p>
          <a:p>
            <a:pPr algn="ctr"/>
            <a:endParaRPr lang="en-US" sz="600" b="1" dirty="0">
              <a:solidFill>
                <a:schemeClr val="bg1">
                  <a:lumMod val="50000"/>
                </a:schemeClr>
              </a:solidFill>
              <a:latin typeface="+mj-lt"/>
              <a:ea typeface="Nanum Pen Script" panose="03040600000000000000" pitchFamily="66" charset="-127"/>
            </a:endParaRPr>
          </a:p>
          <a:p>
            <a:pPr algn="ctr"/>
            <a:endParaRPr lang="en-US" sz="600" b="1" dirty="0">
              <a:solidFill>
                <a:schemeClr val="bg1">
                  <a:lumMod val="50000"/>
                </a:schemeClr>
              </a:solidFill>
              <a:latin typeface="+mj-lt"/>
              <a:ea typeface="Nanum Pen Script" panose="03040600000000000000" pitchFamily="66" charset="-127"/>
            </a:endParaRPr>
          </a:p>
          <a:p>
            <a:pPr algn="ctr"/>
            <a:endParaRPr lang="en-US" sz="600" b="1" dirty="0">
              <a:solidFill>
                <a:schemeClr val="bg1">
                  <a:lumMod val="50000"/>
                </a:schemeClr>
              </a:solidFill>
              <a:latin typeface="+mj-lt"/>
              <a:ea typeface="Nanum Pen Script" panose="03040600000000000000" pitchFamily="66" charset="-127"/>
            </a:endParaRPr>
          </a:p>
          <a:p>
            <a:pPr algn="ctr"/>
            <a:endParaRPr lang="en-US" sz="500" b="1" dirty="0">
              <a:solidFill>
                <a:schemeClr val="bg1">
                  <a:lumMod val="50000"/>
                </a:schemeClr>
              </a:solidFill>
              <a:latin typeface="+mj-lt"/>
              <a:ea typeface="Nanum Pen Script" panose="03040600000000000000" pitchFamily="66" charset="-127"/>
            </a:endParaRPr>
          </a:p>
          <a:p>
            <a:pPr algn="ctr"/>
            <a:r>
              <a:rPr lang="en-US" sz="700" b="1" dirty="0">
                <a:solidFill>
                  <a:schemeClr val="bg1">
                    <a:lumMod val="50000"/>
                  </a:schemeClr>
                </a:solidFill>
                <a:latin typeface="+mj-lt"/>
                <a:ea typeface="Nanum Pen Script" panose="03040600000000000000" pitchFamily="66" charset="-127"/>
              </a:rPr>
              <a:t>Connector 1</a:t>
            </a:r>
          </a:p>
          <a:p>
            <a:pPr algn="ctr"/>
            <a:r>
              <a:rPr lang="en-US" sz="700" b="1" dirty="0">
                <a:solidFill>
                  <a:schemeClr val="bg1">
                    <a:lumMod val="50000"/>
                  </a:schemeClr>
                </a:solidFill>
                <a:latin typeface="+mj-lt"/>
                <a:ea typeface="Nanum Pen Script" panose="03040600000000000000" pitchFamily="66" charset="-127"/>
              </a:rPr>
              <a:t>Task 1</a:t>
            </a:r>
          </a:p>
          <a:p>
            <a:pPr algn="ctr"/>
            <a:endParaRPr lang="en-US" sz="700" b="1" dirty="0">
              <a:solidFill>
                <a:schemeClr val="bg1">
                  <a:lumMod val="50000"/>
                </a:schemeClr>
              </a:solidFill>
              <a:latin typeface="+mj-lt"/>
              <a:ea typeface="Nanum Pen Script" panose="03040600000000000000" pitchFamily="66" charset="-127"/>
            </a:endParaRPr>
          </a:p>
          <a:p>
            <a:pPr algn="ctr"/>
            <a:endParaRPr lang="en-US" sz="1200" dirty="0">
              <a:solidFill>
                <a:schemeClr val="tx1"/>
              </a:solidFill>
              <a:latin typeface="+mj-lt"/>
              <a:ea typeface="Nanum Pen Script" panose="03040600000000000000" pitchFamily="66" charset="-127"/>
            </a:endParaRPr>
          </a:p>
          <a:p>
            <a:pPr algn="ctr"/>
            <a:endParaRPr lang="en-US" sz="1200" dirty="0">
              <a:solidFill>
                <a:schemeClr val="tx1"/>
              </a:solidFill>
              <a:latin typeface="+mj-lt"/>
              <a:ea typeface="Nanum Pen Script" panose="03040600000000000000" pitchFamily="66" charset="-127"/>
            </a:endParaRPr>
          </a:p>
        </p:txBody>
      </p:sp>
      <p:sp>
        <p:nvSpPr>
          <p:cNvPr id="409" name="Rounded Rectangle 408">
            <a:extLst>
              <a:ext uri="{FF2B5EF4-FFF2-40B4-BE49-F238E27FC236}">
                <a16:creationId xmlns:a16="http://schemas.microsoft.com/office/drawing/2014/main" id="{EBC8E5AC-95D4-9840-B6E5-09CE238C04AB}"/>
              </a:ext>
            </a:extLst>
          </p:cNvPr>
          <p:cNvSpPr/>
          <p:nvPr/>
        </p:nvSpPr>
        <p:spPr>
          <a:xfrm>
            <a:off x="8080312" y="3840696"/>
            <a:ext cx="807184" cy="393866"/>
          </a:xfrm>
          <a:prstGeom prst="roundRect">
            <a:avLst/>
          </a:prstGeom>
          <a:solidFill>
            <a:schemeClr val="bg1">
              <a:lumMod val="85000"/>
            </a:schemeClr>
          </a:solidFill>
          <a:ln w="3175">
            <a:solidFill>
              <a:schemeClr val="bg1">
                <a:lumMod val="50000"/>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b="1" dirty="0">
              <a:solidFill>
                <a:schemeClr val="bg1">
                  <a:lumMod val="50000"/>
                </a:schemeClr>
              </a:solidFill>
              <a:latin typeface="+mj-lt"/>
              <a:ea typeface="Nanum Pen Script" panose="03040600000000000000" pitchFamily="66" charset="-127"/>
            </a:endParaRPr>
          </a:p>
          <a:p>
            <a:pPr algn="ctr"/>
            <a:endParaRPr lang="en-US" sz="600" b="1" dirty="0">
              <a:solidFill>
                <a:schemeClr val="bg1">
                  <a:lumMod val="50000"/>
                </a:schemeClr>
              </a:solidFill>
              <a:latin typeface="+mj-lt"/>
              <a:ea typeface="Nanum Pen Script" panose="03040600000000000000" pitchFamily="66" charset="-127"/>
            </a:endParaRPr>
          </a:p>
          <a:p>
            <a:pPr algn="ctr"/>
            <a:endParaRPr lang="en-US" sz="600" b="1" dirty="0">
              <a:solidFill>
                <a:schemeClr val="bg1">
                  <a:lumMod val="50000"/>
                </a:schemeClr>
              </a:solidFill>
              <a:latin typeface="+mj-lt"/>
              <a:ea typeface="Nanum Pen Script" panose="03040600000000000000" pitchFamily="66" charset="-127"/>
            </a:endParaRPr>
          </a:p>
          <a:p>
            <a:pPr algn="ctr"/>
            <a:endParaRPr lang="en-US" sz="600" b="1" dirty="0">
              <a:solidFill>
                <a:schemeClr val="bg1">
                  <a:lumMod val="50000"/>
                </a:schemeClr>
              </a:solidFill>
              <a:latin typeface="+mj-lt"/>
              <a:ea typeface="Nanum Pen Script" panose="03040600000000000000" pitchFamily="66" charset="-127"/>
            </a:endParaRPr>
          </a:p>
          <a:p>
            <a:pPr algn="ctr"/>
            <a:endParaRPr lang="en-US" sz="500" b="1" dirty="0">
              <a:solidFill>
                <a:schemeClr val="bg1">
                  <a:lumMod val="50000"/>
                </a:schemeClr>
              </a:solidFill>
              <a:latin typeface="+mj-lt"/>
              <a:ea typeface="Nanum Pen Script" panose="03040600000000000000" pitchFamily="66" charset="-127"/>
            </a:endParaRPr>
          </a:p>
          <a:p>
            <a:pPr algn="ctr"/>
            <a:r>
              <a:rPr lang="en-US" sz="700" b="1" dirty="0">
                <a:solidFill>
                  <a:schemeClr val="bg1">
                    <a:lumMod val="50000"/>
                  </a:schemeClr>
                </a:solidFill>
                <a:latin typeface="+mj-lt"/>
                <a:ea typeface="Nanum Pen Script" panose="03040600000000000000" pitchFamily="66" charset="-127"/>
              </a:rPr>
              <a:t>Connector 3</a:t>
            </a:r>
          </a:p>
          <a:p>
            <a:pPr algn="ctr"/>
            <a:r>
              <a:rPr lang="en-US" sz="700" b="1" dirty="0">
                <a:solidFill>
                  <a:schemeClr val="bg1">
                    <a:lumMod val="50000"/>
                  </a:schemeClr>
                </a:solidFill>
                <a:latin typeface="+mj-lt"/>
                <a:ea typeface="Nanum Pen Script" panose="03040600000000000000" pitchFamily="66" charset="-127"/>
              </a:rPr>
              <a:t>Task 1</a:t>
            </a:r>
          </a:p>
          <a:p>
            <a:pPr algn="ctr"/>
            <a:endParaRPr lang="en-US" sz="700" b="1" dirty="0">
              <a:solidFill>
                <a:schemeClr val="bg1">
                  <a:lumMod val="50000"/>
                </a:schemeClr>
              </a:solidFill>
              <a:latin typeface="+mj-lt"/>
              <a:ea typeface="Nanum Pen Script" panose="03040600000000000000" pitchFamily="66" charset="-127"/>
            </a:endParaRPr>
          </a:p>
          <a:p>
            <a:pPr algn="ctr"/>
            <a:endParaRPr lang="en-US" sz="1200" dirty="0">
              <a:solidFill>
                <a:schemeClr val="tx1"/>
              </a:solidFill>
              <a:latin typeface="+mj-lt"/>
              <a:ea typeface="Nanum Pen Script" panose="03040600000000000000" pitchFamily="66" charset="-127"/>
            </a:endParaRPr>
          </a:p>
          <a:p>
            <a:pPr algn="ctr"/>
            <a:endParaRPr lang="en-US" sz="1200" dirty="0">
              <a:solidFill>
                <a:schemeClr val="tx1"/>
              </a:solidFill>
              <a:latin typeface="+mj-lt"/>
              <a:ea typeface="Nanum Pen Script" panose="03040600000000000000" pitchFamily="66" charset="-127"/>
            </a:endParaRPr>
          </a:p>
        </p:txBody>
      </p:sp>
      <p:sp>
        <p:nvSpPr>
          <p:cNvPr id="410" name="Rounded Rectangle 409">
            <a:extLst>
              <a:ext uri="{FF2B5EF4-FFF2-40B4-BE49-F238E27FC236}">
                <a16:creationId xmlns:a16="http://schemas.microsoft.com/office/drawing/2014/main" id="{A908380D-3350-3643-8590-012D2679AADC}"/>
              </a:ext>
            </a:extLst>
          </p:cNvPr>
          <p:cNvSpPr/>
          <p:nvPr/>
        </p:nvSpPr>
        <p:spPr>
          <a:xfrm>
            <a:off x="8082059" y="4389515"/>
            <a:ext cx="807184" cy="393866"/>
          </a:xfrm>
          <a:prstGeom prst="roundRect">
            <a:avLst/>
          </a:prstGeom>
          <a:solidFill>
            <a:schemeClr val="bg1">
              <a:lumMod val="85000"/>
            </a:schemeClr>
          </a:solidFill>
          <a:ln w="3175">
            <a:solidFill>
              <a:schemeClr val="bg1">
                <a:lumMod val="50000"/>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b="1" dirty="0">
              <a:solidFill>
                <a:schemeClr val="bg1">
                  <a:lumMod val="50000"/>
                </a:schemeClr>
              </a:solidFill>
              <a:latin typeface="+mj-lt"/>
              <a:ea typeface="Nanum Pen Script" panose="03040600000000000000" pitchFamily="66" charset="-127"/>
            </a:endParaRPr>
          </a:p>
          <a:p>
            <a:pPr algn="ctr"/>
            <a:endParaRPr lang="en-US" sz="600" b="1" dirty="0">
              <a:solidFill>
                <a:schemeClr val="bg1">
                  <a:lumMod val="50000"/>
                </a:schemeClr>
              </a:solidFill>
              <a:latin typeface="+mj-lt"/>
              <a:ea typeface="Nanum Pen Script" panose="03040600000000000000" pitchFamily="66" charset="-127"/>
            </a:endParaRPr>
          </a:p>
          <a:p>
            <a:pPr algn="ctr"/>
            <a:endParaRPr lang="en-US" sz="600" b="1" dirty="0">
              <a:solidFill>
                <a:schemeClr val="bg1">
                  <a:lumMod val="50000"/>
                </a:schemeClr>
              </a:solidFill>
              <a:latin typeface="+mj-lt"/>
              <a:ea typeface="Nanum Pen Script" panose="03040600000000000000" pitchFamily="66" charset="-127"/>
            </a:endParaRPr>
          </a:p>
          <a:p>
            <a:pPr algn="ctr"/>
            <a:endParaRPr lang="en-US" sz="600" b="1" dirty="0">
              <a:solidFill>
                <a:schemeClr val="bg1">
                  <a:lumMod val="50000"/>
                </a:schemeClr>
              </a:solidFill>
              <a:latin typeface="+mj-lt"/>
              <a:ea typeface="Nanum Pen Script" panose="03040600000000000000" pitchFamily="66" charset="-127"/>
            </a:endParaRPr>
          </a:p>
          <a:p>
            <a:pPr algn="ctr"/>
            <a:endParaRPr lang="en-US" sz="500" b="1" dirty="0">
              <a:solidFill>
                <a:schemeClr val="bg1">
                  <a:lumMod val="50000"/>
                </a:schemeClr>
              </a:solidFill>
              <a:latin typeface="+mj-lt"/>
              <a:ea typeface="Nanum Pen Script" panose="03040600000000000000" pitchFamily="66" charset="-127"/>
            </a:endParaRPr>
          </a:p>
          <a:p>
            <a:pPr algn="ctr"/>
            <a:r>
              <a:rPr lang="en-US" sz="700" b="1" dirty="0">
                <a:solidFill>
                  <a:schemeClr val="bg1">
                    <a:lumMod val="50000"/>
                  </a:schemeClr>
                </a:solidFill>
                <a:latin typeface="+mj-lt"/>
                <a:ea typeface="Nanum Pen Script" panose="03040600000000000000" pitchFamily="66" charset="-127"/>
              </a:rPr>
              <a:t>Connector 2</a:t>
            </a:r>
          </a:p>
          <a:p>
            <a:pPr algn="ctr"/>
            <a:r>
              <a:rPr lang="en-US" sz="700" b="1" dirty="0">
                <a:solidFill>
                  <a:schemeClr val="bg1">
                    <a:lumMod val="50000"/>
                  </a:schemeClr>
                </a:solidFill>
                <a:latin typeface="+mj-lt"/>
                <a:ea typeface="Nanum Pen Script" panose="03040600000000000000" pitchFamily="66" charset="-127"/>
              </a:rPr>
              <a:t>Task 2</a:t>
            </a:r>
          </a:p>
          <a:p>
            <a:pPr algn="ctr"/>
            <a:endParaRPr lang="en-US" sz="700" b="1" dirty="0">
              <a:solidFill>
                <a:schemeClr val="bg1">
                  <a:lumMod val="50000"/>
                </a:schemeClr>
              </a:solidFill>
              <a:latin typeface="+mj-lt"/>
              <a:ea typeface="Nanum Pen Script" panose="03040600000000000000" pitchFamily="66" charset="-127"/>
            </a:endParaRPr>
          </a:p>
          <a:p>
            <a:pPr algn="ctr"/>
            <a:endParaRPr lang="en-US" sz="1200" dirty="0">
              <a:solidFill>
                <a:schemeClr val="tx1"/>
              </a:solidFill>
              <a:latin typeface="+mj-lt"/>
              <a:ea typeface="Nanum Pen Script" panose="03040600000000000000" pitchFamily="66" charset="-127"/>
            </a:endParaRPr>
          </a:p>
          <a:p>
            <a:pPr algn="ctr"/>
            <a:endParaRPr lang="en-US" sz="1200" dirty="0">
              <a:solidFill>
                <a:schemeClr val="tx1"/>
              </a:solidFill>
              <a:latin typeface="+mj-lt"/>
              <a:ea typeface="Nanum Pen Script" panose="03040600000000000000" pitchFamily="66" charset="-127"/>
            </a:endParaRPr>
          </a:p>
        </p:txBody>
      </p:sp>
      <p:sp>
        <p:nvSpPr>
          <p:cNvPr id="411" name="Rounded Rectangle 410">
            <a:extLst>
              <a:ext uri="{FF2B5EF4-FFF2-40B4-BE49-F238E27FC236}">
                <a16:creationId xmlns:a16="http://schemas.microsoft.com/office/drawing/2014/main" id="{326CA8E1-30B7-E349-930D-9B205025A042}"/>
              </a:ext>
            </a:extLst>
          </p:cNvPr>
          <p:cNvSpPr/>
          <p:nvPr/>
        </p:nvSpPr>
        <p:spPr>
          <a:xfrm>
            <a:off x="8076396" y="4924338"/>
            <a:ext cx="807184" cy="393866"/>
          </a:xfrm>
          <a:prstGeom prst="roundRect">
            <a:avLst/>
          </a:prstGeom>
          <a:solidFill>
            <a:schemeClr val="bg1">
              <a:lumMod val="85000"/>
            </a:schemeClr>
          </a:solidFill>
          <a:ln w="3175">
            <a:solidFill>
              <a:schemeClr val="bg1">
                <a:lumMod val="50000"/>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b="1" dirty="0">
              <a:solidFill>
                <a:schemeClr val="bg1">
                  <a:lumMod val="50000"/>
                </a:schemeClr>
              </a:solidFill>
              <a:latin typeface="+mj-lt"/>
              <a:ea typeface="Nanum Pen Script" panose="03040600000000000000" pitchFamily="66" charset="-127"/>
            </a:endParaRPr>
          </a:p>
          <a:p>
            <a:pPr algn="ctr"/>
            <a:endParaRPr lang="en-US" sz="600" b="1" dirty="0">
              <a:solidFill>
                <a:schemeClr val="bg1">
                  <a:lumMod val="50000"/>
                </a:schemeClr>
              </a:solidFill>
              <a:latin typeface="+mj-lt"/>
              <a:ea typeface="Nanum Pen Script" panose="03040600000000000000" pitchFamily="66" charset="-127"/>
            </a:endParaRPr>
          </a:p>
          <a:p>
            <a:pPr algn="ctr"/>
            <a:endParaRPr lang="en-US" sz="600" b="1" dirty="0">
              <a:solidFill>
                <a:schemeClr val="bg1">
                  <a:lumMod val="50000"/>
                </a:schemeClr>
              </a:solidFill>
              <a:latin typeface="+mj-lt"/>
              <a:ea typeface="Nanum Pen Script" panose="03040600000000000000" pitchFamily="66" charset="-127"/>
            </a:endParaRPr>
          </a:p>
          <a:p>
            <a:pPr algn="ctr"/>
            <a:endParaRPr lang="en-US" sz="600" b="1" dirty="0">
              <a:solidFill>
                <a:schemeClr val="bg1">
                  <a:lumMod val="50000"/>
                </a:schemeClr>
              </a:solidFill>
              <a:latin typeface="+mj-lt"/>
              <a:ea typeface="Nanum Pen Script" panose="03040600000000000000" pitchFamily="66" charset="-127"/>
            </a:endParaRPr>
          </a:p>
          <a:p>
            <a:pPr algn="ctr"/>
            <a:endParaRPr lang="en-US" sz="500" b="1" dirty="0">
              <a:solidFill>
                <a:schemeClr val="bg1">
                  <a:lumMod val="50000"/>
                </a:schemeClr>
              </a:solidFill>
              <a:latin typeface="+mj-lt"/>
              <a:ea typeface="Nanum Pen Script" panose="03040600000000000000" pitchFamily="66" charset="-127"/>
            </a:endParaRPr>
          </a:p>
          <a:p>
            <a:pPr algn="ctr"/>
            <a:r>
              <a:rPr lang="en-US" sz="700" b="1" dirty="0">
                <a:solidFill>
                  <a:schemeClr val="bg1">
                    <a:lumMod val="50000"/>
                  </a:schemeClr>
                </a:solidFill>
                <a:latin typeface="+mj-lt"/>
                <a:ea typeface="Nanum Pen Script" panose="03040600000000000000" pitchFamily="66" charset="-127"/>
              </a:rPr>
              <a:t>Connector 3</a:t>
            </a:r>
          </a:p>
          <a:p>
            <a:pPr algn="ctr"/>
            <a:r>
              <a:rPr lang="en-US" sz="700" b="1" dirty="0">
                <a:solidFill>
                  <a:schemeClr val="bg1">
                    <a:lumMod val="50000"/>
                  </a:schemeClr>
                </a:solidFill>
                <a:latin typeface="+mj-lt"/>
                <a:ea typeface="Nanum Pen Script" panose="03040600000000000000" pitchFamily="66" charset="-127"/>
              </a:rPr>
              <a:t>Task 1</a:t>
            </a:r>
          </a:p>
          <a:p>
            <a:pPr algn="ctr"/>
            <a:endParaRPr lang="en-US" sz="700" b="1" dirty="0">
              <a:solidFill>
                <a:schemeClr val="bg1">
                  <a:lumMod val="50000"/>
                </a:schemeClr>
              </a:solidFill>
              <a:latin typeface="+mj-lt"/>
              <a:ea typeface="Nanum Pen Script" panose="03040600000000000000" pitchFamily="66" charset="-127"/>
            </a:endParaRPr>
          </a:p>
          <a:p>
            <a:pPr algn="ctr"/>
            <a:endParaRPr lang="en-US" sz="1200" dirty="0">
              <a:solidFill>
                <a:schemeClr val="tx1"/>
              </a:solidFill>
              <a:latin typeface="+mj-lt"/>
              <a:ea typeface="Nanum Pen Script" panose="03040600000000000000" pitchFamily="66" charset="-127"/>
            </a:endParaRPr>
          </a:p>
          <a:p>
            <a:pPr algn="ctr"/>
            <a:endParaRPr lang="en-US" sz="1200" dirty="0">
              <a:solidFill>
                <a:schemeClr val="tx1"/>
              </a:solidFill>
              <a:latin typeface="+mj-lt"/>
              <a:ea typeface="Nanum Pen Script" panose="03040600000000000000" pitchFamily="66" charset="-127"/>
            </a:endParaRPr>
          </a:p>
        </p:txBody>
      </p:sp>
      <p:sp>
        <p:nvSpPr>
          <p:cNvPr id="439" name="Rounded Rectangle 438">
            <a:extLst>
              <a:ext uri="{FF2B5EF4-FFF2-40B4-BE49-F238E27FC236}">
                <a16:creationId xmlns:a16="http://schemas.microsoft.com/office/drawing/2014/main" id="{E64474CF-D4BE-B94F-A39A-2B5B838CB174}"/>
              </a:ext>
            </a:extLst>
          </p:cNvPr>
          <p:cNvSpPr/>
          <p:nvPr/>
        </p:nvSpPr>
        <p:spPr>
          <a:xfrm>
            <a:off x="9658099" y="4668742"/>
            <a:ext cx="695652" cy="400105"/>
          </a:xfrm>
          <a:prstGeom prst="roundRect">
            <a:avLst/>
          </a:prstGeom>
          <a:solidFill>
            <a:schemeClr val="bg1">
              <a:lumMod val="85000"/>
            </a:schemeClr>
          </a:solidFill>
          <a:ln w="3175">
            <a:solidFill>
              <a:schemeClr val="bg1">
                <a:lumMod val="50000"/>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bg1">
                  <a:lumMod val="50000"/>
                </a:schemeClr>
              </a:solidFill>
              <a:ea typeface="Nanum Pen Script" panose="03040600000000000000" pitchFamily="66" charset="-127"/>
            </a:endParaRPr>
          </a:p>
          <a:p>
            <a:pPr algn="ctr"/>
            <a:endParaRPr lang="en-US" sz="700" dirty="0">
              <a:solidFill>
                <a:schemeClr val="bg1">
                  <a:lumMod val="50000"/>
                </a:schemeClr>
              </a:solidFill>
              <a:ea typeface="Nanum Pen Script" panose="03040600000000000000" pitchFamily="66" charset="-127"/>
            </a:endParaRPr>
          </a:p>
          <a:p>
            <a:pPr algn="ctr"/>
            <a:endParaRPr lang="en-US" sz="700" dirty="0">
              <a:solidFill>
                <a:schemeClr val="bg1">
                  <a:lumMod val="50000"/>
                </a:schemeClr>
              </a:solidFill>
              <a:ea typeface="Nanum Pen Script" panose="03040600000000000000" pitchFamily="66" charset="-127"/>
            </a:endParaRPr>
          </a:p>
          <a:p>
            <a:pPr algn="ctr"/>
            <a:endParaRPr lang="en-US" sz="700" dirty="0">
              <a:solidFill>
                <a:schemeClr val="bg1">
                  <a:lumMod val="50000"/>
                </a:schemeClr>
              </a:solidFill>
              <a:ea typeface="Nanum Pen Script" panose="03040600000000000000" pitchFamily="66" charset="-127"/>
            </a:endParaRPr>
          </a:p>
          <a:p>
            <a:pPr algn="ctr"/>
            <a:endParaRPr lang="en-US" sz="600" dirty="0">
              <a:solidFill>
                <a:schemeClr val="bg1">
                  <a:lumMod val="50000"/>
                </a:schemeClr>
              </a:solidFill>
              <a:ea typeface="Nanum Pen Script" panose="03040600000000000000" pitchFamily="66" charset="-127"/>
            </a:endParaRPr>
          </a:p>
          <a:p>
            <a:pPr algn="ctr"/>
            <a:r>
              <a:rPr lang="en-US" sz="800" dirty="0" err="1">
                <a:solidFill>
                  <a:schemeClr val="bg1">
                    <a:lumMod val="50000"/>
                  </a:schemeClr>
                </a:solidFill>
                <a:ea typeface="Nanum Pen Script" panose="03040600000000000000" pitchFamily="66" charset="-127"/>
              </a:rPr>
              <a:t>AbInitio</a:t>
            </a:r>
            <a:r>
              <a:rPr lang="en-US" sz="800" dirty="0">
                <a:solidFill>
                  <a:schemeClr val="bg1">
                    <a:lumMod val="50000"/>
                  </a:schemeClr>
                </a:solidFill>
                <a:ea typeface="Nanum Pen Script" panose="03040600000000000000" pitchFamily="66" charset="-127"/>
              </a:rPr>
              <a:t> ETL</a:t>
            </a:r>
          </a:p>
          <a:p>
            <a:pPr algn="ctr"/>
            <a:endParaRPr lang="en-US" sz="800" dirty="0">
              <a:solidFill>
                <a:schemeClr val="bg1">
                  <a:lumMod val="50000"/>
                </a:schemeClr>
              </a:solidFill>
              <a:ea typeface="Nanum Pen Script" panose="03040600000000000000" pitchFamily="66" charset="-127"/>
            </a:endParaRPr>
          </a:p>
          <a:p>
            <a:pPr algn="ctr"/>
            <a:endParaRPr lang="en-US" sz="1400" dirty="0">
              <a:solidFill>
                <a:schemeClr val="tx1"/>
              </a:solidFill>
              <a:ea typeface="Nanum Pen Script" panose="03040600000000000000" pitchFamily="66" charset="-127"/>
            </a:endParaRPr>
          </a:p>
          <a:p>
            <a:pPr algn="ctr"/>
            <a:endParaRPr lang="en-US" sz="1400" dirty="0">
              <a:solidFill>
                <a:schemeClr val="tx1"/>
              </a:solidFill>
              <a:ea typeface="Nanum Pen Script" panose="03040600000000000000" pitchFamily="66" charset="-127"/>
            </a:endParaRPr>
          </a:p>
        </p:txBody>
      </p:sp>
      <p:cxnSp>
        <p:nvCxnSpPr>
          <p:cNvPr id="447" name="Elbow Connector 446">
            <a:extLst>
              <a:ext uri="{FF2B5EF4-FFF2-40B4-BE49-F238E27FC236}">
                <a16:creationId xmlns:a16="http://schemas.microsoft.com/office/drawing/2014/main" id="{923E3D84-0E02-294A-B2BF-C2C205DCEDEF}"/>
              </a:ext>
            </a:extLst>
          </p:cNvPr>
          <p:cNvCxnSpPr>
            <a:cxnSpLocks/>
            <a:stCxn id="1337" idx="2"/>
            <a:endCxn id="439" idx="1"/>
          </p:cNvCxnSpPr>
          <p:nvPr/>
        </p:nvCxnSpPr>
        <p:spPr>
          <a:xfrm rot="5400000" flipH="1" flipV="1">
            <a:off x="7643097" y="4111757"/>
            <a:ext cx="1257964" cy="2772039"/>
          </a:xfrm>
          <a:prstGeom prst="bentConnector4">
            <a:avLst>
              <a:gd name="adj1" fmla="val -18227"/>
              <a:gd name="adj2" fmla="val 92734"/>
            </a:avLst>
          </a:prstGeom>
          <a:ln>
            <a:solidFill>
              <a:schemeClr val="accent2">
                <a:lumMod val="50000"/>
              </a:schemeClr>
            </a:solidFill>
            <a:headEnd type="oval"/>
            <a:tailEnd type="triangle"/>
          </a:ln>
        </p:spPr>
        <p:style>
          <a:lnRef idx="1">
            <a:schemeClr val="accent1"/>
          </a:lnRef>
          <a:fillRef idx="0">
            <a:schemeClr val="accent1"/>
          </a:fillRef>
          <a:effectRef idx="0">
            <a:schemeClr val="accent1"/>
          </a:effectRef>
          <a:fontRef idx="minor">
            <a:schemeClr val="tx1"/>
          </a:fontRef>
        </p:style>
      </p:cxnSp>
      <p:sp>
        <p:nvSpPr>
          <p:cNvPr id="465" name="TextBox 464">
            <a:extLst>
              <a:ext uri="{FF2B5EF4-FFF2-40B4-BE49-F238E27FC236}">
                <a16:creationId xmlns:a16="http://schemas.microsoft.com/office/drawing/2014/main" id="{68FDD25E-97EA-2546-99AC-E9A68018D6B6}"/>
              </a:ext>
            </a:extLst>
          </p:cNvPr>
          <p:cNvSpPr txBox="1"/>
          <p:nvPr/>
        </p:nvSpPr>
        <p:spPr>
          <a:xfrm>
            <a:off x="4763526" y="964850"/>
            <a:ext cx="857046" cy="304868"/>
          </a:xfrm>
          <a:prstGeom prst="rect">
            <a:avLst/>
          </a:prstGeom>
          <a:noFill/>
        </p:spPr>
        <p:txBody>
          <a:bodyPr wrap="square" tIns="90000" bIns="90000" rtlCol="0" anchor="t">
            <a:spAutoFit/>
          </a:bodyPr>
          <a:lstStyle/>
          <a:p>
            <a:pPr algn="just"/>
            <a:r>
              <a:rPr lang="en-US" sz="800" dirty="0">
                <a:solidFill>
                  <a:schemeClr val="bg1">
                    <a:lumMod val="65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Event Hub</a:t>
            </a:r>
          </a:p>
        </p:txBody>
      </p:sp>
      <p:sp>
        <p:nvSpPr>
          <p:cNvPr id="489" name="Rounded Rectangle 488">
            <a:extLst>
              <a:ext uri="{FF2B5EF4-FFF2-40B4-BE49-F238E27FC236}">
                <a16:creationId xmlns:a16="http://schemas.microsoft.com/office/drawing/2014/main" id="{E0804BF9-45BF-414D-B856-92B922030C65}"/>
              </a:ext>
            </a:extLst>
          </p:cNvPr>
          <p:cNvSpPr/>
          <p:nvPr/>
        </p:nvSpPr>
        <p:spPr>
          <a:xfrm>
            <a:off x="2392387" y="2858497"/>
            <a:ext cx="747829" cy="372555"/>
          </a:xfrm>
          <a:prstGeom prst="roundRect">
            <a:avLst/>
          </a:prstGeom>
          <a:solidFill>
            <a:schemeClr val="bg1"/>
          </a:solidFill>
          <a:ln w="3175">
            <a:solidFill>
              <a:schemeClr val="bg2">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b="1" dirty="0">
              <a:solidFill>
                <a:schemeClr val="bg1">
                  <a:lumMod val="50000"/>
                </a:schemeClr>
              </a:solidFill>
              <a:ea typeface="Nanum Pen Script" panose="03040600000000000000" pitchFamily="66" charset="-127"/>
            </a:endParaRPr>
          </a:p>
          <a:p>
            <a:pPr algn="ctr"/>
            <a:endParaRPr lang="en-US" sz="900" b="1" dirty="0">
              <a:solidFill>
                <a:schemeClr val="bg1">
                  <a:lumMod val="50000"/>
                </a:schemeClr>
              </a:solidFill>
              <a:ea typeface="Nanum Pen Script" panose="03040600000000000000" pitchFamily="66" charset="-127"/>
            </a:endParaRPr>
          </a:p>
          <a:p>
            <a:pPr algn="ctr"/>
            <a:endParaRPr lang="en-US" sz="900" b="1" dirty="0">
              <a:solidFill>
                <a:schemeClr val="bg1">
                  <a:lumMod val="50000"/>
                </a:schemeClr>
              </a:solidFill>
              <a:ea typeface="Nanum Pen Script" panose="03040600000000000000" pitchFamily="66" charset="-127"/>
            </a:endParaRPr>
          </a:p>
          <a:p>
            <a:pPr algn="ctr"/>
            <a:endParaRPr lang="en-US" sz="900" b="1" dirty="0">
              <a:solidFill>
                <a:schemeClr val="bg1">
                  <a:lumMod val="50000"/>
                </a:schemeClr>
              </a:solidFill>
              <a:ea typeface="Nanum Pen Script" panose="03040600000000000000" pitchFamily="66" charset="-127"/>
            </a:endParaRPr>
          </a:p>
          <a:p>
            <a:pPr algn="ctr"/>
            <a:endParaRPr lang="en-US" sz="800" b="1" dirty="0">
              <a:solidFill>
                <a:schemeClr val="bg1">
                  <a:lumMod val="50000"/>
                </a:schemeClr>
              </a:solidFill>
              <a:ea typeface="Nanum Pen Script" panose="03040600000000000000" pitchFamily="66" charset="-127"/>
            </a:endParaRPr>
          </a:p>
          <a:p>
            <a:pPr algn="ctr"/>
            <a:endParaRPr lang="en-US" sz="800" b="1" dirty="0">
              <a:solidFill>
                <a:schemeClr val="bg1">
                  <a:lumMod val="50000"/>
                </a:schemeClr>
              </a:solidFill>
              <a:ea typeface="Nanum Pen Script" panose="03040600000000000000" pitchFamily="66" charset="-127"/>
            </a:endParaRPr>
          </a:p>
          <a:p>
            <a:pPr algn="ctr">
              <a:spcBef>
                <a:spcPts val="0"/>
              </a:spcBef>
            </a:pPr>
            <a:r>
              <a:rPr lang="es-ES_tradnl" sz="8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rPr>
              <a:t>COP</a:t>
            </a:r>
          </a:p>
          <a:p>
            <a:pPr algn="ctr">
              <a:spcBef>
                <a:spcPts val="0"/>
              </a:spcBef>
            </a:pPr>
            <a:endParaRPr lang="es-ES_tradnl" sz="8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endParaRPr>
          </a:p>
          <a:p>
            <a:pPr algn="ctr">
              <a:spcBef>
                <a:spcPts val="0"/>
              </a:spcBef>
            </a:pPr>
            <a:endParaRPr lang="es-ES_tradnl" sz="8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endParaRPr>
          </a:p>
          <a:p>
            <a:pPr algn="ctr">
              <a:spcBef>
                <a:spcPts val="0"/>
              </a:spcBef>
            </a:pPr>
            <a:endParaRPr lang="en-US" dirty="0">
              <a:solidFill>
                <a:schemeClr val="tx1"/>
              </a:solidFill>
              <a:ea typeface="Nanum Pen Script" panose="03040600000000000000" pitchFamily="66" charset="-127"/>
            </a:endParaRPr>
          </a:p>
          <a:p>
            <a:pPr algn="ctr"/>
            <a:endParaRPr lang="en-US" dirty="0">
              <a:solidFill>
                <a:schemeClr val="tx1"/>
              </a:solidFill>
              <a:ea typeface="Nanum Pen Script" panose="03040600000000000000" pitchFamily="66" charset="-127"/>
            </a:endParaRPr>
          </a:p>
        </p:txBody>
      </p:sp>
      <p:cxnSp>
        <p:nvCxnSpPr>
          <p:cNvPr id="490" name="Elbow Connector 489">
            <a:extLst>
              <a:ext uri="{FF2B5EF4-FFF2-40B4-BE49-F238E27FC236}">
                <a16:creationId xmlns:a16="http://schemas.microsoft.com/office/drawing/2014/main" id="{EB623427-66F2-0442-9881-9720EA248B4A}"/>
              </a:ext>
            </a:extLst>
          </p:cNvPr>
          <p:cNvCxnSpPr>
            <a:cxnSpLocks/>
            <a:stCxn id="489" idx="3"/>
            <a:endCxn id="1414" idx="1"/>
          </p:cNvCxnSpPr>
          <p:nvPr/>
        </p:nvCxnSpPr>
        <p:spPr>
          <a:xfrm>
            <a:off x="3140216" y="3044775"/>
            <a:ext cx="1724908" cy="1374499"/>
          </a:xfrm>
          <a:prstGeom prst="bentConnector3">
            <a:avLst>
              <a:gd name="adj1" fmla="val 50039"/>
            </a:avLst>
          </a:prstGeom>
          <a:ln>
            <a:solidFill>
              <a:schemeClr val="bg1">
                <a:lumMod val="50000"/>
              </a:schemeClr>
            </a:solidFill>
            <a:headEnd type="oval"/>
            <a:tailEnd type="triangle"/>
          </a:ln>
        </p:spPr>
        <p:style>
          <a:lnRef idx="1">
            <a:schemeClr val="accent1"/>
          </a:lnRef>
          <a:fillRef idx="0">
            <a:schemeClr val="accent1"/>
          </a:fillRef>
          <a:effectRef idx="0">
            <a:schemeClr val="accent1"/>
          </a:effectRef>
          <a:fontRef idx="minor">
            <a:schemeClr val="tx1"/>
          </a:fontRef>
        </p:style>
      </p:cxnSp>
      <p:sp>
        <p:nvSpPr>
          <p:cNvPr id="497" name="Rounded Rectangle 496">
            <a:extLst>
              <a:ext uri="{FF2B5EF4-FFF2-40B4-BE49-F238E27FC236}">
                <a16:creationId xmlns:a16="http://schemas.microsoft.com/office/drawing/2014/main" id="{D9E4133D-5F9B-1344-9E7A-FA35C251A18D}"/>
              </a:ext>
            </a:extLst>
          </p:cNvPr>
          <p:cNvSpPr/>
          <p:nvPr/>
        </p:nvSpPr>
        <p:spPr>
          <a:xfrm>
            <a:off x="10917605" y="2612650"/>
            <a:ext cx="861873" cy="372555"/>
          </a:xfrm>
          <a:prstGeom prst="roundRect">
            <a:avLst/>
          </a:prstGeom>
          <a:solidFill>
            <a:schemeClr val="bg1">
              <a:lumMod val="85000"/>
            </a:schemeClr>
          </a:solidFill>
          <a:ln w="3175">
            <a:solidFill>
              <a:schemeClr val="bg1">
                <a:lumMod val="50000"/>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b="1" dirty="0">
              <a:solidFill>
                <a:schemeClr val="bg1">
                  <a:lumMod val="50000"/>
                </a:schemeClr>
              </a:solidFill>
              <a:latin typeface="+mj-lt"/>
              <a:ea typeface="Nanum Pen Script" panose="03040600000000000000" pitchFamily="66" charset="-127"/>
            </a:endParaRPr>
          </a:p>
          <a:p>
            <a:pPr algn="ctr"/>
            <a:endParaRPr lang="en-US" sz="900" b="1" dirty="0">
              <a:solidFill>
                <a:schemeClr val="bg1">
                  <a:lumMod val="50000"/>
                </a:schemeClr>
              </a:solidFill>
              <a:latin typeface="+mj-lt"/>
              <a:ea typeface="Nanum Pen Script" panose="03040600000000000000" pitchFamily="66" charset="-127"/>
            </a:endParaRPr>
          </a:p>
          <a:p>
            <a:pPr algn="ctr"/>
            <a:endParaRPr lang="en-US" sz="900" b="1" dirty="0">
              <a:solidFill>
                <a:schemeClr val="bg1">
                  <a:lumMod val="50000"/>
                </a:schemeClr>
              </a:solidFill>
              <a:latin typeface="+mj-lt"/>
              <a:ea typeface="Nanum Pen Script" panose="03040600000000000000" pitchFamily="66" charset="-127"/>
            </a:endParaRPr>
          </a:p>
          <a:p>
            <a:pPr algn="ctr"/>
            <a:endParaRPr lang="en-US" sz="900" b="1" dirty="0">
              <a:solidFill>
                <a:schemeClr val="bg1">
                  <a:lumMod val="50000"/>
                </a:schemeClr>
              </a:solidFill>
              <a:latin typeface="+mj-lt"/>
              <a:ea typeface="Nanum Pen Script" panose="03040600000000000000" pitchFamily="66" charset="-127"/>
            </a:endParaRPr>
          </a:p>
          <a:p>
            <a:pPr algn="ctr"/>
            <a:endParaRPr lang="en-US" sz="800" b="1" dirty="0">
              <a:solidFill>
                <a:schemeClr val="bg1">
                  <a:lumMod val="50000"/>
                </a:schemeClr>
              </a:solidFill>
              <a:latin typeface="+mj-lt"/>
              <a:ea typeface="Nanum Pen Script" panose="03040600000000000000" pitchFamily="66" charset="-127"/>
            </a:endParaRPr>
          </a:p>
          <a:p>
            <a:pPr algn="ctr"/>
            <a:endParaRPr lang="en-US" sz="800" b="1" dirty="0">
              <a:solidFill>
                <a:schemeClr val="bg1">
                  <a:lumMod val="50000"/>
                </a:schemeClr>
              </a:solidFill>
              <a:latin typeface="+mj-lt"/>
              <a:ea typeface="Nanum Pen Script" panose="03040600000000000000" pitchFamily="66" charset="-127"/>
            </a:endParaRPr>
          </a:p>
          <a:p>
            <a:pPr algn="ctr">
              <a:spcBef>
                <a:spcPts val="0"/>
              </a:spcBef>
            </a:pPr>
            <a:endParaRPr lang="en-US" sz="8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endParaRPr>
          </a:p>
          <a:p>
            <a:pPr algn="ctr">
              <a:spcBef>
                <a:spcPts val="0"/>
              </a:spcBef>
            </a:pPr>
            <a:r>
              <a:rPr lang="en-US" sz="8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CAP</a:t>
            </a:r>
          </a:p>
          <a:p>
            <a:pPr algn="ctr">
              <a:spcBef>
                <a:spcPts val="0"/>
              </a:spcBef>
            </a:pPr>
            <a:endParaRPr lang="en-US" sz="8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endParaRPr>
          </a:p>
          <a:p>
            <a:pPr algn="ctr">
              <a:spcBef>
                <a:spcPts val="0"/>
              </a:spcBef>
            </a:pPr>
            <a:endParaRPr lang="en-US" sz="8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endParaRPr>
          </a:p>
          <a:p>
            <a:pPr algn="ctr">
              <a:spcBef>
                <a:spcPts val="0"/>
              </a:spcBef>
            </a:pPr>
            <a:endParaRPr lang="en-US" sz="8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endParaRPr>
          </a:p>
          <a:p>
            <a:pPr algn="ctr">
              <a:spcBef>
                <a:spcPts val="0"/>
              </a:spcBef>
            </a:pPr>
            <a:endParaRPr lang="en-US" dirty="0">
              <a:solidFill>
                <a:schemeClr val="tx1"/>
              </a:solidFill>
              <a:latin typeface="+mj-lt"/>
              <a:ea typeface="Nanum Pen Script" panose="03040600000000000000" pitchFamily="66" charset="-127"/>
            </a:endParaRPr>
          </a:p>
          <a:p>
            <a:pPr algn="ctr"/>
            <a:endParaRPr lang="en-US" dirty="0">
              <a:solidFill>
                <a:schemeClr val="tx1"/>
              </a:solidFill>
              <a:latin typeface="+mj-lt"/>
              <a:ea typeface="Nanum Pen Script" panose="03040600000000000000" pitchFamily="66" charset="-127"/>
            </a:endParaRPr>
          </a:p>
        </p:txBody>
      </p:sp>
      <p:sp>
        <p:nvSpPr>
          <p:cNvPr id="500" name="Rounded Rectangle 499">
            <a:extLst>
              <a:ext uri="{FF2B5EF4-FFF2-40B4-BE49-F238E27FC236}">
                <a16:creationId xmlns:a16="http://schemas.microsoft.com/office/drawing/2014/main" id="{4148FAC6-E93F-574C-BB77-16DAD17FDE5B}"/>
              </a:ext>
            </a:extLst>
          </p:cNvPr>
          <p:cNvSpPr/>
          <p:nvPr/>
        </p:nvSpPr>
        <p:spPr>
          <a:xfrm>
            <a:off x="10917604" y="3087346"/>
            <a:ext cx="861873" cy="372555"/>
          </a:xfrm>
          <a:prstGeom prst="roundRect">
            <a:avLst/>
          </a:prstGeom>
          <a:solidFill>
            <a:schemeClr val="bg1">
              <a:lumMod val="85000"/>
            </a:schemeClr>
          </a:solidFill>
          <a:ln w="3175">
            <a:solidFill>
              <a:schemeClr val="bg1">
                <a:lumMod val="50000"/>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b="1" dirty="0">
              <a:solidFill>
                <a:schemeClr val="bg1">
                  <a:lumMod val="50000"/>
                </a:schemeClr>
              </a:solidFill>
              <a:latin typeface="+mj-lt"/>
              <a:ea typeface="Nanum Pen Script" panose="03040600000000000000" pitchFamily="66" charset="-127"/>
            </a:endParaRPr>
          </a:p>
          <a:p>
            <a:pPr algn="ctr"/>
            <a:endParaRPr lang="en-US" sz="900" b="1" dirty="0">
              <a:solidFill>
                <a:schemeClr val="bg1">
                  <a:lumMod val="50000"/>
                </a:schemeClr>
              </a:solidFill>
              <a:latin typeface="+mj-lt"/>
              <a:ea typeface="Nanum Pen Script" panose="03040600000000000000" pitchFamily="66" charset="-127"/>
            </a:endParaRPr>
          </a:p>
          <a:p>
            <a:pPr algn="ctr"/>
            <a:endParaRPr lang="en-US" sz="900" b="1" dirty="0">
              <a:solidFill>
                <a:schemeClr val="bg1">
                  <a:lumMod val="50000"/>
                </a:schemeClr>
              </a:solidFill>
              <a:latin typeface="+mj-lt"/>
              <a:ea typeface="Nanum Pen Script" panose="03040600000000000000" pitchFamily="66" charset="-127"/>
            </a:endParaRPr>
          </a:p>
          <a:p>
            <a:pPr algn="ctr"/>
            <a:endParaRPr lang="en-US" sz="900" b="1" dirty="0">
              <a:solidFill>
                <a:schemeClr val="bg1">
                  <a:lumMod val="50000"/>
                </a:schemeClr>
              </a:solidFill>
              <a:latin typeface="+mj-lt"/>
              <a:ea typeface="Nanum Pen Script" panose="03040600000000000000" pitchFamily="66" charset="-127"/>
            </a:endParaRPr>
          </a:p>
          <a:p>
            <a:pPr algn="ctr"/>
            <a:endParaRPr lang="en-US" sz="800" b="1" dirty="0">
              <a:solidFill>
                <a:schemeClr val="bg1">
                  <a:lumMod val="50000"/>
                </a:schemeClr>
              </a:solidFill>
              <a:latin typeface="+mj-lt"/>
              <a:ea typeface="Nanum Pen Script" panose="03040600000000000000" pitchFamily="66" charset="-127"/>
            </a:endParaRPr>
          </a:p>
          <a:p>
            <a:pPr algn="ctr"/>
            <a:endParaRPr lang="en-US" sz="800" b="1" dirty="0">
              <a:solidFill>
                <a:schemeClr val="bg1">
                  <a:lumMod val="50000"/>
                </a:schemeClr>
              </a:solidFill>
              <a:latin typeface="+mj-lt"/>
              <a:ea typeface="Nanum Pen Script" panose="03040600000000000000" pitchFamily="66" charset="-127"/>
            </a:endParaRPr>
          </a:p>
          <a:p>
            <a:pPr algn="ctr">
              <a:spcBef>
                <a:spcPts val="0"/>
              </a:spcBef>
            </a:pPr>
            <a:endParaRPr lang="en-US" sz="8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endParaRPr>
          </a:p>
          <a:p>
            <a:pPr algn="ctr">
              <a:spcBef>
                <a:spcPts val="0"/>
              </a:spcBef>
            </a:pPr>
            <a:r>
              <a:rPr lang="en-US" sz="8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TECOS</a:t>
            </a:r>
          </a:p>
          <a:p>
            <a:pPr algn="ctr">
              <a:spcBef>
                <a:spcPts val="0"/>
              </a:spcBef>
            </a:pPr>
            <a:endParaRPr lang="en-US" sz="8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endParaRPr>
          </a:p>
          <a:p>
            <a:pPr algn="ctr">
              <a:spcBef>
                <a:spcPts val="0"/>
              </a:spcBef>
            </a:pPr>
            <a:endParaRPr lang="en-US" sz="8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endParaRPr>
          </a:p>
          <a:p>
            <a:pPr algn="ctr">
              <a:spcBef>
                <a:spcPts val="0"/>
              </a:spcBef>
            </a:pPr>
            <a:endParaRPr lang="en-US" sz="8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endParaRPr>
          </a:p>
          <a:p>
            <a:pPr algn="ctr">
              <a:spcBef>
                <a:spcPts val="0"/>
              </a:spcBef>
            </a:pPr>
            <a:endParaRPr lang="en-US" dirty="0">
              <a:solidFill>
                <a:schemeClr val="tx1"/>
              </a:solidFill>
              <a:latin typeface="+mj-lt"/>
              <a:ea typeface="Nanum Pen Script" panose="03040600000000000000" pitchFamily="66" charset="-127"/>
            </a:endParaRPr>
          </a:p>
          <a:p>
            <a:pPr algn="ctr"/>
            <a:endParaRPr lang="en-US" dirty="0">
              <a:solidFill>
                <a:schemeClr val="tx1"/>
              </a:solidFill>
              <a:latin typeface="+mj-lt"/>
              <a:ea typeface="Nanum Pen Script" panose="03040600000000000000" pitchFamily="66" charset="-127"/>
            </a:endParaRPr>
          </a:p>
        </p:txBody>
      </p:sp>
      <p:cxnSp>
        <p:nvCxnSpPr>
          <p:cNvPr id="501" name="Elbow Connector 500">
            <a:extLst>
              <a:ext uri="{FF2B5EF4-FFF2-40B4-BE49-F238E27FC236}">
                <a16:creationId xmlns:a16="http://schemas.microsoft.com/office/drawing/2014/main" id="{7D66613E-1E89-5841-B9B8-447FC5E502A9}"/>
              </a:ext>
            </a:extLst>
          </p:cNvPr>
          <p:cNvCxnSpPr>
            <a:cxnSpLocks/>
            <a:stCxn id="454" idx="3"/>
            <a:endCxn id="497" idx="1"/>
          </p:cNvCxnSpPr>
          <p:nvPr/>
        </p:nvCxnSpPr>
        <p:spPr>
          <a:xfrm flipV="1">
            <a:off x="8955192" y="2798928"/>
            <a:ext cx="1962413" cy="1620346"/>
          </a:xfrm>
          <a:prstGeom prst="bentConnector3">
            <a:avLst>
              <a:gd name="adj1" fmla="val 50000"/>
            </a:avLst>
          </a:prstGeom>
          <a:ln>
            <a:solidFill>
              <a:schemeClr val="accent2">
                <a:lumMod val="50000"/>
              </a:schemeClr>
            </a:solidFill>
            <a:headEnd type="oval"/>
            <a:tailEnd type="triangle"/>
          </a:ln>
        </p:spPr>
        <p:style>
          <a:lnRef idx="1">
            <a:schemeClr val="accent1"/>
          </a:lnRef>
          <a:fillRef idx="0">
            <a:schemeClr val="accent1"/>
          </a:fillRef>
          <a:effectRef idx="0">
            <a:schemeClr val="accent1"/>
          </a:effectRef>
          <a:fontRef idx="minor">
            <a:schemeClr val="tx1"/>
          </a:fontRef>
        </p:style>
      </p:cxnSp>
      <p:cxnSp>
        <p:nvCxnSpPr>
          <p:cNvPr id="502" name="Elbow Connector 501">
            <a:extLst>
              <a:ext uri="{FF2B5EF4-FFF2-40B4-BE49-F238E27FC236}">
                <a16:creationId xmlns:a16="http://schemas.microsoft.com/office/drawing/2014/main" id="{6FC0BE54-CDC0-FB42-8556-7D70A0383FC0}"/>
              </a:ext>
            </a:extLst>
          </p:cNvPr>
          <p:cNvCxnSpPr>
            <a:cxnSpLocks/>
            <a:stCxn id="454" idx="3"/>
            <a:endCxn id="500" idx="1"/>
          </p:cNvCxnSpPr>
          <p:nvPr/>
        </p:nvCxnSpPr>
        <p:spPr>
          <a:xfrm flipV="1">
            <a:off x="8955192" y="3273624"/>
            <a:ext cx="1962412" cy="1145650"/>
          </a:xfrm>
          <a:prstGeom prst="bentConnector3">
            <a:avLst>
              <a:gd name="adj1" fmla="val 50000"/>
            </a:avLst>
          </a:prstGeom>
          <a:ln>
            <a:solidFill>
              <a:schemeClr val="accent2">
                <a:lumMod val="50000"/>
              </a:schemeClr>
            </a:solidFill>
            <a:headEnd type="oval"/>
            <a:tailEnd type="triangle"/>
          </a:ln>
        </p:spPr>
        <p:style>
          <a:lnRef idx="1">
            <a:schemeClr val="accent1"/>
          </a:lnRef>
          <a:fillRef idx="0">
            <a:schemeClr val="accent1"/>
          </a:fillRef>
          <a:effectRef idx="0">
            <a:schemeClr val="accent1"/>
          </a:effectRef>
          <a:fontRef idx="minor">
            <a:schemeClr val="tx1"/>
          </a:fontRef>
        </p:style>
      </p:cxnSp>
      <p:sp>
        <p:nvSpPr>
          <p:cNvPr id="513" name="Rounded Rectangle 512">
            <a:extLst>
              <a:ext uri="{FF2B5EF4-FFF2-40B4-BE49-F238E27FC236}">
                <a16:creationId xmlns:a16="http://schemas.microsoft.com/office/drawing/2014/main" id="{067706E5-A0EE-B049-B344-A66C161E322E}"/>
              </a:ext>
            </a:extLst>
          </p:cNvPr>
          <p:cNvSpPr/>
          <p:nvPr/>
        </p:nvSpPr>
        <p:spPr>
          <a:xfrm>
            <a:off x="2397552" y="3320874"/>
            <a:ext cx="747829" cy="372555"/>
          </a:xfrm>
          <a:prstGeom prst="roundRect">
            <a:avLst/>
          </a:prstGeom>
          <a:solidFill>
            <a:schemeClr val="bg1"/>
          </a:solidFill>
          <a:ln w="3175">
            <a:solidFill>
              <a:schemeClr val="bg2">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b="1" dirty="0">
              <a:solidFill>
                <a:schemeClr val="bg1">
                  <a:lumMod val="50000"/>
                </a:schemeClr>
              </a:solidFill>
              <a:ea typeface="Nanum Pen Script" panose="03040600000000000000" pitchFamily="66" charset="-127"/>
            </a:endParaRPr>
          </a:p>
          <a:p>
            <a:pPr algn="ctr"/>
            <a:endParaRPr lang="en-US" sz="900" b="1" dirty="0">
              <a:solidFill>
                <a:schemeClr val="bg1">
                  <a:lumMod val="50000"/>
                </a:schemeClr>
              </a:solidFill>
              <a:ea typeface="Nanum Pen Script" panose="03040600000000000000" pitchFamily="66" charset="-127"/>
            </a:endParaRPr>
          </a:p>
          <a:p>
            <a:pPr algn="ctr"/>
            <a:endParaRPr lang="en-US" sz="900" b="1" dirty="0">
              <a:solidFill>
                <a:schemeClr val="bg1">
                  <a:lumMod val="50000"/>
                </a:schemeClr>
              </a:solidFill>
              <a:ea typeface="Nanum Pen Script" panose="03040600000000000000" pitchFamily="66" charset="-127"/>
            </a:endParaRPr>
          </a:p>
          <a:p>
            <a:pPr algn="ctr"/>
            <a:endParaRPr lang="en-US" sz="900" b="1" dirty="0">
              <a:solidFill>
                <a:schemeClr val="bg1">
                  <a:lumMod val="50000"/>
                </a:schemeClr>
              </a:solidFill>
              <a:ea typeface="Nanum Pen Script" panose="03040600000000000000" pitchFamily="66" charset="-127"/>
            </a:endParaRPr>
          </a:p>
          <a:p>
            <a:pPr algn="ctr"/>
            <a:endParaRPr lang="en-US" sz="800" b="1" dirty="0">
              <a:solidFill>
                <a:schemeClr val="bg1">
                  <a:lumMod val="50000"/>
                </a:schemeClr>
              </a:solidFill>
              <a:ea typeface="Nanum Pen Script" panose="03040600000000000000" pitchFamily="66" charset="-127"/>
            </a:endParaRPr>
          </a:p>
          <a:p>
            <a:pPr algn="ctr"/>
            <a:endParaRPr lang="en-US" sz="800" b="1" dirty="0">
              <a:solidFill>
                <a:schemeClr val="bg1">
                  <a:lumMod val="50000"/>
                </a:schemeClr>
              </a:solidFill>
              <a:ea typeface="Nanum Pen Script" panose="03040600000000000000" pitchFamily="66" charset="-127"/>
            </a:endParaRPr>
          </a:p>
          <a:p>
            <a:pPr algn="ctr">
              <a:spcBef>
                <a:spcPts val="0"/>
              </a:spcBef>
            </a:pPr>
            <a:r>
              <a:rPr lang="es-ES_tradnl" sz="8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rPr>
              <a:t>TIBCO</a:t>
            </a:r>
          </a:p>
          <a:p>
            <a:pPr algn="ctr">
              <a:spcBef>
                <a:spcPts val="0"/>
              </a:spcBef>
            </a:pPr>
            <a:endParaRPr lang="es-ES_tradnl" sz="8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endParaRPr>
          </a:p>
          <a:p>
            <a:pPr algn="ctr">
              <a:spcBef>
                <a:spcPts val="0"/>
              </a:spcBef>
            </a:pPr>
            <a:endParaRPr lang="es-ES_tradnl" sz="8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endParaRPr>
          </a:p>
          <a:p>
            <a:pPr algn="ctr">
              <a:spcBef>
                <a:spcPts val="0"/>
              </a:spcBef>
            </a:pPr>
            <a:endParaRPr lang="en-US" dirty="0">
              <a:solidFill>
                <a:schemeClr val="tx1"/>
              </a:solidFill>
              <a:ea typeface="Nanum Pen Script" panose="03040600000000000000" pitchFamily="66" charset="-127"/>
            </a:endParaRPr>
          </a:p>
          <a:p>
            <a:pPr algn="ctr"/>
            <a:endParaRPr lang="en-US" dirty="0">
              <a:solidFill>
                <a:schemeClr val="tx1"/>
              </a:solidFill>
              <a:ea typeface="Nanum Pen Script" panose="03040600000000000000" pitchFamily="66" charset="-127"/>
            </a:endParaRPr>
          </a:p>
        </p:txBody>
      </p:sp>
      <p:cxnSp>
        <p:nvCxnSpPr>
          <p:cNvPr id="515" name="Elbow Connector 514">
            <a:extLst>
              <a:ext uri="{FF2B5EF4-FFF2-40B4-BE49-F238E27FC236}">
                <a16:creationId xmlns:a16="http://schemas.microsoft.com/office/drawing/2014/main" id="{B8FE82EA-BE44-5D44-B9CD-E8989B7CCFC6}"/>
              </a:ext>
            </a:extLst>
          </p:cNvPr>
          <p:cNvCxnSpPr>
            <a:cxnSpLocks/>
            <a:stCxn id="513" idx="3"/>
            <a:endCxn id="1414" idx="1"/>
          </p:cNvCxnSpPr>
          <p:nvPr/>
        </p:nvCxnSpPr>
        <p:spPr>
          <a:xfrm>
            <a:off x="3145381" y="3507152"/>
            <a:ext cx="1719743" cy="912122"/>
          </a:xfrm>
          <a:prstGeom prst="bentConnector3">
            <a:avLst>
              <a:gd name="adj1" fmla="val 49508"/>
            </a:avLst>
          </a:prstGeom>
          <a:ln>
            <a:solidFill>
              <a:schemeClr val="bg1">
                <a:lumMod val="50000"/>
              </a:schemeClr>
            </a:solidFill>
            <a:headEnd type="oval"/>
            <a:tailEnd type="triangle"/>
          </a:ln>
        </p:spPr>
        <p:style>
          <a:lnRef idx="1">
            <a:schemeClr val="accent1"/>
          </a:lnRef>
          <a:fillRef idx="0">
            <a:schemeClr val="accent1"/>
          </a:fillRef>
          <a:effectRef idx="0">
            <a:schemeClr val="accent1"/>
          </a:effectRef>
          <a:fontRef idx="minor">
            <a:schemeClr val="tx1"/>
          </a:fontRef>
        </p:style>
      </p:cxnSp>
      <p:sp>
        <p:nvSpPr>
          <p:cNvPr id="522" name="Rounded Rectangle 521">
            <a:extLst>
              <a:ext uri="{FF2B5EF4-FFF2-40B4-BE49-F238E27FC236}">
                <a16:creationId xmlns:a16="http://schemas.microsoft.com/office/drawing/2014/main" id="{CC8E7907-085D-8C44-8901-87FEC8FC5864}"/>
              </a:ext>
            </a:extLst>
          </p:cNvPr>
          <p:cNvSpPr/>
          <p:nvPr/>
        </p:nvSpPr>
        <p:spPr>
          <a:xfrm>
            <a:off x="2401576" y="1478868"/>
            <a:ext cx="738685" cy="372555"/>
          </a:xfrm>
          <a:prstGeom prst="roundRect">
            <a:avLst/>
          </a:prstGeom>
          <a:solidFill>
            <a:schemeClr val="bg1"/>
          </a:solidFill>
          <a:ln w="3175">
            <a:solidFill>
              <a:schemeClr val="bg2">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b="1" dirty="0">
              <a:solidFill>
                <a:schemeClr val="bg1">
                  <a:lumMod val="50000"/>
                </a:schemeClr>
              </a:solidFill>
              <a:ea typeface="Nanum Pen Script" panose="03040600000000000000" pitchFamily="66" charset="-127"/>
            </a:endParaRPr>
          </a:p>
          <a:p>
            <a:pPr algn="ctr"/>
            <a:endParaRPr lang="en-US" sz="900" b="1" dirty="0">
              <a:solidFill>
                <a:schemeClr val="bg1">
                  <a:lumMod val="50000"/>
                </a:schemeClr>
              </a:solidFill>
              <a:ea typeface="Nanum Pen Script" panose="03040600000000000000" pitchFamily="66" charset="-127"/>
            </a:endParaRPr>
          </a:p>
          <a:p>
            <a:pPr algn="ctr"/>
            <a:endParaRPr lang="en-US" sz="900" b="1" dirty="0">
              <a:solidFill>
                <a:schemeClr val="bg1">
                  <a:lumMod val="50000"/>
                </a:schemeClr>
              </a:solidFill>
              <a:ea typeface="Nanum Pen Script" panose="03040600000000000000" pitchFamily="66" charset="-127"/>
            </a:endParaRPr>
          </a:p>
          <a:p>
            <a:pPr algn="ctr"/>
            <a:endParaRPr lang="en-US" sz="900" b="1" dirty="0">
              <a:solidFill>
                <a:schemeClr val="bg1">
                  <a:lumMod val="50000"/>
                </a:schemeClr>
              </a:solidFill>
              <a:ea typeface="Nanum Pen Script" panose="03040600000000000000" pitchFamily="66" charset="-127"/>
            </a:endParaRPr>
          </a:p>
          <a:p>
            <a:pPr algn="ctr"/>
            <a:endParaRPr lang="en-US" sz="800" b="1" dirty="0">
              <a:solidFill>
                <a:schemeClr val="bg1">
                  <a:lumMod val="50000"/>
                </a:schemeClr>
              </a:solidFill>
              <a:ea typeface="Nanum Pen Script" panose="03040600000000000000" pitchFamily="66" charset="-127"/>
            </a:endParaRPr>
          </a:p>
          <a:p>
            <a:pPr algn="ctr"/>
            <a:endParaRPr lang="en-US" sz="800" b="1" dirty="0">
              <a:solidFill>
                <a:schemeClr val="bg1">
                  <a:lumMod val="50000"/>
                </a:schemeClr>
              </a:solidFill>
              <a:ea typeface="Nanum Pen Script" panose="03040600000000000000" pitchFamily="66" charset="-127"/>
            </a:endParaRPr>
          </a:p>
          <a:p>
            <a:pPr algn="ctr">
              <a:spcBef>
                <a:spcPts val="0"/>
              </a:spcBef>
            </a:pPr>
            <a:r>
              <a:rPr lang="es-ES_tradnl" sz="8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rPr>
              <a:t>Eclipse CRP</a:t>
            </a:r>
          </a:p>
          <a:p>
            <a:pPr algn="ctr">
              <a:spcBef>
                <a:spcPts val="0"/>
              </a:spcBef>
            </a:pPr>
            <a:endParaRPr lang="es-ES_tradnl" sz="8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endParaRPr>
          </a:p>
          <a:p>
            <a:pPr algn="ctr">
              <a:spcBef>
                <a:spcPts val="0"/>
              </a:spcBef>
            </a:pPr>
            <a:endParaRPr lang="es-ES_tradnl" sz="8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endParaRPr>
          </a:p>
          <a:p>
            <a:pPr algn="ctr">
              <a:spcBef>
                <a:spcPts val="0"/>
              </a:spcBef>
            </a:pPr>
            <a:endParaRPr lang="en-US" dirty="0">
              <a:solidFill>
                <a:schemeClr val="tx1"/>
              </a:solidFill>
              <a:ea typeface="Nanum Pen Script" panose="03040600000000000000" pitchFamily="66" charset="-127"/>
            </a:endParaRPr>
          </a:p>
          <a:p>
            <a:pPr algn="ctr"/>
            <a:endParaRPr lang="en-US" dirty="0">
              <a:solidFill>
                <a:schemeClr val="tx1"/>
              </a:solidFill>
              <a:ea typeface="Nanum Pen Script" panose="03040600000000000000" pitchFamily="66" charset="-127"/>
            </a:endParaRPr>
          </a:p>
        </p:txBody>
      </p:sp>
      <p:cxnSp>
        <p:nvCxnSpPr>
          <p:cNvPr id="523" name="Elbow Connector 522">
            <a:extLst>
              <a:ext uri="{FF2B5EF4-FFF2-40B4-BE49-F238E27FC236}">
                <a16:creationId xmlns:a16="http://schemas.microsoft.com/office/drawing/2014/main" id="{616BD056-3ABF-A147-B255-FF3F0E085FFF}"/>
              </a:ext>
            </a:extLst>
          </p:cNvPr>
          <p:cNvCxnSpPr>
            <a:cxnSpLocks/>
            <a:stCxn id="522" idx="3"/>
            <a:endCxn id="1414" idx="1"/>
          </p:cNvCxnSpPr>
          <p:nvPr/>
        </p:nvCxnSpPr>
        <p:spPr>
          <a:xfrm>
            <a:off x="3140261" y="1665146"/>
            <a:ext cx="1724863" cy="2754128"/>
          </a:xfrm>
          <a:prstGeom prst="bentConnector3">
            <a:avLst>
              <a:gd name="adj1" fmla="val 50569"/>
            </a:avLst>
          </a:prstGeom>
          <a:ln>
            <a:solidFill>
              <a:schemeClr val="bg1">
                <a:lumMod val="50000"/>
              </a:schemeClr>
            </a:solidFill>
            <a:headEnd type="oval"/>
            <a:tailEnd type="triangle"/>
          </a:ln>
        </p:spPr>
        <p:style>
          <a:lnRef idx="1">
            <a:schemeClr val="accent1"/>
          </a:lnRef>
          <a:fillRef idx="0">
            <a:schemeClr val="accent1"/>
          </a:fillRef>
          <a:effectRef idx="0">
            <a:schemeClr val="accent1"/>
          </a:effectRef>
          <a:fontRef idx="minor">
            <a:schemeClr val="tx1"/>
          </a:fontRef>
        </p:style>
      </p:cxnSp>
      <p:cxnSp>
        <p:nvCxnSpPr>
          <p:cNvPr id="524" name="Elbow Connector 523">
            <a:extLst>
              <a:ext uri="{FF2B5EF4-FFF2-40B4-BE49-F238E27FC236}">
                <a16:creationId xmlns:a16="http://schemas.microsoft.com/office/drawing/2014/main" id="{735565F0-3BBB-2940-8E3F-D08E673309B7}"/>
              </a:ext>
            </a:extLst>
          </p:cNvPr>
          <p:cNvCxnSpPr>
            <a:cxnSpLocks/>
            <a:stCxn id="454" idx="3"/>
            <a:endCxn id="520" idx="1"/>
          </p:cNvCxnSpPr>
          <p:nvPr/>
        </p:nvCxnSpPr>
        <p:spPr>
          <a:xfrm flipV="1">
            <a:off x="8955192" y="3756031"/>
            <a:ext cx="1966371" cy="663243"/>
          </a:xfrm>
          <a:prstGeom prst="bentConnector3">
            <a:avLst>
              <a:gd name="adj1" fmla="val 50000"/>
            </a:avLst>
          </a:prstGeom>
          <a:ln>
            <a:solidFill>
              <a:srgbClr val="0067B7"/>
            </a:solidFill>
            <a:headEnd type="oval"/>
            <a:tailEnd type="triangle"/>
          </a:ln>
        </p:spPr>
        <p:style>
          <a:lnRef idx="1">
            <a:schemeClr val="accent1"/>
          </a:lnRef>
          <a:fillRef idx="0">
            <a:schemeClr val="accent1"/>
          </a:fillRef>
          <a:effectRef idx="0">
            <a:schemeClr val="accent1"/>
          </a:effectRef>
          <a:fontRef idx="minor">
            <a:schemeClr val="tx1"/>
          </a:fontRef>
        </p:style>
      </p:cxnSp>
      <p:cxnSp>
        <p:nvCxnSpPr>
          <p:cNvPr id="526" name="Elbow Connector 525">
            <a:extLst>
              <a:ext uri="{FF2B5EF4-FFF2-40B4-BE49-F238E27FC236}">
                <a16:creationId xmlns:a16="http://schemas.microsoft.com/office/drawing/2014/main" id="{4A3CBC53-E22D-054A-B5CB-8A532316D6B6}"/>
              </a:ext>
            </a:extLst>
          </p:cNvPr>
          <p:cNvCxnSpPr>
            <a:cxnSpLocks/>
            <a:stCxn id="454" idx="3"/>
            <a:endCxn id="518" idx="1"/>
          </p:cNvCxnSpPr>
          <p:nvPr/>
        </p:nvCxnSpPr>
        <p:spPr>
          <a:xfrm flipV="1">
            <a:off x="8955192" y="4248822"/>
            <a:ext cx="1975515" cy="170452"/>
          </a:xfrm>
          <a:prstGeom prst="bentConnector3">
            <a:avLst>
              <a:gd name="adj1" fmla="val 50000"/>
            </a:avLst>
          </a:prstGeom>
          <a:ln>
            <a:solidFill>
              <a:srgbClr val="0067B7"/>
            </a:solidFill>
            <a:headEnd type="oval"/>
            <a:tailEnd type="triangle"/>
          </a:ln>
        </p:spPr>
        <p:style>
          <a:lnRef idx="1">
            <a:schemeClr val="accent1"/>
          </a:lnRef>
          <a:fillRef idx="0">
            <a:schemeClr val="accent1"/>
          </a:fillRef>
          <a:effectRef idx="0">
            <a:schemeClr val="accent1"/>
          </a:effectRef>
          <a:fontRef idx="minor">
            <a:schemeClr val="tx1"/>
          </a:fontRef>
        </p:style>
      </p:cxnSp>
      <p:sp>
        <p:nvSpPr>
          <p:cNvPr id="530" name="Rounded Rectangle 529">
            <a:extLst>
              <a:ext uri="{FF2B5EF4-FFF2-40B4-BE49-F238E27FC236}">
                <a16:creationId xmlns:a16="http://schemas.microsoft.com/office/drawing/2014/main" id="{69ADDC8D-DBC5-DD42-9007-0C2FB0210F9D}"/>
              </a:ext>
            </a:extLst>
          </p:cNvPr>
          <p:cNvSpPr/>
          <p:nvPr/>
        </p:nvSpPr>
        <p:spPr>
          <a:xfrm>
            <a:off x="6801399" y="1146298"/>
            <a:ext cx="802889" cy="393866"/>
          </a:xfrm>
          <a:prstGeom prst="roundRect">
            <a:avLst/>
          </a:prstGeom>
          <a:solidFill>
            <a:schemeClr val="bg1">
              <a:lumMod val="85000"/>
            </a:schemeClr>
          </a:solidFill>
          <a:ln w="3175">
            <a:solidFill>
              <a:schemeClr val="bg1">
                <a:lumMod val="50000"/>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b="1" dirty="0">
              <a:solidFill>
                <a:schemeClr val="bg1">
                  <a:lumMod val="50000"/>
                </a:schemeClr>
              </a:solidFill>
              <a:latin typeface="+mj-lt"/>
              <a:ea typeface="Nanum Pen Script" panose="03040600000000000000" pitchFamily="66" charset="-127"/>
            </a:endParaRPr>
          </a:p>
          <a:p>
            <a:pPr algn="ctr"/>
            <a:endParaRPr lang="en-US" sz="700" b="1" dirty="0">
              <a:solidFill>
                <a:schemeClr val="bg1">
                  <a:lumMod val="50000"/>
                </a:schemeClr>
              </a:solidFill>
              <a:latin typeface="+mj-lt"/>
              <a:ea typeface="Nanum Pen Script" panose="03040600000000000000" pitchFamily="66" charset="-127"/>
            </a:endParaRPr>
          </a:p>
          <a:p>
            <a:pPr algn="ctr"/>
            <a:endParaRPr lang="en-US" sz="700" b="1" dirty="0">
              <a:solidFill>
                <a:schemeClr val="bg1">
                  <a:lumMod val="50000"/>
                </a:schemeClr>
              </a:solidFill>
              <a:latin typeface="+mj-lt"/>
              <a:ea typeface="Nanum Pen Script" panose="03040600000000000000" pitchFamily="66" charset="-127"/>
            </a:endParaRPr>
          </a:p>
          <a:p>
            <a:pPr algn="ctr"/>
            <a:endParaRPr lang="en-US" sz="700" b="1" dirty="0">
              <a:solidFill>
                <a:schemeClr val="bg1">
                  <a:lumMod val="50000"/>
                </a:schemeClr>
              </a:solidFill>
              <a:latin typeface="+mj-lt"/>
              <a:ea typeface="Nanum Pen Script" panose="03040600000000000000" pitchFamily="66" charset="-127"/>
            </a:endParaRPr>
          </a:p>
          <a:p>
            <a:pPr algn="ctr"/>
            <a:endParaRPr lang="en-US" sz="600" b="1" dirty="0">
              <a:solidFill>
                <a:schemeClr val="bg1">
                  <a:lumMod val="50000"/>
                </a:schemeClr>
              </a:solidFill>
              <a:latin typeface="+mj-lt"/>
              <a:ea typeface="Nanum Pen Script" panose="03040600000000000000" pitchFamily="66" charset="-127"/>
            </a:endParaRPr>
          </a:p>
          <a:p>
            <a:pPr algn="ctr"/>
            <a:r>
              <a:rPr lang="en-US" sz="800" b="1" dirty="0">
                <a:solidFill>
                  <a:schemeClr val="bg1">
                    <a:lumMod val="50000"/>
                  </a:schemeClr>
                </a:solidFill>
                <a:latin typeface="+mj-lt"/>
                <a:ea typeface="Nanum Pen Script" panose="03040600000000000000" pitchFamily="66" charset="-127"/>
              </a:rPr>
              <a:t>Stream App</a:t>
            </a:r>
          </a:p>
          <a:p>
            <a:pPr algn="ctr"/>
            <a:endParaRPr lang="en-US" sz="800" b="1" dirty="0">
              <a:solidFill>
                <a:schemeClr val="bg1">
                  <a:lumMod val="50000"/>
                </a:schemeClr>
              </a:solidFill>
              <a:latin typeface="+mj-lt"/>
              <a:ea typeface="Nanum Pen Script" panose="03040600000000000000" pitchFamily="66" charset="-127"/>
            </a:endParaRPr>
          </a:p>
          <a:p>
            <a:pPr algn="ctr"/>
            <a:endParaRPr lang="en-US" sz="1400" dirty="0">
              <a:solidFill>
                <a:schemeClr val="tx1"/>
              </a:solidFill>
              <a:latin typeface="+mj-lt"/>
              <a:ea typeface="Nanum Pen Script" panose="03040600000000000000" pitchFamily="66" charset="-127"/>
            </a:endParaRPr>
          </a:p>
          <a:p>
            <a:pPr algn="ctr"/>
            <a:endParaRPr lang="en-US" sz="1400" dirty="0">
              <a:solidFill>
                <a:schemeClr val="tx1"/>
              </a:solidFill>
              <a:latin typeface="+mj-lt"/>
              <a:ea typeface="Nanum Pen Script" panose="03040600000000000000" pitchFamily="66" charset="-127"/>
            </a:endParaRPr>
          </a:p>
        </p:txBody>
      </p:sp>
      <p:sp>
        <p:nvSpPr>
          <p:cNvPr id="532" name="Rounded Rectangle 531">
            <a:extLst>
              <a:ext uri="{FF2B5EF4-FFF2-40B4-BE49-F238E27FC236}">
                <a16:creationId xmlns:a16="http://schemas.microsoft.com/office/drawing/2014/main" id="{1EEA7174-E58C-1340-946C-C2A9A767BC7D}"/>
              </a:ext>
            </a:extLst>
          </p:cNvPr>
          <p:cNvSpPr/>
          <p:nvPr/>
        </p:nvSpPr>
        <p:spPr>
          <a:xfrm>
            <a:off x="6747824" y="1203449"/>
            <a:ext cx="802889" cy="393866"/>
          </a:xfrm>
          <a:prstGeom prst="roundRect">
            <a:avLst/>
          </a:prstGeom>
          <a:solidFill>
            <a:schemeClr val="bg1">
              <a:lumMod val="85000"/>
            </a:schemeClr>
          </a:solidFill>
          <a:ln w="3175">
            <a:solidFill>
              <a:schemeClr val="bg1">
                <a:lumMod val="50000"/>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b="1" dirty="0">
              <a:solidFill>
                <a:schemeClr val="bg1">
                  <a:lumMod val="50000"/>
                </a:schemeClr>
              </a:solidFill>
              <a:latin typeface="+mj-lt"/>
              <a:ea typeface="Nanum Pen Script" panose="03040600000000000000" pitchFamily="66" charset="-127"/>
            </a:endParaRPr>
          </a:p>
          <a:p>
            <a:pPr algn="ctr"/>
            <a:endParaRPr lang="en-US" sz="700" b="1" dirty="0">
              <a:solidFill>
                <a:schemeClr val="bg1">
                  <a:lumMod val="50000"/>
                </a:schemeClr>
              </a:solidFill>
              <a:latin typeface="+mj-lt"/>
              <a:ea typeface="Nanum Pen Script" panose="03040600000000000000" pitchFamily="66" charset="-127"/>
            </a:endParaRPr>
          </a:p>
          <a:p>
            <a:pPr algn="ctr"/>
            <a:endParaRPr lang="en-US" sz="700" b="1" dirty="0">
              <a:solidFill>
                <a:schemeClr val="bg1">
                  <a:lumMod val="50000"/>
                </a:schemeClr>
              </a:solidFill>
              <a:latin typeface="+mj-lt"/>
              <a:ea typeface="Nanum Pen Script" panose="03040600000000000000" pitchFamily="66" charset="-127"/>
            </a:endParaRPr>
          </a:p>
          <a:p>
            <a:pPr algn="ctr"/>
            <a:endParaRPr lang="en-US" sz="700" b="1" dirty="0">
              <a:solidFill>
                <a:schemeClr val="bg1">
                  <a:lumMod val="50000"/>
                </a:schemeClr>
              </a:solidFill>
              <a:latin typeface="+mj-lt"/>
              <a:ea typeface="Nanum Pen Script" panose="03040600000000000000" pitchFamily="66" charset="-127"/>
            </a:endParaRPr>
          </a:p>
          <a:p>
            <a:pPr algn="ctr"/>
            <a:endParaRPr lang="en-US" sz="600" b="1" dirty="0">
              <a:solidFill>
                <a:schemeClr val="bg1">
                  <a:lumMod val="50000"/>
                </a:schemeClr>
              </a:solidFill>
              <a:latin typeface="+mj-lt"/>
              <a:ea typeface="Nanum Pen Script" panose="03040600000000000000" pitchFamily="66" charset="-127"/>
            </a:endParaRPr>
          </a:p>
          <a:p>
            <a:pPr algn="ctr"/>
            <a:r>
              <a:rPr lang="en-US" sz="800" b="1" dirty="0">
                <a:solidFill>
                  <a:schemeClr val="bg1">
                    <a:lumMod val="50000"/>
                  </a:schemeClr>
                </a:solidFill>
                <a:latin typeface="+mj-lt"/>
                <a:ea typeface="Nanum Pen Script" panose="03040600000000000000" pitchFamily="66" charset="-127"/>
              </a:rPr>
              <a:t>Stream App</a:t>
            </a:r>
          </a:p>
          <a:p>
            <a:pPr algn="ctr"/>
            <a:endParaRPr lang="en-US" sz="800" b="1" dirty="0">
              <a:solidFill>
                <a:schemeClr val="bg1">
                  <a:lumMod val="50000"/>
                </a:schemeClr>
              </a:solidFill>
              <a:latin typeface="+mj-lt"/>
              <a:ea typeface="Nanum Pen Script" panose="03040600000000000000" pitchFamily="66" charset="-127"/>
            </a:endParaRPr>
          </a:p>
          <a:p>
            <a:pPr algn="ctr"/>
            <a:endParaRPr lang="en-US" sz="1400" dirty="0">
              <a:solidFill>
                <a:schemeClr val="tx1"/>
              </a:solidFill>
              <a:latin typeface="+mj-lt"/>
              <a:ea typeface="Nanum Pen Script" panose="03040600000000000000" pitchFamily="66" charset="-127"/>
            </a:endParaRPr>
          </a:p>
          <a:p>
            <a:pPr algn="ctr"/>
            <a:endParaRPr lang="en-US" sz="1400" dirty="0">
              <a:solidFill>
                <a:schemeClr val="tx1"/>
              </a:solidFill>
              <a:latin typeface="+mj-lt"/>
              <a:ea typeface="Nanum Pen Script" panose="03040600000000000000" pitchFamily="66" charset="-127"/>
            </a:endParaRPr>
          </a:p>
        </p:txBody>
      </p:sp>
      <p:sp>
        <p:nvSpPr>
          <p:cNvPr id="533" name="Rounded Rectangle 532">
            <a:extLst>
              <a:ext uri="{FF2B5EF4-FFF2-40B4-BE49-F238E27FC236}">
                <a16:creationId xmlns:a16="http://schemas.microsoft.com/office/drawing/2014/main" id="{87165A29-0CC7-CB40-BA35-D185CFBDDB6E}"/>
              </a:ext>
            </a:extLst>
          </p:cNvPr>
          <p:cNvSpPr/>
          <p:nvPr/>
        </p:nvSpPr>
        <p:spPr>
          <a:xfrm>
            <a:off x="6691269" y="1277514"/>
            <a:ext cx="802889" cy="393866"/>
          </a:xfrm>
          <a:prstGeom prst="roundRect">
            <a:avLst/>
          </a:prstGeom>
          <a:solidFill>
            <a:schemeClr val="bg1">
              <a:lumMod val="85000"/>
            </a:schemeClr>
          </a:solidFill>
          <a:ln w="3175">
            <a:solidFill>
              <a:schemeClr val="bg1">
                <a:lumMod val="50000"/>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b="1" dirty="0">
              <a:solidFill>
                <a:schemeClr val="bg1">
                  <a:lumMod val="50000"/>
                </a:schemeClr>
              </a:solidFill>
              <a:latin typeface="+mj-lt"/>
              <a:ea typeface="Nanum Pen Script" panose="03040600000000000000" pitchFamily="66" charset="-127"/>
            </a:endParaRPr>
          </a:p>
          <a:p>
            <a:pPr algn="ctr"/>
            <a:endParaRPr lang="en-US" sz="700" b="1" dirty="0">
              <a:solidFill>
                <a:schemeClr val="bg1">
                  <a:lumMod val="50000"/>
                </a:schemeClr>
              </a:solidFill>
              <a:latin typeface="+mj-lt"/>
              <a:ea typeface="Nanum Pen Script" panose="03040600000000000000" pitchFamily="66" charset="-127"/>
            </a:endParaRPr>
          </a:p>
          <a:p>
            <a:pPr algn="ctr"/>
            <a:endParaRPr lang="en-US" sz="700" b="1" dirty="0">
              <a:solidFill>
                <a:schemeClr val="bg1">
                  <a:lumMod val="50000"/>
                </a:schemeClr>
              </a:solidFill>
              <a:latin typeface="+mj-lt"/>
              <a:ea typeface="Nanum Pen Script" panose="03040600000000000000" pitchFamily="66" charset="-127"/>
            </a:endParaRPr>
          </a:p>
          <a:p>
            <a:pPr algn="ctr"/>
            <a:endParaRPr lang="en-US" sz="700" b="1" dirty="0">
              <a:solidFill>
                <a:schemeClr val="bg1">
                  <a:lumMod val="50000"/>
                </a:schemeClr>
              </a:solidFill>
              <a:latin typeface="+mj-lt"/>
              <a:ea typeface="Nanum Pen Script" panose="03040600000000000000" pitchFamily="66" charset="-127"/>
            </a:endParaRPr>
          </a:p>
          <a:p>
            <a:pPr algn="ctr"/>
            <a:endParaRPr lang="en-US" sz="600" b="1" dirty="0">
              <a:solidFill>
                <a:schemeClr val="bg1">
                  <a:lumMod val="50000"/>
                </a:schemeClr>
              </a:solidFill>
              <a:latin typeface="+mj-lt"/>
              <a:ea typeface="Nanum Pen Script" panose="03040600000000000000" pitchFamily="66" charset="-127"/>
            </a:endParaRPr>
          </a:p>
          <a:p>
            <a:pPr algn="ctr"/>
            <a:r>
              <a:rPr lang="en-US" sz="800" b="1" dirty="0">
                <a:solidFill>
                  <a:schemeClr val="bg1">
                    <a:lumMod val="50000"/>
                  </a:schemeClr>
                </a:solidFill>
                <a:latin typeface="+mj-lt"/>
                <a:ea typeface="Nanum Pen Script" panose="03040600000000000000" pitchFamily="66" charset="-127"/>
              </a:rPr>
              <a:t>Stream App</a:t>
            </a:r>
          </a:p>
          <a:p>
            <a:pPr algn="ctr"/>
            <a:endParaRPr lang="en-US" sz="800" b="1" dirty="0">
              <a:solidFill>
                <a:schemeClr val="bg1">
                  <a:lumMod val="50000"/>
                </a:schemeClr>
              </a:solidFill>
              <a:latin typeface="+mj-lt"/>
              <a:ea typeface="Nanum Pen Script" panose="03040600000000000000" pitchFamily="66" charset="-127"/>
            </a:endParaRPr>
          </a:p>
          <a:p>
            <a:pPr algn="ctr"/>
            <a:endParaRPr lang="en-US" sz="1400" dirty="0">
              <a:solidFill>
                <a:schemeClr val="tx1"/>
              </a:solidFill>
              <a:latin typeface="+mj-lt"/>
              <a:ea typeface="Nanum Pen Script" panose="03040600000000000000" pitchFamily="66" charset="-127"/>
            </a:endParaRPr>
          </a:p>
          <a:p>
            <a:pPr algn="ctr"/>
            <a:endParaRPr lang="en-US" sz="1400" dirty="0">
              <a:solidFill>
                <a:schemeClr val="tx1"/>
              </a:solidFill>
              <a:latin typeface="+mj-lt"/>
              <a:ea typeface="Nanum Pen Script" panose="03040600000000000000" pitchFamily="66" charset="-127"/>
            </a:endParaRPr>
          </a:p>
        </p:txBody>
      </p:sp>
      <p:cxnSp>
        <p:nvCxnSpPr>
          <p:cNvPr id="534" name="Elbow Connector 533">
            <a:extLst>
              <a:ext uri="{FF2B5EF4-FFF2-40B4-BE49-F238E27FC236}">
                <a16:creationId xmlns:a16="http://schemas.microsoft.com/office/drawing/2014/main" id="{4D9E84AE-3931-6245-BE8D-CBE386381904}"/>
              </a:ext>
            </a:extLst>
          </p:cNvPr>
          <p:cNvCxnSpPr>
            <a:cxnSpLocks/>
            <a:endCxn id="533" idx="2"/>
          </p:cNvCxnSpPr>
          <p:nvPr/>
        </p:nvCxnSpPr>
        <p:spPr>
          <a:xfrm rot="5400000" flipH="1" flipV="1">
            <a:off x="6925983" y="1838110"/>
            <a:ext cx="333460" cy="1"/>
          </a:xfrm>
          <a:prstGeom prst="bentConnector3">
            <a:avLst>
              <a:gd name="adj1" fmla="val 50000"/>
            </a:avLst>
          </a:prstGeom>
          <a:ln>
            <a:solidFill>
              <a:schemeClr val="bg1">
                <a:lumMod val="50000"/>
              </a:schemeClr>
            </a:solidFill>
            <a:headEnd type="oval"/>
            <a:tailEnd type="triangle"/>
          </a:ln>
        </p:spPr>
        <p:style>
          <a:lnRef idx="1">
            <a:schemeClr val="accent1"/>
          </a:lnRef>
          <a:fillRef idx="0">
            <a:schemeClr val="accent1"/>
          </a:fillRef>
          <a:effectRef idx="0">
            <a:schemeClr val="accent1"/>
          </a:effectRef>
          <a:fontRef idx="minor">
            <a:schemeClr val="tx1"/>
          </a:fontRef>
        </p:style>
      </p:cxnSp>
      <p:cxnSp>
        <p:nvCxnSpPr>
          <p:cNvPr id="538" name="Elbow Connector 537">
            <a:extLst>
              <a:ext uri="{FF2B5EF4-FFF2-40B4-BE49-F238E27FC236}">
                <a16:creationId xmlns:a16="http://schemas.microsoft.com/office/drawing/2014/main" id="{B4D98447-661F-D94A-8172-D8AF1675640D}"/>
              </a:ext>
            </a:extLst>
          </p:cNvPr>
          <p:cNvCxnSpPr>
            <a:cxnSpLocks/>
          </p:cNvCxnSpPr>
          <p:nvPr/>
        </p:nvCxnSpPr>
        <p:spPr>
          <a:xfrm rot="16200000" flipH="1">
            <a:off x="7049529" y="1863508"/>
            <a:ext cx="384260" cy="2"/>
          </a:xfrm>
          <a:prstGeom prst="bentConnector3">
            <a:avLst>
              <a:gd name="adj1" fmla="val 50000"/>
            </a:avLst>
          </a:prstGeom>
          <a:ln>
            <a:solidFill>
              <a:schemeClr val="bg1">
                <a:lumMod val="50000"/>
              </a:schemeClr>
            </a:solidFill>
            <a:headEnd type="oval"/>
            <a:tailEnd type="triangle"/>
          </a:ln>
        </p:spPr>
        <p:style>
          <a:lnRef idx="1">
            <a:schemeClr val="accent1"/>
          </a:lnRef>
          <a:fillRef idx="0">
            <a:schemeClr val="accent1"/>
          </a:fillRef>
          <a:effectRef idx="0">
            <a:schemeClr val="accent1"/>
          </a:effectRef>
          <a:fontRef idx="minor">
            <a:schemeClr val="tx1"/>
          </a:fontRef>
        </p:style>
      </p:cxnSp>
      <p:grpSp>
        <p:nvGrpSpPr>
          <p:cNvPr id="541" name="Group 540">
            <a:extLst>
              <a:ext uri="{FF2B5EF4-FFF2-40B4-BE49-F238E27FC236}">
                <a16:creationId xmlns:a16="http://schemas.microsoft.com/office/drawing/2014/main" id="{8F6D40AC-C3E1-844E-8A6C-D69E0CBC18E4}"/>
              </a:ext>
            </a:extLst>
          </p:cNvPr>
          <p:cNvGrpSpPr/>
          <p:nvPr/>
        </p:nvGrpSpPr>
        <p:grpSpPr>
          <a:xfrm>
            <a:off x="3188055" y="1886219"/>
            <a:ext cx="229951" cy="200055"/>
            <a:chOff x="8676898" y="4619460"/>
            <a:chExt cx="229951" cy="200055"/>
          </a:xfrm>
        </p:grpSpPr>
        <p:sp>
          <p:nvSpPr>
            <p:cNvPr id="542" name="Google Shape;431;p39">
              <a:extLst>
                <a:ext uri="{FF2B5EF4-FFF2-40B4-BE49-F238E27FC236}">
                  <a16:creationId xmlns:a16="http://schemas.microsoft.com/office/drawing/2014/main" id="{04935D61-260A-3B4A-A486-3884C3164438}"/>
                </a:ext>
              </a:extLst>
            </p:cNvPr>
            <p:cNvSpPr/>
            <p:nvPr/>
          </p:nvSpPr>
          <p:spPr>
            <a:xfrm>
              <a:off x="8709950" y="4635551"/>
              <a:ext cx="179407" cy="167874"/>
            </a:xfrm>
            <a:custGeom>
              <a:avLst/>
              <a:gdLst/>
              <a:ahLst/>
              <a:cxnLst/>
              <a:rect l="0" t="0" r="0" b="0"/>
              <a:pathLst>
                <a:path w="67641" h="69056" extrusionOk="0">
                  <a:moveTo>
                    <a:pt x="49622" y="2736"/>
                  </a:moveTo>
                  <a:lnTo>
                    <a:pt x="49622" y="2736"/>
                  </a:lnTo>
                  <a:lnTo>
                    <a:pt x="49622" y="2736"/>
                  </a:lnTo>
                  <a:close/>
                  <a:moveTo>
                    <a:pt x="59622" y="55565"/>
                  </a:moveTo>
                  <a:lnTo>
                    <a:pt x="59622" y="55565"/>
                  </a:lnTo>
                  <a:lnTo>
                    <a:pt x="59622" y="55565"/>
                  </a:lnTo>
                  <a:close/>
                  <a:moveTo>
                    <a:pt x="35471" y="0"/>
                  </a:moveTo>
                  <a:lnTo>
                    <a:pt x="34433" y="95"/>
                  </a:lnTo>
                  <a:lnTo>
                    <a:pt x="33584" y="189"/>
                  </a:lnTo>
                  <a:lnTo>
                    <a:pt x="32735" y="378"/>
                  </a:lnTo>
                  <a:lnTo>
                    <a:pt x="32169" y="566"/>
                  </a:lnTo>
                  <a:lnTo>
                    <a:pt x="31509" y="472"/>
                  </a:lnTo>
                  <a:lnTo>
                    <a:pt x="30754" y="472"/>
                  </a:lnTo>
                  <a:lnTo>
                    <a:pt x="29339" y="566"/>
                  </a:lnTo>
                  <a:lnTo>
                    <a:pt x="27830" y="849"/>
                  </a:lnTo>
                  <a:lnTo>
                    <a:pt x="26320" y="1321"/>
                  </a:lnTo>
                  <a:lnTo>
                    <a:pt x="24811" y="1981"/>
                  </a:lnTo>
                  <a:lnTo>
                    <a:pt x="23207" y="2736"/>
                  </a:lnTo>
                  <a:lnTo>
                    <a:pt x="21698" y="3585"/>
                  </a:lnTo>
                  <a:lnTo>
                    <a:pt x="20188" y="4623"/>
                  </a:lnTo>
                  <a:lnTo>
                    <a:pt x="18679" y="5661"/>
                  </a:lnTo>
                  <a:lnTo>
                    <a:pt x="17170" y="6793"/>
                  </a:lnTo>
                  <a:lnTo>
                    <a:pt x="15754" y="8019"/>
                  </a:lnTo>
                  <a:lnTo>
                    <a:pt x="14434" y="9151"/>
                  </a:lnTo>
                  <a:lnTo>
                    <a:pt x="11981" y="11510"/>
                  </a:lnTo>
                  <a:lnTo>
                    <a:pt x="10000" y="13774"/>
                  </a:lnTo>
                  <a:lnTo>
                    <a:pt x="7736" y="16981"/>
                  </a:lnTo>
                  <a:lnTo>
                    <a:pt x="8019" y="16321"/>
                  </a:lnTo>
                  <a:lnTo>
                    <a:pt x="8302" y="15660"/>
                  </a:lnTo>
                  <a:lnTo>
                    <a:pt x="7736" y="16604"/>
                  </a:lnTo>
                  <a:lnTo>
                    <a:pt x="7075" y="17642"/>
                  </a:lnTo>
                  <a:lnTo>
                    <a:pt x="7170" y="17830"/>
                  </a:lnTo>
                  <a:lnTo>
                    <a:pt x="6509" y="18868"/>
                  </a:lnTo>
                  <a:lnTo>
                    <a:pt x="7075" y="17359"/>
                  </a:lnTo>
                  <a:lnTo>
                    <a:pt x="6132" y="19057"/>
                  </a:lnTo>
                  <a:lnTo>
                    <a:pt x="5189" y="20849"/>
                  </a:lnTo>
                  <a:lnTo>
                    <a:pt x="4434" y="22736"/>
                  </a:lnTo>
                  <a:lnTo>
                    <a:pt x="3679" y="24622"/>
                  </a:lnTo>
                  <a:lnTo>
                    <a:pt x="2453" y="28490"/>
                  </a:lnTo>
                  <a:lnTo>
                    <a:pt x="1321" y="32169"/>
                  </a:lnTo>
                  <a:lnTo>
                    <a:pt x="1509" y="32264"/>
                  </a:lnTo>
                  <a:lnTo>
                    <a:pt x="1604" y="32453"/>
                  </a:lnTo>
                  <a:lnTo>
                    <a:pt x="1604" y="32641"/>
                  </a:lnTo>
                  <a:lnTo>
                    <a:pt x="1509" y="32924"/>
                  </a:lnTo>
                  <a:lnTo>
                    <a:pt x="1226" y="33396"/>
                  </a:lnTo>
                  <a:lnTo>
                    <a:pt x="1038" y="33585"/>
                  </a:lnTo>
                  <a:lnTo>
                    <a:pt x="1038" y="33773"/>
                  </a:lnTo>
                  <a:lnTo>
                    <a:pt x="1038" y="35000"/>
                  </a:lnTo>
                  <a:lnTo>
                    <a:pt x="849" y="36132"/>
                  </a:lnTo>
                  <a:lnTo>
                    <a:pt x="660" y="37358"/>
                  </a:lnTo>
                  <a:lnTo>
                    <a:pt x="472" y="38867"/>
                  </a:lnTo>
                  <a:lnTo>
                    <a:pt x="283" y="38301"/>
                  </a:lnTo>
                  <a:lnTo>
                    <a:pt x="94" y="39811"/>
                  </a:lnTo>
                  <a:lnTo>
                    <a:pt x="0" y="41509"/>
                  </a:lnTo>
                  <a:lnTo>
                    <a:pt x="94" y="43301"/>
                  </a:lnTo>
                  <a:lnTo>
                    <a:pt x="283" y="44056"/>
                  </a:lnTo>
                  <a:lnTo>
                    <a:pt x="472" y="44622"/>
                  </a:lnTo>
                  <a:lnTo>
                    <a:pt x="566" y="45660"/>
                  </a:lnTo>
                  <a:lnTo>
                    <a:pt x="755" y="46792"/>
                  </a:lnTo>
                  <a:lnTo>
                    <a:pt x="1226" y="48962"/>
                  </a:lnTo>
                  <a:lnTo>
                    <a:pt x="1981" y="51037"/>
                  </a:lnTo>
                  <a:lnTo>
                    <a:pt x="2924" y="53112"/>
                  </a:lnTo>
                  <a:lnTo>
                    <a:pt x="4057" y="55094"/>
                  </a:lnTo>
                  <a:lnTo>
                    <a:pt x="5283" y="56980"/>
                  </a:lnTo>
                  <a:lnTo>
                    <a:pt x="6698" y="58678"/>
                  </a:lnTo>
                  <a:lnTo>
                    <a:pt x="8113" y="60282"/>
                  </a:lnTo>
                  <a:lnTo>
                    <a:pt x="9056" y="61131"/>
                  </a:lnTo>
                  <a:lnTo>
                    <a:pt x="10000" y="61980"/>
                  </a:lnTo>
                  <a:lnTo>
                    <a:pt x="11038" y="62829"/>
                  </a:lnTo>
                  <a:lnTo>
                    <a:pt x="12075" y="63584"/>
                  </a:lnTo>
                  <a:lnTo>
                    <a:pt x="14339" y="64905"/>
                  </a:lnTo>
                  <a:lnTo>
                    <a:pt x="16604" y="66131"/>
                  </a:lnTo>
                  <a:lnTo>
                    <a:pt x="19056" y="67169"/>
                  </a:lnTo>
                  <a:lnTo>
                    <a:pt x="21509" y="67923"/>
                  </a:lnTo>
                  <a:lnTo>
                    <a:pt x="24056" y="68584"/>
                  </a:lnTo>
                  <a:lnTo>
                    <a:pt x="26603" y="69055"/>
                  </a:lnTo>
                  <a:lnTo>
                    <a:pt x="27830" y="69055"/>
                  </a:lnTo>
                  <a:lnTo>
                    <a:pt x="30188" y="68867"/>
                  </a:lnTo>
                  <a:lnTo>
                    <a:pt x="33113" y="68678"/>
                  </a:lnTo>
                  <a:lnTo>
                    <a:pt x="36509" y="68301"/>
                  </a:lnTo>
                  <a:lnTo>
                    <a:pt x="39811" y="67923"/>
                  </a:lnTo>
                  <a:lnTo>
                    <a:pt x="42735" y="67452"/>
                  </a:lnTo>
                  <a:lnTo>
                    <a:pt x="44905" y="66980"/>
                  </a:lnTo>
                  <a:lnTo>
                    <a:pt x="45565" y="66791"/>
                  </a:lnTo>
                  <a:lnTo>
                    <a:pt x="45943" y="66508"/>
                  </a:lnTo>
                  <a:lnTo>
                    <a:pt x="47358" y="65942"/>
                  </a:lnTo>
                  <a:lnTo>
                    <a:pt x="48018" y="65565"/>
                  </a:lnTo>
                  <a:lnTo>
                    <a:pt x="48678" y="65188"/>
                  </a:lnTo>
                  <a:lnTo>
                    <a:pt x="47924" y="65471"/>
                  </a:lnTo>
                  <a:lnTo>
                    <a:pt x="51509" y="62924"/>
                  </a:lnTo>
                  <a:lnTo>
                    <a:pt x="53301" y="61508"/>
                  </a:lnTo>
                  <a:lnTo>
                    <a:pt x="55093" y="59905"/>
                  </a:lnTo>
                  <a:lnTo>
                    <a:pt x="55093" y="59905"/>
                  </a:lnTo>
                  <a:lnTo>
                    <a:pt x="54810" y="60376"/>
                  </a:lnTo>
                  <a:lnTo>
                    <a:pt x="54339" y="60754"/>
                  </a:lnTo>
                  <a:lnTo>
                    <a:pt x="55376" y="59999"/>
                  </a:lnTo>
                  <a:lnTo>
                    <a:pt x="56320" y="59056"/>
                  </a:lnTo>
                  <a:lnTo>
                    <a:pt x="57075" y="58395"/>
                  </a:lnTo>
                  <a:lnTo>
                    <a:pt x="57169" y="58207"/>
                  </a:lnTo>
                  <a:lnTo>
                    <a:pt x="57075" y="58207"/>
                  </a:lnTo>
                  <a:lnTo>
                    <a:pt x="57924" y="57546"/>
                  </a:lnTo>
                  <a:lnTo>
                    <a:pt x="58678" y="56697"/>
                  </a:lnTo>
                  <a:lnTo>
                    <a:pt x="59339" y="55754"/>
                  </a:lnTo>
                  <a:lnTo>
                    <a:pt x="59905" y="54905"/>
                  </a:lnTo>
                  <a:lnTo>
                    <a:pt x="59716" y="54999"/>
                  </a:lnTo>
                  <a:lnTo>
                    <a:pt x="59622" y="54999"/>
                  </a:lnTo>
                  <a:lnTo>
                    <a:pt x="59810" y="54622"/>
                  </a:lnTo>
                  <a:lnTo>
                    <a:pt x="59150" y="55565"/>
                  </a:lnTo>
                  <a:lnTo>
                    <a:pt x="59527" y="55094"/>
                  </a:lnTo>
                  <a:lnTo>
                    <a:pt x="59433" y="55377"/>
                  </a:lnTo>
                  <a:lnTo>
                    <a:pt x="58867" y="56037"/>
                  </a:lnTo>
                  <a:lnTo>
                    <a:pt x="59056" y="55660"/>
                  </a:lnTo>
                  <a:lnTo>
                    <a:pt x="59056" y="55660"/>
                  </a:lnTo>
                  <a:lnTo>
                    <a:pt x="58678" y="56037"/>
                  </a:lnTo>
                  <a:lnTo>
                    <a:pt x="59810" y="54339"/>
                  </a:lnTo>
                  <a:lnTo>
                    <a:pt x="60282" y="53490"/>
                  </a:lnTo>
                  <a:lnTo>
                    <a:pt x="60282" y="53301"/>
                  </a:lnTo>
                  <a:lnTo>
                    <a:pt x="60188" y="53395"/>
                  </a:lnTo>
                  <a:lnTo>
                    <a:pt x="60188" y="53395"/>
                  </a:lnTo>
                  <a:lnTo>
                    <a:pt x="60565" y="52924"/>
                  </a:lnTo>
                  <a:lnTo>
                    <a:pt x="61037" y="52452"/>
                  </a:lnTo>
                  <a:lnTo>
                    <a:pt x="61886" y="51509"/>
                  </a:lnTo>
                  <a:lnTo>
                    <a:pt x="61508" y="52452"/>
                  </a:lnTo>
                  <a:lnTo>
                    <a:pt x="60848" y="53584"/>
                  </a:lnTo>
                  <a:lnTo>
                    <a:pt x="59622" y="55565"/>
                  </a:lnTo>
                  <a:lnTo>
                    <a:pt x="60376" y="54528"/>
                  </a:lnTo>
                  <a:lnTo>
                    <a:pt x="60942" y="53678"/>
                  </a:lnTo>
                  <a:lnTo>
                    <a:pt x="61980" y="51792"/>
                  </a:lnTo>
                  <a:lnTo>
                    <a:pt x="61886" y="51886"/>
                  </a:lnTo>
                  <a:lnTo>
                    <a:pt x="61886" y="51697"/>
                  </a:lnTo>
                  <a:lnTo>
                    <a:pt x="62169" y="51037"/>
                  </a:lnTo>
                  <a:lnTo>
                    <a:pt x="62735" y="49999"/>
                  </a:lnTo>
                  <a:lnTo>
                    <a:pt x="61508" y="51603"/>
                  </a:lnTo>
                  <a:lnTo>
                    <a:pt x="61603" y="51037"/>
                  </a:lnTo>
                  <a:lnTo>
                    <a:pt x="61697" y="50377"/>
                  </a:lnTo>
                  <a:lnTo>
                    <a:pt x="62169" y="48962"/>
                  </a:lnTo>
                  <a:lnTo>
                    <a:pt x="62829" y="47358"/>
                  </a:lnTo>
                  <a:lnTo>
                    <a:pt x="63678" y="45565"/>
                  </a:lnTo>
                  <a:lnTo>
                    <a:pt x="65376" y="42169"/>
                  </a:lnTo>
                  <a:lnTo>
                    <a:pt x="66131" y="40660"/>
                  </a:lnTo>
                  <a:lnTo>
                    <a:pt x="66697" y="39339"/>
                  </a:lnTo>
                  <a:lnTo>
                    <a:pt x="66603" y="39528"/>
                  </a:lnTo>
                  <a:lnTo>
                    <a:pt x="66697" y="39056"/>
                  </a:lnTo>
                  <a:lnTo>
                    <a:pt x="66791" y="38962"/>
                  </a:lnTo>
                  <a:lnTo>
                    <a:pt x="66791" y="39056"/>
                  </a:lnTo>
                  <a:lnTo>
                    <a:pt x="66886" y="38584"/>
                  </a:lnTo>
                  <a:lnTo>
                    <a:pt x="66791" y="38867"/>
                  </a:lnTo>
                  <a:lnTo>
                    <a:pt x="66980" y="38207"/>
                  </a:lnTo>
                  <a:lnTo>
                    <a:pt x="67169" y="37264"/>
                  </a:lnTo>
                  <a:lnTo>
                    <a:pt x="67263" y="36415"/>
                  </a:lnTo>
                  <a:lnTo>
                    <a:pt x="67357" y="36509"/>
                  </a:lnTo>
                  <a:lnTo>
                    <a:pt x="67452" y="36509"/>
                  </a:lnTo>
                  <a:lnTo>
                    <a:pt x="67546" y="35943"/>
                  </a:lnTo>
                  <a:lnTo>
                    <a:pt x="67546" y="34811"/>
                  </a:lnTo>
                  <a:lnTo>
                    <a:pt x="67640" y="31037"/>
                  </a:lnTo>
                  <a:lnTo>
                    <a:pt x="67640" y="28490"/>
                  </a:lnTo>
                  <a:lnTo>
                    <a:pt x="67546" y="27736"/>
                  </a:lnTo>
                  <a:lnTo>
                    <a:pt x="67546" y="27547"/>
                  </a:lnTo>
                  <a:lnTo>
                    <a:pt x="67452" y="27547"/>
                  </a:lnTo>
                  <a:lnTo>
                    <a:pt x="67074" y="26792"/>
                  </a:lnTo>
                  <a:lnTo>
                    <a:pt x="66791" y="25660"/>
                  </a:lnTo>
                  <a:lnTo>
                    <a:pt x="66508" y="24528"/>
                  </a:lnTo>
                  <a:lnTo>
                    <a:pt x="66414" y="23585"/>
                  </a:lnTo>
                  <a:lnTo>
                    <a:pt x="66320" y="23679"/>
                  </a:lnTo>
                  <a:lnTo>
                    <a:pt x="66320" y="23490"/>
                  </a:lnTo>
                  <a:lnTo>
                    <a:pt x="65942" y="22924"/>
                  </a:lnTo>
                  <a:lnTo>
                    <a:pt x="65565" y="22358"/>
                  </a:lnTo>
                  <a:lnTo>
                    <a:pt x="64527" y="21132"/>
                  </a:lnTo>
                  <a:lnTo>
                    <a:pt x="63584" y="19906"/>
                  </a:lnTo>
                  <a:lnTo>
                    <a:pt x="63207" y="19340"/>
                  </a:lnTo>
                  <a:lnTo>
                    <a:pt x="63018" y="18774"/>
                  </a:lnTo>
                  <a:lnTo>
                    <a:pt x="63112" y="18962"/>
                  </a:lnTo>
                  <a:lnTo>
                    <a:pt x="63301" y="19057"/>
                  </a:lnTo>
                  <a:lnTo>
                    <a:pt x="63301" y="19057"/>
                  </a:lnTo>
                  <a:lnTo>
                    <a:pt x="63207" y="18868"/>
                  </a:lnTo>
                  <a:lnTo>
                    <a:pt x="62923" y="18491"/>
                  </a:lnTo>
                  <a:lnTo>
                    <a:pt x="61980" y="17453"/>
                  </a:lnTo>
                  <a:lnTo>
                    <a:pt x="61037" y="16509"/>
                  </a:lnTo>
                  <a:lnTo>
                    <a:pt x="61037" y="16698"/>
                  </a:lnTo>
                  <a:lnTo>
                    <a:pt x="61037" y="16887"/>
                  </a:lnTo>
                  <a:lnTo>
                    <a:pt x="60093" y="15943"/>
                  </a:lnTo>
                  <a:lnTo>
                    <a:pt x="60376" y="16321"/>
                  </a:lnTo>
                  <a:lnTo>
                    <a:pt x="59527" y="15377"/>
                  </a:lnTo>
                  <a:lnTo>
                    <a:pt x="59056" y="14906"/>
                  </a:lnTo>
                  <a:lnTo>
                    <a:pt x="59244" y="14906"/>
                  </a:lnTo>
                  <a:lnTo>
                    <a:pt x="59905" y="15472"/>
                  </a:lnTo>
                  <a:lnTo>
                    <a:pt x="59905" y="15472"/>
                  </a:lnTo>
                  <a:lnTo>
                    <a:pt x="57641" y="13396"/>
                  </a:lnTo>
                  <a:lnTo>
                    <a:pt x="58112" y="13868"/>
                  </a:lnTo>
                  <a:lnTo>
                    <a:pt x="56886" y="13019"/>
                  </a:lnTo>
                  <a:lnTo>
                    <a:pt x="55754" y="12453"/>
                  </a:lnTo>
                  <a:lnTo>
                    <a:pt x="56603" y="13113"/>
                  </a:lnTo>
                  <a:lnTo>
                    <a:pt x="57452" y="13774"/>
                  </a:lnTo>
                  <a:lnTo>
                    <a:pt x="58961" y="15283"/>
                  </a:lnTo>
                  <a:lnTo>
                    <a:pt x="60376" y="16604"/>
                  </a:lnTo>
                  <a:lnTo>
                    <a:pt x="61225" y="17264"/>
                  </a:lnTo>
                  <a:lnTo>
                    <a:pt x="62074" y="17925"/>
                  </a:lnTo>
                  <a:lnTo>
                    <a:pt x="62074" y="17925"/>
                  </a:lnTo>
                  <a:lnTo>
                    <a:pt x="61414" y="17547"/>
                  </a:lnTo>
                  <a:lnTo>
                    <a:pt x="60659" y="16981"/>
                  </a:lnTo>
                  <a:lnTo>
                    <a:pt x="60754" y="17264"/>
                  </a:lnTo>
                  <a:lnTo>
                    <a:pt x="60942" y="17642"/>
                  </a:lnTo>
                  <a:lnTo>
                    <a:pt x="61980" y="19151"/>
                  </a:lnTo>
                  <a:lnTo>
                    <a:pt x="63301" y="20943"/>
                  </a:lnTo>
                  <a:lnTo>
                    <a:pt x="63207" y="20943"/>
                  </a:lnTo>
                  <a:lnTo>
                    <a:pt x="63395" y="21038"/>
                  </a:lnTo>
                  <a:lnTo>
                    <a:pt x="63490" y="21321"/>
                  </a:lnTo>
                  <a:lnTo>
                    <a:pt x="63678" y="21604"/>
                  </a:lnTo>
                  <a:lnTo>
                    <a:pt x="63773" y="21698"/>
                  </a:lnTo>
                  <a:lnTo>
                    <a:pt x="63584" y="21321"/>
                  </a:lnTo>
                  <a:lnTo>
                    <a:pt x="63584" y="21321"/>
                  </a:lnTo>
                  <a:lnTo>
                    <a:pt x="64244" y="22170"/>
                  </a:lnTo>
                  <a:lnTo>
                    <a:pt x="64716" y="22641"/>
                  </a:lnTo>
                  <a:lnTo>
                    <a:pt x="64905" y="22830"/>
                  </a:lnTo>
                  <a:lnTo>
                    <a:pt x="64999" y="22830"/>
                  </a:lnTo>
                  <a:lnTo>
                    <a:pt x="64999" y="22641"/>
                  </a:lnTo>
                  <a:lnTo>
                    <a:pt x="64905" y="22358"/>
                  </a:lnTo>
                  <a:lnTo>
                    <a:pt x="65282" y="23207"/>
                  </a:lnTo>
                  <a:lnTo>
                    <a:pt x="65565" y="24056"/>
                  </a:lnTo>
                  <a:lnTo>
                    <a:pt x="66225" y="25943"/>
                  </a:lnTo>
                  <a:lnTo>
                    <a:pt x="66697" y="27830"/>
                  </a:lnTo>
                  <a:lnTo>
                    <a:pt x="66886" y="28490"/>
                  </a:lnTo>
                  <a:lnTo>
                    <a:pt x="66980" y="28868"/>
                  </a:lnTo>
                  <a:lnTo>
                    <a:pt x="66886" y="28962"/>
                  </a:lnTo>
                  <a:lnTo>
                    <a:pt x="66697" y="28679"/>
                  </a:lnTo>
                  <a:lnTo>
                    <a:pt x="66697" y="29245"/>
                  </a:lnTo>
                  <a:lnTo>
                    <a:pt x="66791" y="29905"/>
                  </a:lnTo>
                  <a:lnTo>
                    <a:pt x="66886" y="29905"/>
                  </a:lnTo>
                  <a:lnTo>
                    <a:pt x="66886" y="30094"/>
                  </a:lnTo>
                  <a:lnTo>
                    <a:pt x="66886" y="30566"/>
                  </a:lnTo>
                  <a:lnTo>
                    <a:pt x="66697" y="30377"/>
                  </a:lnTo>
                  <a:lnTo>
                    <a:pt x="66603" y="30188"/>
                  </a:lnTo>
                  <a:lnTo>
                    <a:pt x="66603" y="30094"/>
                  </a:lnTo>
                  <a:lnTo>
                    <a:pt x="66697" y="29905"/>
                  </a:lnTo>
                  <a:lnTo>
                    <a:pt x="66508" y="28679"/>
                  </a:lnTo>
                  <a:lnTo>
                    <a:pt x="66225" y="27358"/>
                  </a:lnTo>
                  <a:lnTo>
                    <a:pt x="66603" y="30283"/>
                  </a:lnTo>
                  <a:lnTo>
                    <a:pt x="66697" y="31792"/>
                  </a:lnTo>
                  <a:lnTo>
                    <a:pt x="66697" y="33302"/>
                  </a:lnTo>
                  <a:lnTo>
                    <a:pt x="66603" y="34717"/>
                  </a:lnTo>
                  <a:lnTo>
                    <a:pt x="66414" y="36226"/>
                  </a:lnTo>
                  <a:lnTo>
                    <a:pt x="66131" y="37547"/>
                  </a:lnTo>
                  <a:lnTo>
                    <a:pt x="65659" y="38962"/>
                  </a:lnTo>
                  <a:lnTo>
                    <a:pt x="65848" y="38584"/>
                  </a:lnTo>
                  <a:lnTo>
                    <a:pt x="65942" y="38584"/>
                  </a:lnTo>
                  <a:lnTo>
                    <a:pt x="65848" y="39245"/>
                  </a:lnTo>
                  <a:lnTo>
                    <a:pt x="65565" y="40188"/>
                  </a:lnTo>
                  <a:lnTo>
                    <a:pt x="65471" y="40471"/>
                  </a:lnTo>
                  <a:lnTo>
                    <a:pt x="65282" y="40660"/>
                  </a:lnTo>
                  <a:lnTo>
                    <a:pt x="65282" y="40566"/>
                  </a:lnTo>
                  <a:lnTo>
                    <a:pt x="65093" y="41132"/>
                  </a:lnTo>
                  <a:lnTo>
                    <a:pt x="64433" y="43018"/>
                  </a:lnTo>
                  <a:lnTo>
                    <a:pt x="63678" y="45282"/>
                  </a:lnTo>
                  <a:lnTo>
                    <a:pt x="62735" y="47264"/>
                  </a:lnTo>
                  <a:lnTo>
                    <a:pt x="61697" y="49056"/>
                  </a:lnTo>
                  <a:lnTo>
                    <a:pt x="60659" y="50943"/>
                  </a:lnTo>
                  <a:lnTo>
                    <a:pt x="59433" y="52735"/>
                  </a:lnTo>
                  <a:lnTo>
                    <a:pt x="58207" y="54433"/>
                  </a:lnTo>
                  <a:lnTo>
                    <a:pt x="56886" y="56037"/>
                  </a:lnTo>
                  <a:lnTo>
                    <a:pt x="55376" y="57641"/>
                  </a:lnTo>
                  <a:lnTo>
                    <a:pt x="53867" y="59150"/>
                  </a:lnTo>
                  <a:lnTo>
                    <a:pt x="52169" y="60376"/>
                  </a:lnTo>
                  <a:lnTo>
                    <a:pt x="48961" y="62452"/>
                  </a:lnTo>
                  <a:lnTo>
                    <a:pt x="44528" y="65282"/>
                  </a:lnTo>
                  <a:lnTo>
                    <a:pt x="44622" y="65188"/>
                  </a:lnTo>
                  <a:lnTo>
                    <a:pt x="44716" y="65093"/>
                  </a:lnTo>
                  <a:lnTo>
                    <a:pt x="45094" y="64810"/>
                  </a:lnTo>
                  <a:lnTo>
                    <a:pt x="45660" y="64527"/>
                  </a:lnTo>
                  <a:lnTo>
                    <a:pt x="43867" y="65376"/>
                  </a:lnTo>
                  <a:lnTo>
                    <a:pt x="43113" y="65754"/>
                  </a:lnTo>
                  <a:lnTo>
                    <a:pt x="42924" y="65754"/>
                  </a:lnTo>
                  <a:lnTo>
                    <a:pt x="43113" y="65659"/>
                  </a:lnTo>
                  <a:lnTo>
                    <a:pt x="41603" y="66037"/>
                  </a:lnTo>
                  <a:lnTo>
                    <a:pt x="39999" y="66320"/>
                  </a:lnTo>
                  <a:lnTo>
                    <a:pt x="38396" y="66508"/>
                  </a:lnTo>
                  <a:lnTo>
                    <a:pt x="36792" y="66697"/>
                  </a:lnTo>
                  <a:lnTo>
                    <a:pt x="33584" y="66980"/>
                  </a:lnTo>
                  <a:lnTo>
                    <a:pt x="32169" y="67169"/>
                  </a:lnTo>
                  <a:lnTo>
                    <a:pt x="30754" y="67357"/>
                  </a:lnTo>
                  <a:lnTo>
                    <a:pt x="30094" y="67357"/>
                  </a:lnTo>
                  <a:lnTo>
                    <a:pt x="29339" y="67263"/>
                  </a:lnTo>
                  <a:lnTo>
                    <a:pt x="27830" y="66886"/>
                  </a:lnTo>
                  <a:lnTo>
                    <a:pt x="26415" y="66508"/>
                  </a:lnTo>
                  <a:lnTo>
                    <a:pt x="25754" y="66414"/>
                  </a:lnTo>
                  <a:lnTo>
                    <a:pt x="25094" y="66414"/>
                  </a:lnTo>
                  <a:lnTo>
                    <a:pt x="25566" y="66980"/>
                  </a:lnTo>
                  <a:lnTo>
                    <a:pt x="25471" y="67074"/>
                  </a:lnTo>
                  <a:lnTo>
                    <a:pt x="25188" y="66980"/>
                  </a:lnTo>
                  <a:lnTo>
                    <a:pt x="24339" y="66791"/>
                  </a:lnTo>
                  <a:lnTo>
                    <a:pt x="23773" y="66508"/>
                  </a:lnTo>
                  <a:lnTo>
                    <a:pt x="24245" y="66414"/>
                  </a:lnTo>
                  <a:lnTo>
                    <a:pt x="24717" y="66603"/>
                  </a:lnTo>
                  <a:lnTo>
                    <a:pt x="24811" y="66414"/>
                  </a:lnTo>
                  <a:lnTo>
                    <a:pt x="24811" y="66320"/>
                  </a:lnTo>
                  <a:lnTo>
                    <a:pt x="24717" y="66225"/>
                  </a:lnTo>
                  <a:lnTo>
                    <a:pt x="24528" y="66131"/>
                  </a:lnTo>
                  <a:lnTo>
                    <a:pt x="24151" y="66225"/>
                  </a:lnTo>
                  <a:lnTo>
                    <a:pt x="23679" y="66320"/>
                  </a:lnTo>
                  <a:lnTo>
                    <a:pt x="23018" y="66414"/>
                  </a:lnTo>
                  <a:lnTo>
                    <a:pt x="23490" y="66225"/>
                  </a:lnTo>
                  <a:lnTo>
                    <a:pt x="22075" y="65942"/>
                  </a:lnTo>
                  <a:lnTo>
                    <a:pt x="20943" y="65659"/>
                  </a:lnTo>
                  <a:lnTo>
                    <a:pt x="20000" y="65282"/>
                  </a:lnTo>
                  <a:lnTo>
                    <a:pt x="19056" y="64810"/>
                  </a:lnTo>
                  <a:lnTo>
                    <a:pt x="19056" y="64810"/>
                  </a:lnTo>
                  <a:lnTo>
                    <a:pt x="19717" y="64999"/>
                  </a:lnTo>
                  <a:lnTo>
                    <a:pt x="19151" y="64716"/>
                  </a:lnTo>
                  <a:lnTo>
                    <a:pt x="18962" y="64810"/>
                  </a:lnTo>
                  <a:lnTo>
                    <a:pt x="19151" y="64905"/>
                  </a:lnTo>
                  <a:lnTo>
                    <a:pt x="18490" y="64905"/>
                  </a:lnTo>
                  <a:lnTo>
                    <a:pt x="17830" y="64716"/>
                  </a:lnTo>
                  <a:lnTo>
                    <a:pt x="17264" y="64527"/>
                  </a:lnTo>
                  <a:lnTo>
                    <a:pt x="16698" y="64150"/>
                  </a:lnTo>
                  <a:lnTo>
                    <a:pt x="16981" y="64056"/>
                  </a:lnTo>
                  <a:lnTo>
                    <a:pt x="17264" y="64150"/>
                  </a:lnTo>
                  <a:lnTo>
                    <a:pt x="17264" y="64150"/>
                  </a:lnTo>
                  <a:lnTo>
                    <a:pt x="15188" y="63207"/>
                  </a:lnTo>
                  <a:lnTo>
                    <a:pt x="14622" y="62829"/>
                  </a:lnTo>
                  <a:lnTo>
                    <a:pt x="14717" y="62924"/>
                  </a:lnTo>
                  <a:lnTo>
                    <a:pt x="13773" y="62546"/>
                  </a:lnTo>
                  <a:lnTo>
                    <a:pt x="12924" y="62075"/>
                  </a:lnTo>
                  <a:lnTo>
                    <a:pt x="12358" y="61697"/>
                  </a:lnTo>
                  <a:lnTo>
                    <a:pt x="12264" y="61508"/>
                  </a:lnTo>
                  <a:lnTo>
                    <a:pt x="12170" y="61320"/>
                  </a:lnTo>
                  <a:lnTo>
                    <a:pt x="11698" y="60942"/>
                  </a:lnTo>
                  <a:lnTo>
                    <a:pt x="11132" y="60471"/>
                  </a:lnTo>
                  <a:lnTo>
                    <a:pt x="9906" y="59244"/>
                  </a:lnTo>
                  <a:lnTo>
                    <a:pt x="9906" y="59244"/>
                  </a:lnTo>
                  <a:lnTo>
                    <a:pt x="10566" y="59527"/>
                  </a:lnTo>
                  <a:lnTo>
                    <a:pt x="9434" y="58584"/>
                  </a:lnTo>
                  <a:lnTo>
                    <a:pt x="8207" y="57546"/>
                  </a:lnTo>
                  <a:lnTo>
                    <a:pt x="7547" y="56886"/>
                  </a:lnTo>
                  <a:lnTo>
                    <a:pt x="6981" y="56131"/>
                  </a:lnTo>
                  <a:lnTo>
                    <a:pt x="6226" y="55094"/>
                  </a:lnTo>
                  <a:lnTo>
                    <a:pt x="6415" y="55377"/>
                  </a:lnTo>
                  <a:lnTo>
                    <a:pt x="6038" y="54905"/>
                  </a:lnTo>
                  <a:lnTo>
                    <a:pt x="5472" y="54244"/>
                  </a:lnTo>
                  <a:lnTo>
                    <a:pt x="5283" y="53961"/>
                  </a:lnTo>
                  <a:lnTo>
                    <a:pt x="5094" y="53867"/>
                  </a:lnTo>
                  <a:lnTo>
                    <a:pt x="5377" y="54622"/>
                  </a:lnTo>
                  <a:lnTo>
                    <a:pt x="5849" y="55282"/>
                  </a:lnTo>
                  <a:lnTo>
                    <a:pt x="6321" y="55943"/>
                  </a:lnTo>
                  <a:lnTo>
                    <a:pt x="6698" y="56603"/>
                  </a:lnTo>
                  <a:lnTo>
                    <a:pt x="6226" y="56226"/>
                  </a:lnTo>
                  <a:lnTo>
                    <a:pt x="5943" y="55848"/>
                  </a:lnTo>
                  <a:lnTo>
                    <a:pt x="6038" y="56037"/>
                  </a:lnTo>
                  <a:lnTo>
                    <a:pt x="5943" y="55943"/>
                  </a:lnTo>
                  <a:lnTo>
                    <a:pt x="5377" y="55188"/>
                  </a:lnTo>
                  <a:lnTo>
                    <a:pt x="5000" y="54716"/>
                  </a:lnTo>
                  <a:lnTo>
                    <a:pt x="4717" y="54150"/>
                  </a:lnTo>
                  <a:lnTo>
                    <a:pt x="4528" y="53678"/>
                  </a:lnTo>
                  <a:lnTo>
                    <a:pt x="4528" y="53584"/>
                  </a:lnTo>
                  <a:lnTo>
                    <a:pt x="4623" y="53395"/>
                  </a:lnTo>
                  <a:lnTo>
                    <a:pt x="5094" y="54244"/>
                  </a:lnTo>
                  <a:lnTo>
                    <a:pt x="4717" y="53301"/>
                  </a:lnTo>
                  <a:lnTo>
                    <a:pt x="4528" y="53018"/>
                  </a:lnTo>
                  <a:lnTo>
                    <a:pt x="4151" y="52263"/>
                  </a:lnTo>
                  <a:lnTo>
                    <a:pt x="4151" y="52169"/>
                  </a:lnTo>
                  <a:lnTo>
                    <a:pt x="3774" y="51509"/>
                  </a:lnTo>
                  <a:lnTo>
                    <a:pt x="3396" y="50660"/>
                  </a:lnTo>
                  <a:lnTo>
                    <a:pt x="3585" y="51603"/>
                  </a:lnTo>
                  <a:lnTo>
                    <a:pt x="3396" y="51226"/>
                  </a:lnTo>
                  <a:lnTo>
                    <a:pt x="3208" y="50848"/>
                  </a:lnTo>
                  <a:lnTo>
                    <a:pt x="3208" y="50471"/>
                  </a:lnTo>
                  <a:lnTo>
                    <a:pt x="3208" y="50094"/>
                  </a:lnTo>
                  <a:lnTo>
                    <a:pt x="3585" y="50754"/>
                  </a:lnTo>
                  <a:lnTo>
                    <a:pt x="3868" y="51509"/>
                  </a:lnTo>
                  <a:lnTo>
                    <a:pt x="3868" y="51509"/>
                  </a:lnTo>
                  <a:lnTo>
                    <a:pt x="3208" y="49528"/>
                  </a:lnTo>
                  <a:lnTo>
                    <a:pt x="3208" y="49528"/>
                  </a:lnTo>
                  <a:lnTo>
                    <a:pt x="3868" y="50754"/>
                  </a:lnTo>
                  <a:lnTo>
                    <a:pt x="3208" y="48962"/>
                  </a:lnTo>
                  <a:lnTo>
                    <a:pt x="3585" y="49339"/>
                  </a:lnTo>
                  <a:lnTo>
                    <a:pt x="3774" y="49433"/>
                  </a:lnTo>
                  <a:lnTo>
                    <a:pt x="3962" y="49528"/>
                  </a:lnTo>
                  <a:lnTo>
                    <a:pt x="4057" y="49905"/>
                  </a:lnTo>
                  <a:lnTo>
                    <a:pt x="3868" y="48962"/>
                  </a:lnTo>
                  <a:lnTo>
                    <a:pt x="3491" y="47924"/>
                  </a:lnTo>
                  <a:lnTo>
                    <a:pt x="2641" y="45565"/>
                  </a:lnTo>
                  <a:lnTo>
                    <a:pt x="2170" y="43867"/>
                  </a:lnTo>
                  <a:lnTo>
                    <a:pt x="1698" y="41886"/>
                  </a:lnTo>
                  <a:lnTo>
                    <a:pt x="1698" y="41886"/>
                  </a:lnTo>
                  <a:lnTo>
                    <a:pt x="1887" y="42075"/>
                  </a:lnTo>
                  <a:lnTo>
                    <a:pt x="1981" y="41981"/>
                  </a:lnTo>
                  <a:lnTo>
                    <a:pt x="2075" y="42075"/>
                  </a:lnTo>
                  <a:lnTo>
                    <a:pt x="2264" y="42169"/>
                  </a:lnTo>
                  <a:lnTo>
                    <a:pt x="2170" y="40283"/>
                  </a:lnTo>
                  <a:lnTo>
                    <a:pt x="2075" y="38301"/>
                  </a:lnTo>
                  <a:lnTo>
                    <a:pt x="2170" y="36415"/>
                  </a:lnTo>
                  <a:lnTo>
                    <a:pt x="2358" y="35566"/>
                  </a:lnTo>
                  <a:lnTo>
                    <a:pt x="2453" y="34811"/>
                  </a:lnTo>
                  <a:lnTo>
                    <a:pt x="2830" y="32830"/>
                  </a:lnTo>
                  <a:lnTo>
                    <a:pt x="2830" y="33207"/>
                  </a:lnTo>
                  <a:lnTo>
                    <a:pt x="2924" y="33490"/>
                  </a:lnTo>
                  <a:lnTo>
                    <a:pt x="2924" y="32453"/>
                  </a:lnTo>
                  <a:lnTo>
                    <a:pt x="3019" y="31415"/>
                  </a:lnTo>
                  <a:lnTo>
                    <a:pt x="3396" y="29245"/>
                  </a:lnTo>
                  <a:lnTo>
                    <a:pt x="3868" y="27075"/>
                  </a:lnTo>
                  <a:lnTo>
                    <a:pt x="4623" y="25000"/>
                  </a:lnTo>
                  <a:lnTo>
                    <a:pt x="5566" y="22830"/>
                  </a:lnTo>
                  <a:lnTo>
                    <a:pt x="6604" y="20849"/>
                  </a:lnTo>
                  <a:lnTo>
                    <a:pt x="7830" y="18868"/>
                  </a:lnTo>
                  <a:lnTo>
                    <a:pt x="9151" y="16887"/>
                  </a:lnTo>
                  <a:lnTo>
                    <a:pt x="10566" y="15094"/>
                  </a:lnTo>
                  <a:lnTo>
                    <a:pt x="12075" y="13302"/>
                  </a:lnTo>
                  <a:lnTo>
                    <a:pt x="13773" y="11698"/>
                  </a:lnTo>
                  <a:lnTo>
                    <a:pt x="15377" y="10095"/>
                  </a:lnTo>
                  <a:lnTo>
                    <a:pt x="17170" y="8679"/>
                  </a:lnTo>
                  <a:lnTo>
                    <a:pt x="18962" y="7453"/>
                  </a:lnTo>
                  <a:lnTo>
                    <a:pt x="20754" y="6321"/>
                  </a:lnTo>
                  <a:lnTo>
                    <a:pt x="22547" y="5378"/>
                  </a:lnTo>
                  <a:lnTo>
                    <a:pt x="21603" y="6227"/>
                  </a:lnTo>
                  <a:lnTo>
                    <a:pt x="22641" y="5472"/>
                  </a:lnTo>
                  <a:lnTo>
                    <a:pt x="23302" y="5095"/>
                  </a:lnTo>
                  <a:lnTo>
                    <a:pt x="25377" y="4151"/>
                  </a:lnTo>
                  <a:lnTo>
                    <a:pt x="24811" y="4151"/>
                  </a:lnTo>
                  <a:lnTo>
                    <a:pt x="25660" y="3774"/>
                  </a:lnTo>
                  <a:lnTo>
                    <a:pt x="26886" y="3208"/>
                  </a:lnTo>
                  <a:lnTo>
                    <a:pt x="26603" y="3585"/>
                  </a:lnTo>
                  <a:lnTo>
                    <a:pt x="26886" y="3585"/>
                  </a:lnTo>
                  <a:lnTo>
                    <a:pt x="26886" y="3680"/>
                  </a:lnTo>
                  <a:lnTo>
                    <a:pt x="26792" y="3774"/>
                  </a:lnTo>
                  <a:lnTo>
                    <a:pt x="28301" y="3302"/>
                  </a:lnTo>
                  <a:lnTo>
                    <a:pt x="29622" y="2736"/>
                  </a:lnTo>
                  <a:lnTo>
                    <a:pt x="31037" y="2264"/>
                  </a:lnTo>
                  <a:lnTo>
                    <a:pt x="31792" y="2076"/>
                  </a:lnTo>
                  <a:lnTo>
                    <a:pt x="32641" y="1981"/>
                  </a:lnTo>
                  <a:lnTo>
                    <a:pt x="32547" y="2076"/>
                  </a:lnTo>
                  <a:lnTo>
                    <a:pt x="32924" y="1981"/>
                  </a:lnTo>
                  <a:lnTo>
                    <a:pt x="34245" y="1793"/>
                  </a:lnTo>
                  <a:lnTo>
                    <a:pt x="35848" y="1415"/>
                  </a:lnTo>
                  <a:lnTo>
                    <a:pt x="36981" y="1132"/>
                  </a:lnTo>
                  <a:lnTo>
                    <a:pt x="36981" y="1415"/>
                  </a:lnTo>
                  <a:lnTo>
                    <a:pt x="40943" y="1227"/>
                  </a:lnTo>
                  <a:lnTo>
                    <a:pt x="41509" y="1038"/>
                  </a:lnTo>
                  <a:lnTo>
                    <a:pt x="41697" y="1132"/>
                  </a:lnTo>
                  <a:lnTo>
                    <a:pt x="41509" y="1227"/>
                  </a:lnTo>
                  <a:lnTo>
                    <a:pt x="41320" y="1321"/>
                  </a:lnTo>
                  <a:lnTo>
                    <a:pt x="42263" y="1321"/>
                  </a:lnTo>
                  <a:lnTo>
                    <a:pt x="43113" y="1227"/>
                  </a:lnTo>
                  <a:lnTo>
                    <a:pt x="43396" y="1415"/>
                  </a:lnTo>
                  <a:lnTo>
                    <a:pt x="44056" y="1604"/>
                  </a:lnTo>
                  <a:lnTo>
                    <a:pt x="45943" y="2076"/>
                  </a:lnTo>
                  <a:lnTo>
                    <a:pt x="48018" y="2359"/>
                  </a:lnTo>
                  <a:lnTo>
                    <a:pt x="49622" y="2736"/>
                  </a:lnTo>
                  <a:lnTo>
                    <a:pt x="47641" y="1981"/>
                  </a:lnTo>
                  <a:lnTo>
                    <a:pt x="45282" y="1321"/>
                  </a:lnTo>
                  <a:lnTo>
                    <a:pt x="42735" y="755"/>
                  </a:lnTo>
                  <a:lnTo>
                    <a:pt x="40188" y="283"/>
                  </a:lnTo>
                  <a:lnTo>
                    <a:pt x="37735" y="95"/>
                  </a:lnTo>
                  <a:lnTo>
                    <a:pt x="35471" y="0"/>
                  </a:lnTo>
                  <a:close/>
                </a:path>
              </a:pathLst>
            </a:custGeom>
            <a:solidFill>
              <a:schemeClr val="bg1">
                <a:lumMod val="95000"/>
              </a:schemeClr>
            </a:solidFill>
            <a:ln w="0">
              <a:solidFill>
                <a:srgbClr val="0079D1"/>
              </a:solidFill>
            </a:ln>
          </p:spPr>
          <p:txBody>
            <a:bodyPr spcFirstLastPara="1" wrap="square" lIns="91425" tIns="91425" rIns="91425" bIns="91425" anchor="ctr" anchorCtr="0">
              <a:noAutofit/>
            </a:bodyPr>
            <a:lstStyle/>
            <a:p>
              <a:pPr marL="0" lvl="0" indent="0">
                <a:spcBef>
                  <a:spcPts val="0"/>
                </a:spcBef>
                <a:spcAft>
                  <a:spcPts val="0"/>
                </a:spcAft>
                <a:buNone/>
              </a:pPr>
              <a:endParaRPr sz="1200">
                <a:latin typeface="+mj-lt"/>
              </a:endParaRPr>
            </a:p>
          </p:txBody>
        </p:sp>
        <p:sp>
          <p:nvSpPr>
            <p:cNvPr id="543" name="TextBox 542">
              <a:extLst>
                <a:ext uri="{FF2B5EF4-FFF2-40B4-BE49-F238E27FC236}">
                  <a16:creationId xmlns:a16="http://schemas.microsoft.com/office/drawing/2014/main" id="{4C60154B-0E10-6447-A493-11BA8FDE12C3}"/>
                </a:ext>
              </a:extLst>
            </p:cNvPr>
            <p:cNvSpPr txBox="1"/>
            <p:nvPr/>
          </p:nvSpPr>
          <p:spPr>
            <a:xfrm>
              <a:off x="8676898" y="4619460"/>
              <a:ext cx="229951" cy="200055"/>
            </a:xfrm>
            <a:prstGeom prst="rect">
              <a:avLst/>
            </a:prstGeom>
            <a:noFill/>
          </p:spPr>
          <p:txBody>
            <a:bodyPr wrap="square" rtlCol="0">
              <a:spAutoFit/>
            </a:bodyPr>
            <a:lstStyle/>
            <a:p>
              <a:r>
                <a:rPr lang="en-US" sz="700" b="1" dirty="0">
                  <a:solidFill>
                    <a:srgbClr val="0079D1"/>
                  </a:solidFill>
                  <a:latin typeface="+mj-lt"/>
                </a:rPr>
                <a:t>B</a:t>
              </a:r>
            </a:p>
          </p:txBody>
        </p:sp>
      </p:grpSp>
      <p:sp>
        <p:nvSpPr>
          <p:cNvPr id="552" name="Rounded Rectangle 551">
            <a:extLst>
              <a:ext uri="{FF2B5EF4-FFF2-40B4-BE49-F238E27FC236}">
                <a16:creationId xmlns:a16="http://schemas.microsoft.com/office/drawing/2014/main" id="{BF5D8F30-9AD3-7C4E-8492-4D9DFA99E445}"/>
              </a:ext>
            </a:extLst>
          </p:cNvPr>
          <p:cNvSpPr/>
          <p:nvPr/>
        </p:nvSpPr>
        <p:spPr>
          <a:xfrm>
            <a:off x="3693120" y="4900249"/>
            <a:ext cx="779656" cy="400105"/>
          </a:xfrm>
          <a:prstGeom prst="roundRect">
            <a:avLst/>
          </a:prstGeom>
          <a:solidFill>
            <a:schemeClr val="bg1">
              <a:lumMod val="85000"/>
            </a:schemeClr>
          </a:solidFill>
          <a:ln w="3175">
            <a:solidFill>
              <a:schemeClr val="bg2">
                <a:lumMod val="50000"/>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bg1">
                  <a:lumMod val="50000"/>
                </a:schemeClr>
              </a:solidFill>
              <a:ea typeface="Nanum Pen Script" panose="03040600000000000000" pitchFamily="66" charset="-127"/>
            </a:endParaRPr>
          </a:p>
          <a:p>
            <a:pPr algn="ctr"/>
            <a:endParaRPr lang="en-US" sz="800" dirty="0">
              <a:solidFill>
                <a:schemeClr val="bg1">
                  <a:lumMod val="50000"/>
                </a:schemeClr>
              </a:solidFill>
              <a:ea typeface="Nanum Pen Script" panose="03040600000000000000" pitchFamily="66" charset="-127"/>
            </a:endParaRPr>
          </a:p>
          <a:p>
            <a:pPr algn="ctr"/>
            <a:endParaRPr lang="en-US" sz="800" dirty="0">
              <a:solidFill>
                <a:schemeClr val="bg1">
                  <a:lumMod val="50000"/>
                </a:schemeClr>
              </a:solidFill>
              <a:ea typeface="Nanum Pen Script" panose="03040600000000000000" pitchFamily="66" charset="-127"/>
            </a:endParaRPr>
          </a:p>
          <a:p>
            <a:pPr algn="ctr"/>
            <a:endParaRPr lang="en-US" sz="800" dirty="0">
              <a:solidFill>
                <a:schemeClr val="bg1">
                  <a:lumMod val="50000"/>
                </a:schemeClr>
              </a:solidFill>
              <a:ea typeface="Nanum Pen Script" panose="03040600000000000000" pitchFamily="66" charset="-127"/>
            </a:endParaRPr>
          </a:p>
          <a:p>
            <a:pPr algn="ctr"/>
            <a:endParaRPr lang="en-US" sz="700" dirty="0">
              <a:solidFill>
                <a:schemeClr val="bg1">
                  <a:lumMod val="50000"/>
                </a:schemeClr>
              </a:solidFill>
              <a:ea typeface="Nanum Pen Script" panose="03040600000000000000" pitchFamily="66" charset="-127"/>
            </a:endParaRPr>
          </a:p>
          <a:p>
            <a:pPr algn="ctr"/>
            <a:r>
              <a:rPr lang="en-US" sz="900" dirty="0">
                <a:solidFill>
                  <a:schemeClr val="bg1">
                    <a:lumMod val="50000"/>
                  </a:schemeClr>
                </a:solidFill>
                <a:ea typeface="Nanum Pen Script" panose="03040600000000000000" pitchFamily="66" charset="-127"/>
              </a:rPr>
              <a:t>Data Capture</a:t>
            </a:r>
          </a:p>
          <a:p>
            <a:pPr algn="ctr"/>
            <a:endParaRPr lang="en-US" sz="900" dirty="0">
              <a:solidFill>
                <a:schemeClr val="bg1">
                  <a:lumMod val="50000"/>
                </a:schemeClr>
              </a:solidFill>
              <a:ea typeface="Nanum Pen Script" panose="03040600000000000000" pitchFamily="66" charset="-127"/>
            </a:endParaRPr>
          </a:p>
          <a:p>
            <a:pPr algn="ctr"/>
            <a:endParaRPr lang="en-US" sz="1600" dirty="0">
              <a:solidFill>
                <a:schemeClr val="tx1"/>
              </a:solidFill>
              <a:ea typeface="Nanum Pen Script" panose="03040600000000000000" pitchFamily="66" charset="-127"/>
            </a:endParaRPr>
          </a:p>
          <a:p>
            <a:pPr algn="ctr"/>
            <a:endParaRPr lang="en-US" sz="1600" dirty="0">
              <a:solidFill>
                <a:schemeClr val="tx1"/>
              </a:solidFill>
              <a:ea typeface="Nanum Pen Script" panose="03040600000000000000" pitchFamily="66" charset="-127"/>
            </a:endParaRPr>
          </a:p>
        </p:txBody>
      </p:sp>
      <p:cxnSp>
        <p:nvCxnSpPr>
          <p:cNvPr id="553" name="Elbow Connector 552">
            <a:extLst>
              <a:ext uri="{FF2B5EF4-FFF2-40B4-BE49-F238E27FC236}">
                <a16:creationId xmlns:a16="http://schemas.microsoft.com/office/drawing/2014/main" id="{A47FD931-5493-A64C-857D-CA58EC3C3830}"/>
              </a:ext>
            </a:extLst>
          </p:cNvPr>
          <p:cNvCxnSpPr>
            <a:cxnSpLocks/>
            <a:stCxn id="554" idx="3"/>
            <a:endCxn id="552" idx="1"/>
          </p:cNvCxnSpPr>
          <p:nvPr/>
        </p:nvCxnSpPr>
        <p:spPr>
          <a:xfrm>
            <a:off x="3139511" y="3941564"/>
            <a:ext cx="553609" cy="1158738"/>
          </a:xfrm>
          <a:prstGeom prst="bentConnector3">
            <a:avLst>
              <a:gd name="adj1" fmla="val 63948"/>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554" name="Rounded Rectangle 553">
            <a:extLst>
              <a:ext uri="{FF2B5EF4-FFF2-40B4-BE49-F238E27FC236}">
                <a16:creationId xmlns:a16="http://schemas.microsoft.com/office/drawing/2014/main" id="{28545956-AC43-4A40-88C5-B3A7F4430A38}"/>
              </a:ext>
            </a:extLst>
          </p:cNvPr>
          <p:cNvSpPr/>
          <p:nvPr/>
        </p:nvSpPr>
        <p:spPr>
          <a:xfrm>
            <a:off x="2416754" y="3790635"/>
            <a:ext cx="722757" cy="301857"/>
          </a:xfrm>
          <a:prstGeom prst="roundRect">
            <a:avLst/>
          </a:prstGeom>
          <a:solidFill>
            <a:schemeClr val="bg1"/>
          </a:solidFill>
          <a:ln w="3175">
            <a:solidFill>
              <a:schemeClr val="bg1">
                <a:lumMod val="50000"/>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b="1" dirty="0">
              <a:solidFill>
                <a:schemeClr val="bg1">
                  <a:lumMod val="50000"/>
                </a:schemeClr>
              </a:solidFill>
              <a:ea typeface="Nanum Pen Script" panose="03040600000000000000" pitchFamily="66" charset="-127"/>
            </a:endParaRPr>
          </a:p>
          <a:p>
            <a:pPr algn="ctr"/>
            <a:endParaRPr lang="en-US" sz="900" b="1" dirty="0">
              <a:solidFill>
                <a:schemeClr val="bg1">
                  <a:lumMod val="50000"/>
                </a:schemeClr>
              </a:solidFill>
              <a:ea typeface="Nanum Pen Script" panose="03040600000000000000" pitchFamily="66" charset="-127"/>
            </a:endParaRPr>
          </a:p>
          <a:p>
            <a:pPr algn="ctr"/>
            <a:endParaRPr lang="en-US" sz="900" b="1" dirty="0">
              <a:solidFill>
                <a:schemeClr val="bg1">
                  <a:lumMod val="50000"/>
                </a:schemeClr>
              </a:solidFill>
              <a:ea typeface="Nanum Pen Script" panose="03040600000000000000" pitchFamily="66" charset="-127"/>
            </a:endParaRPr>
          </a:p>
          <a:p>
            <a:pPr algn="ctr"/>
            <a:endParaRPr lang="en-US" sz="900" b="1" dirty="0">
              <a:solidFill>
                <a:schemeClr val="bg1">
                  <a:lumMod val="50000"/>
                </a:schemeClr>
              </a:solidFill>
              <a:ea typeface="Nanum Pen Script" panose="03040600000000000000" pitchFamily="66" charset="-127"/>
            </a:endParaRPr>
          </a:p>
          <a:p>
            <a:pPr algn="ctr"/>
            <a:endParaRPr lang="en-US" sz="800" b="1" dirty="0">
              <a:solidFill>
                <a:schemeClr val="bg1">
                  <a:lumMod val="50000"/>
                </a:schemeClr>
              </a:solidFill>
              <a:ea typeface="Nanum Pen Script" panose="03040600000000000000" pitchFamily="66" charset="-127"/>
            </a:endParaRPr>
          </a:p>
          <a:p>
            <a:pPr algn="ctr"/>
            <a:endParaRPr lang="en-US" sz="800" b="1" dirty="0">
              <a:solidFill>
                <a:schemeClr val="bg1">
                  <a:lumMod val="50000"/>
                </a:schemeClr>
              </a:solidFill>
              <a:ea typeface="Nanum Pen Script" panose="03040600000000000000" pitchFamily="66" charset="-127"/>
            </a:endParaRPr>
          </a:p>
          <a:p>
            <a:pPr algn="ctr">
              <a:spcBef>
                <a:spcPts val="0"/>
              </a:spcBef>
            </a:pPr>
            <a:r>
              <a:rPr lang="en-US" sz="8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rPr>
              <a:t>IBM</a:t>
            </a:r>
          </a:p>
          <a:p>
            <a:pPr algn="ctr">
              <a:spcBef>
                <a:spcPts val="0"/>
              </a:spcBef>
            </a:pPr>
            <a:endParaRPr lang="en-US" sz="8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endParaRPr>
          </a:p>
          <a:p>
            <a:pPr algn="ctr">
              <a:spcBef>
                <a:spcPts val="0"/>
              </a:spcBef>
            </a:pPr>
            <a:endParaRPr lang="en-US" sz="8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endParaRPr>
          </a:p>
          <a:p>
            <a:pPr algn="ctr">
              <a:spcBef>
                <a:spcPts val="0"/>
              </a:spcBef>
            </a:pPr>
            <a:endParaRPr lang="en-US" dirty="0">
              <a:solidFill>
                <a:schemeClr val="tx1"/>
              </a:solidFill>
              <a:ea typeface="Nanum Pen Script" panose="03040600000000000000" pitchFamily="66" charset="-127"/>
            </a:endParaRPr>
          </a:p>
          <a:p>
            <a:pPr algn="ctr"/>
            <a:endParaRPr lang="en-US" dirty="0">
              <a:solidFill>
                <a:schemeClr val="tx1"/>
              </a:solidFill>
              <a:ea typeface="Nanum Pen Script" panose="03040600000000000000" pitchFamily="66" charset="-127"/>
            </a:endParaRPr>
          </a:p>
        </p:txBody>
      </p:sp>
      <p:sp>
        <p:nvSpPr>
          <p:cNvPr id="555" name="Rounded Rectangle 554">
            <a:extLst>
              <a:ext uri="{FF2B5EF4-FFF2-40B4-BE49-F238E27FC236}">
                <a16:creationId xmlns:a16="http://schemas.microsoft.com/office/drawing/2014/main" id="{9B055B29-D0AF-0246-8228-7C42AFC58937}"/>
              </a:ext>
            </a:extLst>
          </p:cNvPr>
          <p:cNvSpPr/>
          <p:nvPr/>
        </p:nvSpPr>
        <p:spPr>
          <a:xfrm>
            <a:off x="2404151" y="4193104"/>
            <a:ext cx="733466" cy="328724"/>
          </a:xfrm>
          <a:prstGeom prst="roundRect">
            <a:avLst/>
          </a:prstGeom>
          <a:solidFill>
            <a:schemeClr val="bg1"/>
          </a:solidFill>
          <a:ln w="3175">
            <a:solidFill>
              <a:schemeClr val="bg1">
                <a:lumMod val="50000"/>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b="1" dirty="0">
              <a:solidFill>
                <a:schemeClr val="bg1">
                  <a:lumMod val="50000"/>
                </a:schemeClr>
              </a:solidFill>
              <a:ea typeface="Nanum Pen Script" panose="03040600000000000000" pitchFamily="66" charset="-127"/>
            </a:endParaRPr>
          </a:p>
          <a:p>
            <a:pPr algn="ctr"/>
            <a:endParaRPr lang="en-US" sz="900" b="1" dirty="0">
              <a:solidFill>
                <a:schemeClr val="bg1">
                  <a:lumMod val="50000"/>
                </a:schemeClr>
              </a:solidFill>
              <a:ea typeface="Nanum Pen Script" panose="03040600000000000000" pitchFamily="66" charset="-127"/>
            </a:endParaRPr>
          </a:p>
          <a:p>
            <a:pPr algn="ctr"/>
            <a:endParaRPr lang="en-US" sz="900" b="1" dirty="0">
              <a:solidFill>
                <a:schemeClr val="bg1">
                  <a:lumMod val="50000"/>
                </a:schemeClr>
              </a:solidFill>
              <a:ea typeface="Nanum Pen Script" panose="03040600000000000000" pitchFamily="66" charset="-127"/>
            </a:endParaRPr>
          </a:p>
          <a:p>
            <a:pPr algn="ctr"/>
            <a:endParaRPr lang="en-US" sz="900" b="1" dirty="0">
              <a:solidFill>
                <a:schemeClr val="bg1">
                  <a:lumMod val="50000"/>
                </a:schemeClr>
              </a:solidFill>
              <a:ea typeface="Nanum Pen Script" panose="03040600000000000000" pitchFamily="66" charset="-127"/>
            </a:endParaRPr>
          </a:p>
          <a:p>
            <a:pPr algn="ctr"/>
            <a:endParaRPr lang="en-US" sz="800" b="1" dirty="0">
              <a:solidFill>
                <a:schemeClr val="bg1">
                  <a:lumMod val="50000"/>
                </a:schemeClr>
              </a:solidFill>
              <a:ea typeface="Nanum Pen Script" panose="03040600000000000000" pitchFamily="66" charset="-127"/>
            </a:endParaRPr>
          </a:p>
          <a:p>
            <a:pPr algn="ctr">
              <a:spcBef>
                <a:spcPts val="0"/>
              </a:spcBef>
            </a:pPr>
            <a:endParaRPr lang="en-US" sz="8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endParaRPr>
          </a:p>
          <a:p>
            <a:pPr algn="ctr">
              <a:spcBef>
                <a:spcPts val="0"/>
              </a:spcBef>
            </a:pPr>
            <a:r>
              <a:rPr lang="en-US" sz="8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rPr>
              <a:t>Oracle</a:t>
            </a:r>
          </a:p>
          <a:p>
            <a:pPr algn="ctr">
              <a:spcBef>
                <a:spcPts val="0"/>
              </a:spcBef>
            </a:pPr>
            <a:endParaRPr lang="en-US" sz="8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endParaRPr>
          </a:p>
          <a:p>
            <a:pPr algn="ctr">
              <a:spcBef>
                <a:spcPts val="0"/>
              </a:spcBef>
            </a:pPr>
            <a:endParaRPr lang="en-US" sz="8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endParaRPr>
          </a:p>
          <a:p>
            <a:pPr algn="ctr">
              <a:spcBef>
                <a:spcPts val="0"/>
              </a:spcBef>
            </a:pPr>
            <a:endParaRPr lang="en-US" dirty="0">
              <a:solidFill>
                <a:schemeClr val="tx1"/>
              </a:solidFill>
              <a:ea typeface="Nanum Pen Script" panose="03040600000000000000" pitchFamily="66" charset="-127"/>
            </a:endParaRPr>
          </a:p>
          <a:p>
            <a:pPr algn="ctr"/>
            <a:endParaRPr lang="en-US" dirty="0">
              <a:solidFill>
                <a:schemeClr val="tx1"/>
              </a:solidFill>
              <a:ea typeface="Nanum Pen Script" panose="03040600000000000000" pitchFamily="66" charset="-127"/>
            </a:endParaRPr>
          </a:p>
        </p:txBody>
      </p:sp>
      <p:sp>
        <p:nvSpPr>
          <p:cNvPr id="556" name="Rounded Rectangle 555">
            <a:extLst>
              <a:ext uri="{FF2B5EF4-FFF2-40B4-BE49-F238E27FC236}">
                <a16:creationId xmlns:a16="http://schemas.microsoft.com/office/drawing/2014/main" id="{7D470649-13D6-FC44-84E0-1DFA0538386B}"/>
              </a:ext>
            </a:extLst>
          </p:cNvPr>
          <p:cNvSpPr/>
          <p:nvPr/>
        </p:nvSpPr>
        <p:spPr>
          <a:xfrm>
            <a:off x="2402612" y="4620798"/>
            <a:ext cx="733466" cy="355213"/>
          </a:xfrm>
          <a:prstGeom prst="roundRect">
            <a:avLst/>
          </a:prstGeom>
          <a:solidFill>
            <a:schemeClr val="bg1"/>
          </a:solidFill>
          <a:ln w="3175">
            <a:solidFill>
              <a:schemeClr val="bg1">
                <a:lumMod val="50000"/>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b="1" dirty="0">
              <a:solidFill>
                <a:schemeClr val="bg1">
                  <a:lumMod val="50000"/>
                </a:schemeClr>
              </a:solidFill>
              <a:ea typeface="Nanum Pen Script" panose="03040600000000000000" pitchFamily="66" charset="-127"/>
            </a:endParaRPr>
          </a:p>
          <a:p>
            <a:pPr algn="ctr"/>
            <a:endParaRPr lang="en-US" sz="900" b="1" dirty="0">
              <a:solidFill>
                <a:schemeClr val="bg1">
                  <a:lumMod val="50000"/>
                </a:schemeClr>
              </a:solidFill>
              <a:ea typeface="Nanum Pen Script" panose="03040600000000000000" pitchFamily="66" charset="-127"/>
            </a:endParaRPr>
          </a:p>
          <a:p>
            <a:pPr algn="ctr"/>
            <a:endParaRPr lang="en-US" sz="900" b="1" dirty="0">
              <a:solidFill>
                <a:schemeClr val="bg1">
                  <a:lumMod val="50000"/>
                </a:schemeClr>
              </a:solidFill>
              <a:ea typeface="Nanum Pen Script" panose="03040600000000000000" pitchFamily="66" charset="-127"/>
            </a:endParaRPr>
          </a:p>
          <a:p>
            <a:pPr algn="ctr"/>
            <a:endParaRPr lang="en-US" sz="900" b="1" dirty="0">
              <a:solidFill>
                <a:schemeClr val="bg1">
                  <a:lumMod val="50000"/>
                </a:schemeClr>
              </a:solidFill>
              <a:ea typeface="Nanum Pen Script" panose="03040600000000000000" pitchFamily="66" charset="-127"/>
            </a:endParaRPr>
          </a:p>
          <a:p>
            <a:pPr algn="ctr"/>
            <a:endParaRPr lang="en-US" sz="800" b="1" dirty="0">
              <a:solidFill>
                <a:schemeClr val="bg1">
                  <a:lumMod val="50000"/>
                </a:schemeClr>
              </a:solidFill>
              <a:ea typeface="Nanum Pen Script" panose="03040600000000000000" pitchFamily="66" charset="-127"/>
            </a:endParaRPr>
          </a:p>
          <a:p>
            <a:pPr algn="ctr"/>
            <a:endParaRPr lang="en-US" sz="800" b="1" dirty="0">
              <a:solidFill>
                <a:schemeClr val="bg1">
                  <a:lumMod val="50000"/>
                </a:schemeClr>
              </a:solidFill>
              <a:ea typeface="Nanum Pen Script" panose="03040600000000000000" pitchFamily="66" charset="-127"/>
            </a:endParaRPr>
          </a:p>
          <a:p>
            <a:pPr algn="ctr">
              <a:spcBef>
                <a:spcPts val="0"/>
              </a:spcBef>
            </a:pPr>
            <a:r>
              <a:rPr lang="en-US" sz="8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rPr>
              <a:t>Tandem</a:t>
            </a:r>
          </a:p>
          <a:p>
            <a:pPr algn="ctr">
              <a:spcBef>
                <a:spcPts val="0"/>
              </a:spcBef>
            </a:pPr>
            <a:endParaRPr lang="en-US" sz="8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endParaRPr>
          </a:p>
          <a:p>
            <a:pPr algn="ctr">
              <a:spcBef>
                <a:spcPts val="0"/>
              </a:spcBef>
            </a:pPr>
            <a:endParaRPr lang="en-US" sz="8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endParaRPr>
          </a:p>
          <a:p>
            <a:pPr algn="ctr">
              <a:spcBef>
                <a:spcPts val="0"/>
              </a:spcBef>
            </a:pPr>
            <a:endParaRPr lang="en-US" dirty="0">
              <a:solidFill>
                <a:schemeClr val="tx1"/>
              </a:solidFill>
              <a:ea typeface="Nanum Pen Script" panose="03040600000000000000" pitchFamily="66" charset="-127"/>
            </a:endParaRPr>
          </a:p>
          <a:p>
            <a:pPr algn="ctr"/>
            <a:endParaRPr lang="en-US" dirty="0">
              <a:solidFill>
                <a:schemeClr val="tx1"/>
              </a:solidFill>
              <a:ea typeface="Nanum Pen Script" panose="03040600000000000000" pitchFamily="66" charset="-127"/>
            </a:endParaRPr>
          </a:p>
        </p:txBody>
      </p:sp>
      <p:cxnSp>
        <p:nvCxnSpPr>
          <p:cNvPr id="562" name="Elbow Connector 561">
            <a:extLst>
              <a:ext uri="{FF2B5EF4-FFF2-40B4-BE49-F238E27FC236}">
                <a16:creationId xmlns:a16="http://schemas.microsoft.com/office/drawing/2014/main" id="{397B14DB-0F5D-4540-A3FD-F49D5D82935E}"/>
              </a:ext>
            </a:extLst>
          </p:cNvPr>
          <p:cNvCxnSpPr>
            <a:cxnSpLocks/>
            <a:stCxn id="555" idx="3"/>
            <a:endCxn id="552" idx="1"/>
          </p:cNvCxnSpPr>
          <p:nvPr/>
        </p:nvCxnSpPr>
        <p:spPr>
          <a:xfrm>
            <a:off x="3137617" y="4357466"/>
            <a:ext cx="555503" cy="742836"/>
          </a:xfrm>
          <a:prstGeom prst="bentConnector3">
            <a:avLst>
              <a:gd name="adj1" fmla="val 63900"/>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564" name="Elbow Connector 563">
            <a:extLst>
              <a:ext uri="{FF2B5EF4-FFF2-40B4-BE49-F238E27FC236}">
                <a16:creationId xmlns:a16="http://schemas.microsoft.com/office/drawing/2014/main" id="{6506C547-6464-D341-B519-682DD7264860}"/>
              </a:ext>
            </a:extLst>
          </p:cNvPr>
          <p:cNvCxnSpPr>
            <a:cxnSpLocks/>
            <a:stCxn id="556" idx="3"/>
            <a:endCxn id="552" idx="1"/>
          </p:cNvCxnSpPr>
          <p:nvPr/>
        </p:nvCxnSpPr>
        <p:spPr>
          <a:xfrm>
            <a:off x="3136078" y="4798405"/>
            <a:ext cx="557042" cy="301897"/>
          </a:xfrm>
          <a:prstGeom prst="bentConnector3">
            <a:avLst>
              <a:gd name="adj1" fmla="val 63618"/>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576" name="Elbow Connector 575">
            <a:extLst>
              <a:ext uri="{FF2B5EF4-FFF2-40B4-BE49-F238E27FC236}">
                <a16:creationId xmlns:a16="http://schemas.microsoft.com/office/drawing/2014/main" id="{31822EDA-F5AC-C542-949D-3E65F2DFEFE3}"/>
              </a:ext>
            </a:extLst>
          </p:cNvPr>
          <p:cNvCxnSpPr>
            <a:cxnSpLocks/>
            <a:stCxn id="552" idx="3"/>
            <a:endCxn id="1337" idx="2"/>
          </p:cNvCxnSpPr>
          <p:nvPr/>
        </p:nvCxnSpPr>
        <p:spPr>
          <a:xfrm>
            <a:off x="4472776" y="5100302"/>
            <a:ext cx="2413284" cy="1026457"/>
          </a:xfrm>
          <a:prstGeom prst="bentConnector4">
            <a:avLst>
              <a:gd name="adj1" fmla="val 8491"/>
              <a:gd name="adj2" fmla="val 122271"/>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grpSp>
        <p:nvGrpSpPr>
          <p:cNvPr id="581" name="Group 580">
            <a:extLst>
              <a:ext uri="{FF2B5EF4-FFF2-40B4-BE49-F238E27FC236}">
                <a16:creationId xmlns:a16="http://schemas.microsoft.com/office/drawing/2014/main" id="{EA28057E-AF7D-9448-8692-55A7212AB1E1}"/>
              </a:ext>
            </a:extLst>
          </p:cNvPr>
          <p:cNvGrpSpPr/>
          <p:nvPr/>
        </p:nvGrpSpPr>
        <p:grpSpPr>
          <a:xfrm>
            <a:off x="3195183" y="2800220"/>
            <a:ext cx="229951" cy="200055"/>
            <a:chOff x="8676898" y="4619460"/>
            <a:chExt cx="229951" cy="200055"/>
          </a:xfrm>
        </p:grpSpPr>
        <p:sp>
          <p:nvSpPr>
            <p:cNvPr id="582" name="Google Shape;431;p39">
              <a:extLst>
                <a:ext uri="{FF2B5EF4-FFF2-40B4-BE49-F238E27FC236}">
                  <a16:creationId xmlns:a16="http://schemas.microsoft.com/office/drawing/2014/main" id="{820496C9-A99D-4544-B58F-05D19B111BEB}"/>
                </a:ext>
              </a:extLst>
            </p:cNvPr>
            <p:cNvSpPr/>
            <p:nvPr/>
          </p:nvSpPr>
          <p:spPr>
            <a:xfrm>
              <a:off x="8709950" y="4635551"/>
              <a:ext cx="179407" cy="167874"/>
            </a:xfrm>
            <a:custGeom>
              <a:avLst/>
              <a:gdLst/>
              <a:ahLst/>
              <a:cxnLst/>
              <a:rect l="0" t="0" r="0" b="0"/>
              <a:pathLst>
                <a:path w="67641" h="69056" extrusionOk="0">
                  <a:moveTo>
                    <a:pt x="49622" y="2736"/>
                  </a:moveTo>
                  <a:lnTo>
                    <a:pt x="49622" y="2736"/>
                  </a:lnTo>
                  <a:lnTo>
                    <a:pt x="49622" y="2736"/>
                  </a:lnTo>
                  <a:close/>
                  <a:moveTo>
                    <a:pt x="59622" y="55565"/>
                  </a:moveTo>
                  <a:lnTo>
                    <a:pt x="59622" y="55565"/>
                  </a:lnTo>
                  <a:lnTo>
                    <a:pt x="59622" y="55565"/>
                  </a:lnTo>
                  <a:close/>
                  <a:moveTo>
                    <a:pt x="35471" y="0"/>
                  </a:moveTo>
                  <a:lnTo>
                    <a:pt x="34433" y="95"/>
                  </a:lnTo>
                  <a:lnTo>
                    <a:pt x="33584" y="189"/>
                  </a:lnTo>
                  <a:lnTo>
                    <a:pt x="32735" y="378"/>
                  </a:lnTo>
                  <a:lnTo>
                    <a:pt x="32169" y="566"/>
                  </a:lnTo>
                  <a:lnTo>
                    <a:pt x="31509" y="472"/>
                  </a:lnTo>
                  <a:lnTo>
                    <a:pt x="30754" y="472"/>
                  </a:lnTo>
                  <a:lnTo>
                    <a:pt x="29339" y="566"/>
                  </a:lnTo>
                  <a:lnTo>
                    <a:pt x="27830" y="849"/>
                  </a:lnTo>
                  <a:lnTo>
                    <a:pt x="26320" y="1321"/>
                  </a:lnTo>
                  <a:lnTo>
                    <a:pt x="24811" y="1981"/>
                  </a:lnTo>
                  <a:lnTo>
                    <a:pt x="23207" y="2736"/>
                  </a:lnTo>
                  <a:lnTo>
                    <a:pt x="21698" y="3585"/>
                  </a:lnTo>
                  <a:lnTo>
                    <a:pt x="20188" y="4623"/>
                  </a:lnTo>
                  <a:lnTo>
                    <a:pt x="18679" y="5661"/>
                  </a:lnTo>
                  <a:lnTo>
                    <a:pt x="17170" y="6793"/>
                  </a:lnTo>
                  <a:lnTo>
                    <a:pt x="15754" y="8019"/>
                  </a:lnTo>
                  <a:lnTo>
                    <a:pt x="14434" y="9151"/>
                  </a:lnTo>
                  <a:lnTo>
                    <a:pt x="11981" y="11510"/>
                  </a:lnTo>
                  <a:lnTo>
                    <a:pt x="10000" y="13774"/>
                  </a:lnTo>
                  <a:lnTo>
                    <a:pt x="7736" y="16981"/>
                  </a:lnTo>
                  <a:lnTo>
                    <a:pt x="8019" y="16321"/>
                  </a:lnTo>
                  <a:lnTo>
                    <a:pt x="8302" y="15660"/>
                  </a:lnTo>
                  <a:lnTo>
                    <a:pt x="7736" y="16604"/>
                  </a:lnTo>
                  <a:lnTo>
                    <a:pt x="7075" y="17642"/>
                  </a:lnTo>
                  <a:lnTo>
                    <a:pt x="7170" y="17830"/>
                  </a:lnTo>
                  <a:lnTo>
                    <a:pt x="6509" y="18868"/>
                  </a:lnTo>
                  <a:lnTo>
                    <a:pt x="7075" y="17359"/>
                  </a:lnTo>
                  <a:lnTo>
                    <a:pt x="6132" y="19057"/>
                  </a:lnTo>
                  <a:lnTo>
                    <a:pt x="5189" y="20849"/>
                  </a:lnTo>
                  <a:lnTo>
                    <a:pt x="4434" y="22736"/>
                  </a:lnTo>
                  <a:lnTo>
                    <a:pt x="3679" y="24622"/>
                  </a:lnTo>
                  <a:lnTo>
                    <a:pt x="2453" y="28490"/>
                  </a:lnTo>
                  <a:lnTo>
                    <a:pt x="1321" y="32169"/>
                  </a:lnTo>
                  <a:lnTo>
                    <a:pt x="1509" y="32264"/>
                  </a:lnTo>
                  <a:lnTo>
                    <a:pt x="1604" y="32453"/>
                  </a:lnTo>
                  <a:lnTo>
                    <a:pt x="1604" y="32641"/>
                  </a:lnTo>
                  <a:lnTo>
                    <a:pt x="1509" y="32924"/>
                  </a:lnTo>
                  <a:lnTo>
                    <a:pt x="1226" y="33396"/>
                  </a:lnTo>
                  <a:lnTo>
                    <a:pt x="1038" y="33585"/>
                  </a:lnTo>
                  <a:lnTo>
                    <a:pt x="1038" y="33773"/>
                  </a:lnTo>
                  <a:lnTo>
                    <a:pt x="1038" y="35000"/>
                  </a:lnTo>
                  <a:lnTo>
                    <a:pt x="849" y="36132"/>
                  </a:lnTo>
                  <a:lnTo>
                    <a:pt x="660" y="37358"/>
                  </a:lnTo>
                  <a:lnTo>
                    <a:pt x="472" y="38867"/>
                  </a:lnTo>
                  <a:lnTo>
                    <a:pt x="283" y="38301"/>
                  </a:lnTo>
                  <a:lnTo>
                    <a:pt x="94" y="39811"/>
                  </a:lnTo>
                  <a:lnTo>
                    <a:pt x="0" y="41509"/>
                  </a:lnTo>
                  <a:lnTo>
                    <a:pt x="94" y="43301"/>
                  </a:lnTo>
                  <a:lnTo>
                    <a:pt x="283" y="44056"/>
                  </a:lnTo>
                  <a:lnTo>
                    <a:pt x="472" y="44622"/>
                  </a:lnTo>
                  <a:lnTo>
                    <a:pt x="566" y="45660"/>
                  </a:lnTo>
                  <a:lnTo>
                    <a:pt x="755" y="46792"/>
                  </a:lnTo>
                  <a:lnTo>
                    <a:pt x="1226" y="48962"/>
                  </a:lnTo>
                  <a:lnTo>
                    <a:pt x="1981" y="51037"/>
                  </a:lnTo>
                  <a:lnTo>
                    <a:pt x="2924" y="53112"/>
                  </a:lnTo>
                  <a:lnTo>
                    <a:pt x="4057" y="55094"/>
                  </a:lnTo>
                  <a:lnTo>
                    <a:pt x="5283" y="56980"/>
                  </a:lnTo>
                  <a:lnTo>
                    <a:pt x="6698" y="58678"/>
                  </a:lnTo>
                  <a:lnTo>
                    <a:pt x="8113" y="60282"/>
                  </a:lnTo>
                  <a:lnTo>
                    <a:pt x="9056" y="61131"/>
                  </a:lnTo>
                  <a:lnTo>
                    <a:pt x="10000" y="61980"/>
                  </a:lnTo>
                  <a:lnTo>
                    <a:pt x="11038" y="62829"/>
                  </a:lnTo>
                  <a:lnTo>
                    <a:pt x="12075" y="63584"/>
                  </a:lnTo>
                  <a:lnTo>
                    <a:pt x="14339" y="64905"/>
                  </a:lnTo>
                  <a:lnTo>
                    <a:pt x="16604" y="66131"/>
                  </a:lnTo>
                  <a:lnTo>
                    <a:pt x="19056" y="67169"/>
                  </a:lnTo>
                  <a:lnTo>
                    <a:pt x="21509" y="67923"/>
                  </a:lnTo>
                  <a:lnTo>
                    <a:pt x="24056" y="68584"/>
                  </a:lnTo>
                  <a:lnTo>
                    <a:pt x="26603" y="69055"/>
                  </a:lnTo>
                  <a:lnTo>
                    <a:pt x="27830" y="69055"/>
                  </a:lnTo>
                  <a:lnTo>
                    <a:pt x="30188" y="68867"/>
                  </a:lnTo>
                  <a:lnTo>
                    <a:pt x="33113" y="68678"/>
                  </a:lnTo>
                  <a:lnTo>
                    <a:pt x="36509" y="68301"/>
                  </a:lnTo>
                  <a:lnTo>
                    <a:pt x="39811" y="67923"/>
                  </a:lnTo>
                  <a:lnTo>
                    <a:pt x="42735" y="67452"/>
                  </a:lnTo>
                  <a:lnTo>
                    <a:pt x="44905" y="66980"/>
                  </a:lnTo>
                  <a:lnTo>
                    <a:pt x="45565" y="66791"/>
                  </a:lnTo>
                  <a:lnTo>
                    <a:pt x="45943" y="66508"/>
                  </a:lnTo>
                  <a:lnTo>
                    <a:pt x="47358" y="65942"/>
                  </a:lnTo>
                  <a:lnTo>
                    <a:pt x="48018" y="65565"/>
                  </a:lnTo>
                  <a:lnTo>
                    <a:pt x="48678" y="65188"/>
                  </a:lnTo>
                  <a:lnTo>
                    <a:pt x="47924" y="65471"/>
                  </a:lnTo>
                  <a:lnTo>
                    <a:pt x="51509" y="62924"/>
                  </a:lnTo>
                  <a:lnTo>
                    <a:pt x="53301" y="61508"/>
                  </a:lnTo>
                  <a:lnTo>
                    <a:pt x="55093" y="59905"/>
                  </a:lnTo>
                  <a:lnTo>
                    <a:pt x="55093" y="59905"/>
                  </a:lnTo>
                  <a:lnTo>
                    <a:pt x="54810" y="60376"/>
                  </a:lnTo>
                  <a:lnTo>
                    <a:pt x="54339" y="60754"/>
                  </a:lnTo>
                  <a:lnTo>
                    <a:pt x="55376" y="59999"/>
                  </a:lnTo>
                  <a:lnTo>
                    <a:pt x="56320" y="59056"/>
                  </a:lnTo>
                  <a:lnTo>
                    <a:pt x="57075" y="58395"/>
                  </a:lnTo>
                  <a:lnTo>
                    <a:pt x="57169" y="58207"/>
                  </a:lnTo>
                  <a:lnTo>
                    <a:pt x="57075" y="58207"/>
                  </a:lnTo>
                  <a:lnTo>
                    <a:pt x="57924" y="57546"/>
                  </a:lnTo>
                  <a:lnTo>
                    <a:pt x="58678" y="56697"/>
                  </a:lnTo>
                  <a:lnTo>
                    <a:pt x="59339" y="55754"/>
                  </a:lnTo>
                  <a:lnTo>
                    <a:pt x="59905" y="54905"/>
                  </a:lnTo>
                  <a:lnTo>
                    <a:pt x="59716" y="54999"/>
                  </a:lnTo>
                  <a:lnTo>
                    <a:pt x="59622" y="54999"/>
                  </a:lnTo>
                  <a:lnTo>
                    <a:pt x="59810" y="54622"/>
                  </a:lnTo>
                  <a:lnTo>
                    <a:pt x="59150" y="55565"/>
                  </a:lnTo>
                  <a:lnTo>
                    <a:pt x="59527" y="55094"/>
                  </a:lnTo>
                  <a:lnTo>
                    <a:pt x="59433" y="55377"/>
                  </a:lnTo>
                  <a:lnTo>
                    <a:pt x="58867" y="56037"/>
                  </a:lnTo>
                  <a:lnTo>
                    <a:pt x="59056" y="55660"/>
                  </a:lnTo>
                  <a:lnTo>
                    <a:pt x="59056" y="55660"/>
                  </a:lnTo>
                  <a:lnTo>
                    <a:pt x="58678" y="56037"/>
                  </a:lnTo>
                  <a:lnTo>
                    <a:pt x="59810" y="54339"/>
                  </a:lnTo>
                  <a:lnTo>
                    <a:pt x="60282" y="53490"/>
                  </a:lnTo>
                  <a:lnTo>
                    <a:pt x="60282" y="53301"/>
                  </a:lnTo>
                  <a:lnTo>
                    <a:pt x="60188" y="53395"/>
                  </a:lnTo>
                  <a:lnTo>
                    <a:pt x="60188" y="53395"/>
                  </a:lnTo>
                  <a:lnTo>
                    <a:pt x="60565" y="52924"/>
                  </a:lnTo>
                  <a:lnTo>
                    <a:pt x="61037" y="52452"/>
                  </a:lnTo>
                  <a:lnTo>
                    <a:pt x="61886" y="51509"/>
                  </a:lnTo>
                  <a:lnTo>
                    <a:pt x="61508" y="52452"/>
                  </a:lnTo>
                  <a:lnTo>
                    <a:pt x="60848" y="53584"/>
                  </a:lnTo>
                  <a:lnTo>
                    <a:pt x="59622" y="55565"/>
                  </a:lnTo>
                  <a:lnTo>
                    <a:pt x="60376" y="54528"/>
                  </a:lnTo>
                  <a:lnTo>
                    <a:pt x="60942" y="53678"/>
                  </a:lnTo>
                  <a:lnTo>
                    <a:pt x="61980" y="51792"/>
                  </a:lnTo>
                  <a:lnTo>
                    <a:pt x="61886" y="51886"/>
                  </a:lnTo>
                  <a:lnTo>
                    <a:pt x="61886" y="51697"/>
                  </a:lnTo>
                  <a:lnTo>
                    <a:pt x="62169" y="51037"/>
                  </a:lnTo>
                  <a:lnTo>
                    <a:pt x="62735" y="49999"/>
                  </a:lnTo>
                  <a:lnTo>
                    <a:pt x="61508" y="51603"/>
                  </a:lnTo>
                  <a:lnTo>
                    <a:pt x="61603" y="51037"/>
                  </a:lnTo>
                  <a:lnTo>
                    <a:pt x="61697" y="50377"/>
                  </a:lnTo>
                  <a:lnTo>
                    <a:pt x="62169" y="48962"/>
                  </a:lnTo>
                  <a:lnTo>
                    <a:pt x="62829" y="47358"/>
                  </a:lnTo>
                  <a:lnTo>
                    <a:pt x="63678" y="45565"/>
                  </a:lnTo>
                  <a:lnTo>
                    <a:pt x="65376" y="42169"/>
                  </a:lnTo>
                  <a:lnTo>
                    <a:pt x="66131" y="40660"/>
                  </a:lnTo>
                  <a:lnTo>
                    <a:pt x="66697" y="39339"/>
                  </a:lnTo>
                  <a:lnTo>
                    <a:pt x="66603" y="39528"/>
                  </a:lnTo>
                  <a:lnTo>
                    <a:pt x="66697" y="39056"/>
                  </a:lnTo>
                  <a:lnTo>
                    <a:pt x="66791" y="38962"/>
                  </a:lnTo>
                  <a:lnTo>
                    <a:pt x="66791" y="39056"/>
                  </a:lnTo>
                  <a:lnTo>
                    <a:pt x="66886" y="38584"/>
                  </a:lnTo>
                  <a:lnTo>
                    <a:pt x="66791" y="38867"/>
                  </a:lnTo>
                  <a:lnTo>
                    <a:pt x="66980" y="38207"/>
                  </a:lnTo>
                  <a:lnTo>
                    <a:pt x="67169" y="37264"/>
                  </a:lnTo>
                  <a:lnTo>
                    <a:pt x="67263" y="36415"/>
                  </a:lnTo>
                  <a:lnTo>
                    <a:pt x="67357" y="36509"/>
                  </a:lnTo>
                  <a:lnTo>
                    <a:pt x="67452" y="36509"/>
                  </a:lnTo>
                  <a:lnTo>
                    <a:pt x="67546" y="35943"/>
                  </a:lnTo>
                  <a:lnTo>
                    <a:pt x="67546" y="34811"/>
                  </a:lnTo>
                  <a:lnTo>
                    <a:pt x="67640" y="31037"/>
                  </a:lnTo>
                  <a:lnTo>
                    <a:pt x="67640" y="28490"/>
                  </a:lnTo>
                  <a:lnTo>
                    <a:pt x="67546" y="27736"/>
                  </a:lnTo>
                  <a:lnTo>
                    <a:pt x="67546" y="27547"/>
                  </a:lnTo>
                  <a:lnTo>
                    <a:pt x="67452" y="27547"/>
                  </a:lnTo>
                  <a:lnTo>
                    <a:pt x="67074" y="26792"/>
                  </a:lnTo>
                  <a:lnTo>
                    <a:pt x="66791" y="25660"/>
                  </a:lnTo>
                  <a:lnTo>
                    <a:pt x="66508" y="24528"/>
                  </a:lnTo>
                  <a:lnTo>
                    <a:pt x="66414" y="23585"/>
                  </a:lnTo>
                  <a:lnTo>
                    <a:pt x="66320" y="23679"/>
                  </a:lnTo>
                  <a:lnTo>
                    <a:pt x="66320" y="23490"/>
                  </a:lnTo>
                  <a:lnTo>
                    <a:pt x="65942" y="22924"/>
                  </a:lnTo>
                  <a:lnTo>
                    <a:pt x="65565" y="22358"/>
                  </a:lnTo>
                  <a:lnTo>
                    <a:pt x="64527" y="21132"/>
                  </a:lnTo>
                  <a:lnTo>
                    <a:pt x="63584" y="19906"/>
                  </a:lnTo>
                  <a:lnTo>
                    <a:pt x="63207" y="19340"/>
                  </a:lnTo>
                  <a:lnTo>
                    <a:pt x="63018" y="18774"/>
                  </a:lnTo>
                  <a:lnTo>
                    <a:pt x="63112" y="18962"/>
                  </a:lnTo>
                  <a:lnTo>
                    <a:pt x="63301" y="19057"/>
                  </a:lnTo>
                  <a:lnTo>
                    <a:pt x="63301" y="19057"/>
                  </a:lnTo>
                  <a:lnTo>
                    <a:pt x="63207" y="18868"/>
                  </a:lnTo>
                  <a:lnTo>
                    <a:pt x="62923" y="18491"/>
                  </a:lnTo>
                  <a:lnTo>
                    <a:pt x="61980" y="17453"/>
                  </a:lnTo>
                  <a:lnTo>
                    <a:pt x="61037" y="16509"/>
                  </a:lnTo>
                  <a:lnTo>
                    <a:pt x="61037" y="16698"/>
                  </a:lnTo>
                  <a:lnTo>
                    <a:pt x="61037" y="16887"/>
                  </a:lnTo>
                  <a:lnTo>
                    <a:pt x="60093" y="15943"/>
                  </a:lnTo>
                  <a:lnTo>
                    <a:pt x="60376" y="16321"/>
                  </a:lnTo>
                  <a:lnTo>
                    <a:pt x="59527" y="15377"/>
                  </a:lnTo>
                  <a:lnTo>
                    <a:pt x="59056" y="14906"/>
                  </a:lnTo>
                  <a:lnTo>
                    <a:pt x="59244" y="14906"/>
                  </a:lnTo>
                  <a:lnTo>
                    <a:pt x="59905" y="15472"/>
                  </a:lnTo>
                  <a:lnTo>
                    <a:pt x="59905" y="15472"/>
                  </a:lnTo>
                  <a:lnTo>
                    <a:pt x="57641" y="13396"/>
                  </a:lnTo>
                  <a:lnTo>
                    <a:pt x="58112" y="13868"/>
                  </a:lnTo>
                  <a:lnTo>
                    <a:pt x="56886" y="13019"/>
                  </a:lnTo>
                  <a:lnTo>
                    <a:pt x="55754" y="12453"/>
                  </a:lnTo>
                  <a:lnTo>
                    <a:pt x="56603" y="13113"/>
                  </a:lnTo>
                  <a:lnTo>
                    <a:pt x="57452" y="13774"/>
                  </a:lnTo>
                  <a:lnTo>
                    <a:pt x="58961" y="15283"/>
                  </a:lnTo>
                  <a:lnTo>
                    <a:pt x="60376" y="16604"/>
                  </a:lnTo>
                  <a:lnTo>
                    <a:pt x="61225" y="17264"/>
                  </a:lnTo>
                  <a:lnTo>
                    <a:pt x="62074" y="17925"/>
                  </a:lnTo>
                  <a:lnTo>
                    <a:pt x="62074" y="17925"/>
                  </a:lnTo>
                  <a:lnTo>
                    <a:pt x="61414" y="17547"/>
                  </a:lnTo>
                  <a:lnTo>
                    <a:pt x="60659" y="16981"/>
                  </a:lnTo>
                  <a:lnTo>
                    <a:pt x="60754" y="17264"/>
                  </a:lnTo>
                  <a:lnTo>
                    <a:pt x="60942" y="17642"/>
                  </a:lnTo>
                  <a:lnTo>
                    <a:pt x="61980" y="19151"/>
                  </a:lnTo>
                  <a:lnTo>
                    <a:pt x="63301" y="20943"/>
                  </a:lnTo>
                  <a:lnTo>
                    <a:pt x="63207" y="20943"/>
                  </a:lnTo>
                  <a:lnTo>
                    <a:pt x="63395" y="21038"/>
                  </a:lnTo>
                  <a:lnTo>
                    <a:pt x="63490" y="21321"/>
                  </a:lnTo>
                  <a:lnTo>
                    <a:pt x="63678" y="21604"/>
                  </a:lnTo>
                  <a:lnTo>
                    <a:pt x="63773" y="21698"/>
                  </a:lnTo>
                  <a:lnTo>
                    <a:pt x="63584" y="21321"/>
                  </a:lnTo>
                  <a:lnTo>
                    <a:pt x="63584" y="21321"/>
                  </a:lnTo>
                  <a:lnTo>
                    <a:pt x="64244" y="22170"/>
                  </a:lnTo>
                  <a:lnTo>
                    <a:pt x="64716" y="22641"/>
                  </a:lnTo>
                  <a:lnTo>
                    <a:pt x="64905" y="22830"/>
                  </a:lnTo>
                  <a:lnTo>
                    <a:pt x="64999" y="22830"/>
                  </a:lnTo>
                  <a:lnTo>
                    <a:pt x="64999" y="22641"/>
                  </a:lnTo>
                  <a:lnTo>
                    <a:pt x="64905" y="22358"/>
                  </a:lnTo>
                  <a:lnTo>
                    <a:pt x="65282" y="23207"/>
                  </a:lnTo>
                  <a:lnTo>
                    <a:pt x="65565" y="24056"/>
                  </a:lnTo>
                  <a:lnTo>
                    <a:pt x="66225" y="25943"/>
                  </a:lnTo>
                  <a:lnTo>
                    <a:pt x="66697" y="27830"/>
                  </a:lnTo>
                  <a:lnTo>
                    <a:pt x="66886" y="28490"/>
                  </a:lnTo>
                  <a:lnTo>
                    <a:pt x="66980" y="28868"/>
                  </a:lnTo>
                  <a:lnTo>
                    <a:pt x="66886" y="28962"/>
                  </a:lnTo>
                  <a:lnTo>
                    <a:pt x="66697" y="28679"/>
                  </a:lnTo>
                  <a:lnTo>
                    <a:pt x="66697" y="29245"/>
                  </a:lnTo>
                  <a:lnTo>
                    <a:pt x="66791" y="29905"/>
                  </a:lnTo>
                  <a:lnTo>
                    <a:pt x="66886" y="29905"/>
                  </a:lnTo>
                  <a:lnTo>
                    <a:pt x="66886" y="30094"/>
                  </a:lnTo>
                  <a:lnTo>
                    <a:pt x="66886" y="30566"/>
                  </a:lnTo>
                  <a:lnTo>
                    <a:pt x="66697" y="30377"/>
                  </a:lnTo>
                  <a:lnTo>
                    <a:pt x="66603" y="30188"/>
                  </a:lnTo>
                  <a:lnTo>
                    <a:pt x="66603" y="30094"/>
                  </a:lnTo>
                  <a:lnTo>
                    <a:pt x="66697" y="29905"/>
                  </a:lnTo>
                  <a:lnTo>
                    <a:pt x="66508" y="28679"/>
                  </a:lnTo>
                  <a:lnTo>
                    <a:pt x="66225" y="27358"/>
                  </a:lnTo>
                  <a:lnTo>
                    <a:pt x="66603" y="30283"/>
                  </a:lnTo>
                  <a:lnTo>
                    <a:pt x="66697" y="31792"/>
                  </a:lnTo>
                  <a:lnTo>
                    <a:pt x="66697" y="33302"/>
                  </a:lnTo>
                  <a:lnTo>
                    <a:pt x="66603" y="34717"/>
                  </a:lnTo>
                  <a:lnTo>
                    <a:pt x="66414" y="36226"/>
                  </a:lnTo>
                  <a:lnTo>
                    <a:pt x="66131" y="37547"/>
                  </a:lnTo>
                  <a:lnTo>
                    <a:pt x="65659" y="38962"/>
                  </a:lnTo>
                  <a:lnTo>
                    <a:pt x="65848" y="38584"/>
                  </a:lnTo>
                  <a:lnTo>
                    <a:pt x="65942" y="38584"/>
                  </a:lnTo>
                  <a:lnTo>
                    <a:pt x="65848" y="39245"/>
                  </a:lnTo>
                  <a:lnTo>
                    <a:pt x="65565" y="40188"/>
                  </a:lnTo>
                  <a:lnTo>
                    <a:pt x="65471" y="40471"/>
                  </a:lnTo>
                  <a:lnTo>
                    <a:pt x="65282" y="40660"/>
                  </a:lnTo>
                  <a:lnTo>
                    <a:pt x="65282" y="40566"/>
                  </a:lnTo>
                  <a:lnTo>
                    <a:pt x="65093" y="41132"/>
                  </a:lnTo>
                  <a:lnTo>
                    <a:pt x="64433" y="43018"/>
                  </a:lnTo>
                  <a:lnTo>
                    <a:pt x="63678" y="45282"/>
                  </a:lnTo>
                  <a:lnTo>
                    <a:pt x="62735" y="47264"/>
                  </a:lnTo>
                  <a:lnTo>
                    <a:pt x="61697" y="49056"/>
                  </a:lnTo>
                  <a:lnTo>
                    <a:pt x="60659" y="50943"/>
                  </a:lnTo>
                  <a:lnTo>
                    <a:pt x="59433" y="52735"/>
                  </a:lnTo>
                  <a:lnTo>
                    <a:pt x="58207" y="54433"/>
                  </a:lnTo>
                  <a:lnTo>
                    <a:pt x="56886" y="56037"/>
                  </a:lnTo>
                  <a:lnTo>
                    <a:pt x="55376" y="57641"/>
                  </a:lnTo>
                  <a:lnTo>
                    <a:pt x="53867" y="59150"/>
                  </a:lnTo>
                  <a:lnTo>
                    <a:pt x="52169" y="60376"/>
                  </a:lnTo>
                  <a:lnTo>
                    <a:pt x="48961" y="62452"/>
                  </a:lnTo>
                  <a:lnTo>
                    <a:pt x="44528" y="65282"/>
                  </a:lnTo>
                  <a:lnTo>
                    <a:pt x="44622" y="65188"/>
                  </a:lnTo>
                  <a:lnTo>
                    <a:pt x="44716" y="65093"/>
                  </a:lnTo>
                  <a:lnTo>
                    <a:pt x="45094" y="64810"/>
                  </a:lnTo>
                  <a:lnTo>
                    <a:pt x="45660" y="64527"/>
                  </a:lnTo>
                  <a:lnTo>
                    <a:pt x="43867" y="65376"/>
                  </a:lnTo>
                  <a:lnTo>
                    <a:pt x="43113" y="65754"/>
                  </a:lnTo>
                  <a:lnTo>
                    <a:pt x="42924" y="65754"/>
                  </a:lnTo>
                  <a:lnTo>
                    <a:pt x="43113" y="65659"/>
                  </a:lnTo>
                  <a:lnTo>
                    <a:pt x="41603" y="66037"/>
                  </a:lnTo>
                  <a:lnTo>
                    <a:pt x="39999" y="66320"/>
                  </a:lnTo>
                  <a:lnTo>
                    <a:pt x="38396" y="66508"/>
                  </a:lnTo>
                  <a:lnTo>
                    <a:pt x="36792" y="66697"/>
                  </a:lnTo>
                  <a:lnTo>
                    <a:pt x="33584" y="66980"/>
                  </a:lnTo>
                  <a:lnTo>
                    <a:pt x="32169" y="67169"/>
                  </a:lnTo>
                  <a:lnTo>
                    <a:pt x="30754" y="67357"/>
                  </a:lnTo>
                  <a:lnTo>
                    <a:pt x="30094" y="67357"/>
                  </a:lnTo>
                  <a:lnTo>
                    <a:pt x="29339" y="67263"/>
                  </a:lnTo>
                  <a:lnTo>
                    <a:pt x="27830" y="66886"/>
                  </a:lnTo>
                  <a:lnTo>
                    <a:pt x="26415" y="66508"/>
                  </a:lnTo>
                  <a:lnTo>
                    <a:pt x="25754" y="66414"/>
                  </a:lnTo>
                  <a:lnTo>
                    <a:pt x="25094" y="66414"/>
                  </a:lnTo>
                  <a:lnTo>
                    <a:pt x="25566" y="66980"/>
                  </a:lnTo>
                  <a:lnTo>
                    <a:pt x="25471" y="67074"/>
                  </a:lnTo>
                  <a:lnTo>
                    <a:pt x="25188" y="66980"/>
                  </a:lnTo>
                  <a:lnTo>
                    <a:pt x="24339" y="66791"/>
                  </a:lnTo>
                  <a:lnTo>
                    <a:pt x="23773" y="66508"/>
                  </a:lnTo>
                  <a:lnTo>
                    <a:pt x="24245" y="66414"/>
                  </a:lnTo>
                  <a:lnTo>
                    <a:pt x="24717" y="66603"/>
                  </a:lnTo>
                  <a:lnTo>
                    <a:pt x="24811" y="66414"/>
                  </a:lnTo>
                  <a:lnTo>
                    <a:pt x="24811" y="66320"/>
                  </a:lnTo>
                  <a:lnTo>
                    <a:pt x="24717" y="66225"/>
                  </a:lnTo>
                  <a:lnTo>
                    <a:pt x="24528" y="66131"/>
                  </a:lnTo>
                  <a:lnTo>
                    <a:pt x="24151" y="66225"/>
                  </a:lnTo>
                  <a:lnTo>
                    <a:pt x="23679" y="66320"/>
                  </a:lnTo>
                  <a:lnTo>
                    <a:pt x="23018" y="66414"/>
                  </a:lnTo>
                  <a:lnTo>
                    <a:pt x="23490" y="66225"/>
                  </a:lnTo>
                  <a:lnTo>
                    <a:pt x="22075" y="65942"/>
                  </a:lnTo>
                  <a:lnTo>
                    <a:pt x="20943" y="65659"/>
                  </a:lnTo>
                  <a:lnTo>
                    <a:pt x="20000" y="65282"/>
                  </a:lnTo>
                  <a:lnTo>
                    <a:pt x="19056" y="64810"/>
                  </a:lnTo>
                  <a:lnTo>
                    <a:pt x="19056" y="64810"/>
                  </a:lnTo>
                  <a:lnTo>
                    <a:pt x="19717" y="64999"/>
                  </a:lnTo>
                  <a:lnTo>
                    <a:pt x="19151" y="64716"/>
                  </a:lnTo>
                  <a:lnTo>
                    <a:pt x="18962" y="64810"/>
                  </a:lnTo>
                  <a:lnTo>
                    <a:pt x="19151" y="64905"/>
                  </a:lnTo>
                  <a:lnTo>
                    <a:pt x="18490" y="64905"/>
                  </a:lnTo>
                  <a:lnTo>
                    <a:pt x="17830" y="64716"/>
                  </a:lnTo>
                  <a:lnTo>
                    <a:pt x="17264" y="64527"/>
                  </a:lnTo>
                  <a:lnTo>
                    <a:pt x="16698" y="64150"/>
                  </a:lnTo>
                  <a:lnTo>
                    <a:pt x="16981" y="64056"/>
                  </a:lnTo>
                  <a:lnTo>
                    <a:pt x="17264" y="64150"/>
                  </a:lnTo>
                  <a:lnTo>
                    <a:pt x="17264" y="64150"/>
                  </a:lnTo>
                  <a:lnTo>
                    <a:pt x="15188" y="63207"/>
                  </a:lnTo>
                  <a:lnTo>
                    <a:pt x="14622" y="62829"/>
                  </a:lnTo>
                  <a:lnTo>
                    <a:pt x="14717" y="62924"/>
                  </a:lnTo>
                  <a:lnTo>
                    <a:pt x="13773" y="62546"/>
                  </a:lnTo>
                  <a:lnTo>
                    <a:pt x="12924" y="62075"/>
                  </a:lnTo>
                  <a:lnTo>
                    <a:pt x="12358" y="61697"/>
                  </a:lnTo>
                  <a:lnTo>
                    <a:pt x="12264" y="61508"/>
                  </a:lnTo>
                  <a:lnTo>
                    <a:pt x="12170" y="61320"/>
                  </a:lnTo>
                  <a:lnTo>
                    <a:pt x="11698" y="60942"/>
                  </a:lnTo>
                  <a:lnTo>
                    <a:pt x="11132" y="60471"/>
                  </a:lnTo>
                  <a:lnTo>
                    <a:pt x="9906" y="59244"/>
                  </a:lnTo>
                  <a:lnTo>
                    <a:pt x="9906" y="59244"/>
                  </a:lnTo>
                  <a:lnTo>
                    <a:pt x="10566" y="59527"/>
                  </a:lnTo>
                  <a:lnTo>
                    <a:pt x="9434" y="58584"/>
                  </a:lnTo>
                  <a:lnTo>
                    <a:pt x="8207" y="57546"/>
                  </a:lnTo>
                  <a:lnTo>
                    <a:pt x="7547" y="56886"/>
                  </a:lnTo>
                  <a:lnTo>
                    <a:pt x="6981" y="56131"/>
                  </a:lnTo>
                  <a:lnTo>
                    <a:pt x="6226" y="55094"/>
                  </a:lnTo>
                  <a:lnTo>
                    <a:pt x="6415" y="55377"/>
                  </a:lnTo>
                  <a:lnTo>
                    <a:pt x="6038" y="54905"/>
                  </a:lnTo>
                  <a:lnTo>
                    <a:pt x="5472" y="54244"/>
                  </a:lnTo>
                  <a:lnTo>
                    <a:pt x="5283" y="53961"/>
                  </a:lnTo>
                  <a:lnTo>
                    <a:pt x="5094" y="53867"/>
                  </a:lnTo>
                  <a:lnTo>
                    <a:pt x="5377" y="54622"/>
                  </a:lnTo>
                  <a:lnTo>
                    <a:pt x="5849" y="55282"/>
                  </a:lnTo>
                  <a:lnTo>
                    <a:pt x="6321" y="55943"/>
                  </a:lnTo>
                  <a:lnTo>
                    <a:pt x="6698" y="56603"/>
                  </a:lnTo>
                  <a:lnTo>
                    <a:pt x="6226" y="56226"/>
                  </a:lnTo>
                  <a:lnTo>
                    <a:pt x="5943" y="55848"/>
                  </a:lnTo>
                  <a:lnTo>
                    <a:pt x="6038" y="56037"/>
                  </a:lnTo>
                  <a:lnTo>
                    <a:pt x="5943" y="55943"/>
                  </a:lnTo>
                  <a:lnTo>
                    <a:pt x="5377" y="55188"/>
                  </a:lnTo>
                  <a:lnTo>
                    <a:pt x="5000" y="54716"/>
                  </a:lnTo>
                  <a:lnTo>
                    <a:pt x="4717" y="54150"/>
                  </a:lnTo>
                  <a:lnTo>
                    <a:pt x="4528" y="53678"/>
                  </a:lnTo>
                  <a:lnTo>
                    <a:pt x="4528" y="53584"/>
                  </a:lnTo>
                  <a:lnTo>
                    <a:pt x="4623" y="53395"/>
                  </a:lnTo>
                  <a:lnTo>
                    <a:pt x="5094" y="54244"/>
                  </a:lnTo>
                  <a:lnTo>
                    <a:pt x="4717" y="53301"/>
                  </a:lnTo>
                  <a:lnTo>
                    <a:pt x="4528" y="53018"/>
                  </a:lnTo>
                  <a:lnTo>
                    <a:pt x="4151" y="52263"/>
                  </a:lnTo>
                  <a:lnTo>
                    <a:pt x="4151" y="52169"/>
                  </a:lnTo>
                  <a:lnTo>
                    <a:pt x="3774" y="51509"/>
                  </a:lnTo>
                  <a:lnTo>
                    <a:pt x="3396" y="50660"/>
                  </a:lnTo>
                  <a:lnTo>
                    <a:pt x="3585" y="51603"/>
                  </a:lnTo>
                  <a:lnTo>
                    <a:pt x="3396" y="51226"/>
                  </a:lnTo>
                  <a:lnTo>
                    <a:pt x="3208" y="50848"/>
                  </a:lnTo>
                  <a:lnTo>
                    <a:pt x="3208" y="50471"/>
                  </a:lnTo>
                  <a:lnTo>
                    <a:pt x="3208" y="50094"/>
                  </a:lnTo>
                  <a:lnTo>
                    <a:pt x="3585" y="50754"/>
                  </a:lnTo>
                  <a:lnTo>
                    <a:pt x="3868" y="51509"/>
                  </a:lnTo>
                  <a:lnTo>
                    <a:pt x="3868" y="51509"/>
                  </a:lnTo>
                  <a:lnTo>
                    <a:pt x="3208" y="49528"/>
                  </a:lnTo>
                  <a:lnTo>
                    <a:pt x="3208" y="49528"/>
                  </a:lnTo>
                  <a:lnTo>
                    <a:pt x="3868" y="50754"/>
                  </a:lnTo>
                  <a:lnTo>
                    <a:pt x="3208" y="48962"/>
                  </a:lnTo>
                  <a:lnTo>
                    <a:pt x="3585" y="49339"/>
                  </a:lnTo>
                  <a:lnTo>
                    <a:pt x="3774" y="49433"/>
                  </a:lnTo>
                  <a:lnTo>
                    <a:pt x="3962" y="49528"/>
                  </a:lnTo>
                  <a:lnTo>
                    <a:pt x="4057" y="49905"/>
                  </a:lnTo>
                  <a:lnTo>
                    <a:pt x="3868" y="48962"/>
                  </a:lnTo>
                  <a:lnTo>
                    <a:pt x="3491" y="47924"/>
                  </a:lnTo>
                  <a:lnTo>
                    <a:pt x="2641" y="45565"/>
                  </a:lnTo>
                  <a:lnTo>
                    <a:pt x="2170" y="43867"/>
                  </a:lnTo>
                  <a:lnTo>
                    <a:pt x="1698" y="41886"/>
                  </a:lnTo>
                  <a:lnTo>
                    <a:pt x="1698" y="41886"/>
                  </a:lnTo>
                  <a:lnTo>
                    <a:pt x="1887" y="42075"/>
                  </a:lnTo>
                  <a:lnTo>
                    <a:pt x="1981" y="41981"/>
                  </a:lnTo>
                  <a:lnTo>
                    <a:pt x="2075" y="42075"/>
                  </a:lnTo>
                  <a:lnTo>
                    <a:pt x="2264" y="42169"/>
                  </a:lnTo>
                  <a:lnTo>
                    <a:pt x="2170" y="40283"/>
                  </a:lnTo>
                  <a:lnTo>
                    <a:pt x="2075" y="38301"/>
                  </a:lnTo>
                  <a:lnTo>
                    <a:pt x="2170" y="36415"/>
                  </a:lnTo>
                  <a:lnTo>
                    <a:pt x="2358" y="35566"/>
                  </a:lnTo>
                  <a:lnTo>
                    <a:pt x="2453" y="34811"/>
                  </a:lnTo>
                  <a:lnTo>
                    <a:pt x="2830" y="32830"/>
                  </a:lnTo>
                  <a:lnTo>
                    <a:pt x="2830" y="33207"/>
                  </a:lnTo>
                  <a:lnTo>
                    <a:pt x="2924" y="33490"/>
                  </a:lnTo>
                  <a:lnTo>
                    <a:pt x="2924" y="32453"/>
                  </a:lnTo>
                  <a:lnTo>
                    <a:pt x="3019" y="31415"/>
                  </a:lnTo>
                  <a:lnTo>
                    <a:pt x="3396" y="29245"/>
                  </a:lnTo>
                  <a:lnTo>
                    <a:pt x="3868" y="27075"/>
                  </a:lnTo>
                  <a:lnTo>
                    <a:pt x="4623" y="25000"/>
                  </a:lnTo>
                  <a:lnTo>
                    <a:pt x="5566" y="22830"/>
                  </a:lnTo>
                  <a:lnTo>
                    <a:pt x="6604" y="20849"/>
                  </a:lnTo>
                  <a:lnTo>
                    <a:pt x="7830" y="18868"/>
                  </a:lnTo>
                  <a:lnTo>
                    <a:pt x="9151" y="16887"/>
                  </a:lnTo>
                  <a:lnTo>
                    <a:pt x="10566" y="15094"/>
                  </a:lnTo>
                  <a:lnTo>
                    <a:pt x="12075" y="13302"/>
                  </a:lnTo>
                  <a:lnTo>
                    <a:pt x="13773" y="11698"/>
                  </a:lnTo>
                  <a:lnTo>
                    <a:pt x="15377" y="10095"/>
                  </a:lnTo>
                  <a:lnTo>
                    <a:pt x="17170" y="8679"/>
                  </a:lnTo>
                  <a:lnTo>
                    <a:pt x="18962" y="7453"/>
                  </a:lnTo>
                  <a:lnTo>
                    <a:pt x="20754" y="6321"/>
                  </a:lnTo>
                  <a:lnTo>
                    <a:pt x="22547" y="5378"/>
                  </a:lnTo>
                  <a:lnTo>
                    <a:pt x="21603" y="6227"/>
                  </a:lnTo>
                  <a:lnTo>
                    <a:pt x="22641" y="5472"/>
                  </a:lnTo>
                  <a:lnTo>
                    <a:pt x="23302" y="5095"/>
                  </a:lnTo>
                  <a:lnTo>
                    <a:pt x="25377" y="4151"/>
                  </a:lnTo>
                  <a:lnTo>
                    <a:pt x="24811" y="4151"/>
                  </a:lnTo>
                  <a:lnTo>
                    <a:pt x="25660" y="3774"/>
                  </a:lnTo>
                  <a:lnTo>
                    <a:pt x="26886" y="3208"/>
                  </a:lnTo>
                  <a:lnTo>
                    <a:pt x="26603" y="3585"/>
                  </a:lnTo>
                  <a:lnTo>
                    <a:pt x="26886" y="3585"/>
                  </a:lnTo>
                  <a:lnTo>
                    <a:pt x="26886" y="3680"/>
                  </a:lnTo>
                  <a:lnTo>
                    <a:pt x="26792" y="3774"/>
                  </a:lnTo>
                  <a:lnTo>
                    <a:pt x="28301" y="3302"/>
                  </a:lnTo>
                  <a:lnTo>
                    <a:pt x="29622" y="2736"/>
                  </a:lnTo>
                  <a:lnTo>
                    <a:pt x="31037" y="2264"/>
                  </a:lnTo>
                  <a:lnTo>
                    <a:pt x="31792" y="2076"/>
                  </a:lnTo>
                  <a:lnTo>
                    <a:pt x="32641" y="1981"/>
                  </a:lnTo>
                  <a:lnTo>
                    <a:pt x="32547" y="2076"/>
                  </a:lnTo>
                  <a:lnTo>
                    <a:pt x="32924" y="1981"/>
                  </a:lnTo>
                  <a:lnTo>
                    <a:pt x="34245" y="1793"/>
                  </a:lnTo>
                  <a:lnTo>
                    <a:pt x="35848" y="1415"/>
                  </a:lnTo>
                  <a:lnTo>
                    <a:pt x="36981" y="1132"/>
                  </a:lnTo>
                  <a:lnTo>
                    <a:pt x="36981" y="1415"/>
                  </a:lnTo>
                  <a:lnTo>
                    <a:pt x="40943" y="1227"/>
                  </a:lnTo>
                  <a:lnTo>
                    <a:pt x="41509" y="1038"/>
                  </a:lnTo>
                  <a:lnTo>
                    <a:pt x="41697" y="1132"/>
                  </a:lnTo>
                  <a:lnTo>
                    <a:pt x="41509" y="1227"/>
                  </a:lnTo>
                  <a:lnTo>
                    <a:pt x="41320" y="1321"/>
                  </a:lnTo>
                  <a:lnTo>
                    <a:pt x="42263" y="1321"/>
                  </a:lnTo>
                  <a:lnTo>
                    <a:pt x="43113" y="1227"/>
                  </a:lnTo>
                  <a:lnTo>
                    <a:pt x="43396" y="1415"/>
                  </a:lnTo>
                  <a:lnTo>
                    <a:pt x="44056" y="1604"/>
                  </a:lnTo>
                  <a:lnTo>
                    <a:pt x="45943" y="2076"/>
                  </a:lnTo>
                  <a:lnTo>
                    <a:pt x="48018" y="2359"/>
                  </a:lnTo>
                  <a:lnTo>
                    <a:pt x="49622" y="2736"/>
                  </a:lnTo>
                  <a:lnTo>
                    <a:pt x="47641" y="1981"/>
                  </a:lnTo>
                  <a:lnTo>
                    <a:pt x="45282" y="1321"/>
                  </a:lnTo>
                  <a:lnTo>
                    <a:pt x="42735" y="755"/>
                  </a:lnTo>
                  <a:lnTo>
                    <a:pt x="40188" y="283"/>
                  </a:lnTo>
                  <a:lnTo>
                    <a:pt x="37735" y="95"/>
                  </a:lnTo>
                  <a:lnTo>
                    <a:pt x="35471" y="0"/>
                  </a:lnTo>
                  <a:close/>
                </a:path>
              </a:pathLst>
            </a:custGeom>
            <a:solidFill>
              <a:schemeClr val="bg1">
                <a:lumMod val="95000"/>
              </a:schemeClr>
            </a:solidFill>
            <a:ln w="0">
              <a:solidFill>
                <a:srgbClr val="0079D1"/>
              </a:solidFill>
            </a:ln>
          </p:spPr>
          <p:txBody>
            <a:bodyPr spcFirstLastPara="1" wrap="square" lIns="91425" tIns="91425" rIns="91425" bIns="91425" anchor="ctr" anchorCtr="0">
              <a:noAutofit/>
            </a:bodyPr>
            <a:lstStyle/>
            <a:p>
              <a:pPr marL="0" lvl="0" indent="0">
                <a:spcBef>
                  <a:spcPts val="0"/>
                </a:spcBef>
                <a:spcAft>
                  <a:spcPts val="0"/>
                </a:spcAft>
                <a:buNone/>
              </a:pPr>
              <a:endParaRPr sz="1200">
                <a:latin typeface="+mj-lt"/>
              </a:endParaRPr>
            </a:p>
          </p:txBody>
        </p:sp>
        <p:sp>
          <p:nvSpPr>
            <p:cNvPr id="583" name="TextBox 582">
              <a:extLst>
                <a:ext uri="{FF2B5EF4-FFF2-40B4-BE49-F238E27FC236}">
                  <a16:creationId xmlns:a16="http://schemas.microsoft.com/office/drawing/2014/main" id="{8C5B290E-47DB-FA42-AA80-8199B02A7948}"/>
                </a:ext>
              </a:extLst>
            </p:cNvPr>
            <p:cNvSpPr txBox="1"/>
            <p:nvPr/>
          </p:nvSpPr>
          <p:spPr>
            <a:xfrm>
              <a:off x="8676898" y="4619460"/>
              <a:ext cx="229951" cy="200055"/>
            </a:xfrm>
            <a:prstGeom prst="rect">
              <a:avLst/>
            </a:prstGeom>
            <a:noFill/>
          </p:spPr>
          <p:txBody>
            <a:bodyPr wrap="square" rtlCol="0">
              <a:spAutoFit/>
            </a:bodyPr>
            <a:lstStyle/>
            <a:p>
              <a:r>
                <a:rPr lang="en-US" sz="700" b="1" dirty="0">
                  <a:solidFill>
                    <a:srgbClr val="0079D1"/>
                  </a:solidFill>
                  <a:latin typeface="+mj-lt"/>
                </a:rPr>
                <a:t>D</a:t>
              </a:r>
            </a:p>
          </p:txBody>
        </p:sp>
      </p:grpSp>
      <p:grpSp>
        <p:nvGrpSpPr>
          <p:cNvPr id="584" name="Group 583">
            <a:extLst>
              <a:ext uri="{FF2B5EF4-FFF2-40B4-BE49-F238E27FC236}">
                <a16:creationId xmlns:a16="http://schemas.microsoft.com/office/drawing/2014/main" id="{1AF030F1-5698-C648-A6B8-1D594C9115CB}"/>
              </a:ext>
            </a:extLst>
          </p:cNvPr>
          <p:cNvGrpSpPr/>
          <p:nvPr/>
        </p:nvGrpSpPr>
        <p:grpSpPr>
          <a:xfrm>
            <a:off x="3210462" y="3255472"/>
            <a:ext cx="229951" cy="200055"/>
            <a:chOff x="8676898" y="4619460"/>
            <a:chExt cx="229951" cy="200055"/>
          </a:xfrm>
        </p:grpSpPr>
        <p:sp>
          <p:nvSpPr>
            <p:cNvPr id="585" name="Google Shape;431;p39">
              <a:extLst>
                <a:ext uri="{FF2B5EF4-FFF2-40B4-BE49-F238E27FC236}">
                  <a16:creationId xmlns:a16="http://schemas.microsoft.com/office/drawing/2014/main" id="{E88C7D51-449C-1941-B2F8-89CA636C3C33}"/>
                </a:ext>
              </a:extLst>
            </p:cNvPr>
            <p:cNvSpPr/>
            <p:nvPr/>
          </p:nvSpPr>
          <p:spPr>
            <a:xfrm>
              <a:off x="8709950" y="4635551"/>
              <a:ext cx="179407" cy="167874"/>
            </a:xfrm>
            <a:custGeom>
              <a:avLst/>
              <a:gdLst/>
              <a:ahLst/>
              <a:cxnLst/>
              <a:rect l="0" t="0" r="0" b="0"/>
              <a:pathLst>
                <a:path w="67641" h="69056" extrusionOk="0">
                  <a:moveTo>
                    <a:pt x="49622" y="2736"/>
                  </a:moveTo>
                  <a:lnTo>
                    <a:pt x="49622" y="2736"/>
                  </a:lnTo>
                  <a:lnTo>
                    <a:pt x="49622" y="2736"/>
                  </a:lnTo>
                  <a:close/>
                  <a:moveTo>
                    <a:pt x="59622" y="55565"/>
                  </a:moveTo>
                  <a:lnTo>
                    <a:pt x="59622" y="55565"/>
                  </a:lnTo>
                  <a:lnTo>
                    <a:pt x="59622" y="55565"/>
                  </a:lnTo>
                  <a:close/>
                  <a:moveTo>
                    <a:pt x="35471" y="0"/>
                  </a:moveTo>
                  <a:lnTo>
                    <a:pt x="34433" y="95"/>
                  </a:lnTo>
                  <a:lnTo>
                    <a:pt x="33584" y="189"/>
                  </a:lnTo>
                  <a:lnTo>
                    <a:pt x="32735" y="378"/>
                  </a:lnTo>
                  <a:lnTo>
                    <a:pt x="32169" y="566"/>
                  </a:lnTo>
                  <a:lnTo>
                    <a:pt x="31509" y="472"/>
                  </a:lnTo>
                  <a:lnTo>
                    <a:pt x="30754" y="472"/>
                  </a:lnTo>
                  <a:lnTo>
                    <a:pt x="29339" y="566"/>
                  </a:lnTo>
                  <a:lnTo>
                    <a:pt x="27830" y="849"/>
                  </a:lnTo>
                  <a:lnTo>
                    <a:pt x="26320" y="1321"/>
                  </a:lnTo>
                  <a:lnTo>
                    <a:pt x="24811" y="1981"/>
                  </a:lnTo>
                  <a:lnTo>
                    <a:pt x="23207" y="2736"/>
                  </a:lnTo>
                  <a:lnTo>
                    <a:pt x="21698" y="3585"/>
                  </a:lnTo>
                  <a:lnTo>
                    <a:pt x="20188" y="4623"/>
                  </a:lnTo>
                  <a:lnTo>
                    <a:pt x="18679" y="5661"/>
                  </a:lnTo>
                  <a:lnTo>
                    <a:pt x="17170" y="6793"/>
                  </a:lnTo>
                  <a:lnTo>
                    <a:pt x="15754" y="8019"/>
                  </a:lnTo>
                  <a:lnTo>
                    <a:pt x="14434" y="9151"/>
                  </a:lnTo>
                  <a:lnTo>
                    <a:pt x="11981" y="11510"/>
                  </a:lnTo>
                  <a:lnTo>
                    <a:pt x="10000" y="13774"/>
                  </a:lnTo>
                  <a:lnTo>
                    <a:pt x="7736" y="16981"/>
                  </a:lnTo>
                  <a:lnTo>
                    <a:pt x="8019" y="16321"/>
                  </a:lnTo>
                  <a:lnTo>
                    <a:pt x="8302" y="15660"/>
                  </a:lnTo>
                  <a:lnTo>
                    <a:pt x="7736" y="16604"/>
                  </a:lnTo>
                  <a:lnTo>
                    <a:pt x="7075" y="17642"/>
                  </a:lnTo>
                  <a:lnTo>
                    <a:pt x="7170" y="17830"/>
                  </a:lnTo>
                  <a:lnTo>
                    <a:pt x="6509" y="18868"/>
                  </a:lnTo>
                  <a:lnTo>
                    <a:pt x="7075" y="17359"/>
                  </a:lnTo>
                  <a:lnTo>
                    <a:pt x="6132" y="19057"/>
                  </a:lnTo>
                  <a:lnTo>
                    <a:pt x="5189" y="20849"/>
                  </a:lnTo>
                  <a:lnTo>
                    <a:pt x="4434" y="22736"/>
                  </a:lnTo>
                  <a:lnTo>
                    <a:pt x="3679" y="24622"/>
                  </a:lnTo>
                  <a:lnTo>
                    <a:pt x="2453" y="28490"/>
                  </a:lnTo>
                  <a:lnTo>
                    <a:pt x="1321" y="32169"/>
                  </a:lnTo>
                  <a:lnTo>
                    <a:pt x="1509" y="32264"/>
                  </a:lnTo>
                  <a:lnTo>
                    <a:pt x="1604" y="32453"/>
                  </a:lnTo>
                  <a:lnTo>
                    <a:pt x="1604" y="32641"/>
                  </a:lnTo>
                  <a:lnTo>
                    <a:pt x="1509" y="32924"/>
                  </a:lnTo>
                  <a:lnTo>
                    <a:pt x="1226" y="33396"/>
                  </a:lnTo>
                  <a:lnTo>
                    <a:pt x="1038" y="33585"/>
                  </a:lnTo>
                  <a:lnTo>
                    <a:pt x="1038" y="33773"/>
                  </a:lnTo>
                  <a:lnTo>
                    <a:pt x="1038" y="35000"/>
                  </a:lnTo>
                  <a:lnTo>
                    <a:pt x="849" y="36132"/>
                  </a:lnTo>
                  <a:lnTo>
                    <a:pt x="660" y="37358"/>
                  </a:lnTo>
                  <a:lnTo>
                    <a:pt x="472" y="38867"/>
                  </a:lnTo>
                  <a:lnTo>
                    <a:pt x="283" y="38301"/>
                  </a:lnTo>
                  <a:lnTo>
                    <a:pt x="94" y="39811"/>
                  </a:lnTo>
                  <a:lnTo>
                    <a:pt x="0" y="41509"/>
                  </a:lnTo>
                  <a:lnTo>
                    <a:pt x="94" y="43301"/>
                  </a:lnTo>
                  <a:lnTo>
                    <a:pt x="283" y="44056"/>
                  </a:lnTo>
                  <a:lnTo>
                    <a:pt x="472" y="44622"/>
                  </a:lnTo>
                  <a:lnTo>
                    <a:pt x="566" y="45660"/>
                  </a:lnTo>
                  <a:lnTo>
                    <a:pt x="755" y="46792"/>
                  </a:lnTo>
                  <a:lnTo>
                    <a:pt x="1226" y="48962"/>
                  </a:lnTo>
                  <a:lnTo>
                    <a:pt x="1981" y="51037"/>
                  </a:lnTo>
                  <a:lnTo>
                    <a:pt x="2924" y="53112"/>
                  </a:lnTo>
                  <a:lnTo>
                    <a:pt x="4057" y="55094"/>
                  </a:lnTo>
                  <a:lnTo>
                    <a:pt x="5283" y="56980"/>
                  </a:lnTo>
                  <a:lnTo>
                    <a:pt x="6698" y="58678"/>
                  </a:lnTo>
                  <a:lnTo>
                    <a:pt x="8113" y="60282"/>
                  </a:lnTo>
                  <a:lnTo>
                    <a:pt x="9056" y="61131"/>
                  </a:lnTo>
                  <a:lnTo>
                    <a:pt x="10000" y="61980"/>
                  </a:lnTo>
                  <a:lnTo>
                    <a:pt x="11038" y="62829"/>
                  </a:lnTo>
                  <a:lnTo>
                    <a:pt x="12075" y="63584"/>
                  </a:lnTo>
                  <a:lnTo>
                    <a:pt x="14339" y="64905"/>
                  </a:lnTo>
                  <a:lnTo>
                    <a:pt x="16604" y="66131"/>
                  </a:lnTo>
                  <a:lnTo>
                    <a:pt x="19056" y="67169"/>
                  </a:lnTo>
                  <a:lnTo>
                    <a:pt x="21509" y="67923"/>
                  </a:lnTo>
                  <a:lnTo>
                    <a:pt x="24056" y="68584"/>
                  </a:lnTo>
                  <a:lnTo>
                    <a:pt x="26603" y="69055"/>
                  </a:lnTo>
                  <a:lnTo>
                    <a:pt x="27830" y="69055"/>
                  </a:lnTo>
                  <a:lnTo>
                    <a:pt x="30188" y="68867"/>
                  </a:lnTo>
                  <a:lnTo>
                    <a:pt x="33113" y="68678"/>
                  </a:lnTo>
                  <a:lnTo>
                    <a:pt x="36509" y="68301"/>
                  </a:lnTo>
                  <a:lnTo>
                    <a:pt x="39811" y="67923"/>
                  </a:lnTo>
                  <a:lnTo>
                    <a:pt x="42735" y="67452"/>
                  </a:lnTo>
                  <a:lnTo>
                    <a:pt x="44905" y="66980"/>
                  </a:lnTo>
                  <a:lnTo>
                    <a:pt x="45565" y="66791"/>
                  </a:lnTo>
                  <a:lnTo>
                    <a:pt x="45943" y="66508"/>
                  </a:lnTo>
                  <a:lnTo>
                    <a:pt x="47358" y="65942"/>
                  </a:lnTo>
                  <a:lnTo>
                    <a:pt x="48018" y="65565"/>
                  </a:lnTo>
                  <a:lnTo>
                    <a:pt x="48678" y="65188"/>
                  </a:lnTo>
                  <a:lnTo>
                    <a:pt x="47924" y="65471"/>
                  </a:lnTo>
                  <a:lnTo>
                    <a:pt x="51509" y="62924"/>
                  </a:lnTo>
                  <a:lnTo>
                    <a:pt x="53301" y="61508"/>
                  </a:lnTo>
                  <a:lnTo>
                    <a:pt x="55093" y="59905"/>
                  </a:lnTo>
                  <a:lnTo>
                    <a:pt x="55093" y="59905"/>
                  </a:lnTo>
                  <a:lnTo>
                    <a:pt x="54810" y="60376"/>
                  </a:lnTo>
                  <a:lnTo>
                    <a:pt x="54339" y="60754"/>
                  </a:lnTo>
                  <a:lnTo>
                    <a:pt x="55376" y="59999"/>
                  </a:lnTo>
                  <a:lnTo>
                    <a:pt x="56320" y="59056"/>
                  </a:lnTo>
                  <a:lnTo>
                    <a:pt x="57075" y="58395"/>
                  </a:lnTo>
                  <a:lnTo>
                    <a:pt x="57169" y="58207"/>
                  </a:lnTo>
                  <a:lnTo>
                    <a:pt x="57075" y="58207"/>
                  </a:lnTo>
                  <a:lnTo>
                    <a:pt x="57924" y="57546"/>
                  </a:lnTo>
                  <a:lnTo>
                    <a:pt x="58678" y="56697"/>
                  </a:lnTo>
                  <a:lnTo>
                    <a:pt x="59339" y="55754"/>
                  </a:lnTo>
                  <a:lnTo>
                    <a:pt x="59905" y="54905"/>
                  </a:lnTo>
                  <a:lnTo>
                    <a:pt x="59716" y="54999"/>
                  </a:lnTo>
                  <a:lnTo>
                    <a:pt x="59622" y="54999"/>
                  </a:lnTo>
                  <a:lnTo>
                    <a:pt x="59810" y="54622"/>
                  </a:lnTo>
                  <a:lnTo>
                    <a:pt x="59150" y="55565"/>
                  </a:lnTo>
                  <a:lnTo>
                    <a:pt x="59527" y="55094"/>
                  </a:lnTo>
                  <a:lnTo>
                    <a:pt x="59433" y="55377"/>
                  </a:lnTo>
                  <a:lnTo>
                    <a:pt x="58867" y="56037"/>
                  </a:lnTo>
                  <a:lnTo>
                    <a:pt x="59056" y="55660"/>
                  </a:lnTo>
                  <a:lnTo>
                    <a:pt x="59056" y="55660"/>
                  </a:lnTo>
                  <a:lnTo>
                    <a:pt x="58678" y="56037"/>
                  </a:lnTo>
                  <a:lnTo>
                    <a:pt x="59810" y="54339"/>
                  </a:lnTo>
                  <a:lnTo>
                    <a:pt x="60282" y="53490"/>
                  </a:lnTo>
                  <a:lnTo>
                    <a:pt x="60282" y="53301"/>
                  </a:lnTo>
                  <a:lnTo>
                    <a:pt x="60188" y="53395"/>
                  </a:lnTo>
                  <a:lnTo>
                    <a:pt x="60188" y="53395"/>
                  </a:lnTo>
                  <a:lnTo>
                    <a:pt x="60565" y="52924"/>
                  </a:lnTo>
                  <a:lnTo>
                    <a:pt x="61037" y="52452"/>
                  </a:lnTo>
                  <a:lnTo>
                    <a:pt x="61886" y="51509"/>
                  </a:lnTo>
                  <a:lnTo>
                    <a:pt x="61508" y="52452"/>
                  </a:lnTo>
                  <a:lnTo>
                    <a:pt x="60848" y="53584"/>
                  </a:lnTo>
                  <a:lnTo>
                    <a:pt x="59622" y="55565"/>
                  </a:lnTo>
                  <a:lnTo>
                    <a:pt x="60376" y="54528"/>
                  </a:lnTo>
                  <a:lnTo>
                    <a:pt x="60942" y="53678"/>
                  </a:lnTo>
                  <a:lnTo>
                    <a:pt x="61980" y="51792"/>
                  </a:lnTo>
                  <a:lnTo>
                    <a:pt x="61886" y="51886"/>
                  </a:lnTo>
                  <a:lnTo>
                    <a:pt x="61886" y="51697"/>
                  </a:lnTo>
                  <a:lnTo>
                    <a:pt x="62169" y="51037"/>
                  </a:lnTo>
                  <a:lnTo>
                    <a:pt x="62735" y="49999"/>
                  </a:lnTo>
                  <a:lnTo>
                    <a:pt x="61508" y="51603"/>
                  </a:lnTo>
                  <a:lnTo>
                    <a:pt x="61603" y="51037"/>
                  </a:lnTo>
                  <a:lnTo>
                    <a:pt x="61697" y="50377"/>
                  </a:lnTo>
                  <a:lnTo>
                    <a:pt x="62169" y="48962"/>
                  </a:lnTo>
                  <a:lnTo>
                    <a:pt x="62829" y="47358"/>
                  </a:lnTo>
                  <a:lnTo>
                    <a:pt x="63678" y="45565"/>
                  </a:lnTo>
                  <a:lnTo>
                    <a:pt x="65376" y="42169"/>
                  </a:lnTo>
                  <a:lnTo>
                    <a:pt x="66131" y="40660"/>
                  </a:lnTo>
                  <a:lnTo>
                    <a:pt x="66697" y="39339"/>
                  </a:lnTo>
                  <a:lnTo>
                    <a:pt x="66603" y="39528"/>
                  </a:lnTo>
                  <a:lnTo>
                    <a:pt x="66697" y="39056"/>
                  </a:lnTo>
                  <a:lnTo>
                    <a:pt x="66791" y="38962"/>
                  </a:lnTo>
                  <a:lnTo>
                    <a:pt x="66791" y="39056"/>
                  </a:lnTo>
                  <a:lnTo>
                    <a:pt x="66886" y="38584"/>
                  </a:lnTo>
                  <a:lnTo>
                    <a:pt x="66791" y="38867"/>
                  </a:lnTo>
                  <a:lnTo>
                    <a:pt x="66980" y="38207"/>
                  </a:lnTo>
                  <a:lnTo>
                    <a:pt x="67169" y="37264"/>
                  </a:lnTo>
                  <a:lnTo>
                    <a:pt x="67263" y="36415"/>
                  </a:lnTo>
                  <a:lnTo>
                    <a:pt x="67357" y="36509"/>
                  </a:lnTo>
                  <a:lnTo>
                    <a:pt x="67452" y="36509"/>
                  </a:lnTo>
                  <a:lnTo>
                    <a:pt x="67546" y="35943"/>
                  </a:lnTo>
                  <a:lnTo>
                    <a:pt x="67546" y="34811"/>
                  </a:lnTo>
                  <a:lnTo>
                    <a:pt x="67640" y="31037"/>
                  </a:lnTo>
                  <a:lnTo>
                    <a:pt x="67640" y="28490"/>
                  </a:lnTo>
                  <a:lnTo>
                    <a:pt x="67546" y="27736"/>
                  </a:lnTo>
                  <a:lnTo>
                    <a:pt x="67546" y="27547"/>
                  </a:lnTo>
                  <a:lnTo>
                    <a:pt x="67452" y="27547"/>
                  </a:lnTo>
                  <a:lnTo>
                    <a:pt x="67074" y="26792"/>
                  </a:lnTo>
                  <a:lnTo>
                    <a:pt x="66791" y="25660"/>
                  </a:lnTo>
                  <a:lnTo>
                    <a:pt x="66508" y="24528"/>
                  </a:lnTo>
                  <a:lnTo>
                    <a:pt x="66414" y="23585"/>
                  </a:lnTo>
                  <a:lnTo>
                    <a:pt x="66320" y="23679"/>
                  </a:lnTo>
                  <a:lnTo>
                    <a:pt x="66320" y="23490"/>
                  </a:lnTo>
                  <a:lnTo>
                    <a:pt x="65942" y="22924"/>
                  </a:lnTo>
                  <a:lnTo>
                    <a:pt x="65565" y="22358"/>
                  </a:lnTo>
                  <a:lnTo>
                    <a:pt x="64527" y="21132"/>
                  </a:lnTo>
                  <a:lnTo>
                    <a:pt x="63584" y="19906"/>
                  </a:lnTo>
                  <a:lnTo>
                    <a:pt x="63207" y="19340"/>
                  </a:lnTo>
                  <a:lnTo>
                    <a:pt x="63018" y="18774"/>
                  </a:lnTo>
                  <a:lnTo>
                    <a:pt x="63112" y="18962"/>
                  </a:lnTo>
                  <a:lnTo>
                    <a:pt x="63301" y="19057"/>
                  </a:lnTo>
                  <a:lnTo>
                    <a:pt x="63301" y="19057"/>
                  </a:lnTo>
                  <a:lnTo>
                    <a:pt x="63207" y="18868"/>
                  </a:lnTo>
                  <a:lnTo>
                    <a:pt x="62923" y="18491"/>
                  </a:lnTo>
                  <a:lnTo>
                    <a:pt x="61980" y="17453"/>
                  </a:lnTo>
                  <a:lnTo>
                    <a:pt x="61037" y="16509"/>
                  </a:lnTo>
                  <a:lnTo>
                    <a:pt x="61037" y="16698"/>
                  </a:lnTo>
                  <a:lnTo>
                    <a:pt x="61037" y="16887"/>
                  </a:lnTo>
                  <a:lnTo>
                    <a:pt x="60093" y="15943"/>
                  </a:lnTo>
                  <a:lnTo>
                    <a:pt x="60376" y="16321"/>
                  </a:lnTo>
                  <a:lnTo>
                    <a:pt x="59527" y="15377"/>
                  </a:lnTo>
                  <a:lnTo>
                    <a:pt x="59056" y="14906"/>
                  </a:lnTo>
                  <a:lnTo>
                    <a:pt x="59244" y="14906"/>
                  </a:lnTo>
                  <a:lnTo>
                    <a:pt x="59905" y="15472"/>
                  </a:lnTo>
                  <a:lnTo>
                    <a:pt x="59905" y="15472"/>
                  </a:lnTo>
                  <a:lnTo>
                    <a:pt x="57641" y="13396"/>
                  </a:lnTo>
                  <a:lnTo>
                    <a:pt x="58112" y="13868"/>
                  </a:lnTo>
                  <a:lnTo>
                    <a:pt x="56886" y="13019"/>
                  </a:lnTo>
                  <a:lnTo>
                    <a:pt x="55754" y="12453"/>
                  </a:lnTo>
                  <a:lnTo>
                    <a:pt x="56603" y="13113"/>
                  </a:lnTo>
                  <a:lnTo>
                    <a:pt x="57452" y="13774"/>
                  </a:lnTo>
                  <a:lnTo>
                    <a:pt x="58961" y="15283"/>
                  </a:lnTo>
                  <a:lnTo>
                    <a:pt x="60376" y="16604"/>
                  </a:lnTo>
                  <a:lnTo>
                    <a:pt x="61225" y="17264"/>
                  </a:lnTo>
                  <a:lnTo>
                    <a:pt x="62074" y="17925"/>
                  </a:lnTo>
                  <a:lnTo>
                    <a:pt x="62074" y="17925"/>
                  </a:lnTo>
                  <a:lnTo>
                    <a:pt x="61414" y="17547"/>
                  </a:lnTo>
                  <a:lnTo>
                    <a:pt x="60659" y="16981"/>
                  </a:lnTo>
                  <a:lnTo>
                    <a:pt x="60754" y="17264"/>
                  </a:lnTo>
                  <a:lnTo>
                    <a:pt x="60942" y="17642"/>
                  </a:lnTo>
                  <a:lnTo>
                    <a:pt x="61980" y="19151"/>
                  </a:lnTo>
                  <a:lnTo>
                    <a:pt x="63301" y="20943"/>
                  </a:lnTo>
                  <a:lnTo>
                    <a:pt x="63207" y="20943"/>
                  </a:lnTo>
                  <a:lnTo>
                    <a:pt x="63395" y="21038"/>
                  </a:lnTo>
                  <a:lnTo>
                    <a:pt x="63490" y="21321"/>
                  </a:lnTo>
                  <a:lnTo>
                    <a:pt x="63678" y="21604"/>
                  </a:lnTo>
                  <a:lnTo>
                    <a:pt x="63773" y="21698"/>
                  </a:lnTo>
                  <a:lnTo>
                    <a:pt x="63584" y="21321"/>
                  </a:lnTo>
                  <a:lnTo>
                    <a:pt x="63584" y="21321"/>
                  </a:lnTo>
                  <a:lnTo>
                    <a:pt x="64244" y="22170"/>
                  </a:lnTo>
                  <a:lnTo>
                    <a:pt x="64716" y="22641"/>
                  </a:lnTo>
                  <a:lnTo>
                    <a:pt x="64905" y="22830"/>
                  </a:lnTo>
                  <a:lnTo>
                    <a:pt x="64999" y="22830"/>
                  </a:lnTo>
                  <a:lnTo>
                    <a:pt x="64999" y="22641"/>
                  </a:lnTo>
                  <a:lnTo>
                    <a:pt x="64905" y="22358"/>
                  </a:lnTo>
                  <a:lnTo>
                    <a:pt x="65282" y="23207"/>
                  </a:lnTo>
                  <a:lnTo>
                    <a:pt x="65565" y="24056"/>
                  </a:lnTo>
                  <a:lnTo>
                    <a:pt x="66225" y="25943"/>
                  </a:lnTo>
                  <a:lnTo>
                    <a:pt x="66697" y="27830"/>
                  </a:lnTo>
                  <a:lnTo>
                    <a:pt x="66886" y="28490"/>
                  </a:lnTo>
                  <a:lnTo>
                    <a:pt x="66980" y="28868"/>
                  </a:lnTo>
                  <a:lnTo>
                    <a:pt x="66886" y="28962"/>
                  </a:lnTo>
                  <a:lnTo>
                    <a:pt x="66697" y="28679"/>
                  </a:lnTo>
                  <a:lnTo>
                    <a:pt x="66697" y="29245"/>
                  </a:lnTo>
                  <a:lnTo>
                    <a:pt x="66791" y="29905"/>
                  </a:lnTo>
                  <a:lnTo>
                    <a:pt x="66886" y="29905"/>
                  </a:lnTo>
                  <a:lnTo>
                    <a:pt x="66886" y="30094"/>
                  </a:lnTo>
                  <a:lnTo>
                    <a:pt x="66886" y="30566"/>
                  </a:lnTo>
                  <a:lnTo>
                    <a:pt x="66697" y="30377"/>
                  </a:lnTo>
                  <a:lnTo>
                    <a:pt x="66603" y="30188"/>
                  </a:lnTo>
                  <a:lnTo>
                    <a:pt x="66603" y="30094"/>
                  </a:lnTo>
                  <a:lnTo>
                    <a:pt x="66697" y="29905"/>
                  </a:lnTo>
                  <a:lnTo>
                    <a:pt x="66508" y="28679"/>
                  </a:lnTo>
                  <a:lnTo>
                    <a:pt x="66225" y="27358"/>
                  </a:lnTo>
                  <a:lnTo>
                    <a:pt x="66603" y="30283"/>
                  </a:lnTo>
                  <a:lnTo>
                    <a:pt x="66697" y="31792"/>
                  </a:lnTo>
                  <a:lnTo>
                    <a:pt x="66697" y="33302"/>
                  </a:lnTo>
                  <a:lnTo>
                    <a:pt x="66603" y="34717"/>
                  </a:lnTo>
                  <a:lnTo>
                    <a:pt x="66414" y="36226"/>
                  </a:lnTo>
                  <a:lnTo>
                    <a:pt x="66131" y="37547"/>
                  </a:lnTo>
                  <a:lnTo>
                    <a:pt x="65659" y="38962"/>
                  </a:lnTo>
                  <a:lnTo>
                    <a:pt x="65848" y="38584"/>
                  </a:lnTo>
                  <a:lnTo>
                    <a:pt x="65942" y="38584"/>
                  </a:lnTo>
                  <a:lnTo>
                    <a:pt x="65848" y="39245"/>
                  </a:lnTo>
                  <a:lnTo>
                    <a:pt x="65565" y="40188"/>
                  </a:lnTo>
                  <a:lnTo>
                    <a:pt x="65471" y="40471"/>
                  </a:lnTo>
                  <a:lnTo>
                    <a:pt x="65282" y="40660"/>
                  </a:lnTo>
                  <a:lnTo>
                    <a:pt x="65282" y="40566"/>
                  </a:lnTo>
                  <a:lnTo>
                    <a:pt x="65093" y="41132"/>
                  </a:lnTo>
                  <a:lnTo>
                    <a:pt x="64433" y="43018"/>
                  </a:lnTo>
                  <a:lnTo>
                    <a:pt x="63678" y="45282"/>
                  </a:lnTo>
                  <a:lnTo>
                    <a:pt x="62735" y="47264"/>
                  </a:lnTo>
                  <a:lnTo>
                    <a:pt x="61697" y="49056"/>
                  </a:lnTo>
                  <a:lnTo>
                    <a:pt x="60659" y="50943"/>
                  </a:lnTo>
                  <a:lnTo>
                    <a:pt x="59433" y="52735"/>
                  </a:lnTo>
                  <a:lnTo>
                    <a:pt x="58207" y="54433"/>
                  </a:lnTo>
                  <a:lnTo>
                    <a:pt x="56886" y="56037"/>
                  </a:lnTo>
                  <a:lnTo>
                    <a:pt x="55376" y="57641"/>
                  </a:lnTo>
                  <a:lnTo>
                    <a:pt x="53867" y="59150"/>
                  </a:lnTo>
                  <a:lnTo>
                    <a:pt x="52169" y="60376"/>
                  </a:lnTo>
                  <a:lnTo>
                    <a:pt x="48961" y="62452"/>
                  </a:lnTo>
                  <a:lnTo>
                    <a:pt x="44528" y="65282"/>
                  </a:lnTo>
                  <a:lnTo>
                    <a:pt x="44622" y="65188"/>
                  </a:lnTo>
                  <a:lnTo>
                    <a:pt x="44716" y="65093"/>
                  </a:lnTo>
                  <a:lnTo>
                    <a:pt x="45094" y="64810"/>
                  </a:lnTo>
                  <a:lnTo>
                    <a:pt x="45660" y="64527"/>
                  </a:lnTo>
                  <a:lnTo>
                    <a:pt x="43867" y="65376"/>
                  </a:lnTo>
                  <a:lnTo>
                    <a:pt x="43113" y="65754"/>
                  </a:lnTo>
                  <a:lnTo>
                    <a:pt x="42924" y="65754"/>
                  </a:lnTo>
                  <a:lnTo>
                    <a:pt x="43113" y="65659"/>
                  </a:lnTo>
                  <a:lnTo>
                    <a:pt x="41603" y="66037"/>
                  </a:lnTo>
                  <a:lnTo>
                    <a:pt x="39999" y="66320"/>
                  </a:lnTo>
                  <a:lnTo>
                    <a:pt x="38396" y="66508"/>
                  </a:lnTo>
                  <a:lnTo>
                    <a:pt x="36792" y="66697"/>
                  </a:lnTo>
                  <a:lnTo>
                    <a:pt x="33584" y="66980"/>
                  </a:lnTo>
                  <a:lnTo>
                    <a:pt x="32169" y="67169"/>
                  </a:lnTo>
                  <a:lnTo>
                    <a:pt x="30754" y="67357"/>
                  </a:lnTo>
                  <a:lnTo>
                    <a:pt x="30094" y="67357"/>
                  </a:lnTo>
                  <a:lnTo>
                    <a:pt x="29339" y="67263"/>
                  </a:lnTo>
                  <a:lnTo>
                    <a:pt x="27830" y="66886"/>
                  </a:lnTo>
                  <a:lnTo>
                    <a:pt x="26415" y="66508"/>
                  </a:lnTo>
                  <a:lnTo>
                    <a:pt x="25754" y="66414"/>
                  </a:lnTo>
                  <a:lnTo>
                    <a:pt x="25094" y="66414"/>
                  </a:lnTo>
                  <a:lnTo>
                    <a:pt x="25566" y="66980"/>
                  </a:lnTo>
                  <a:lnTo>
                    <a:pt x="25471" y="67074"/>
                  </a:lnTo>
                  <a:lnTo>
                    <a:pt x="25188" y="66980"/>
                  </a:lnTo>
                  <a:lnTo>
                    <a:pt x="24339" y="66791"/>
                  </a:lnTo>
                  <a:lnTo>
                    <a:pt x="23773" y="66508"/>
                  </a:lnTo>
                  <a:lnTo>
                    <a:pt x="24245" y="66414"/>
                  </a:lnTo>
                  <a:lnTo>
                    <a:pt x="24717" y="66603"/>
                  </a:lnTo>
                  <a:lnTo>
                    <a:pt x="24811" y="66414"/>
                  </a:lnTo>
                  <a:lnTo>
                    <a:pt x="24811" y="66320"/>
                  </a:lnTo>
                  <a:lnTo>
                    <a:pt x="24717" y="66225"/>
                  </a:lnTo>
                  <a:lnTo>
                    <a:pt x="24528" y="66131"/>
                  </a:lnTo>
                  <a:lnTo>
                    <a:pt x="24151" y="66225"/>
                  </a:lnTo>
                  <a:lnTo>
                    <a:pt x="23679" y="66320"/>
                  </a:lnTo>
                  <a:lnTo>
                    <a:pt x="23018" y="66414"/>
                  </a:lnTo>
                  <a:lnTo>
                    <a:pt x="23490" y="66225"/>
                  </a:lnTo>
                  <a:lnTo>
                    <a:pt x="22075" y="65942"/>
                  </a:lnTo>
                  <a:lnTo>
                    <a:pt x="20943" y="65659"/>
                  </a:lnTo>
                  <a:lnTo>
                    <a:pt x="20000" y="65282"/>
                  </a:lnTo>
                  <a:lnTo>
                    <a:pt x="19056" y="64810"/>
                  </a:lnTo>
                  <a:lnTo>
                    <a:pt x="19056" y="64810"/>
                  </a:lnTo>
                  <a:lnTo>
                    <a:pt x="19717" y="64999"/>
                  </a:lnTo>
                  <a:lnTo>
                    <a:pt x="19151" y="64716"/>
                  </a:lnTo>
                  <a:lnTo>
                    <a:pt x="18962" y="64810"/>
                  </a:lnTo>
                  <a:lnTo>
                    <a:pt x="19151" y="64905"/>
                  </a:lnTo>
                  <a:lnTo>
                    <a:pt x="18490" y="64905"/>
                  </a:lnTo>
                  <a:lnTo>
                    <a:pt x="17830" y="64716"/>
                  </a:lnTo>
                  <a:lnTo>
                    <a:pt x="17264" y="64527"/>
                  </a:lnTo>
                  <a:lnTo>
                    <a:pt x="16698" y="64150"/>
                  </a:lnTo>
                  <a:lnTo>
                    <a:pt x="16981" y="64056"/>
                  </a:lnTo>
                  <a:lnTo>
                    <a:pt x="17264" y="64150"/>
                  </a:lnTo>
                  <a:lnTo>
                    <a:pt x="17264" y="64150"/>
                  </a:lnTo>
                  <a:lnTo>
                    <a:pt x="15188" y="63207"/>
                  </a:lnTo>
                  <a:lnTo>
                    <a:pt x="14622" y="62829"/>
                  </a:lnTo>
                  <a:lnTo>
                    <a:pt x="14717" y="62924"/>
                  </a:lnTo>
                  <a:lnTo>
                    <a:pt x="13773" y="62546"/>
                  </a:lnTo>
                  <a:lnTo>
                    <a:pt x="12924" y="62075"/>
                  </a:lnTo>
                  <a:lnTo>
                    <a:pt x="12358" y="61697"/>
                  </a:lnTo>
                  <a:lnTo>
                    <a:pt x="12264" y="61508"/>
                  </a:lnTo>
                  <a:lnTo>
                    <a:pt x="12170" y="61320"/>
                  </a:lnTo>
                  <a:lnTo>
                    <a:pt x="11698" y="60942"/>
                  </a:lnTo>
                  <a:lnTo>
                    <a:pt x="11132" y="60471"/>
                  </a:lnTo>
                  <a:lnTo>
                    <a:pt x="9906" y="59244"/>
                  </a:lnTo>
                  <a:lnTo>
                    <a:pt x="9906" y="59244"/>
                  </a:lnTo>
                  <a:lnTo>
                    <a:pt x="10566" y="59527"/>
                  </a:lnTo>
                  <a:lnTo>
                    <a:pt x="9434" y="58584"/>
                  </a:lnTo>
                  <a:lnTo>
                    <a:pt x="8207" y="57546"/>
                  </a:lnTo>
                  <a:lnTo>
                    <a:pt x="7547" y="56886"/>
                  </a:lnTo>
                  <a:lnTo>
                    <a:pt x="6981" y="56131"/>
                  </a:lnTo>
                  <a:lnTo>
                    <a:pt x="6226" y="55094"/>
                  </a:lnTo>
                  <a:lnTo>
                    <a:pt x="6415" y="55377"/>
                  </a:lnTo>
                  <a:lnTo>
                    <a:pt x="6038" y="54905"/>
                  </a:lnTo>
                  <a:lnTo>
                    <a:pt x="5472" y="54244"/>
                  </a:lnTo>
                  <a:lnTo>
                    <a:pt x="5283" y="53961"/>
                  </a:lnTo>
                  <a:lnTo>
                    <a:pt x="5094" y="53867"/>
                  </a:lnTo>
                  <a:lnTo>
                    <a:pt x="5377" y="54622"/>
                  </a:lnTo>
                  <a:lnTo>
                    <a:pt x="5849" y="55282"/>
                  </a:lnTo>
                  <a:lnTo>
                    <a:pt x="6321" y="55943"/>
                  </a:lnTo>
                  <a:lnTo>
                    <a:pt x="6698" y="56603"/>
                  </a:lnTo>
                  <a:lnTo>
                    <a:pt x="6226" y="56226"/>
                  </a:lnTo>
                  <a:lnTo>
                    <a:pt x="5943" y="55848"/>
                  </a:lnTo>
                  <a:lnTo>
                    <a:pt x="6038" y="56037"/>
                  </a:lnTo>
                  <a:lnTo>
                    <a:pt x="5943" y="55943"/>
                  </a:lnTo>
                  <a:lnTo>
                    <a:pt x="5377" y="55188"/>
                  </a:lnTo>
                  <a:lnTo>
                    <a:pt x="5000" y="54716"/>
                  </a:lnTo>
                  <a:lnTo>
                    <a:pt x="4717" y="54150"/>
                  </a:lnTo>
                  <a:lnTo>
                    <a:pt x="4528" y="53678"/>
                  </a:lnTo>
                  <a:lnTo>
                    <a:pt x="4528" y="53584"/>
                  </a:lnTo>
                  <a:lnTo>
                    <a:pt x="4623" y="53395"/>
                  </a:lnTo>
                  <a:lnTo>
                    <a:pt x="5094" y="54244"/>
                  </a:lnTo>
                  <a:lnTo>
                    <a:pt x="4717" y="53301"/>
                  </a:lnTo>
                  <a:lnTo>
                    <a:pt x="4528" y="53018"/>
                  </a:lnTo>
                  <a:lnTo>
                    <a:pt x="4151" y="52263"/>
                  </a:lnTo>
                  <a:lnTo>
                    <a:pt x="4151" y="52169"/>
                  </a:lnTo>
                  <a:lnTo>
                    <a:pt x="3774" y="51509"/>
                  </a:lnTo>
                  <a:lnTo>
                    <a:pt x="3396" y="50660"/>
                  </a:lnTo>
                  <a:lnTo>
                    <a:pt x="3585" y="51603"/>
                  </a:lnTo>
                  <a:lnTo>
                    <a:pt x="3396" y="51226"/>
                  </a:lnTo>
                  <a:lnTo>
                    <a:pt x="3208" y="50848"/>
                  </a:lnTo>
                  <a:lnTo>
                    <a:pt x="3208" y="50471"/>
                  </a:lnTo>
                  <a:lnTo>
                    <a:pt x="3208" y="50094"/>
                  </a:lnTo>
                  <a:lnTo>
                    <a:pt x="3585" y="50754"/>
                  </a:lnTo>
                  <a:lnTo>
                    <a:pt x="3868" y="51509"/>
                  </a:lnTo>
                  <a:lnTo>
                    <a:pt x="3868" y="51509"/>
                  </a:lnTo>
                  <a:lnTo>
                    <a:pt x="3208" y="49528"/>
                  </a:lnTo>
                  <a:lnTo>
                    <a:pt x="3208" y="49528"/>
                  </a:lnTo>
                  <a:lnTo>
                    <a:pt x="3868" y="50754"/>
                  </a:lnTo>
                  <a:lnTo>
                    <a:pt x="3208" y="48962"/>
                  </a:lnTo>
                  <a:lnTo>
                    <a:pt x="3585" y="49339"/>
                  </a:lnTo>
                  <a:lnTo>
                    <a:pt x="3774" y="49433"/>
                  </a:lnTo>
                  <a:lnTo>
                    <a:pt x="3962" y="49528"/>
                  </a:lnTo>
                  <a:lnTo>
                    <a:pt x="4057" y="49905"/>
                  </a:lnTo>
                  <a:lnTo>
                    <a:pt x="3868" y="48962"/>
                  </a:lnTo>
                  <a:lnTo>
                    <a:pt x="3491" y="47924"/>
                  </a:lnTo>
                  <a:lnTo>
                    <a:pt x="2641" y="45565"/>
                  </a:lnTo>
                  <a:lnTo>
                    <a:pt x="2170" y="43867"/>
                  </a:lnTo>
                  <a:lnTo>
                    <a:pt x="1698" y="41886"/>
                  </a:lnTo>
                  <a:lnTo>
                    <a:pt x="1698" y="41886"/>
                  </a:lnTo>
                  <a:lnTo>
                    <a:pt x="1887" y="42075"/>
                  </a:lnTo>
                  <a:lnTo>
                    <a:pt x="1981" y="41981"/>
                  </a:lnTo>
                  <a:lnTo>
                    <a:pt x="2075" y="42075"/>
                  </a:lnTo>
                  <a:lnTo>
                    <a:pt x="2264" y="42169"/>
                  </a:lnTo>
                  <a:lnTo>
                    <a:pt x="2170" y="40283"/>
                  </a:lnTo>
                  <a:lnTo>
                    <a:pt x="2075" y="38301"/>
                  </a:lnTo>
                  <a:lnTo>
                    <a:pt x="2170" y="36415"/>
                  </a:lnTo>
                  <a:lnTo>
                    <a:pt x="2358" y="35566"/>
                  </a:lnTo>
                  <a:lnTo>
                    <a:pt x="2453" y="34811"/>
                  </a:lnTo>
                  <a:lnTo>
                    <a:pt x="2830" y="32830"/>
                  </a:lnTo>
                  <a:lnTo>
                    <a:pt x="2830" y="33207"/>
                  </a:lnTo>
                  <a:lnTo>
                    <a:pt x="2924" y="33490"/>
                  </a:lnTo>
                  <a:lnTo>
                    <a:pt x="2924" y="32453"/>
                  </a:lnTo>
                  <a:lnTo>
                    <a:pt x="3019" y="31415"/>
                  </a:lnTo>
                  <a:lnTo>
                    <a:pt x="3396" y="29245"/>
                  </a:lnTo>
                  <a:lnTo>
                    <a:pt x="3868" y="27075"/>
                  </a:lnTo>
                  <a:lnTo>
                    <a:pt x="4623" y="25000"/>
                  </a:lnTo>
                  <a:lnTo>
                    <a:pt x="5566" y="22830"/>
                  </a:lnTo>
                  <a:lnTo>
                    <a:pt x="6604" y="20849"/>
                  </a:lnTo>
                  <a:lnTo>
                    <a:pt x="7830" y="18868"/>
                  </a:lnTo>
                  <a:lnTo>
                    <a:pt x="9151" y="16887"/>
                  </a:lnTo>
                  <a:lnTo>
                    <a:pt x="10566" y="15094"/>
                  </a:lnTo>
                  <a:lnTo>
                    <a:pt x="12075" y="13302"/>
                  </a:lnTo>
                  <a:lnTo>
                    <a:pt x="13773" y="11698"/>
                  </a:lnTo>
                  <a:lnTo>
                    <a:pt x="15377" y="10095"/>
                  </a:lnTo>
                  <a:lnTo>
                    <a:pt x="17170" y="8679"/>
                  </a:lnTo>
                  <a:lnTo>
                    <a:pt x="18962" y="7453"/>
                  </a:lnTo>
                  <a:lnTo>
                    <a:pt x="20754" y="6321"/>
                  </a:lnTo>
                  <a:lnTo>
                    <a:pt x="22547" y="5378"/>
                  </a:lnTo>
                  <a:lnTo>
                    <a:pt x="21603" y="6227"/>
                  </a:lnTo>
                  <a:lnTo>
                    <a:pt x="22641" y="5472"/>
                  </a:lnTo>
                  <a:lnTo>
                    <a:pt x="23302" y="5095"/>
                  </a:lnTo>
                  <a:lnTo>
                    <a:pt x="25377" y="4151"/>
                  </a:lnTo>
                  <a:lnTo>
                    <a:pt x="24811" y="4151"/>
                  </a:lnTo>
                  <a:lnTo>
                    <a:pt x="25660" y="3774"/>
                  </a:lnTo>
                  <a:lnTo>
                    <a:pt x="26886" y="3208"/>
                  </a:lnTo>
                  <a:lnTo>
                    <a:pt x="26603" y="3585"/>
                  </a:lnTo>
                  <a:lnTo>
                    <a:pt x="26886" y="3585"/>
                  </a:lnTo>
                  <a:lnTo>
                    <a:pt x="26886" y="3680"/>
                  </a:lnTo>
                  <a:lnTo>
                    <a:pt x="26792" y="3774"/>
                  </a:lnTo>
                  <a:lnTo>
                    <a:pt x="28301" y="3302"/>
                  </a:lnTo>
                  <a:lnTo>
                    <a:pt x="29622" y="2736"/>
                  </a:lnTo>
                  <a:lnTo>
                    <a:pt x="31037" y="2264"/>
                  </a:lnTo>
                  <a:lnTo>
                    <a:pt x="31792" y="2076"/>
                  </a:lnTo>
                  <a:lnTo>
                    <a:pt x="32641" y="1981"/>
                  </a:lnTo>
                  <a:lnTo>
                    <a:pt x="32547" y="2076"/>
                  </a:lnTo>
                  <a:lnTo>
                    <a:pt x="32924" y="1981"/>
                  </a:lnTo>
                  <a:lnTo>
                    <a:pt x="34245" y="1793"/>
                  </a:lnTo>
                  <a:lnTo>
                    <a:pt x="35848" y="1415"/>
                  </a:lnTo>
                  <a:lnTo>
                    <a:pt x="36981" y="1132"/>
                  </a:lnTo>
                  <a:lnTo>
                    <a:pt x="36981" y="1415"/>
                  </a:lnTo>
                  <a:lnTo>
                    <a:pt x="40943" y="1227"/>
                  </a:lnTo>
                  <a:lnTo>
                    <a:pt x="41509" y="1038"/>
                  </a:lnTo>
                  <a:lnTo>
                    <a:pt x="41697" y="1132"/>
                  </a:lnTo>
                  <a:lnTo>
                    <a:pt x="41509" y="1227"/>
                  </a:lnTo>
                  <a:lnTo>
                    <a:pt x="41320" y="1321"/>
                  </a:lnTo>
                  <a:lnTo>
                    <a:pt x="42263" y="1321"/>
                  </a:lnTo>
                  <a:lnTo>
                    <a:pt x="43113" y="1227"/>
                  </a:lnTo>
                  <a:lnTo>
                    <a:pt x="43396" y="1415"/>
                  </a:lnTo>
                  <a:lnTo>
                    <a:pt x="44056" y="1604"/>
                  </a:lnTo>
                  <a:lnTo>
                    <a:pt x="45943" y="2076"/>
                  </a:lnTo>
                  <a:lnTo>
                    <a:pt x="48018" y="2359"/>
                  </a:lnTo>
                  <a:lnTo>
                    <a:pt x="49622" y="2736"/>
                  </a:lnTo>
                  <a:lnTo>
                    <a:pt x="47641" y="1981"/>
                  </a:lnTo>
                  <a:lnTo>
                    <a:pt x="45282" y="1321"/>
                  </a:lnTo>
                  <a:lnTo>
                    <a:pt x="42735" y="755"/>
                  </a:lnTo>
                  <a:lnTo>
                    <a:pt x="40188" y="283"/>
                  </a:lnTo>
                  <a:lnTo>
                    <a:pt x="37735" y="95"/>
                  </a:lnTo>
                  <a:lnTo>
                    <a:pt x="35471" y="0"/>
                  </a:lnTo>
                  <a:close/>
                </a:path>
              </a:pathLst>
            </a:custGeom>
            <a:solidFill>
              <a:schemeClr val="bg1">
                <a:lumMod val="95000"/>
              </a:schemeClr>
            </a:solidFill>
            <a:ln w="0">
              <a:solidFill>
                <a:srgbClr val="0079D1"/>
              </a:solidFill>
            </a:ln>
          </p:spPr>
          <p:txBody>
            <a:bodyPr spcFirstLastPara="1" wrap="square" lIns="91425" tIns="91425" rIns="91425" bIns="91425" anchor="ctr" anchorCtr="0">
              <a:noAutofit/>
            </a:bodyPr>
            <a:lstStyle/>
            <a:p>
              <a:pPr marL="0" lvl="0" indent="0">
                <a:spcBef>
                  <a:spcPts val="0"/>
                </a:spcBef>
                <a:spcAft>
                  <a:spcPts val="0"/>
                </a:spcAft>
                <a:buNone/>
              </a:pPr>
              <a:endParaRPr sz="1200">
                <a:latin typeface="+mj-lt"/>
              </a:endParaRPr>
            </a:p>
          </p:txBody>
        </p:sp>
        <p:sp>
          <p:nvSpPr>
            <p:cNvPr id="586" name="TextBox 585">
              <a:extLst>
                <a:ext uri="{FF2B5EF4-FFF2-40B4-BE49-F238E27FC236}">
                  <a16:creationId xmlns:a16="http://schemas.microsoft.com/office/drawing/2014/main" id="{3CAA832C-67A3-D54C-899A-F2DD2C0FF9F4}"/>
                </a:ext>
              </a:extLst>
            </p:cNvPr>
            <p:cNvSpPr txBox="1"/>
            <p:nvPr/>
          </p:nvSpPr>
          <p:spPr>
            <a:xfrm>
              <a:off x="8676898" y="4619460"/>
              <a:ext cx="229951" cy="200055"/>
            </a:xfrm>
            <a:prstGeom prst="rect">
              <a:avLst/>
            </a:prstGeom>
            <a:noFill/>
          </p:spPr>
          <p:txBody>
            <a:bodyPr wrap="square" rtlCol="0">
              <a:spAutoFit/>
            </a:bodyPr>
            <a:lstStyle/>
            <a:p>
              <a:r>
                <a:rPr lang="en-US" sz="700" b="1" dirty="0">
                  <a:solidFill>
                    <a:srgbClr val="0079D1"/>
                  </a:solidFill>
                  <a:latin typeface="+mj-lt"/>
                </a:rPr>
                <a:t>E</a:t>
              </a:r>
            </a:p>
          </p:txBody>
        </p:sp>
      </p:grpSp>
      <p:grpSp>
        <p:nvGrpSpPr>
          <p:cNvPr id="587" name="Group 586">
            <a:extLst>
              <a:ext uri="{FF2B5EF4-FFF2-40B4-BE49-F238E27FC236}">
                <a16:creationId xmlns:a16="http://schemas.microsoft.com/office/drawing/2014/main" id="{51FAD7FC-1121-4A4A-B9A0-29734A734B22}"/>
              </a:ext>
            </a:extLst>
          </p:cNvPr>
          <p:cNvGrpSpPr/>
          <p:nvPr/>
        </p:nvGrpSpPr>
        <p:grpSpPr>
          <a:xfrm>
            <a:off x="3202186" y="3693429"/>
            <a:ext cx="229951" cy="200055"/>
            <a:chOff x="8676898" y="4619460"/>
            <a:chExt cx="229951" cy="200055"/>
          </a:xfrm>
        </p:grpSpPr>
        <p:sp>
          <p:nvSpPr>
            <p:cNvPr id="588" name="Google Shape;431;p39">
              <a:extLst>
                <a:ext uri="{FF2B5EF4-FFF2-40B4-BE49-F238E27FC236}">
                  <a16:creationId xmlns:a16="http://schemas.microsoft.com/office/drawing/2014/main" id="{B091A815-02C6-D14E-8D69-B06C4149A847}"/>
                </a:ext>
              </a:extLst>
            </p:cNvPr>
            <p:cNvSpPr/>
            <p:nvPr/>
          </p:nvSpPr>
          <p:spPr>
            <a:xfrm>
              <a:off x="8709950" y="4635551"/>
              <a:ext cx="179407" cy="167874"/>
            </a:xfrm>
            <a:custGeom>
              <a:avLst/>
              <a:gdLst/>
              <a:ahLst/>
              <a:cxnLst/>
              <a:rect l="0" t="0" r="0" b="0"/>
              <a:pathLst>
                <a:path w="67641" h="69056" extrusionOk="0">
                  <a:moveTo>
                    <a:pt x="49622" y="2736"/>
                  </a:moveTo>
                  <a:lnTo>
                    <a:pt x="49622" y="2736"/>
                  </a:lnTo>
                  <a:lnTo>
                    <a:pt x="49622" y="2736"/>
                  </a:lnTo>
                  <a:close/>
                  <a:moveTo>
                    <a:pt x="59622" y="55565"/>
                  </a:moveTo>
                  <a:lnTo>
                    <a:pt x="59622" y="55565"/>
                  </a:lnTo>
                  <a:lnTo>
                    <a:pt x="59622" y="55565"/>
                  </a:lnTo>
                  <a:close/>
                  <a:moveTo>
                    <a:pt x="35471" y="0"/>
                  </a:moveTo>
                  <a:lnTo>
                    <a:pt x="34433" y="95"/>
                  </a:lnTo>
                  <a:lnTo>
                    <a:pt x="33584" y="189"/>
                  </a:lnTo>
                  <a:lnTo>
                    <a:pt x="32735" y="378"/>
                  </a:lnTo>
                  <a:lnTo>
                    <a:pt x="32169" y="566"/>
                  </a:lnTo>
                  <a:lnTo>
                    <a:pt x="31509" y="472"/>
                  </a:lnTo>
                  <a:lnTo>
                    <a:pt x="30754" y="472"/>
                  </a:lnTo>
                  <a:lnTo>
                    <a:pt x="29339" y="566"/>
                  </a:lnTo>
                  <a:lnTo>
                    <a:pt x="27830" y="849"/>
                  </a:lnTo>
                  <a:lnTo>
                    <a:pt x="26320" y="1321"/>
                  </a:lnTo>
                  <a:lnTo>
                    <a:pt x="24811" y="1981"/>
                  </a:lnTo>
                  <a:lnTo>
                    <a:pt x="23207" y="2736"/>
                  </a:lnTo>
                  <a:lnTo>
                    <a:pt x="21698" y="3585"/>
                  </a:lnTo>
                  <a:lnTo>
                    <a:pt x="20188" y="4623"/>
                  </a:lnTo>
                  <a:lnTo>
                    <a:pt x="18679" y="5661"/>
                  </a:lnTo>
                  <a:lnTo>
                    <a:pt x="17170" y="6793"/>
                  </a:lnTo>
                  <a:lnTo>
                    <a:pt x="15754" y="8019"/>
                  </a:lnTo>
                  <a:lnTo>
                    <a:pt x="14434" y="9151"/>
                  </a:lnTo>
                  <a:lnTo>
                    <a:pt x="11981" y="11510"/>
                  </a:lnTo>
                  <a:lnTo>
                    <a:pt x="10000" y="13774"/>
                  </a:lnTo>
                  <a:lnTo>
                    <a:pt x="7736" y="16981"/>
                  </a:lnTo>
                  <a:lnTo>
                    <a:pt x="8019" y="16321"/>
                  </a:lnTo>
                  <a:lnTo>
                    <a:pt x="8302" y="15660"/>
                  </a:lnTo>
                  <a:lnTo>
                    <a:pt x="7736" y="16604"/>
                  </a:lnTo>
                  <a:lnTo>
                    <a:pt x="7075" y="17642"/>
                  </a:lnTo>
                  <a:lnTo>
                    <a:pt x="7170" y="17830"/>
                  </a:lnTo>
                  <a:lnTo>
                    <a:pt x="6509" y="18868"/>
                  </a:lnTo>
                  <a:lnTo>
                    <a:pt x="7075" y="17359"/>
                  </a:lnTo>
                  <a:lnTo>
                    <a:pt x="6132" y="19057"/>
                  </a:lnTo>
                  <a:lnTo>
                    <a:pt x="5189" y="20849"/>
                  </a:lnTo>
                  <a:lnTo>
                    <a:pt x="4434" y="22736"/>
                  </a:lnTo>
                  <a:lnTo>
                    <a:pt x="3679" y="24622"/>
                  </a:lnTo>
                  <a:lnTo>
                    <a:pt x="2453" y="28490"/>
                  </a:lnTo>
                  <a:lnTo>
                    <a:pt x="1321" y="32169"/>
                  </a:lnTo>
                  <a:lnTo>
                    <a:pt x="1509" y="32264"/>
                  </a:lnTo>
                  <a:lnTo>
                    <a:pt x="1604" y="32453"/>
                  </a:lnTo>
                  <a:lnTo>
                    <a:pt x="1604" y="32641"/>
                  </a:lnTo>
                  <a:lnTo>
                    <a:pt x="1509" y="32924"/>
                  </a:lnTo>
                  <a:lnTo>
                    <a:pt x="1226" y="33396"/>
                  </a:lnTo>
                  <a:lnTo>
                    <a:pt x="1038" y="33585"/>
                  </a:lnTo>
                  <a:lnTo>
                    <a:pt x="1038" y="33773"/>
                  </a:lnTo>
                  <a:lnTo>
                    <a:pt x="1038" y="35000"/>
                  </a:lnTo>
                  <a:lnTo>
                    <a:pt x="849" y="36132"/>
                  </a:lnTo>
                  <a:lnTo>
                    <a:pt x="660" y="37358"/>
                  </a:lnTo>
                  <a:lnTo>
                    <a:pt x="472" y="38867"/>
                  </a:lnTo>
                  <a:lnTo>
                    <a:pt x="283" y="38301"/>
                  </a:lnTo>
                  <a:lnTo>
                    <a:pt x="94" y="39811"/>
                  </a:lnTo>
                  <a:lnTo>
                    <a:pt x="0" y="41509"/>
                  </a:lnTo>
                  <a:lnTo>
                    <a:pt x="94" y="43301"/>
                  </a:lnTo>
                  <a:lnTo>
                    <a:pt x="283" y="44056"/>
                  </a:lnTo>
                  <a:lnTo>
                    <a:pt x="472" y="44622"/>
                  </a:lnTo>
                  <a:lnTo>
                    <a:pt x="566" y="45660"/>
                  </a:lnTo>
                  <a:lnTo>
                    <a:pt x="755" y="46792"/>
                  </a:lnTo>
                  <a:lnTo>
                    <a:pt x="1226" y="48962"/>
                  </a:lnTo>
                  <a:lnTo>
                    <a:pt x="1981" y="51037"/>
                  </a:lnTo>
                  <a:lnTo>
                    <a:pt x="2924" y="53112"/>
                  </a:lnTo>
                  <a:lnTo>
                    <a:pt x="4057" y="55094"/>
                  </a:lnTo>
                  <a:lnTo>
                    <a:pt x="5283" y="56980"/>
                  </a:lnTo>
                  <a:lnTo>
                    <a:pt x="6698" y="58678"/>
                  </a:lnTo>
                  <a:lnTo>
                    <a:pt x="8113" y="60282"/>
                  </a:lnTo>
                  <a:lnTo>
                    <a:pt x="9056" y="61131"/>
                  </a:lnTo>
                  <a:lnTo>
                    <a:pt x="10000" y="61980"/>
                  </a:lnTo>
                  <a:lnTo>
                    <a:pt x="11038" y="62829"/>
                  </a:lnTo>
                  <a:lnTo>
                    <a:pt x="12075" y="63584"/>
                  </a:lnTo>
                  <a:lnTo>
                    <a:pt x="14339" y="64905"/>
                  </a:lnTo>
                  <a:lnTo>
                    <a:pt x="16604" y="66131"/>
                  </a:lnTo>
                  <a:lnTo>
                    <a:pt x="19056" y="67169"/>
                  </a:lnTo>
                  <a:lnTo>
                    <a:pt x="21509" y="67923"/>
                  </a:lnTo>
                  <a:lnTo>
                    <a:pt x="24056" y="68584"/>
                  </a:lnTo>
                  <a:lnTo>
                    <a:pt x="26603" y="69055"/>
                  </a:lnTo>
                  <a:lnTo>
                    <a:pt x="27830" y="69055"/>
                  </a:lnTo>
                  <a:lnTo>
                    <a:pt x="30188" y="68867"/>
                  </a:lnTo>
                  <a:lnTo>
                    <a:pt x="33113" y="68678"/>
                  </a:lnTo>
                  <a:lnTo>
                    <a:pt x="36509" y="68301"/>
                  </a:lnTo>
                  <a:lnTo>
                    <a:pt x="39811" y="67923"/>
                  </a:lnTo>
                  <a:lnTo>
                    <a:pt x="42735" y="67452"/>
                  </a:lnTo>
                  <a:lnTo>
                    <a:pt x="44905" y="66980"/>
                  </a:lnTo>
                  <a:lnTo>
                    <a:pt x="45565" y="66791"/>
                  </a:lnTo>
                  <a:lnTo>
                    <a:pt x="45943" y="66508"/>
                  </a:lnTo>
                  <a:lnTo>
                    <a:pt x="47358" y="65942"/>
                  </a:lnTo>
                  <a:lnTo>
                    <a:pt x="48018" y="65565"/>
                  </a:lnTo>
                  <a:lnTo>
                    <a:pt x="48678" y="65188"/>
                  </a:lnTo>
                  <a:lnTo>
                    <a:pt x="47924" y="65471"/>
                  </a:lnTo>
                  <a:lnTo>
                    <a:pt x="51509" y="62924"/>
                  </a:lnTo>
                  <a:lnTo>
                    <a:pt x="53301" y="61508"/>
                  </a:lnTo>
                  <a:lnTo>
                    <a:pt x="55093" y="59905"/>
                  </a:lnTo>
                  <a:lnTo>
                    <a:pt x="55093" y="59905"/>
                  </a:lnTo>
                  <a:lnTo>
                    <a:pt x="54810" y="60376"/>
                  </a:lnTo>
                  <a:lnTo>
                    <a:pt x="54339" y="60754"/>
                  </a:lnTo>
                  <a:lnTo>
                    <a:pt x="55376" y="59999"/>
                  </a:lnTo>
                  <a:lnTo>
                    <a:pt x="56320" y="59056"/>
                  </a:lnTo>
                  <a:lnTo>
                    <a:pt x="57075" y="58395"/>
                  </a:lnTo>
                  <a:lnTo>
                    <a:pt x="57169" y="58207"/>
                  </a:lnTo>
                  <a:lnTo>
                    <a:pt x="57075" y="58207"/>
                  </a:lnTo>
                  <a:lnTo>
                    <a:pt x="57924" y="57546"/>
                  </a:lnTo>
                  <a:lnTo>
                    <a:pt x="58678" y="56697"/>
                  </a:lnTo>
                  <a:lnTo>
                    <a:pt x="59339" y="55754"/>
                  </a:lnTo>
                  <a:lnTo>
                    <a:pt x="59905" y="54905"/>
                  </a:lnTo>
                  <a:lnTo>
                    <a:pt x="59716" y="54999"/>
                  </a:lnTo>
                  <a:lnTo>
                    <a:pt x="59622" y="54999"/>
                  </a:lnTo>
                  <a:lnTo>
                    <a:pt x="59810" y="54622"/>
                  </a:lnTo>
                  <a:lnTo>
                    <a:pt x="59150" y="55565"/>
                  </a:lnTo>
                  <a:lnTo>
                    <a:pt x="59527" y="55094"/>
                  </a:lnTo>
                  <a:lnTo>
                    <a:pt x="59433" y="55377"/>
                  </a:lnTo>
                  <a:lnTo>
                    <a:pt x="58867" y="56037"/>
                  </a:lnTo>
                  <a:lnTo>
                    <a:pt x="59056" y="55660"/>
                  </a:lnTo>
                  <a:lnTo>
                    <a:pt x="59056" y="55660"/>
                  </a:lnTo>
                  <a:lnTo>
                    <a:pt x="58678" y="56037"/>
                  </a:lnTo>
                  <a:lnTo>
                    <a:pt x="59810" y="54339"/>
                  </a:lnTo>
                  <a:lnTo>
                    <a:pt x="60282" y="53490"/>
                  </a:lnTo>
                  <a:lnTo>
                    <a:pt x="60282" y="53301"/>
                  </a:lnTo>
                  <a:lnTo>
                    <a:pt x="60188" y="53395"/>
                  </a:lnTo>
                  <a:lnTo>
                    <a:pt x="60188" y="53395"/>
                  </a:lnTo>
                  <a:lnTo>
                    <a:pt x="60565" y="52924"/>
                  </a:lnTo>
                  <a:lnTo>
                    <a:pt x="61037" y="52452"/>
                  </a:lnTo>
                  <a:lnTo>
                    <a:pt x="61886" y="51509"/>
                  </a:lnTo>
                  <a:lnTo>
                    <a:pt x="61508" y="52452"/>
                  </a:lnTo>
                  <a:lnTo>
                    <a:pt x="60848" y="53584"/>
                  </a:lnTo>
                  <a:lnTo>
                    <a:pt x="59622" y="55565"/>
                  </a:lnTo>
                  <a:lnTo>
                    <a:pt x="60376" y="54528"/>
                  </a:lnTo>
                  <a:lnTo>
                    <a:pt x="60942" y="53678"/>
                  </a:lnTo>
                  <a:lnTo>
                    <a:pt x="61980" y="51792"/>
                  </a:lnTo>
                  <a:lnTo>
                    <a:pt x="61886" y="51886"/>
                  </a:lnTo>
                  <a:lnTo>
                    <a:pt x="61886" y="51697"/>
                  </a:lnTo>
                  <a:lnTo>
                    <a:pt x="62169" y="51037"/>
                  </a:lnTo>
                  <a:lnTo>
                    <a:pt x="62735" y="49999"/>
                  </a:lnTo>
                  <a:lnTo>
                    <a:pt x="61508" y="51603"/>
                  </a:lnTo>
                  <a:lnTo>
                    <a:pt x="61603" y="51037"/>
                  </a:lnTo>
                  <a:lnTo>
                    <a:pt x="61697" y="50377"/>
                  </a:lnTo>
                  <a:lnTo>
                    <a:pt x="62169" y="48962"/>
                  </a:lnTo>
                  <a:lnTo>
                    <a:pt x="62829" y="47358"/>
                  </a:lnTo>
                  <a:lnTo>
                    <a:pt x="63678" y="45565"/>
                  </a:lnTo>
                  <a:lnTo>
                    <a:pt x="65376" y="42169"/>
                  </a:lnTo>
                  <a:lnTo>
                    <a:pt x="66131" y="40660"/>
                  </a:lnTo>
                  <a:lnTo>
                    <a:pt x="66697" y="39339"/>
                  </a:lnTo>
                  <a:lnTo>
                    <a:pt x="66603" y="39528"/>
                  </a:lnTo>
                  <a:lnTo>
                    <a:pt x="66697" y="39056"/>
                  </a:lnTo>
                  <a:lnTo>
                    <a:pt x="66791" y="38962"/>
                  </a:lnTo>
                  <a:lnTo>
                    <a:pt x="66791" y="39056"/>
                  </a:lnTo>
                  <a:lnTo>
                    <a:pt x="66886" y="38584"/>
                  </a:lnTo>
                  <a:lnTo>
                    <a:pt x="66791" y="38867"/>
                  </a:lnTo>
                  <a:lnTo>
                    <a:pt x="66980" y="38207"/>
                  </a:lnTo>
                  <a:lnTo>
                    <a:pt x="67169" y="37264"/>
                  </a:lnTo>
                  <a:lnTo>
                    <a:pt x="67263" y="36415"/>
                  </a:lnTo>
                  <a:lnTo>
                    <a:pt x="67357" y="36509"/>
                  </a:lnTo>
                  <a:lnTo>
                    <a:pt x="67452" y="36509"/>
                  </a:lnTo>
                  <a:lnTo>
                    <a:pt x="67546" y="35943"/>
                  </a:lnTo>
                  <a:lnTo>
                    <a:pt x="67546" y="34811"/>
                  </a:lnTo>
                  <a:lnTo>
                    <a:pt x="67640" y="31037"/>
                  </a:lnTo>
                  <a:lnTo>
                    <a:pt x="67640" y="28490"/>
                  </a:lnTo>
                  <a:lnTo>
                    <a:pt x="67546" y="27736"/>
                  </a:lnTo>
                  <a:lnTo>
                    <a:pt x="67546" y="27547"/>
                  </a:lnTo>
                  <a:lnTo>
                    <a:pt x="67452" y="27547"/>
                  </a:lnTo>
                  <a:lnTo>
                    <a:pt x="67074" y="26792"/>
                  </a:lnTo>
                  <a:lnTo>
                    <a:pt x="66791" y="25660"/>
                  </a:lnTo>
                  <a:lnTo>
                    <a:pt x="66508" y="24528"/>
                  </a:lnTo>
                  <a:lnTo>
                    <a:pt x="66414" y="23585"/>
                  </a:lnTo>
                  <a:lnTo>
                    <a:pt x="66320" y="23679"/>
                  </a:lnTo>
                  <a:lnTo>
                    <a:pt x="66320" y="23490"/>
                  </a:lnTo>
                  <a:lnTo>
                    <a:pt x="65942" y="22924"/>
                  </a:lnTo>
                  <a:lnTo>
                    <a:pt x="65565" y="22358"/>
                  </a:lnTo>
                  <a:lnTo>
                    <a:pt x="64527" y="21132"/>
                  </a:lnTo>
                  <a:lnTo>
                    <a:pt x="63584" y="19906"/>
                  </a:lnTo>
                  <a:lnTo>
                    <a:pt x="63207" y="19340"/>
                  </a:lnTo>
                  <a:lnTo>
                    <a:pt x="63018" y="18774"/>
                  </a:lnTo>
                  <a:lnTo>
                    <a:pt x="63112" y="18962"/>
                  </a:lnTo>
                  <a:lnTo>
                    <a:pt x="63301" y="19057"/>
                  </a:lnTo>
                  <a:lnTo>
                    <a:pt x="63301" y="19057"/>
                  </a:lnTo>
                  <a:lnTo>
                    <a:pt x="63207" y="18868"/>
                  </a:lnTo>
                  <a:lnTo>
                    <a:pt x="62923" y="18491"/>
                  </a:lnTo>
                  <a:lnTo>
                    <a:pt x="61980" y="17453"/>
                  </a:lnTo>
                  <a:lnTo>
                    <a:pt x="61037" y="16509"/>
                  </a:lnTo>
                  <a:lnTo>
                    <a:pt x="61037" y="16698"/>
                  </a:lnTo>
                  <a:lnTo>
                    <a:pt x="61037" y="16887"/>
                  </a:lnTo>
                  <a:lnTo>
                    <a:pt x="60093" y="15943"/>
                  </a:lnTo>
                  <a:lnTo>
                    <a:pt x="60376" y="16321"/>
                  </a:lnTo>
                  <a:lnTo>
                    <a:pt x="59527" y="15377"/>
                  </a:lnTo>
                  <a:lnTo>
                    <a:pt x="59056" y="14906"/>
                  </a:lnTo>
                  <a:lnTo>
                    <a:pt x="59244" y="14906"/>
                  </a:lnTo>
                  <a:lnTo>
                    <a:pt x="59905" y="15472"/>
                  </a:lnTo>
                  <a:lnTo>
                    <a:pt x="59905" y="15472"/>
                  </a:lnTo>
                  <a:lnTo>
                    <a:pt x="57641" y="13396"/>
                  </a:lnTo>
                  <a:lnTo>
                    <a:pt x="58112" y="13868"/>
                  </a:lnTo>
                  <a:lnTo>
                    <a:pt x="56886" y="13019"/>
                  </a:lnTo>
                  <a:lnTo>
                    <a:pt x="55754" y="12453"/>
                  </a:lnTo>
                  <a:lnTo>
                    <a:pt x="56603" y="13113"/>
                  </a:lnTo>
                  <a:lnTo>
                    <a:pt x="57452" y="13774"/>
                  </a:lnTo>
                  <a:lnTo>
                    <a:pt x="58961" y="15283"/>
                  </a:lnTo>
                  <a:lnTo>
                    <a:pt x="60376" y="16604"/>
                  </a:lnTo>
                  <a:lnTo>
                    <a:pt x="61225" y="17264"/>
                  </a:lnTo>
                  <a:lnTo>
                    <a:pt x="62074" y="17925"/>
                  </a:lnTo>
                  <a:lnTo>
                    <a:pt x="62074" y="17925"/>
                  </a:lnTo>
                  <a:lnTo>
                    <a:pt x="61414" y="17547"/>
                  </a:lnTo>
                  <a:lnTo>
                    <a:pt x="60659" y="16981"/>
                  </a:lnTo>
                  <a:lnTo>
                    <a:pt x="60754" y="17264"/>
                  </a:lnTo>
                  <a:lnTo>
                    <a:pt x="60942" y="17642"/>
                  </a:lnTo>
                  <a:lnTo>
                    <a:pt x="61980" y="19151"/>
                  </a:lnTo>
                  <a:lnTo>
                    <a:pt x="63301" y="20943"/>
                  </a:lnTo>
                  <a:lnTo>
                    <a:pt x="63207" y="20943"/>
                  </a:lnTo>
                  <a:lnTo>
                    <a:pt x="63395" y="21038"/>
                  </a:lnTo>
                  <a:lnTo>
                    <a:pt x="63490" y="21321"/>
                  </a:lnTo>
                  <a:lnTo>
                    <a:pt x="63678" y="21604"/>
                  </a:lnTo>
                  <a:lnTo>
                    <a:pt x="63773" y="21698"/>
                  </a:lnTo>
                  <a:lnTo>
                    <a:pt x="63584" y="21321"/>
                  </a:lnTo>
                  <a:lnTo>
                    <a:pt x="63584" y="21321"/>
                  </a:lnTo>
                  <a:lnTo>
                    <a:pt x="64244" y="22170"/>
                  </a:lnTo>
                  <a:lnTo>
                    <a:pt x="64716" y="22641"/>
                  </a:lnTo>
                  <a:lnTo>
                    <a:pt x="64905" y="22830"/>
                  </a:lnTo>
                  <a:lnTo>
                    <a:pt x="64999" y="22830"/>
                  </a:lnTo>
                  <a:lnTo>
                    <a:pt x="64999" y="22641"/>
                  </a:lnTo>
                  <a:lnTo>
                    <a:pt x="64905" y="22358"/>
                  </a:lnTo>
                  <a:lnTo>
                    <a:pt x="65282" y="23207"/>
                  </a:lnTo>
                  <a:lnTo>
                    <a:pt x="65565" y="24056"/>
                  </a:lnTo>
                  <a:lnTo>
                    <a:pt x="66225" y="25943"/>
                  </a:lnTo>
                  <a:lnTo>
                    <a:pt x="66697" y="27830"/>
                  </a:lnTo>
                  <a:lnTo>
                    <a:pt x="66886" y="28490"/>
                  </a:lnTo>
                  <a:lnTo>
                    <a:pt x="66980" y="28868"/>
                  </a:lnTo>
                  <a:lnTo>
                    <a:pt x="66886" y="28962"/>
                  </a:lnTo>
                  <a:lnTo>
                    <a:pt x="66697" y="28679"/>
                  </a:lnTo>
                  <a:lnTo>
                    <a:pt x="66697" y="29245"/>
                  </a:lnTo>
                  <a:lnTo>
                    <a:pt x="66791" y="29905"/>
                  </a:lnTo>
                  <a:lnTo>
                    <a:pt x="66886" y="29905"/>
                  </a:lnTo>
                  <a:lnTo>
                    <a:pt x="66886" y="30094"/>
                  </a:lnTo>
                  <a:lnTo>
                    <a:pt x="66886" y="30566"/>
                  </a:lnTo>
                  <a:lnTo>
                    <a:pt x="66697" y="30377"/>
                  </a:lnTo>
                  <a:lnTo>
                    <a:pt x="66603" y="30188"/>
                  </a:lnTo>
                  <a:lnTo>
                    <a:pt x="66603" y="30094"/>
                  </a:lnTo>
                  <a:lnTo>
                    <a:pt x="66697" y="29905"/>
                  </a:lnTo>
                  <a:lnTo>
                    <a:pt x="66508" y="28679"/>
                  </a:lnTo>
                  <a:lnTo>
                    <a:pt x="66225" y="27358"/>
                  </a:lnTo>
                  <a:lnTo>
                    <a:pt x="66603" y="30283"/>
                  </a:lnTo>
                  <a:lnTo>
                    <a:pt x="66697" y="31792"/>
                  </a:lnTo>
                  <a:lnTo>
                    <a:pt x="66697" y="33302"/>
                  </a:lnTo>
                  <a:lnTo>
                    <a:pt x="66603" y="34717"/>
                  </a:lnTo>
                  <a:lnTo>
                    <a:pt x="66414" y="36226"/>
                  </a:lnTo>
                  <a:lnTo>
                    <a:pt x="66131" y="37547"/>
                  </a:lnTo>
                  <a:lnTo>
                    <a:pt x="65659" y="38962"/>
                  </a:lnTo>
                  <a:lnTo>
                    <a:pt x="65848" y="38584"/>
                  </a:lnTo>
                  <a:lnTo>
                    <a:pt x="65942" y="38584"/>
                  </a:lnTo>
                  <a:lnTo>
                    <a:pt x="65848" y="39245"/>
                  </a:lnTo>
                  <a:lnTo>
                    <a:pt x="65565" y="40188"/>
                  </a:lnTo>
                  <a:lnTo>
                    <a:pt x="65471" y="40471"/>
                  </a:lnTo>
                  <a:lnTo>
                    <a:pt x="65282" y="40660"/>
                  </a:lnTo>
                  <a:lnTo>
                    <a:pt x="65282" y="40566"/>
                  </a:lnTo>
                  <a:lnTo>
                    <a:pt x="65093" y="41132"/>
                  </a:lnTo>
                  <a:lnTo>
                    <a:pt x="64433" y="43018"/>
                  </a:lnTo>
                  <a:lnTo>
                    <a:pt x="63678" y="45282"/>
                  </a:lnTo>
                  <a:lnTo>
                    <a:pt x="62735" y="47264"/>
                  </a:lnTo>
                  <a:lnTo>
                    <a:pt x="61697" y="49056"/>
                  </a:lnTo>
                  <a:lnTo>
                    <a:pt x="60659" y="50943"/>
                  </a:lnTo>
                  <a:lnTo>
                    <a:pt x="59433" y="52735"/>
                  </a:lnTo>
                  <a:lnTo>
                    <a:pt x="58207" y="54433"/>
                  </a:lnTo>
                  <a:lnTo>
                    <a:pt x="56886" y="56037"/>
                  </a:lnTo>
                  <a:lnTo>
                    <a:pt x="55376" y="57641"/>
                  </a:lnTo>
                  <a:lnTo>
                    <a:pt x="53867" y="59150"/>
                  </a:lnTo>
                  <a:lnTo>
                    <a:pt x="52169" y="60376"/>
                  </a:lnTo>
                  <a:lnTo>
                    <a:pt x="48961" y="62452"/>
                  </a:lnTo>
                  <a:lnTo>
                    <a:pt x="44528" y="65282"/>
                  </a:lnTo>
                  <a:lnTo>
                    <a:pt x="44622" y="65188"/>
                  </a:lnTo>
                  <a:lnTo>
                    <a:pt x="44716" y="65093"/>
                  </a:lnTo>
                  <a:lnTo>
                    <a:pt x="45094" y="64810"/>
                  </a:lnTo>
                  <a:lnTo>
                    <a:pt x="45660" y="64527"/>
                  </a:lnTo>
                  <a:lnTo>
                    <a:pt x="43867" y="65376"/>
                  </a:lnTo>
                  <a:lnTo>
                    <a:pt x="43113" y="65754"/>
                  </a:lnTo>
                  <a:lnTo>
                    <a:pt x="42924" y="65754"/>
                  </a:lnTo>
                  <a:lnTo>
                    <a:pt x="43113" y="65659"/>
                  </a:lnTo>
                  <a:lnTo>
                    <a:pt x="41603" y="66037"/>
                  </a:lnTo>
                  <a:lnTo>
                    <a:pt x="39999" y="66320"/>
                  </a:lnTo>
                  <a:lnTo>
                    <a:pt x="38396" y="66508"/>
                  </a:lnTo>
                  <a:lnTo>
                    <a:pt x="36792" y="66697"/>
                  </a:lnTo>
                  <a:lnTo>
                    <a:pt x="33584" y="66980"/>
                  </a:lnTo>
                  <a:lnTo>
                    <a:pt x="32169" y="67169"/>
                  </a:lnTo>
                  <a:lnTo>
                    <a:pt x="30754" y="67357"/>
                  </a:lnTo>
                  <a:lnTo>
                    <a:pt x="30094" y="67357"/>
                  </a:lnTo>
                  <a:lnTo>
                    <a:pt x="29339" y="67263"/>
                  </a:lnTo>
                  <a:lnTo>
                    <a:pt x="27830" y="66886"/>
                  </a:lnTo>
                  <a:lnTo>
                    <a:pt x="26415" y="66508"/>
                  </a:lnTo>
                  <a:lnTo>
                    <a:pt x="25754" y="66414"/>
                  </a:lnTo>
                  <a:lnTo>
                    <a:pt x="25094" y="66414"/>
                  </a:lnTo>
                  <a:lnTo>
                    <a:pt x="25566" y="66980"/>
                  </a:lnTo>
                  <a:lnTo>
                    <a:pt x="25471" y="67074"/>
                  </a:lnTo>
                  <a:lnTo>
                    <a:pt x="25188" y="66980"/>
                  </a:lnTo>
                  <a:lnTo>
                    <a:pt x="24339" y="66791"/>
                  </a:lnTo>
                  <a:lnTo>
                    <a:pt x="23773" y="66508"/>
                  </a:lnTo>
                  <a:lnTo>
                    <a:pt x="24245" y="66414"/>
                  </a:lnTo>
                  <a:lnTo>
                    <a:pt x="24717" y="66603"/>
                  </a:lnTo>
                  <a:lnTo>
                    <a:pt x="24811" y="66414"/>
                  </a:lnTo>
                  <a:lnTo>
                    <a:pt x="24811" y="66320"/>
                  </a:lnTo>
                  <a:lnTo>
                    <a:pt x="24717" y="66225"/>
                  </a:lnTo>
                  <a:lnTo>
                    <a:pt x="24528" y="66131"/>
                  </a:lnTo>
                  <a:lnTo>
                    <a:pt x="24151" y="66225"/>
                  </a:lnTo>
                  <a:lnTo>
                    <a:pt x="23679" y="66320"/>
                  </a:lnTo>
                  <a:lnTo>
                    <a:pt x="23018" y="66414"/>
                  </a:lnTo>
                  <a:lnTo>
                    <a:pt x="23490" y="66225"/>
                  </a:lnTo>
                  <a:lnTo>
                    <a:pt x="22075" y="65942"/>
                  </a:lnTo>
                  <a:lnTo>
                    <a:pt x="20943" y="65659"/>
                  </a:lnTo>
                  <a:lnTo>
                    <a:pt x="20000" y="65282"/>
                  </a:lnTo>
                  <a:lnTo>
                    <a:pt x="19056" y="64810"/>
                  </a:lnTo>
                  <a:lnTo>
                    <a:pt x="19056" y="64810"/>
                  </a:lnTo>
                  <a:lnTo>
                    <a:pt x="19717" y="64999"/>
                  </a:lnTo>
                  <a:lnTo>
                    <a:pt x="19151" y="64716"/>
                  </a:lnTo>
                  <a:lnTo>
                    <a:pt x="18962" y="64810"/>
                  </a:lnTo>
                  <a:lnTo>
                    <a:pt x="19151" y="64905"/>
                  </a:lnTo>
                  <a:lnTo>
                    <a:pt x="18490" y="64905"/>
                  </a:lnTo>
                  <a:lnTo>
                    <a:pt x="17830" y="64716"/>
                  </a:lnTo>
                  <a:lnTo>
                    <a:pt x="17264" y="64527"/>
                  </a:lnTo>
                  <a:lnTo>
                    <a:pt x="16698" y="64150"/>
                  </a:lnTo>
                  <a:lnTo>
                    <a:pt x="16981" y="64056"/>
                  </a:lnTo>
                  <a:lnTo>
                    <a:pt x="17264" y="64150"/>
                  </a:lnTo>
                  <a:lnTo>
                    <a:pt x="17264" y="64150"/>
                  </a:lnTo>
                  <a:lnTo>
                    <a:pt x="15188" y="63207"/>
                  </a:lnTo>
                  <a:lnTo>
                    <a:pt x="14622" y="62829"/>
                  </a:lnTo>
                  <a:lnTo>
                    <a:pt x="14717" y="62924"/>
                  </a:lnTo>
                  <a:lnTo>
                    <a:pt x="13773" y="62546"/>
                  </a:lnTo>
                  <a:lnTo>
                    <a:pt x="12924" y="62075"/>
                  </a:lnTo>
                  <a:lnTo>
                    <a:pt x="12358" y="61697"/>
                  </a:lnTo>
                  <a:lnTo>
                    <a:pt x="12264" y="61508"/>
                  </a:lnTo>
                  <a:lnTo>
                    <a:pt x="12170" y="61320"/>
                  </a:lnTo>
                  <a:lnTo>
                    <a:pt x="11698" y="60942"/>
                  </a:lnTo>
                  <a:lnTo>
                    <a:pt x="11132" y="60471"/>
                  </a:lnTo>
                  <a:lnTo>
                    <a:pt x="9906" y="59244"/>
                  </a:lnTo>
                  <a:lnTo>
                    <a:pt x="9906" y="59244"/>
                  </a:lnTo>
                  <a:lnTo>
                    <a:pt x="10566" y="59527"/>
                  </a:lnTo>
                  <a:lnTo>
                    <a:pt x="9434" y="58584"/>
                  </a:lnTo>
                  <a:lnTo>
                    <a:pt x="8207" y="57546"/>
                  </a:lnTo>
                  <a:lnTo>
                    <a:pt x="7547" y="56886"/>
                  </a:lnTo>
                  <a:lnTo>
                    <a:pt x="6981" y="56131"/>
                  </a:lnTo>
                  <a:lnTo>
                    <a:pt x="6226" y="55094"/>
                  </a:lnTo>
                  <a:lnTo>
                    <a:pt x="6415" y="55377"/>
                  </a:lnTo>
                  <a:lnTo>
                    <a:pt x="6038" y="54905"/>
                  </a:lnTo>
                  <a:lnTo>
                    <a:pt x="5472" y="54244"/>
                  </a:lnTo>
                  <a:lnTo>
                    <a:pt x="5283" y="53961"/>
                  </a:lnTo>
                  <a:lnTo>
                    <a:pt x="5094" y="53867"/>
                  </a:lnTo>
                  <a:lnTo>
                    <a:pt x="5377" y="54622"/>
                  </a:lnTo>
                  <a:lnTo>
                    <a:pt x="5849" y="55282"/>
                  </a:lnTo>
                  <a:lnTo>
                    <a:pt x="6321" y="55943"/>
                  </a:lnTo>
                  <a:lnTo>
                    <a:pt x="6698" y="56603"/>
                  </a:lnTo>
                  <a:lnTo>
                    <a:pt x="6226" y="56226"/>
                  </a:lnTo>
                  <a:lnTo>
                    <a:pt x="5943" y="55848"/>
                  </a:lnTo>
                  <a:lnTo>
                    <a:pt x="6038" y="56037"/>
                  </a:lnTo>
                  <a:lnTo>
                    <a:pt x="5943" y="55943"/>
                  </a:lnTo>
                  <a:lnTo>
                    <a:pt x="5377" y="55188"/>
                  </a:lnTo>
                  <a:lnTo>
                    <a:pt x="5000" y="54716"/>
                  </a:lnTo>
                  <a:lnTo>
                    <a:pt x="4717" y="54150"/>
                  </a:lnTo>
                  <a:lnTo>
                    <a:pt x="4528" y="53678"/>
                  </a:lnTo>
                  <a:lnTo>
                    <a:pt x="4528" y="53584"/>
                  </a:lnTo>
                  <a:lnTo>
                    <a:pt x="4623" y="53395"/>
                  </a:lnTo>
                  <a:lnTo>
                    <a:pt x="5094" y="54244"/>
                  </a:lnTo>
                  <a:lnTo>
                    <a:pt x="4717" y="53301"/>
                  </a:lnTo>
                  <a:lnTo>
                    <a:pt x="4528" y="53018"/>
                  </a:lnTo>
                  <a:lnTo>
                    <a:pt x="4151" y="52263"/>
                  </a:lnTo>
                  <a:lnTo>
                    <a:pt x="4151" y="52169"/>
                  </a:lnTo>
                  <a:lnTo>
                    <a:pt x="3774" y="51509"/>
                  </a:lnTo>
                  <a:lnTo>
                    <a:pt x="3396" y="50660"/>
                  </a:lnTo>
                  <a:lnTo>
                    <a:pt x="3585" y="51603"/>
                  </a:lnTo>
                  <a:lnTo>
                    <a:pt x="3396" y="51226"/>
                  </a:lnTo>
                  <a:lnTo>
                    <a:pt x="3208" y="50848"/>
                  </a:lnTo>
                  <a:lnTo>
                    <a:pt x="3208" y="50471"/>
                  </a:lnTo>
                  <a:lnTo>
                    <a:pt x="3208" y="50094"/>
                  </a:lnTo>
                  <a:lnTo>
                    <a:pt x="3585" y="50754"/>
                  </a:lnTo>
                  <a:lnTo>
                    <a:pt x="3868" y="51509"/>
                  </a:lnTo>
                  <a:lnTo>
                    <a:pt x="3868" y="51509"/>
                  </a:lnTo>
                  <a:lnTo>
                    <a:pt x="3208" y="49528"/>
                  </a:lnTo>
                  <a:lnTo>
                    <a:pt x="3208" y="49528"/>
                  </a:lnTo>
                  <a:lnTo>
                    <a:pt x="3868" y="50754"/>
                  </a:lnTo>
                  <a:lnTo>
                    <a:pt x="3208" y="48962"/>
                  </a:lnTo>
                  <a:lnTo>
                    <a:pt x="3585" y="49339"/>
                  </a:lnTo>
                  <a:lnTo>
                    <a:pt x="3774" y="49433"/>
                  </a:lnTo>
                  <a:lnTo>
                    <a:pt x="3962" y="49528"/>
                  </a:lnTo>
                  <a:lnTo>
                    <a:pt x="4057" y="49905"/>
                  </a:lnTo>
                  <a:lnTo>
                    <a:pt x="3868" y="48962"/>
                  </a:lnTo>
                  <a:lnTo>
                    <a:pt x="3491" y="47924"/>
                  </a:lnTo>
                  <a:lnTo>
                    <a:pt x="2641" y="45565"/>
                  </a:lnTo>
                  <a:lnTo>
                    <a:pt x="2170" y="43867"/>
                  </a:lnTo>
                  <a:lnTo>
                    <a:pt x="1698" y="41886"/>
                  </a:lnTo>
                  <a:lnTo>
                    <a:pt x="1698" y="41886"/>
                  </a:lnTo>
                  <a:lnTo>
                    <a:pt x="1887" y="42075"/>
                  </a:lnTo>
                  <a:lnTo>
                    <a:pt x="1981" y="41981"/>
                  </a:lnTo>
                  <a:lnTo>
                    <a:pt x="2075" y="42075"/>
                  </a:lnTo>
                  <a:lnTo>
                    <a:pt x="2264" y="42169"/>
                  </a:lnTo>
                  <a:lnTo>
                    <a:pt x="2170" y="40283"/>
                  </a:lnTo>
                  <a:lnTo>
                    <a:pt x="2075" y="38301"/>
                  </a:lnTo>
                  <a:lnTo>
                    <a:pt x="2170" y="36415"/>
                  </a:lnTo>
                  <a:lnTo>
                    <a:pt x="2358" y="35566"/>
                  </a:lnTo>
                  <a:lnTo>
                    <a:pt x="2453" y="34811"/>
                  </a:lnTo>
                  <a:lnTo>
                    <a:pt x="2830" y="32830"/>
                  </a:lnTo>
                  <a:lnTo>
                    <a:pt x="2830" y="33207"/>
                  </a:lnTo>
                  <a:lnTo>
                    <a:pt x="2924" y="33490"/>
                  </a:lnTo>
                  <a:lnTo>
                    <a:pt x="2924" y="32453"/>
                  </a:lnTo>
                  <a:lnTo>
                    <a:pt x="3019" y="31415"/>
                  </a:lnTo>
                  <a:lnTo>
                    <a:pt x="3396" y="29245"/>
                  </a:lnTo>
                  <a:lnTo>
                    <a:pt x="3868" y="27075"/>
                  </a:lnTo>
                  <a:lnTo>
                    <a:pt x="4623" y="25000"/>
                  </a:lnTo>
                  <a:lnTo>
                    <a:pt x="5566" y="22830"/>
                  </a:lnTo>
                  <a:lnTo>
                    <a:pt x="6604" y="20849"/>
                  </a:lnTo>
                  <a:lnTo>
                    <a:pt x="7830" y="18868"/>
                  </a:lnTo>
                  <a:lnTo>
                    <a:pt x="9151" y="16887"/>
                  </a:lnTo>
                  <a:lnTo>
                    <a:pt x="10566" y="15094"/>
                  </a:lnTo>
                  <a:lnTo>
                    <a:pt x="12075" y="13302"/>
                  </a:lnTo>
                  <a:lnTo>
                    <a:pt x="13773" y="11698"/>
                  </a:lnTo>
                  <a:lnTo>
                    <a:pt x="15377" y="10095"/>
                  </a:lnTo>
                  <a:lnTo>
                    <a:pt x="17170" y="8679"/>
                  </a:lnTo>
                  <a:lnTo>
                    <a:pt x="18962" y="7453"/>
                  </a:lnTo>
                  <a:lnTo>
                    <a:pt x="20754" y="6321"/>
                  </a:lnTo>
                  <a:lnTo>
                    <a:pt x="22547" y="5378"/>
                  </a:lnTo>
                  <a:lnTo>
                    <a:pt x="21603" y="6227"/>
                  </a:lnTo>
                  <a:lnTo>
                    <a:pt x="22641" y="5472"/>
                  </a:lnTo>
                  <a:lnTo>
                    <a:pt x="23302" y="5095"/>
                  </a:lnTo>
                  <a:lnTo>
                    <a:pt x="25377" y="4151"/>
                  </a:lnTo>
                  <a:lnTo>
                    <a:pt x="24811" y="4151"/>
                  </a:lnTo>
                  <a:lnTo>
                    <a:pt x="25660" y="3774"/>
                  </a:lnTo>
                  <a:lnTo>
                    <a:pt x="26886" y="3208"/>
                  </a:lnTo>
                  <a:lnTo>
                    <a:pt x="26603" y="3585"/>
                  </a:lnTo>
                  <a:lnTo>
                    <a:pt x="26886" y="3585"/>
                  </a:lnTo>
                  <a:lnTo>
                    <a:pt x="26886" y="3680"/>
                  </a:lnTo>
                  <a:lnTo>
                    <a:pt x="26792" y="3774"/>
                  </a:lnTo>
                  <a:lnTo>
                    <a:pt x="28301" y="3302"/>
                  </a:lnTo>
                  <a:lnTo>
                    <a:pt x="29622" y="2736"/>
                  </a:lnTo>
                  <a:lnTo>
                    <a:pt x="31037" y="2264"/>
                  </a:lnTo>
                  <a:lnTo>
                    <a:pt x="31792" y="2076"/>
                  </a:lnTo>
                  <a:lnTo>
                    <a:pt x="32641" y="1981"/>
                  </a:lnTo>
                  <a:lnTo>
                    <a:pt x="32547" y="2076"/>
                  </a:lnTo>
                  <a:lnTo>
                    <a:pt x="32924" y="1981"/>
                  </a:lnTo>
                  <a:lnTo>
                    <a:pt x="34245" y="1793"/>
                  </a:lnTo>
                  <a:lnTo>
                    <a:pt x="35848" y="1415"/>
                  </a:lnTo>
                  <a:lnTo>
                    <a:pt x="36981" y="1132"/>
                  </a:lnTo>
                  <a:lnTo>
                    <a:pt x="36981" y="1415"/>
                  </a:lnTo>
                  <a:lnTo>
                    <a:pt x="40943" y="1227"/>
                  </a:lnTo>
                  <a:lnTo>
                    <a:pt x="41509" y="1038"/>
                  </a:lnTo>
                  <a:lnTo>
                    <a:pt x="41697" y="1132"/>
                  </a:lnTo>
                  <a:lnTo>
                    <a:pt x="41509" y="1227"/>
                  </a:lnTo>
                  <a:lnTo>
                    <a:pt x="41320" y="1321"/>
                  </a:lnTo>
                  <a:lnTo>
                    <a:pt x="42263" y="1321"/>
                  </a:lnTo>
                  <a:lnTo>
                    <a:pt x="43113" y="1227"/>
                  </a:lnTo>
                  <a:lnTo>
                    <a:pt x="43396" y="1415"/>
                  </a:lnTo>
                  <a:lnTo>
                    <a:pt x="44056" y="1604"/>
                  </a:lnTo>
                  <a:lnTo>
                    <a:pt x="45943" y="2076"/>
                  </a:lnTo>
                  <a:lnTo>
                    <a:pt x="48018" y="2359"/>
                  </a:lnTo>
                  <a:lnTo>
                    <a:pt x="49622" y="2736"/>
                  </a:lnTo>
                  <a:lnTo>
                    <a:pt x="47641" y="1981"/>
                  </a:lnTo>
                  <a:lnTo>
                    <a:pt x="45282" y="1321"/>
                  </a:lnTo>
                  <a:lnTo>
                    <a:pt x="42735" y="755"/>
                  </a:lnTo>
                  <a:lnTo>
                    <a:pt x="40188" y="283"/>
                  </a:lnTo>
                  <a:lnTo>
                    <a:pt x="37735" y="95"/>
                  </a:lnTo>
                  <a:lnTo>
                    <a:pt x="35471" y="0"/>
                  </a:lnTo>
                  <a:close/>
                </a:path>
              </a:pathLst>
            </a:custGeom>
            <a:solidFill>
              <a:schemeClr val="bg1">
                <a:lumMod val="95000"/>
              </a:schemeClr>
            </a:solidFill>
            <a:ln w="0">
              <a:solidFill>
                <a:srgbClr val="0079D1"/>
              </a:solidFill>
            </a:ln>
          </p:spPr>
          <p:txBody>
            <a:bodyPr spcFirstLastPara="1" wrap="square" lIns="91425" tIns="91425" rIns="91425" bIns="91425" anchor="ctr" anchorCtr="0">
              <a:noAutofit/>
            </a:bodyPr>
            <a:lstStyle/>
            <a:p>
              <a:pPr marL="0" lvl="0" indent="0">
                <a:spcBef>
                  <a:spcPts val="0"/>
                </a:spcBef>
                <a:spcAft>
                  <a:spcPts val="0"/>
                </a:spcAft>
                <a:buNone/>
              </a:pPr>
              <a:endParaRPr sz="1200">
                <a:latin typeface="+mj-lt"/>
              </a:endParaRPr>
            </a:p>
          </p:txBody>
        </p:sp>
        <p:sp>
          <p:nvSpPr>
            <p:cNvPr id="589" name="TextBox 588">
              <a:extLst>
                <a:ext uri="{FF2B5EF4-FFF2-40B4-BE49-F238E27FC236}">
                  <a16:creationId xmlns:a16="http://schemas.microsoft.com/office/drawing/2014/main" id="{5FD1DC1A-1DF9-3040-B5B9-72AFBD3756EA}"/>
                </a:ext>
              </a:extLst>
            </p:cNvPr>
            <p:cNvSpPr txBox="1"/>
            <p:nvPr/>
          </p:nvSpPr>
          <p:spPr>
            <a:xfrm>
              <a:off x="8676898" y="4619460"/>
              <a:ext cx="229951" cy="200055"/>
            </a:xfrm>
            <a:prstGeom prst="rect">
              <a:avLst/>
            </a:prstGeom>
            <a:noFill/>
          </p:spPr>
          <p:txBody>
            <a:bodyPr wrap="square" rtlCol="0">
              <a:spAutoFit/>
            </a:bodyPr>
            <a:lstStyle/>
            <a:p>
              <a:r>
                <a:rPr lang="en-US" sz="700" b="1" dirty="0">
                  <a:solidFill>
                    <a:srgbClr val="0079D1"/>
                  </a:solidFill>
                  <a:latin typeface="+mj-lt"/>
                </a:rPr>
                <a:t>F</a:t>
              </a:r>
            </a:p>
          </p:txBody>
        </p:sp>
      </p:grpSp>
      <p:sp>
        <p:nvSpPr>
          <p:cNvPr id="593" name="TextBox 592">
            <a:extLst>
              <a:ext uri="{FF2B5EF4-FFF2-40B4-BE49-F238E27FC236}">
                <a16:creationId xmlns:a16="http://schemas.microsoft.com/office/drawing/2014/main" id="{B9337562-4D47-FF43-98F6-998C5BA5E53A}"/>
              </a:ext>
            </a:extLst>
          </p:cNvPr>
          <p:cNvSpPr txBox="1"/>
          <p:nvPr/>
        </p:nvSpPr>
        <p:spPr>
          <a:xfrm>
            <a:off x="342091" y="1437544"/>
            <a:ext cx="1776287" cy="289480"/>
          </a:xfrm>
          <a:prstGeom prst="rect">
            <a:avLst/>
          </a:prstGeom>
          <a:noFill/>
        </p:spPr>
        <p:txBody>
          <a:bodyPr wrap="square" tIns="90000" bIns="90000" rtlCol="0" anchor="t">
            <a:spAutoFit/>
          </a:bodyPr>
          <a:lstStyle/>
          <a:p>
            <a:r>
              <a:rPr lang="en-US" sz="700" b="1" dirty="0">
                <a:solidFill>
                  <a:srgbClr val="0079D1"/>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Kafka Custom API Source</a:t>
            </a:r>
          </a:p>
        </p:txBody>
      </p:sp>
      <p:grpSp>
        <p:nvGrpSpPr>
          <p:cNvPr id="594" name="Group 593">
            <a:extLst>
              <a:ext uri="{FF2B5EF4-FFF2-40B4-BE49-F238E27FC236}">
                <a16:creationId xmlns:a16="http://schemas.microsoft.com/office/drawing/2014/main" id="{FB548C4B-141A-B14A-B3AA-08532CA2F3D0}"/>
              </a:ext>
            </a:extLst>
          </p:cNvPr>
          <p:cNvGrpSpPr/>
          <p:nvPr/>
        </p:nvGrpSpPr>
        <p:grpSpPr>
          <a:xfrm>
            <a:off x="138465" y="1505487"/>
            <a:ext cx="229951" cy="215444"/>
            <a:chOff x="8676898" y="4619460"/>
            <a:chExt cx="229951" cy="215444"/>
          </a:xfrm>
        </p:grpSpPr>
        <p:sp>
          <p:nvSpPr>
            <p:cNvPr id="595" name="Google Shape;431;p39">
              <a:extLst>
                <a:ext uri="{FF2B5EF4-FFF2-40B4-BE49-F238E27FC236}">
                  <a16:creationId xmlns:a16="http://schemas.microsoft.com/office/drawing/2014/main" id="{A167F0C8-6C93-1D4F-BB63-5B268BC2EC5B}"/>
                </a:ext>
              </a:extLst>
            </p:cNvPr>
            <p:cNvSpPr/>
            <p:nvPr/>
          </p:nvSpPr>
          <p:spPr>
            <a:xfrm>
              <a:off x="8709950" y="4635551"/>
              <a:ext cx="179407" cy="167874"/>
            </a:xfrm>
            <a:custGeom>
              <a:avLst/>
              <a:gdLst/>
              <a:ahLst/>
              <a:cxnLst/>
              <a:rect l="0" t="0" r="0" b="0"/>
              <a:pathLst>
                <a:path w="67641" h="69056" extrusionOk="0">
                  <a:moveTo>
                    <a:pt x="49622" y="2736"/>
                  </a:moveTo>
                  <a:lnTo>
                    <a:pt x="49622" y="2736"/>
                  </a:lnTo>
                  <a:lnTo>
                    <a:pt x="49622" y="2736"/>
                  </a:lnTo>
                  <a:close/>
                  <a:moveTo>
                    <a:pt x="59622" y="55565"/>
                  </a:moveTo>
                  <a:lnTo>
                    <a:pt x="59622" y="55565"/>
                  </a:lnTo>
                  <a:lnTo>
                    <a:pt x="59622" y="55565"/>
                  </a:lnTo>
                  <a:close/>
                  <a:moveTo>
                    <a:pt x="35471" y="0"/>
                  </a:moveTo>
                  <a:lnTo>
                    <a:pt x="34433" y="95"/>
                  </a:lnTo>
                  <a:lnTo>
                    <a:pt x="33584" y="189"/>
                  </a:lnTo>
                  <a:lnTo>
                    <a:pt x="32735" y="378"/>
                  </a:lnTo>
                  <a:lnTo>
                    <a:pt x="32169" y="566"/>
                  </a:lnTo>
                  <a:lnTo>
                    <a:pt x="31509" y="472"/>
                  </a:lnTo>
                  <a:lnTo>
                    <a:pt x="30754" y="472"/>
                  </a:lnTo>
                  <a:lnTo>
                    <a:pt x="29339" y="566"/>
                  </a:lnTo>
                  <a:lnTo>
                    <a:pt x="27830" y="849"/>
                  </a:lnTo>
                  <a:lnTo>
                    <a:pt x="26320" y="1321"/>
                  </a:lnTo>
                  <a:lnTo>
                    <a:pt x="24811" y="1981"/>
                  </a:lnTo>
                  <a:lnTo>
                    <a:pt x="23207" y="2736"/>
                  </a:lnTo>
                  <a:lnTo>
                    <a:pt x="21698" y="3585"/>
                  </a:lnTo>
                  <a:lnTo>
                    <a:pt x="20188" y="4623"/>
                  </a:lnTo>
                  <a:lnTo>
                    <a:pt x="18679" y="5661"/>
                  </a:lnTo>
                  <a:lnTo>
                    <a:pt x="17170" y="6793"/>
                  </a:lnTo>
                  <a:lnTo>
                    <a:pt x="15754" y="8019"/>
                  </a:lnTo>
                  <a:lnTo>
                    <a:pt x="14434" y="9151"/>
                  </a:lnTo>
                  <a:lnTo>
                    <a:pt x="11981" y="11510"/>
                  </a:lnTo>
                  <a:lnTo>
                    <a:pt x="10000" y="13774"/>
                  </a:lnTo>
                  <a:lnTo>
                    <a:pt x="7736" y="16981"/>
                  </a:lnTo>
                  <a:lnTo>
                    <a:pt x="8019" y="16321"/>
                  </a:lnTo>
                  <a:lnTo>
                    <a:pt x="8302" y="15660"/>
                  </a:lnTo>
                  <a:lnTo>
                    <a:pt x="7736" y="16604"/>
                  </a:lnTo>
                  <a:lnTo>
                    <a:pt x="7075" y="17642"/>
                  </a:lnTo>
                  <a:lnTo>
                    <a:pt x="7170" y="17830"/>
                  </a:lnTo>
                  <a:lnTo>
                    <a:pt x="6509" y="18868"/>
                  </a:lnTo>
                  <a:lnTo>
                    <a:pt x="7075" y="17359"/>
                  </a:lnTo>
                  <a:lnTo>
                    <a:pt x="6132" y="19057"/>
                  </a:lnTo>
                  <a:lnTo>
                    <a:pt x="5189" y="20849"/>
                  </a:lnTo>
                  <a:lnTo>
                    <a:pt x="4434" y="22736"/>
                  </a:lnTo>
                  <a:lnTo>
                    <a:pt x="3679" y="24622"/>
                  </a:lnTo>
                  <a:lnTo>
                    <a:pt x="2453" y="28490"/>
                  </a:lnTo>
                  <a:lnTo>
                    <a:pt x="1321" y="32169"/>
                  </a:lnTo>
                  <a:lnTo>
                    <a:pt x="1509" y="32264"/>
                  </a:lnTo>
                  <a:lnTo>
                    <a:pt x="1604" y="32453"/>
                  </a:lnTo>
                  <a:lnTo>
                    <a:pt x="1604" y="32641"/>
                  </a:lnTo>
                  <a:lnTo>
                    <a:pt x="1509" y="32924"/>
                  </a:lnTo>
                  <a:lnTo>
                    <a:pt x="1226" y="33396"/>
                  </a:lnTo>
                  <a:lnTo>
                    <a:pt x="1038" y="33585"/>
                  </a:lnTo>
                  <a:lnTo>
                    <a:pt x="1038" y="33773"/>
                  </a:lnTo>
                  <a:lnTo>
                    <a:pt x="1038" y="35000"/>
                  </a:lnTo>
                  <a:lnTo>
                    <a:pt x="849" y="36132"/>
                  </a:lnTo>
                  <a:lnTo>
                    <a:pt x="660" y="37358"/>
                  </a:lnTo>
                  <a:lnTo>
                    <a:pt x="472" y="38867"/>
                  </a:lnTo>
                  <a:lnTo>
                    <a:pt x="283" y="38301"/>
                  </a:lnTo>
                  <a:lnTo>
                    <a:pt x="94" y="39811"/>
                  </a:lnTo>
                  <a:lnTo>
                    <a:pt x="0" y="41509"/>
                  </a:lnTo>
                  <a:lnTo>
                    <a:pt x="94" y="43301"/>
                  </a:lnTo>
                  <a:lnTo>
                    <a:pt x="283" y="44056"/>
                  </a:lnTo>
                  <a:lnTo>
                    <a:pt x="472" y="44622"/>
                  </a:lnTo>
                  <a:lnTo>
                    <a:pt x="566" y="45660"/>
                  </a:lnTo>
                  <a:lnTo>
                    <a:pt x="755" y="46792"/>
                  </a:lnTo>
                  <a:lnTo>
                    <a:pt x="1226" y="48962"/>
                  </a:lnTo>
                  <a:lnTo>
                    <a:pt x="1981" y="51037"/>
                  </a:lnTo>
                  <a:lnTo>
                    <a:pt x="2924" y="53112"/>
                  </a:lnTo>
                  <a:lnTo>
                    <a:pt x="4057" y="55094"/>
                  </a:lnTo>
                  <a:lnTo>
                    <a:pt x="5283" y="56980"/>
                  </a:lnTo>
                  <a:lnTo>
                    <a:pt x="6698" y="58678"/>
                  </a:lnTo>
                  <a:lnTo>
                    <a:pt x="8113" y="60282"/>
                  </a:lnTo>
                  <a:lnTo>
                    <a:pt x="9056" y="61131"/>
                  </a:lnTo>
                  <a:lnTo>
                    <a:pt x="10000" y="61980"/>
                  </a:lnTo>
                  <a:lnTo>
                    <a:pt x="11038" y="62829"/>
                  </a:lnTo>
                  <a:lnTo>
                    <a:pt x="12075" y="63584"/>
                  </a:lnTo>
                  <a:lnTo>
                    <a:pt x="14339" y="64905"/>
                  </a:lnTo>
                  <a:lnTo>
                    <a:pt x="16604" y="66131"/>
                  </a:lnTo>
                  <a:lnTo>
                    <a:pt x="19056" y="67169"/>
                  </a:lnTo>
                  <a:lnTo>
                    <a:pt x="21509" y="67923"/>
                  </a:lnTo>
                  <a:lnTo>
                    <a:pt x="24056" y="68584"/>
                  </a:lnTo>
                  <a:lnTo>
                    <a:pt x="26603" y="69055"/>
                  </a:lnTo>
                  <a:lnTo>
                    <a:pt x="27830" y="69055"/>
                  </a:lnTo>
                  <a:lnTo>
                    <a:pt x="30188" y="68867"/>
                  </a:lnTo>
                  <a:lnTo>
                    <a:pt x="33113" y="68678"/>
                  </a:lnTo>
                  <a:lnTo>
                    <a:pt x="36509" y="68301"/>
                  </a:lnTo>
                  <a:lnTo>
                    <a:pt x="39811" y="67923"/>
                  </a:lnTo>
                  <a:lnTo>
                    <a:pt x="42735" y="67452"/>
                  </a:lnTo>
                  <a:lnTo>
                    <a:pt x="44905" y="66980"/>
                  </a:lnTo>
                  <a:lnTo>
                    <a:pt x="45565" y="66791"/>
                  </a:lnTo>
                  <a:lnTo>
                    <a:pt x="45943" y="66508"/>
                  </a:lnTo>
                  <a:lnTo>
                    <a:pt x="47358" y="65942"/>
                  </a:lnTo>
                  <a:lnTo>
                    <a:pt x="48018" y="65565"/>
                  </a:lnTo>
                  <a:lnTo>
                    <a:pt x="48678" y="65188"/>
                  </a:lnTo>
                  <a:lnTo>
                    <a:pt x="47924" y="65471"/>
                  </a:lnTo>
                  <a:lnTo>
                    <a:pt x="51509" y="62924"/>
                  </a:lnTo>
                  <a:lnTo>
                    <a:pt x="53301" y="61508"/>
                  </a:lnTo>
                  <a:lnTo>
                    <a:pt x="55093" y="59905"/>
                  </a:lnTo>
                  <a:lnTo>
                    <a:pt x="55093" y="59905"/>
                  </a:lnTo>
                  <a:lnTo>
                    <a:pt x="54810" y="60376"/>
                  </a:lnTo>
                  <a:lnTo>
                    <a:pt x="54339" y="60754"/>
                  </a:lnTo>
                  <a:lnTo>
                    <a:pt x="55376" y="59999"/>
                  </a:lnTo>
                  <a:lnTo>
                    <a:pt x="56320" y="59056"/>
                  </a:lnTo>
                  <a:lnTo>
                    <a:pt x="57075" y="58395"/>
                  </a:lnTo>
                  <a:lnTo>
                    <a:pt x="57169" y="58207"/>
                  </a:lnTo>
                  <a:lnTo>
                    <a:pt x="57075" y="58207"/>
                  </a:lnTo>
                  <a:lnTo>
                    <a:pt x="57924" y="57546"/>
                  </a:lnTo>
                  <a:lnTo>
                    <a:pt x="58678" y="56697"/>
                  </a:lnTo>
                  <a:lnTo>
                    <a:pt x="59339" y="55754"/>
                  </a:lnTo>
                  <a:lnTo>
                    <a:pt x="59905" y="54905"/>
                  </a:lnTo>
                  <a:lnTo>
                    <a:pt x="59716" y="54999"/>
                  </a:lnTo>
                  <a:lnTo>
                    <a:pt x="59622" y="54999"/>
                  </a:lnTo>
                  <a:lnTo>
                    <a:pt x="59810" y="54622"/>
                  </a:lnTo>
                  <a:lnTo>
                    <a:pt x="59150" y="55565"/>
                  </a:lnTo>
                  <a:lnTo>
                    <a:pt x="59527" y="55094"/>
                  </a:lnTo>
                  <a:lnTo>
                    <a:pt x="59433" y="55377"/>
                  </a:lnTo>
                  <a:lnTo>
                    <a:pt x="58867" y="56037"/>
                  </a:lnTo>
                  <a:lnTo>
                    <a:pt x="59056" y="55660"/>
                  </a:lnTo>
                  <a:lnTo>
                    <a:pt x="59056" y="55660"/>
                  </a:lnTo>
                  <a:lnTo>
                    <a:pt x="58678" y="56037"/>
                  </a:lnTo>
                  <a:lnTo>
                    <a:pt x="59810" y="54339"/>
                  </a:lnTo>
                  <a:lnTo>
                    <a:pt x="60282" y="53490"/>
                  </a:lnTo>
                  <a:lnTo>
                    <a:pt x="60282" y="53301"/>
                  </a:lnTo>
                  <a:lnTo>
                    <a:pt x="60188" y="53395"/>
                  </a:lnTo>
                  <a:lnTo>
                    <a:pt x="60188" y="53395"/>
                  </a:lnTo>
                  <a:lnTo>
                    <a:pt x="60565" y="52924"/>
                  </a:lnTo>
                  <a:lnTo>
                    <a:pt x="61037" y="52452"/>
                  </a:lnTo>
                  <a:lnTo>
                    <a:pt x="61886" y="51509"/>
                  </a:lnTo>
                  <a:lnTo>
                    <a:pt x="61508" y="52452"/>
                  </a:lnTo>
                  <a:lnTo>
                    <a:pt x="60848" y="53584"/>
                  </a:lnTo>
                  <a:lnTo>
                    <a:pt x="59622" y="55565"/>
                  </a:lnTo>
                  <a:lnTo>
                    <a:pt x="60376" y="54528"/>
                  </a:lnTo>
                  <a:lnTo>
                    <a:pt x="60942" y="53678"/>
                  </a:lnTo>
                  <a:lnTo>
                    <a:pt x="61980" y="51792"/>
                  </a:lnTo>
                  <a:lnTo>
                    <a:pt x="61886" y="51886"/>
                  </a:lnTo>
                  <a:lnTo>
                    <a:pt x="61886" y="51697"/>
                  </a:lnTo>
                  <a:lnTo>
                    <a:pt x="62169" y="51037"/>
                  </a:lnTo>
                  <a:lnTo>
                    <a:pt x="62735" y="49999"/>
                  </a:lnTo>
                  <a:lnTo>
                    <a:pt x="61508" y="51603"/>
                  </a:lnTo>
                  <a:lnTo>
                    <a:pt x="61603" y="51037"/>
                  </a:lnTo>
                  <a:lnTo>
                    <a:pt x="61697" y="50377"/>
                  </a:lnTo>
                  <a:lnTo>
                    <a:pt x="62169" y="48962"/>
                  </a:lnTo>
                  <a:lnTo>
                    <a:pt x="62829" y="47358"/>
                  </a:lnTo>
                  <a:lnTo>
                    <a:pt x="63678" y="45565"/>
                  </a:lnTo>
                  <a:lnTo>
                    <a:pt x="65376" y="42169"/>
                  </a:lnTo>
                  <a:lnTo>
                    <a:pt x="66131" y="40660"/>
                  </a:lnTo>
                  <a:lnTo>
                    <a:pt x="66697" y="39339"/>
                  </a:lnTo>
                  <a:lnTo>
                    <a:pt x="66603" y="39528"/>
                  </a:lnTo>
                  <a:lnTo>
                    <a:pt x="66697" y="39056"/>
                  </a:lnTo>
                  <a:lnTo>
                    <a:pt x="66791" y="38962"/>
                  </a:lnTo>
                  <a:lnTo>
                    <a:pt x="66791" y="39056"/>
                  </a:lnTo>
                  <a:lnTo>
                    <a:pt x="66886" y="38584"/>
                  </a:lnTo>
                  <a:lnTo>
                    <a:pt x="66791" y="38867"/>
                  </a:lnTo>
                  <a:lnTo>
                    <a:pt x="66980" y="38207"/>
                  </a:lnTo>
                  <a:lnTo>
                    <a:pt x="67169" y="37264"/>
                  </a:lnTo>
                  <a:lnTo>
                    <a:pt x="67263" y="36415"/>
                  </a:lnTo>
                  <a:lnTo>
                    <a:pt x="67357" y="36509"/>
                  </a:lnTo>
                  <a:lnTo>
                    <a:pt x="67452" y="36509"/>
                  </a:lnTo>
                  <a:lnTo>
                    <a:pt x="67546" y="35943"/>
                  </a:lnTo>
                  <a:lnTo>
                    <a:pt x="67546" y="34811"/>
                  </a:lnTo>
                  <a:lnTo>
                    <a:pt x="67640" y="31037"/>
                  </a:lnTo>
                  <a:lnTo>
                    <a:pt x="67640" y="28490"/>
                  </a:lnTo>
                  <a:lnTo>
                    <a:pt x="67546" y="27736"/>
                  </a:lnTo>
                  <a:lnTo>
                    <a:pt x="67546" y="27547"/>
                  </a:lnTo>
                  <a:lnTo>
                    <a:pt x="67452" y="27547"/>
                  </a:lnTo>
                  <a:lnTo>
                    <a:pt x="67074" y="26792"/>
                  </a:lnTo>
                  <a:lnTo>
                    <a:pt x="66791" y="25660"/>
                  </a:lnTo>
                  <a:lnTo>
                    <a:pt x="66508" y="24528"/>
                  </a:lnTo>
                  <a:lnTo>
                    <a:pt x="66414" y="23585"/>
                  </a:lnTo>
                  <a:lnTo>
                    <a:pt x="66320" y="23679"/>
                  </a:lnTo>
                  <a:lnTo>
                    <a:pt x="66320" y="23490"/>
                  </a:lnTo>
                  <a:lnTo>
                    <a:pt x="65942" y="22924"/>
                  </a:lnTo>
                  <a:lnTo>
                    <a:pt x="65565" y="22358"/>
                  </a:lnTo>
                  <a:lnTo>
                    <a:pt x="64527" y="21132"/>
                  </a:lnTo>
                  <a:lnTo>
                    <a:pt x="63584" y="19906"/>
                  </a:lnTo>
                  <a:lnTo>
                    <a:pt x="63207" y="19340"/>
                  </a:lnTo>
                  <a:lnTo>
                    <a:pt x="63018" y="18774"/>
                  </a:lnTo>
                  <a:lnTo>
                    <a:pt x="63112" y="18962"/>
                  </a:lnTo>
                  <a:lnTo>
                    <a:pt x="63301" y="19057"/>
                  </a:lnTo>
                  <a:lnTo>
                    <a:pt x="63301" y="19057"/>
                  </a:lnTo>
                  <a:lnTo>
                    <a:pt x="63207" y="18868"/>
                  </a:lnTo>
                  <a:lnTo>
                    <a:pt x="62923" y="18491"/>
                  </a:lnTo>
                  <a:lnTo>
                    <a:pt x="61980" y="17453"/>
                  </a:lnTo>
                  <a:lnTo>
                    <a:pt x="61037" y="16509"/>
                  </a:lnTo>
                  <a:lnTo>
                    <a:pt x="61037" y="16698"/>
                  </a:lnTo>
                  <a:lnTo>
                    <a:pt x="61037" y="16887"/>
                  </a:lnTo>
                  <a:lnTo>
                    <a:pt x="60093" y="15943"/>
                  </a:lnTo>
                  <a:lnTo>
                    <a:pt x="60376" y="16321"/>
                  </a:lnTo>
                  <a:lnTo>
                    <a:pt x="59527" y="15377"/>
                  </a:lnTo>
                  <a:lnTo>
                    <a:pt x="59056" y="14906"/>
                  </a:lnTo>
                  <a:lnTo>
                    <a:pt x="59244" y="14906"/>
                  </a:lnTo>
                  <a:lnTo>
                    <a:pt x="59905" y="15472"/>
                  </a:lnTo>
                  <a:lnTo>
                    <a:pt x="59905" y="15472"/>
                  </a:lnTo>
                  <a:lnTo>
                    <a:pt x="57641" y="13396"/>
                  </a:lnTo>
                  <a:lnTo>
                    <a:pt x="58112" y="13868"/>
                  </a:lnTo>
                  <a:lnTo>
                    <a:pt x="56886" y="13019"/>
                  </a:lnTo>
                  <a:lnTo>
                    <a:pt x="55754" y="12453"/>
                  </a:lnTo>
                  <a:lnTo>
                    <a:pt x="56603" y="13113"/>
                  </a:lnTo>
                  <a:lnTo>
                    <a:pt x="57452" y="13774"/>
                  </a:lnTo>
                  <a:lnTo>
                    <a:pt x="58961" y="15283"/>
                  </a:lnTo>
                  <a:lnTo>
                    <a:pt x="60376" y="16604"/>
                  </a:lnTo>
                  <a:lnTo>
                    <a:pt x="61225" y="17264"/>
                  </a:lnTo>
                  <a:lnTo>
                    <a:pt x="62074" y="17925"/>
                  </a:lnTo>
                  <a:lnTo>
                    <a:pt x="62074" y="17925"/>
                  </a:lnTo>
                  <a:lnTo>
                    <a:pt x="61414" y="17547"/>
                  </a:lnTo>
                  <a:lnTo>
                    <a:pt x="60659" y="16981"/>
                  </a:lnTo>
                  <a:lnTo>
                    <a:pt x="60754" y="17264"/>
                  </a:lnTo>
                  <a:lnTo>
                    <a:pt x="60942" y="17642"/>
                  </a:lnTo>
                  <a:lnTo>
                    <a:pt x="61980" y="19151"/>
                  </a:lnTo>
                  <a:lnTo>
                    <a:pt x="63301" y="20943"/>
                  </a:lnTo>
                  <a:lnTo>
                    <a:pt x="63207" y="20943"/>
                  </a:lnTo>
                  <a:lnTo>
                    <a:pt x="63395" y="21038"/>
                  </a:lnTo>
                  <a:lnTo>
                    <a:pt x="63490" y="21321"/>
                  </a:lnTo>
                  <a:lnTo>
                    <a:pt x="63678" y="21604"/>
                  </a:lnTo>
                  <a:lnTo>
                    <a:pt x="63773" y="21698"/>
                  </a:lnTo>
                  <a:lnTo>
                    <a:pt x="63584" y="21321"/>
                  </a:lnTo>
                  <a:lnTo>
                    <a:pt x="63584" y="21321"/>
                  </a:lnTo>
                  <a:lnTo>
                    <a:pt x="64244" y="22170"/>
                  </a:lnTo>
                  <a:lnTo>
                    <a:pt x="64716" y="22641"/>
                  </a:lnTo>
                  <a:lnTo>
                    <a:pt x="64905" y="22830"/>
                  </a:lnTo>
                  <a:lnTo>
                    <a:pt x="64999" y="22830"/>
                  </a:lnTo>
                  <a:lnTo>
                    <a:pt x="64999" y="22641"/>
                  </a:lnTo>
                  <a:lnTo>
                    <a:pt x="64905" y="22358"/>
                  </a:lnTo>
                  <a:lnTo>
                    <a:pt x="65282" y="23207"/>
                  </a:lnTo>
                  <a:lnTo>
                    <a:pt x="65565" y="24056"/>
                  </a:lnTo>
                  <a:lnTo>
                    <a:pt x="66225" y="25943"/>
                  </a:lnTo>
                  <a:lnTo>
                    <a:pt x="66697" y="27830"/>
                  </a:lnTo>
                  <a:lnTo>
                    <a:pt x="66886" y="28490"/>
                  </a:lnTo>
                  <a:lnTo>
                    <a:pt x="66980" y="28868"/>
                  </a:lnTo>
                  <a:lnTo>
                    <a:pt x="66886" y="28962"/>
                  </a:lnTo>
                  <a:lnTo>
                    <a:pt x="66697" y="28679"/>
                  </a:lnTo>
                  <a:lnTo>
                    <a:pt x="66697" y="29245"/>
                  </a:lnTo>
                  <a:lnTo>
                    <a:pt x="66791" y="29905"/>
                  </a:lnTo>
                  <a:lnTo>
                    <a:pt x="66886" y="29905"/>
                  </a:lnTo>
                  <a:lnTo>
                    <a:pt x="66886" y="30094"/>
                  </a:lnTo>
                  <a:lnTo>
                    <a:pt x="66886" y="30566"/>
                  </a:lnTo>
                  <a:lnTo>
                    <a:pt x="66697" y="30377"/>
                  </a:lnTo>
                  <a:lnTo>
                    <a:pt x="66603" y="30188"/>
                  </a:lnTo>
                  <a:lnTo>
                    <a:pt x="66603" y="30094"/>
                  </a:lnTo>
                  <a:lnTo>
                    <a:pt x="66697" y="29905"/>
                  </a:lnTo>
                  <a:lnTo>
                    <a:pt x="66508" y="28679"/>
                  </a:lnTo>
                  <a:lnTo>
                    <a:pt x="66225" y="27358"/>
                  </a:lnTo>
                  <a:lnTo>
                    <a:pt x="66603" y="30283"/>
                  </a:lnTo>
                  <a:lnTo>
                    <a:pt x="66697" y="31792"/>
                  </a:lnTo>
                  <a:lnTo>
                    <a:pt x="66697" y="33302"/>
                  </a:lnTo>
                  <a:lnTo>
                    <a:pt x="66603" y="34717"/>
                  </a:lnTo>
                  <a:lnTo>
                    <a:pt x="66414" y="36226"/>
                  </a:lnTo>
                  <a:lnTo>
                    <a:pt x="66131" y="37547"/>
                  </a:lnTo>
                  <a:lnTo>
                    <a:pt x="65659" y="38962"/>
                  </a:lnTo>
                  <a:lnTo>
                    <a:pt x="65848" y="38584"/>
                  </a:lnTo>
                  <a:lnTo>
                    <a:pt x="65942" y="38584"/>
                  </a:lnTo>
                  <a:lnTo>
                    <a:pt x="65848" y="39245"/>
                  </a:lnTo>
                  <a:lnTo>
                    <a:pt x="65565" y="40188"/>
                  </a:lnTo>
                  <a:lnTo>
                    <a:pt x="65471" y="40471"/>
                  </a:lnTo>
                  <a:lnTo>
                    <a:pt x="65282" y="40660"/>
                  </a:lnTo>
                  <a:lnTo>
                    <a:pt x="65282" y="40566"/>
                  </a:lnTo>
                  <a:lnTo>
                    <a:pt x="65093" y="41132"/>
                  </a:lnTo>
                  <a:lnTo>
                    <a:pt x="64433" y="43018"/>
                  </a:lnTo>
                  <a:lnTo>
                    <a:pt x="63678" y="45282"/>
                  </a:lnTo>
                  <a:lnTo>
                    <a:pt x="62735" y="47264"/>
                  </a:lnTo>
                  <a:lnTo>
                    <a:pt x="61697" y="49056"/>
                  </a:lnTo>
                  <a:lnTo>
                    <a:pt x="60659" y="50943"/>
                  </a:lnTo>
                  <a:lnTo>
                    <a:pt x="59433" y="52735"/>
                  </a:lnTo>
                  <a:lnTo>
                    <a:pt x="58207" y="54433"/>
                  </a:lnTo>
                  <a:lnTo>
                    <a:pt x="56886" y="56037"/>
                  </a:lnTo>
                  <a:lnTo>
                    <a:pt x="55376" y="57641"/>
                  </a:lnTo>
                  <a:lnTo>
                    <a:pt x="53867" y="59150"/>
                  </a:lnTo>
                  <a:lnTo>
                    <a:pt x="52169" y="60376"/>
                  </a:lnTo>
                  <a:lnTo>
                    <a:pt x="48961" y="62452"/>
                  </a:lnTo>
                  <a:lnTo>
                    <a:pt x="44528" y="65282"/>
                  </a:lnTo>
                  <a:lnTo>
                    <a:pt x="44622" y="65188"/>
                  </a:lnTo>
                  <a:lnTo>
                    <a:pt x="44716" y="65093"/>
                  </a:lnTo>
                  <a:lnTo>
                    <a:pt x="45094" y="64810"/>
                  </a:lnTo>
                  <a:lnTo>
                    <a:pt x="45660" y="64527"/>
                  </a:lnTo>
                  <a:lnTo>
                    <a:pt x="43867" y="65376"/>
                  </a:lnTo>
                  <a:lnTo>
                    <a:pt x="43113" y="65754"/>
                  </a:lnTo>
                  <a:lnTo>
                    <a:pt x="42924" y="65754"/>
                  </a:lnTo>
                  <a:lnTo>
                    <a:pt x="43113" y="65659"/>
                  </a:lnTo>
                  <a:lnTo>
                    <a:pt x="41603" y="66037"/>
                  </a:lnTo>
                  <a:lnTo>
                    <a:pt x="39999" y="66320"/>
                  </a:lnTo>
                  <a:lnTo>
                    <a:pt x="38396" y="66508"/>
                  </a:lnTo>
                  <a:lnTo>
                    <a:pt x="36792" y="66697"/>
                  </a:lnTo>
                  <a:lnTo>
                    <a:pt x="33584" y="66980"/>
                  </a:lnTo>
                  <a:lnTo>
                    <a:pt x="32169" y="67169"/>
                  </a:lnTo>
                  <a:lnTo>
                    <a:pt x="30754" y="67357"/>
                  </a:lnTo>
                  <a:lnTo>
                    <a:pt x="30094" y="67357"/>
                  </a:lnTo>
                  <a:lnTo>
                    <a:pt x="29339" y="67263"/>
                  </a:lnTo>
                  <a:lnTo>
                    <a:pt x="27830" y="66886"/>
                  </a:lnTo>
                  <a:lnTo>
                    <a:pt x="26415" y="66508"/>
                  </a:lnTo>
                  <a:lnTo>
                    <a:pt x="25754" y="66414"/>
                  </a:lnTo>
                  <a:lnTo>
                    <a:pt x="25094" y="66414"/>
                  </a:lnTo>
                  <a:lnTo>
                    <a:pt x="25566" y="66980"/>
                  </a:lnTo>
                  <a:lnTo>
                    <a:pt x="25471" y="67074"/>
                  </a:lnTo>
                  <a:lnTo>
                    <a:pt x="25188" y="66980"/>
                  </a:lnTo>
                  <a:lnTo>
                    <a:pt x="24339" y="66791"/>
                  </a:lnTo>
                  <a:lnTo>
                    <a:pt x="23773" y="66508"/>
                  </a:lnTo>
                  <a:lnTo>
                    <a:pt x="24245" y="66414"/>
                  </a:lnTo>
                  <a:lnTo>
                    <a:pt x="24717" y="66603"/>
                  </a:lnTo>
                  <a:lnTo>
                    <a:pt x="24811" y="66414"/>
                  </a:lnTo>
                  <a:lnTo>
                    <a:pt x="24811" y="66320"/>
                  </a:lnTo>
                  <a:lnTo>
                    <a:pt x="24717" y="66225"/>
                  </a:lnTo>
                  <a:lnTo>
                    <a:pt x="24528" y="66131"/>
                  </a:lnTo>
                  <a:lnTo>
                    <a:pt x="24151" y="66225"/>
                  </a:lnTo>
                  <a:lnTo>
                    <a:pt x="23679" y="66320"/>
                  </a:lnTo>
                  <a:lnTo>
                    <a:pt x="23018" y="66414"/>
                  </a:lnTo>
                  <a:lnTo>
                    <a:pt x="23490" y="66225"/>
                  </a:lnTo>
                  <a:lnTo>
                    <a:pt x="22075" y="65942"/>
                  </a:lnTo>
                  <a:lnTo>
                    <a:pt x="20943" y="65659"/>
                  </a:lnTo>
                  <a:lnTo>
                    <a:pt x="20000" y="65282"/>
                  </a:lnTo>
                  <a:lnTo>
                    <a:pt x="19056" y="64810"/>
                  </a:lnTo>
                  <a:lnTo>
                    <a:pt x="19056" y="64810"/>
                  </a:lnTo>
                  <a:lnTo>
                    <a:pt x="19717" y="64999"/>
                  </a:lnTo>
                  <a:lnTo>
                    <a:pt x="19151" y="64716"/>
                  </a:lnTo>
                  <a:lnTo>
                    <a:pt x="18962" y="64810"/>
                  </a:lnTo>
                  <a:lnTo>
                    <a:pt x="19151" y="64905"/>
                  </a:lnTo>
                  <a:lnTo>
                    <a:pt x="18490" y="64905"/>
                  </a:lnTo>
                  <a:lnTo>
                    <a:pt x="17830" y="64716"/>
                  </a:lnTo>
                  <a:lnTo>
                    <a:pt x="17264" y="64527"/>
                  </a:lnTo>
                  <a:lnTo>
                    <a:pt x="16698" y="64150"/>
                  </a:lnTo>
                  <a:lnTo>
                    <a:pt x="16981" y="64056"/>
                  </a:lnTo>
                  <a:lnTo>
                    <a:pt x="17264" y="64150"/>
                  </a:lnTo>
                  <a:lnTo>
                    <a:pt x="17264" y="64150"/>
                  </a:lnTo>
                  <a:lnTo>
                    <a:pt x="15188" y="63207"/>
                  </a:lnTo>
                  <a:lnTo>
                    <a:pt x="14622" y="62829"/>
                  </a:lnTo>
                  <a:lnTo>
                    <a:pt x="14717" y="62924"/>
                  </a:lnTo>
                  <a:lnTo>
                    <a:pt x="13773" y="62546"/>
                  </a:lnTo>
                  <a:lnTo>
                    <a:pt x="12924" y="62075"/>
                  </a:lnTo>
                  <a:lnTo>
                    <a:pt x="12358" y="61697"/>
                  </a:lnTo>
                  <a:lnTo>
                    <a:pt x="12264" y="61508"/>
                  </a:lnTo>
                  <a:lnTo>
                    <a:pt x="12170" y="61320"/>
                  </a:lnTo>
                  <a:lnTo>
                    <a:pt x="11698" y="60942"/>
                  </a:lnTo>
                  <a:lnTo>
                    <a:pt x="11132" y="60471"/>
                  </a:lnTo>
                  <a:lnTo>
                    <a:pt x="9906" y="59244"/>
                  </a:lnTo>
                  <a:lnTo>
                    <a:pt x="9906" y="59244"/>
                  </a:lnTo>
                  <a:lnTo>
                    <a:pt x="10566" y="59527"/>
                  </a:lnTo>
                  <a:lnTo>
                    <a:pt x="9434" y="58584"/>
                  </a:lnTo>
                  <a:lnTo>
                    <a:pt x="8207" y="57546"/>
                  </a:lnTo>
                  <a:lnTo>
                    <a:pt x="7547" y="56886"/>
                  </a:lnTo>
                  <a:lnTo>
                    <a:pt x="6981" y="56131"/>
                  </a:lnTo>
                  <a:lnTo>
                    <a:pt x="6226" y="55094"/>
                  </a:lnTo>
                  <a:lnTo>
                    <a:pt x="6415" y="55377"/>
                  </a:lnTo>
                  <a:lnTo>
                    <a:pt x="6038" y="54905"/>
                  </a:lnTo>
                  <a:lnTo>
                    <a:pt x="5472" y="54244"/>
                  </a:lnTo>
                  <a:lnTo>
                    <a:pt x="5283" y="53961"/>
                  </a:lnTo>
                  <a:lnTo>
                    <a:pt x="5094" y="53867"/>
                  </a:lnTo>
                  <a:lnTo>
                    <a:pt x="5377" y="54622"/>
                  </a:lnTo>
                  <a:lnTo>
                    <a:pt x="5849" y="55282"/>
                  </a:lnTo>
                  <a:lnTo>
                    <a:pt x="6321" y="55943"/>
                  </a:lnTo>
                  <a:lnTo>
                    <a:pt x="6698" y="56603"/>
                  </a:lnTo>
                  <a:lnTo>
                    <a:pt x="6226" y="56226"/>
                  </a:lnTo>
                  <a:lnTo>
                    <a:pt x="5943" y="55848"/>
                  </a:lnTo>
                  <a:lnTo>
                    <a:pt x="6038" y="56037"/>
                  </a:lnTo>
                  <a:lnTo>
                    <a:pt x="5943" y="55943"/>
                  </a:lnTo>
                  <a:lnTo>
                    <a:pt x="5377" y="55188"/>
                  </a:lnTo>
                  <a:lnTo>
                    <a:pt x="5000" y="54716"/>
                  </a:lnTo>
                  <a:lnTo>
                    <a:pt x="4717" y="54150"/>
                  </a:lnTo>
                  <a:lnTo>
                    <a:pt x="4528" y="53678"/>
                  </a:lnTo>
                  <a:lnTo>
                    <a:pt x="4528" y="53584"/>
                  </a:lnTo>
                  <a:lnTo>
                    <a:pt x="4623" y="53395"/>
                  </a:lnTo>
                  <a:lnTo>
                    <a:pt x="5094" y="54244"/>
                  </a:lnTo>
                  <a:lnTo>
                    <a:pt x="4717" y="53301"/>
                  </a:lnTo>
                  <a:lnTo>
                    <a:pt x="4528" y="53018"/>
                  </a:lnTo>
                  <a:lnTo>
                    <a:pt x="4151" y="52263"/>
                  </a:lnTo>
                  <a:lnTo>
                    <a:pt x="4151" y="52169"/>
                  </a:lnTo>
                  <a:lnTo>
                    <a:pt x="3774" y="51509"/>
                  </a:lnTo>
                  <a:lnTo>
                    <a:pt x="3396" y="50660"/>
                  </a:lnTo>
                  <a:lnTo>
                    <a:pt x="3585" y="51603"/>
                  </a:lnTo>
                  <a:lnTo>
                    <a:pt x="3396" y="51226"/>
                  </a:lnTo>
                  <a:lnTo>
                    <a:pt x="3208" y="50848"/>
                  </a:lnTo>
                  <a:lnTo>
                    <a:pt x="3208" y="50471"/>
                  </a:lnTo>
                  <a:lnTo>
                    <a:pt x="3208" y="50094"/>
                  </a:lnTo>
                  <a:lnTo>
                    <a:pt x="3585" y="50754"/>
                  </a:lnTo>
                  <a:lnTo>
                    <a:pt x="3868" y="51509"/>
                  </a:lnTo>
                  <a:lnTo>
                    <a:pt x="3868" y="51509"/>
                  </a:lnTo>
                  <a:lnTo>
                    <a:pt x="3208" y="49528"/>
                  </a:lnTo>
                  <a:lnTo>
                    <a:pt x="3208" y="49528"/>
                  </a:lnTo>
                  <a:lnTo>
                    <a:pt x="3868" y="50754"/>
                  </a:lnTo>
                  <a:lnTo>
                    <a:pt x="3208" y="48962"/>
                  </a:lnTo>
                  <a:lnTo>
                    <a:pt x="3585" y="49339"/>
                  </a:lnTo>
                  <a:lnTo>
                    <a:pt x="3774" y="49433"/>
                  </a:lnTo>
                  <a:lnTo>
                    <a:pt x="3962" y="49528"/>
                  </a:lnTo>
                  <a:lnTo>
                    <a:pt x="4057" y="49905"/>
                  </a:lnTo>
                  <a:lnTo>
                    <a:pt x="3868" y="48962"/>
                  </a:lnTo>
                  <a:lnTo>
                    <a:pt x="3491" y="47924"/>
                  </a:lnTo>
                  <a:lnTo>
                    <a:pt x="2641" y="45565"/>
                  </a:lnTo>
                  <a:lnTo>
                    <a:pt x="2170" y="43867"/>
                  </a:lnTo>
                  <a:lnTo>
                    <a:pt x="1698" y="41886"/>
                  </a:lnTo>
                  <a:lnTo>
                    <a:pt x="1698" y="41886"/>
                  </a:lnTo>
                  <a:lnTo>
                    <a:pt x="1887" y="42075"/>
                  </a:lnTo>
                  <a:lnTo>
                    <a:pt x="1981" y="41981"/>
                  </a:lnTo>
                  <a:lnTo>
                    <a:pt x="2075" y="42075"/>
                  </a:lnTo>
                  <a:lnTo>
                    <a:pt x="2264" y="42169"/>
                  </a:lnTo>
                  <a:lnTo>
                    <a:pt x="2170" y="40283"/>
                  </a:lnTo>
                  <a:lnTo>
                    <a:pt x="2075" y="38301"/>
                  </a:lnTo>
                  <a:lnTo>
                    <a:pt x="2170" y="36415"/>
                  </a:lnTo>
                  <a:lnTo>
                    <a:pt x="2358" y="35566"/>
                  </a:lnTo>
                  <a:lnTo>
                    <a:pt x="2453" y="34811"/>
                  </a:lnTo>
                  <a:lnTo>
                    <a:pt x="2830" y="32830"/>
                  </a:lnTo>
                  <a:lnTo>
                    <a:pt x="2830" y="33207"/>
                  </a:lnTo>
                  <a:lnTo>
                    <a:pt x="2924" y="33490"/>
                  </a:lnTo>
                  <a:lnTo>
                    <a:pt x="2924" y="32453"/>
                  </a:lnTo>
                  <a:lnTo>
                    <a:pt x="3019" y="31415"/>
                  </a:lnTo>
                  <a:lnTo>
                    <a:pt x="3396" y="29245"/>
                  </a:lnTo>
                  <a:lnTo>
                    <a:pt x="3868" y="27075"/>
                  </a:lnTo>
                  <a:lnTo>
                    <a:pt x="4623" y="25000"/>
                  </a:lnTo>
                  <a:lnTo>
                    <a:pt x="5566" y="22830"/>
                  </a:lnTo>
                  <a:lnTo>
                    <a:pt x="6604" y="20849"/>
                  </a:lnTo>
                  <a:lnTo>
                    <a:pt x="7830" y="18868"/>
                  </a:lnTo>
                  <a:lnTo>
                    <a:pt x="9151" y="16887"/>
                  </a:lnTo>
                  <a:lnTo>
                    <a:pt x="10566" y="15094"/>
                  </a:lnTo>
                  <a:lnTo>
                    <a:pt x="12075" y="13302"/>
                  </a:lnTo>
                  <a:lnTo>
                    <a:pt x="13773" y="11698"/>
                  </a:lnTo>
                  <a:lnTo>
                    <a:pt x="15377" y="10095"/>
                  </a:lnTo>
                  <a:lnTo>
                    <a:pt x="17170" y="8679"/>
                  </a:lnTo>
                  <a:lnTo>
                    <a:pt x="18962" y="7453"/>
                  </a:lnTo>
                  <a:lnTo>
                    <a:pt x="20754" y="6321"/>
                  </a:lnTo>
                  <a:lnTo>
                    <a:pt x="22547" y="5378"/>
                  </a:lnTo>
                  <a:lnTo>
                    <a:pt x="21603" y="6227"/>
                  </a:lnTo>
                  <a:lnTo>
                    <a:pt x="22641" y="5472"/>
                  </a:lnTo>
                  <a:lnTo>
                    <a:pt x="23302" y="5095"/>
                  </a:lnTo>
                  <a:lnTo>
                    <a:pt x="25377" y="4151"/>
                  </a:lnTo>
                  <a:lnTo>
                    <a:pt x="24811" y="4151"/>
                  </a:lnTo>
                  <a:lnTo>
                    <a:pt x="25660" y="3774"/>
                  </a:lnTo>
                  <a:lnTo>
                    <a:pt x="26886" y="3208"/>
                  </a:lnTo>
                  <a:lnTo>
                    <a:pt x="26603" y="3585"/>
                  </a:lnTo>
                  <a:lnTo>
                    <a:pt x="26886" y="3585"/>
                  </a:lnTo>
                  <a:lnTo>
                    <a:pt x="26886" y="3680"/>
                  </a:lnTo>
                  <a:lnTo>
                    <a:pt x="26792" y="3774"/>
                  </a:lnTo>
                  <a:lnTo>
                    <a:pt x="28301" y="3302"/>
                  </a:lnTo>
                  <a:lnTo>
                    <a:pt x="29622" y="2736"/>
                  </a:lnTo>
                  <a:lnTo>
                    <a:pt x="31037" y="2264"/>
                  </a:lnTo>
                  <a:lnTo>
                    <a:pt x="31792" y="2076"/>
                  </a:lnTo>
                  <a:lnTo>
                    <a:pt x="32641" y="1981"/>
                  </a:lnTo>
                  <a:lnTo>
                    <a:pt x="32547" y="2076"/>
                  </a:lnTo>
                  <a:lnTo>
                    <a:pt x="32924" y="1981"/>
                  </a:lnTo>
                  <a:lnTo>
                    <a:pt x="34245" y="1793"/>
                  </a:lnTo>
                  <a:lnTo>
                    <a:pt x="35848" y="1415"/>
                  </a:lnTo>
                  <a:lnTo>
                    <a:pt x="36981" y="1132"/>
                  </a:lnTo>
                  <a:lnTo>
                    <a:pt x="36981" y="1415"/>
                  </a:lnTo>
                  <a:lnTo>
                    <a:pt x="40943" y="1227"/>
                  </a:lnTo>
                  <a:lnTo>
                    <a:pt x="41509" y="1038"/>
                  </a:lnTo>
                  <a:lnTo>
                    <a:pt x="41697" y="1132"/>
                  </a:lnTo>
                  <a:lnTo>
                    <a:pt x="41509" y="1227"/>
                  </a:lnTo>
                  <a:lnTo>
                    <a:pt x="41320" y="1321"/>
                  </a:lnTo>
                  <a:lnTo>
                    <a:pt x="42263" y="1321"/>
                  </a:lnTo>
                  <a:lnTo>
                    <a:pt x="43113" y="1227"/>
                  </a:lnTo>
                  <a:lnTo>
                    <a:pt x="43396" y="1415"/>
                  </a:lnTo>
                  <a:lnTo>
                    <a:pt x="44056" y="1604"/>
                  </a:lnTo>
                  <a:lnTo>
                    <a:pt x="45943" y="2076"/>
                  </a:lnTo>
                  <a:lnTo>
                    <a:pt x="48018" y="2359"/>
                  </a:lnTo>
                  <a:lnTo>
                    <a:pt x="49622" y="2736"/>
                  </a:lnTo>
                  <a:lnTo>
                    <a:pt x="47641" y="1981"/>
                  </a:lnTo>
                  <a:lnTo>
                    <a:pt x="45282" y="1321"/>
                  </a:lnTo>
                  <a:lnTo>
                    <a:pt x="42735" y="755"/>
                  </a:lnTo>
                  <a:lnTo>
                    <a:pt x="40188" y="283"/>
                  </a:lnTo>
                  <a:lnTo>
                    <a:pt x="37735" y="95"/>
                  </a:lnTo>
                  <a:lnTo>
                    <a:pt x="35471" y="0"/>
                  </a:lnTo>
                  <a:close/>
                </a:path>
              </a:pathLst>
            </a:custGeom>
            <a:solidFill>
              <a:schemeClr val="bg1">
                <a:lumMod val="95000"/>
              </a:schemeClr>
            </a:solidFill>
            <a:ln w="0">
              <a:solidFill>
                <a:srgbClr val="0079D1"/>
              </a:solidFill>
            </a:ln>
          </p:spPr>
          <p:txBody>
            <a:bodyPr spcFirstLastPara="1" wrap="square" lIns="91425" tIns="91425" rIns="91425" bIns="91425" anchor="ctr" anchorCtr="0">
              <a:noAutofit/>
            </a:bodyPr>
            <a:lstStyle/>
            <a:p>
              <a:pPr marL="0" lvl="0" indent="0">
                <a:spcBef>
                  <a:spcPts val="0"/>
                </a:spcBef>
                <a:spcAft>
                  <a:spcPts val="0"/>
                </a:spcAft>
                <a:buNone/>
              </a:pPr>
              <a:endParaRPr sz="1400"/>
            </a:p>
          </p:txBody>
        </p:sp>
        <p:sp>
          <p:nvSpPr>
            <p:cNvPr id="596" name="TextBox 595">
              <a:extLst>
                <a:ext uri="{FF2B5EF4-FFF2-40B4-BE49-F238E27FC236}">
                  <a16:creationId xmlns:a16="http://schemas.microsoft.com/office/drawing/2014/main" id="{1CF0ABC3-422D-774A-8064-46E6E90D516E}"/>
                </a:ext>
              </a:extLst>
            </p:cNvPr>
            <p:cNvSpPr txBox="1"/>
            <p:nvPr/>
          </p:nvSpPr>
          <p:spPr>
            <a:xfrm>
              <a:off x="8676898" y="4619460"/>
              <a:ext cx="229951" cy="215444"/>
            </a:xfrm>
            <a:prstGeom prst="rect">
              <a:avLst/>
            </a:prstGeom>
            <a:noFill/>
          </p:spPr>
          <p:txBody>
            <a:bodyPr wrap="square" rtlCol="0">
              <a:spAutoFit/>
            </a:bodyPr>
            <a:lstStyle/>
            <a:p>
              <a:r>
                <a:rPr lang="en-US" sz="800" b="1" dirty="0">
                  <a:solidFill>
                    <a:srgbClr val="0079D1"/>
                  </a:solidFill>
                </a:rPr>
                <a:t>A</a:t>
              </a:r>
            </a:p>
          </p:txBody>
        </p:sp>
      </p:grpSp>
      <p:sp>
        <p:nvSpPr>
          <p:cNvPr id="597" name="TextBox 596">
            <a:extLst>
              <a:ext uri="{FF2B5EF4-FFF2-40B4-BE49-F238E27FC236}">
                <a16:creationId xmlns:a16="http://schemas.microsoft.com/office/drawing/2014/main" id="{540B5B4A-7602-154F-BF01-CF0F1FA28CA3}"/>
              </a:ext>
            </a:extLst>
          </p:cNvPr>
          <p:cNvSpPr txBox="1"/>
          <p:nvPr/>
        </p:nvSpPr>
        <p:spPr>
          <a:xfrm>
            <a:off x="342091" y="1750591"/>
            <a:ext cx="1765478" cy="289480"/>
          </a:xfrm>
          <a:prstGeom prst="rect">
            <a:avLst/>
          </a:prstGeom>
          <a:noFill/>
        </p:spPr>
        <p:txBody>
          <a:bodyPr wrap="square" tIns="90000" bIns="90000" rtlCol="0" anchor="t">
            <a:spAutoFit/>
          </a:bodyPr>
          <a:lstStyle/>
          <a:p>
            <a:r>
              <a:rPr lang="en-US" sz="700" b="1" dirty="0">
                <a:solidFill>
                  <a:srgbClr val="0079D1"/>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MQ/JMS/Kafka Custom API Source</a:t>
            </a:r>
          </a:p>
        </p:txBody>
      </p:sp>
      <p:grpSp>
        <p:nvGrpSpPr>
          <p:cNvPr id="598" name="Group 597">
            <a:extLst>
              <a:ext uri="{FF2B5EF4-FFF2-40B4-BE49-F238E27FC236}">
                <a16:creationId xmlns:a16="http://schemas.microsoft.com/office/drawing/2014/main" id="{66E4D489-5E8F-5742-9493-4626574C325A}"/>
              </a:ext>
            </a:extLst>
          </p:cNvPr>
          <p:cNvGrpSpPr/>
          <p:nvPr/>
        </p:nvGrpSpPr>
        <p:grpSpPr>
          <a:xfrm>
            <a:off x="138465" y="1818534"/>
            <a:ext cx="229951" cy="215444"/>
            <a:chOff x="8676898" y="4619460"/>
            <a:chExt cx="229951" cy="215444"/>
          </a:xfrm>
        </p:grpSpPr>
        <p:sp>
          <p:nvSpPr>
            <p:cNvPr id="599" name="Google Shape;431;p39">
              <a:extLst>
                <a:ext uri="{FF2B5EF4-FFF2-40B4-BE49-F238E27FC236}">
                  <a16:creationId xmlns:a16="http://schemas.microsoft.com/office/drawing/2014/main" id="{E853F001-13EF-D145-95FC-CB672F969D76}"/>
                </a:ext>
              </a:extLst>
            </p:cNvPr>
            <p:cNvSpPr/>
            <p:nvPr/>
          </p:nvSpPr>
          <p:spPr>
            <a:xfrm>
              <a:off x="8709950" y="4635551"/>
              <a:ext cx="179407" cy="167874"/>
            </a:xfrm>
            <a:custGeom>
              <a:avLst/>
              <a:gdLst/>
              <a:ahLst/>
              <a:cxnLst/>
              <a:rect l="0" t="0" r="0" b="0"/>
              <a:pathLst>
                <a:path w="67641" h="69056" extrusionOk="0">
                  <a:moveTo>
                    <a:pt x="49622" y="2736"/>
                  </a:moveTo>
                  <a:lnTo>
                    <a:pt x="49622" y="2736"/>
                  </a:lnTo>
                  <a:lnTo>
                    <a:pt x="49622" y="2736"/>
                  </a:lnTo>
                  <a:close/>
                  <a:moveTo>
                    <a:pt x="59622" y="55565"/>
                  </a:moveTo>
                  <a:lnTo>
                    <a:pt x="59622" y="55565"/>
                  </a:lnTo>
                  <a:lnTo>
                    <a:pt x="59622" y="55565"/>
                  </a:lnTo>
                  <a:close/>
                  <a:moveTo>
                    <a:pt x="35471" y="0"/>
                  </a:moveTo>
                  <a:lnTo>
                    <a:pt x="34433" y="95"/>
                  </a:lnTo>
                  <a:lnTo>
                    <a:pt x="33584" y="189"/>
                  </a:lnTo>
                  <a:lnTo>
                    <a:pt x="32735" y="378"/>
                  </a:lnTo>
                  <a:lnTo>
                    <a:pt x="32169" y="566"/>
                  </a:lnTo>
                  <a:lnTo>
                    <a:pt x="31509" y="472"/>
                  </a:lnTo>
                  <a:lnTo>
                    <a:pt x="30754" y="472"/>
                  </a:lnTo>
                  <a:lnTo>
                    <a:pt x="29339" y="566"/>
                  </a:lnTo>
                  <a:lnTo>
                    <a:pt x="27830" y="849"/>
                  </a:lnTo>
                  <a:lnTo>
                    <a:pt x="26320" y="1321"/>
                  </a:lnTo>
                  <a:lnTo>
                    <a:pt x="24811" y="1981"/>
                  </a:lnTo>
                  <a:lnTo>
                    <a:pt x="23207" y="2736"/>
                  </a:lnTo>
                  <a:lnTo>
                    <a:pt x="21698" y="3585"/>
                  </a:lnTo>
                  <a:lnTo>
                    <a:pt x="20188" y="4623"/>
                  </a:lnTo>
                  <a:lnTo>
                    <a:pt x="18679" y="5661"/>
                  </a:lnTo>
                  <a:lnTo>
                    <a:pt x="17170" y="6793"/>
                  </a:lnTo>
                  <a:lnTo>
                    <a:pt x="15754" y="8019"/>
                  </a:lnTo>
                  <a:lnTo>
                    <a:pt x="14434" y="9151"/>
                  </a:lnTo>
                  <a:lnTo>
                    <a:pt x="11981" y="11510"/>
                  </a:lnTo>
                  <a:lnTo>
                    <a:pt x="10000" y="13774"/>
                  </a:lnTo>
                  <a:lnTo>
                    <a:pt x="7736" y="16981"/>
                  </a:lnTo>
                  <a:lnTo>
                    <a:pt x="8019" y="16321"/>
                  </a:lnTo>
                  <a:lnTo>
                    <a:pt x="8302" y="15660"/>
                  </a:lnTo>
                  <a:lnTo>
                    <a:pt x="7736" y="16604"/>
                  </a:lnTo>
                  <a:lnTo>
                    <a:pt x="7075" y="17642"/>
                  </a:lnTo>
                  <a:lnTo>
                    <a:pt x="7170" y="17830"/>
                  </a:lnTo>
                  <a:lnTo>
                    <a:pt x="6509" y="18868"/>
                  </a:lnTo>
                  <a:lnTo>
                    <a:pt x="7075" y="17359"/>
                  </a:lnTo>
                  <a:lnTo>
                    <a:pt x="6132" y="19057"/>
                  </a:lnTo>
                  <a:lnTo>
                    <a:pt x="5189" y="20849"/>
                  </a:lnTo>
                  <a:lnTo>
                    <a:pt x="4434" y="22736"/>
                  </a:lnTo>
                  <a:lnTo>
                    <a:pt x="3679" y="24622"/>
                  </a:lnTo>
                  <a:lnTo>
                    <a:pt x="2453" y="28490"/>
                  </a:lnTo>
                  <a:lnTo>
                    <a:pt x="1321" y="32169"/>
                  </a:lnTo>
                  <a:lnTo>
                    <a:pt x="1509" y="32264"/>
                  </a:lnTo>
                  <a:lnTo>
                    <a:pt x="1604" y="32453"/>
                  </a:lnTo>
                  <a:lnTo>
                    <a:pt x="1604" y="32641"/>
                  </a:lnTo>
                  <a:lnTo>
                    <a:pt x="1509" y="32924"/>
                  </a:lnTo>
                  <a:lnTo>
                    <a:pt x="1226" y="33396"/>
                  </a:lnTo>
                  <a:lnTo>
                    <a:pt x="1038" y="33585"/>
                  </a:lnTo>
                  <a:lnTo>
                    <a:pt x="1038" y="33773"/>
                  </a:lnTo>
                  <a:lnTo>
                    <a:pt x="1038" y="35000"/>
                  </a:lnTo>
                  <a:lnTo>
                    <a:pt x="849" y="36132"/>
                  </a:lnTo>
                  <a:lnTo>
                    <a:pt x="660" y="37358"/>
                  </a:lnTo>
                  <a:lnTo>
                    <a:pt x="472" y="38867"/>
                  </a:lnTo>
                  <a:lnTo>
                    <a:pt x="283" y="38301"/>
                  </a:lnTo>
                  <a:lnTo>
                    <a:pt x="94" y="39811"/>
                  </a:lnTo>
                  <a:lnTo>
                    <a:pt x="0" y="41509"/>
                  </a:lnTo>
                  <a:lnTo>
                    <a:pt x="94" y="43301"/>
                  </a:lnTo>
                  <a:lnTo>
                    <a:pt x="283" y="44056"/>
                  </a:lnTo>
                  <a:lnTo>
                    <a:pt x="472" y="44622"/>
                  </a:lnTo>
                  <a:lnTo>
                    <a:pt x="566" y="45660"/>
                  </a:lnTo>
                  <a:lnTo>
                    <a:pt x="755" y="46792"/>
                  </a:lnTo>
                  <a:lnTo>
                    <a:pt x="1226" y="48962"/>
                  </a:lnTo>
                  <a:lnTo>
                    <a:pt x="1981" y="51037"/>
                  </a:lnTo>
                  <a:lnTo>
                    <a:pt x="2924" y="53112"/>
                  </a:lnTo>
                  <a:lnTo>
                    <a:pt x="4057" y="55094"/>
                  </a:lnTo>
                  <a:lnTo>
                    <a:pt x="5283" y="56980"/>
                  </a:lnTo>
                  <a:lnTo>
                    <a:pt x="6698" y="58678"/>
                  </a:lnTo>
                  <a:lnTo>
                    <a:pt x="8113" y="60282"/>
                  </a:lnTo>
                  <a:lnTo>
                    <a:pt x="9056" y="61131"/>
                  </a:lnTo>
                  <a:lnTo>
                    <a:pt x="10000" y="61980"/>
                  </a:lnTo>
                  <a:lnTo>
                    <a:pt x="11038" y="62829"/>
                  </a:lnTo>
                  <a:lnTo>
                    <a:pt x="12075" y="63584"/>
                  </a:lnTo>
                  <a:lnTo>
                    <a:pt x="14339" y="64905"/>
                  </a:lnTo>
                  <a:lnTo>
                    <a:pt x="16604" y="66131"/>
                  </a:lnTo>
                  <a:lnTo>
                    <a:pt x="19056" y="67169"/>
                  </a:lnTo>
                  <a:lnTo>
                    <a:pt x="21509" y="67923"/>
                  </a:lnTo>
                  <a:lnTo>
                    <a:pt x="24056" y="68584"/>
                  </a:lnTo>
                  <a:lnTo>
                    <a:pt x="26603" y="69055"/>
                  </a:lnTo>
                  <a:lnTo>
                    <a:pt x="27830" y="69055"/>
                  </a:lnTo>
                  <a:lnTo>
                    <a:pt x="30188" y="68867"/>
                  </a:lnTo>
                  <a:lnTo>
                    <a:pt x="33113" y="68678"/>
                  </a:lnTo>
                  <a:lnTo>
                    <a:pt x="36509" y="68301"/>
                  </a:lnTo>
                  <a:lnTo>
                    <a:pt x="39811" y="67923"/>
                  </a:lnTo>
                  <a:lnTo>
                    <a:pt x="42735" y="67452"/>
                  </a:lnTo>
                  <a:lnTo>
                    <a:pt x="44905" y="66980"/>
                  </a:lnTo>
                  <a:lnTo>
                    <a:pt x="45565" y="66791"/>
                  </a:lnTo>
                  <a:lnTo>
                    <a:pt x="45943" y="66508"/>
                  </a:lnTo>
                  <a:lnTo>
                    <a:pt x="47358" y="65942"/>
                  </a:lnTo>
                  <a:lnTo>
                    <a:pt x="48018" y="65565"/>
                  </a:lnTo>
                  <a:lnTo>
                    <a:pt x="48678" y="65188"/>
                  </a:lnTo>
                  <a:lnTo>
                    <a:pt x="47924" y="65471"/>
                  </a:lnTo>
                  <a:lnTo>
                    <a:pt x="51509" y="62924"/>
                  </a:lnTo>
                  <a:lnTo>
                    <a:pt x="53301" y="61508"/>
                  </a:lnTo>
                  <a:lnTo>
                    <a:pt x="55093" y="59905"/>
                  </a:lnTo>
                  <a:lnTo>
                    <a:pt x="55093" y="59905"/>
                  </a:lnTo>
                  <a:lnTo>
                    <a:pt x="54810" y="60376"/>
                  </a:lnTo>
                  <a:lnTo>
                    <a:pt x="54339" y="60754"/>
                  </a:lnTo>
                  <a:lnTo>
                    <a:pt x="55376" y="59999"/>
                  </a:lnTo>
                  <a:lnTo>
                    <a:pt x="56320" y="59056"/>
                  </a:lnTo>
                  <a:lnTo>
                    <a:pt x="57075" y="58395"/>
                  </a:lnTo>
                  <a:lnTo>
                    <a:pt x="57169" y="58207"/>
                  </a:lnTo>
                  <a:lnTo>
                    <a:pt x="57075" y="58207"/>
                  </a:lnTo>
                  <a:lnTo>
                    <a:pt x="57924" y="57546"/>
                  </a:lnTo>
                  <a:lnTo>
                    <a:pt x="58678" y="56697"/>
                  </a:lnTo>
                  <a:lnTo>
                    <a:pt x="59339" y="55754"/>
                  </a:lnTo>
                  <a:lnTo>
                    <a:pt x="59905" y="54905"/>
                  </a:lnTo>
                  <a:lnTo>
                    <a:pt x="59716" y="54999"/>
                  </a:lnTo>
                  <a:lnTo>
                    <a:pt x="59622" y="54999"/>
                  </a:lnTo>
                  <a:lnTo>
                    <a:pt x="59810" y="54622"/>
                  </a:lnTo>
                  <a:lnTo>
                    <a:pt x="59150" y="55565"/>
                  </a:lnTo>
                  <a:lnTo>
                    <a:pt x="59527" y="55094"/>
                  </a:lnTo>
                  <a:lnTo>
                    <a:pt x="59433" y="55377"/>
                  </a:lnTo>
                  <a:lnTo>
                    <a:pt x="58867" y="56037"/>
                  </a:lnTo>
                  <a:lnTo>
                    <a:pt x="59056" y="55660"/>
                  </a:lnTo>
                  <a:lnTo>
                    <a:pt x="59056" y="55660"/>
                  </a:lnTo>
                  <a:lnTo>
                    <a:pt x="58678" y="56037"/>
                  </a:lnTo>
                  <a:lnTo>
                    <a:pt x="59810" y="54339"/>
                  </a:lnTo>
                  <a:lnTo>
                    <a:pt x="60282" y="53490"/>
                  </a:lnTo>
                  <a:lnTo>
                    <a:pt x="60282" y="53301"/>
                  </a:lnTo>
                  <a:lnTo>
                    <a:pt x="60188" y="53395"/>
                  </a:lnTo>
                  <a:lnTo>
                    <a:pt x="60188" y="53395"/>
                  </a:lnTo>
                  <a:lnTo>
                    <a:pt x="60565" y="52924"/>
                  </a:lnTo>
                  <a:lnTo>
                    <a:pt x="61037" y="52452"/>
                  </a:lnTo>
                  <a:lnTo>
                    <a:pt x="61886" y="51509"/>
                  </a:lnTo>
                  <a:lnTo>
                    <a:pt x="61508" y="52452"/>
                  </a:lnTo>
                  <a:lnTo>
                    <a:pt x="60848" y="53584"/>
                  </a:lnTo>
                  <a:lnTo>
                    <a:pt x="59622" y="55565"/>
                  </a:lnTo>
                  <a:lnTo>
                    <a:pt x="60376" y="54528"/>
                  </a:lnTo>
                  <a:lnTo>
                    <a:pt x="60942" y="53678"/>
                  </a:lnTo>
                  <a:lnTo>
                    <a:pt x="61980" y="51792"/>
                  </a:lnTo>
                  <a:lnTo>
                    <a:pt x="61886" y="51886"/>
                  </a:lnTo>
                  <a:lnTo>
                    <a:pt x="61886" y="51697"/>
                  </a:lnTo>
                  <a:lnTo>
                    <a:pt x="62169" y="51037"/>
                  </a:lnTo>
                  <a:lnTo>
                    <a:pt x="62735" y="49999"/>
                  </a:lnTo>
                  <a:lnTo>
                    <a:pt x="61508" y="51603"/>
                  </a:lnTo>
                  <a:lnTo>
                    <a:pt x="61603" y="51037"/>
                  </a:lnTo>
                  <a:lnTo>
                    <a:pt x="61697" y="50377"/>
                  </a:lnTo>
                  <a:lnTo>
                    <a:pt x="62169" y="48962"/>
                  </a:lnTo>
                  <a:lnTo>
                    <a:pt x="62829" y="47358"/>
                  </a:lnTo>
                  <a:lnTo>
                    <a:pt x="63678" y="45565"/>
                  </a:lnTo>
                  <a:lnTo>
                    <a:pt x="65376" y="42169"/>
                  </a:lnTo>
                  <a:lnTo>
                    <a:pt x="66131" y="40660"/>
                  </a:lnTo>
                  <a:lnTo>
                    <a:pt x="66697" y="39339"/>
                  </a:lnTo>
                  <a:lnTo>
                    <a:pt x="66603" y="39528"/>
                  </a:lnTo>
                  <a:lnTo>
                    <a:pt x="66697" y="39056"/>
                  </a:lnTo>
                  <a:lnTo>
                    <a:pt x="66791" y="38962"/>
                  </a:lnTo>
                  <a:lnTo>
                    <a:pt x="66791" y="39056"/>
                  </a:lnTo>
                  <a:lnTo>
                    <a:pt x="66886" y="38584"/>
                  </a:lnTo>
                  <a:lnTo>
                    <a:pt x="66791" y="38867"/>
                  </a:lnTo>
                  <a:lnTo>
                    <a:pt x="66980" y="38207"/>
                  </a:lnTo>
                  <a:lnTo>
                    <a:pt x="67169" y="37264"/>
                  </a:lnTo>
                  <a:lnTo>
                    <a:pt x="67263" y="36415"/>
                  </a:lnTo>
                  <a:lnTo>
                    <a:pt x="67357" y="36509"/>
                  </a:lnTo>
                  <a:lnTo>
                    <a:pt x="67452" y="36509"/>
                  </a:lnTo>
                  <a:lnTo>
                    <a:pt x="67546" y="35943"/>
                  </a:lnTo>
                  <a:lnTo>
                    <a:pt x="67546" y="34811"/>
                  </a:lnTo>
                  <a:lnTo>
                    <a:pt x="67640" y="31037"/>
                  </a:lnTo>
                  <a:lnTo>
                    <a:pt x="67640" y="28490"/>
                  </a:lnTo>
                  <a:lnTo>
                    <a:pt x="67546" y="27736"/>
                  </a:lnTo>
                  <a:lnTo>
                    <a:pt x="67546" y="27547"/>
                  </a:lnTo>
                  <a:lnTo>
                    <a:pt x="67452" y="27547"/>
                  </a:lnTo>
                  <a:lnTo>
                    <a:pt x="67074" y="26792"/>
                  </a:lnTo>
                  <a:lnTo>
                    <a:pt x="66791" y="25660"/>
                  </a:lnTo>
                  <a:lnTo>
                    <a:pt x="66508" y="24528"/>
                  </a:lnTo>
                  <a:lnTo>
                    <a:pt x="66414" y="23585"/>
                  </a:lnTo>
                  <a:lnTo>
                    <a:pt x="66320" y="23679"/>
                  </a:lnTo>
                  <a:lnTo>
                    <a:pt x="66320" y="23490"/>
                  </a:lnTo>
                  <a:lnTo>
                    <a:pt x="65942" y="22924"/>
                  </a:lnTo>
                  <a:lnTo>
                    <a:pt x="65565" y="22358"/>
                  </a:lnTo>
                  <a:lnTo>
                    <a:pt x="64527" y="21132"/>
                  </a:lnTo>
                  <a:lnTo>
                    <a:pt x="63584" y="19906"/>
                  </a:lnTo>
                  <a:lnTo>
                    <a:pt x="63207" y="19340"/>
                  </a:lnTo>
                  <a:lnTo>
                    <a:pt x="63018" y="18774"/>
                  </a:lnTo>
                  <a:lnTo>
                    <a:pt x="63112" y="18962"/>
                  </a:lnTo>
                  <a:lnTo>
                    <a:pt x="63301" y="19057"/>
                  </a:lnTo>
                  <a:lnTo>
                    <a:pt x="63301" y="19057"/>
                  </a:lnTo>
                  <a:lnTo>
                    <a:pt x="63207" y="18868"/>
                  </a:lnTo>
                  <a:lnTo>
                    <a:pt x="62923" y="18491"/>
                  </a:lnTo>
                  <a:lnTo>
                    <a:pt x="61980" y="17453"/>
                  </a:lnTo>
                  <a:lnTo>
                    <a:pt x="61037" y="16509"/>
                  </a:lnTo>
                  <a:lnTo>
                    <a:pt x="61037" y="16698"/>
                  </a:lnTo>
                  <a:lnTo>
                    <a:pt x="61037" y="16887"/>
                  </a:lnTo>
                  <a:lnTo>
                    <a:pt x="60093" y="15943"/>
                  </a:lnTo>
                  <a:lnTo>
                    <a:pt x="60376" y="16321"/>
                  </a:lnTo>
                  <a:lnTo>
                    <a:pt x="59527" y="15377"/>
                  </a:lnTo>
                  <a:lnTo>
                    <a:pt x="59056" y="14906"/>
                  </a:lnTo>
                  <a:lnTo>
                    <a:pt x="59244" y="14906"/>
                  </a:lnTo>
                  <a:lnTo>
                    <a:pt x="59905" y="15472"/>
                  </a:lnTo>
                  <a:lnTo>
                    <a:pt x="59905" y="15472"/>
                  </a:lnTo>
                  <a:lnTo>
                    <a:pt x="57641" y="13396"/>
                  </a:lnTo>
                  <a:lnTo>
                    <a:pt x="58112" y="13868"/>
                  </a:lnTo>
                  <a:lnTo>
                    <a:pt x="56886" y="13019"/>
                  </a:lnTo>
                  <a:lnTo>
                    <a:pt x="55754" y="12453"/>
                  </a:lnTo>
                  <a:lnTo>
                    <a:pt x="56603" y="13113"/>
                  </a:lnTo>
                  <a:lnTo>
                    <a:pt x="57452" y="13774"/>
                  </a:lnTo>
                  <a:lnTo>
                    <a:pt x="58961" y="15283"/>
                  </a:lnTo>
                  <a:lnTo>
                    <a:pt x="60376" y="16604"/>
                  </a:lnTo>
                  <a:lnTo>
                    <a:pt x="61225" y="17264"/>
                  </a:lnTo>
                  <a:lnTo>
                    <a:pt x="62074" y="17925"/>
                  </a:lnTo>
                  <a:lnTo>
                    <a:pt x="62074" y="17925"/>
                  </a:lnTo>
                  <a:lnTo>
                    <a:pt x="61414" y="17547"/>
                  </a:lnTo>
                  <a:lnTo>
                    <a:pt x="60659" y="16981"/>
                  </a:lnTo>
                  <a:lnTo>
                    <a:pt x="60754" y="17264"/>
                  </a:lnTo>
                  <a:lnTo>
                    <a:pt x="60942" y="17642"/>
                  </a:lnTo>
                  <a:lnTo>
                    <a:pt x="61980" y="19151"/>
                  </a:lnTo>
                  <a:lnTo>
                    <a:pt x="63301" y="20943"/>
                  </a:lnTo>
                  <a:lnTo>
                    <a:pt x="63207" y="20943"/>
                  </a:lnTo>
                  <a:lnTo>
                    <a:pt x="63395" y="21038"/>
                  </a:lnTo>
                  <a:lnTo>
                    <a:pt x="63490" y="21321"/>
                  </a:lnTo>
                  <a:lnTo>
                    <a:pt x="63678" y="21604"/>
                  </a:lnTo>
                  <a:lnTo>
                    <a:pt x="63773" y="21698"/>
                  </a:lnTo>
                  <a:lnTo>
                    <a:pt x="63584" y="21321"/>
                  </a:lnTo>
                  <a:lnTo>
                    <a:pt x="63584" y="21321"/>
                  </a:lnTo>
                  <a:lnTo>
                    <a:pt x="64244" y="22170"/>
                  </a:lnTo>
                  <a:lnTo>
                    <a:pt x="64716" y="22641"/>
                  </a:lnTo>
                  <a:lnTo>
                    <a:pt x="64905" y="22830"/>
                  </a:lnTo>
                  <a:lnTo>
                    <a:pt x="64999" y="22830"/>
                  </a:lnTo>
                  <a:lnTo>
                    <a:pt x="64999" y="22641"/>
                  </a:lnTo>
                  <a:lnTo>
                    <a:pt x="64905" y="22358"/>
                  </a:lnTo>
                  <a:lnTo>
                    <a:pt x="65282" y="23207"/>
                  </a:lnTo>
                  <a:lnTo>
                    <a:pt x="65565" y="24056"/>
                  </a:lnTo>
                  <a:lnTo>
                    <a:pt x="66225" y="25943"/>
                  </a:lnTo>
                  <a:lnTo>
                    <a:pt x="66697" y="27830"/>
                  </a:lnTo>
                  <a:lnTo>
                    <a:pt x="66886" y="28490"/>
                  </a:lnTo>
                  <a:lnTo>
                    <a:pt x="66980" y="28868"/>
                  </a:lnTo>
                  <a:lnTo>
                    <a:pt x="66886" y="28962"/>
                  </a:lnTo>
                  <a:lnTo>
                    <a:pt x="66697" y="28679"/>
                  </a:lnTo>
                  <a:lnTo>
                    <a:pt x="66697" y="29245"/>
                  </a:lnTo>
                  <a:lnTo>
                    <a:pt x="66791" y="29905"/>
                  </a:lnTo>
                  <a:lnTo>
                    <a:pt x="66886" y="29905"/>
                  </a:lnTo>
                  <a:lnTo>
                    <a:pt x="66886" y="30094"/>
                  </a:lnTo>
                  <a:lnTo>
                    <a:pt x="66886" y="30566"/>
                  </a:lnTo>
                  <a:lnTo>
                    <a:pt x="66697" y="30377"/>
                  </a:lnTo>
                  <a:lnTo>
                    <a:pt x="66603" y="30188"/>
                  </a:lnTo>
                  <a:lnTo>
                    <a:pt x="66603" y="30094"/>
                  </a:lnTo>
                  <a:lnTo>
                    <a:pt x="66697" y="29905"/>
                  </a:lnTo>
                  <a:lnTo>
                    <a:pt x="66508" y="28679"/>
                  </a:lnTo>
                  <a:lnTo>
                    <a:pt x="66225" y="27358"/>
                  </a:lnTo>
                  <a:lnTo>
                    <a:pt x="66603" y="30283"/>
                  </a:lnTo>
                  <a:lnTo>
                    <a:pt x="66697" y="31792"/>
                  </a:lnTo>
                  <a:lnTo>
                    <a:pt x="66697" y="33302"/>
                  </a:lnTo>
                  <a:lnTo>
                    <a:pt x="66603" y="34717"/>
                  </a:lnTo>
                  <a:lnTo>
                    <a:pt x="66414" y="36226"/>
                  </a:lnTo>
                  <a:lnTo>
                    <a:pt x="66131" y="37547"/>
                  </a:lnTo>
                  <a:lnTo>
                    <a:pt x="65659" y="38962"/>
                  </a:lnTo>
                  <a:lnTo>
                    <a:pt x="65848" y="38584"/>
                  </a:lnTo>
                  <a:lnTo>
                    <a:pt x="65942" y="38584"/>
                  </a:lnTo>
                  <a:lnTo>
                    <a:pt x="65848" y="39245"/>
                  </a:lnTo>
                  <a:lnTo>
                    <a:pt x="65565" y="40188"/>
                  </a:lnTo>
                  <a:lnTo>
                    <a:pt x="65471" y="40471"/>
                  </a:lnTo>
                  <a:lnTo>
                    <a:pt x="65282" y="40660"/>
                  </a:lnTo>
                  <a:lnTo>
                    <a:pt x="65282" y="40566"/>
                  </a:lnTo>
                  <a:lnTo>
                    <a:pt x="65093" y="41132"/>
                  </a:lnTo>
                  <a:lnTo>
                    <a:pt x="64433" y="43018"/>
                  </a:lnTo>
                  <a:lnTo>
                    <a:pt x="63678" y="45282"/>
                  </a:lnTo>
                  <a:lnTo>
                    <a:pt x="62735" y="47264"/>
                  </a:lnTo>
                  <a:lnTo>
                    <a:pt x="61697" y="49056"/>
                  </a:lnTo>
                  <a:lnTo>
                    <a:pt x="60659" y="50943"/>
                  </a:lnTo>
                  <a:lnTo>
                    <a:pt x="59433" y="52735"/>
                  </a:lnTo>
                  <a:lnTo>
                    <a:pt x="58207" y="54433"/>
                  </a:lnTo>
                  <a:lnTo>
                    <a:pt x="56886" y="56037"/>
                  </a:lnTo>
                  <a:lnTo>
                    <a:pt x="55376" y="57641"/>
                  </a:lnTo>
                  <a:lnTo>
                    <a:pt x="53867" y="59150"/>
                  </a:lnTo>
                  <a:lnTo>
                    <a:pt x="52169" y="60376"/>
                  </a:lnTo>
                  <a:lnTo>
                    <a:pt x="48961" y="62452"/>
                  </a:lnTo>
                  <a:lnTo>
                    <a:pt x="44528" y="65282"/>
                  </a:lnTo>
                  <a:lnTo>
                    <a:pt x="44622" y="65188"/>
                  </a:lnTo>
                  <a:lnTo>
                    <a:pt x="44716" y="65093"/>
                  </a:lnTo>
                  <a:lnTo>
                    <a:pt x="45094" y="64810"/>
                  </a:lnTo>
                  <a:lnTo>
                    <a:pt x="45660" y="64527"/>
                  </a:lnTo>
                  <a:lnTo>
                    <a:pt x="43867" y="65376"/>
                  </a:lnTo>
                  <a:lnTo>
                    <a:pt x="43113" y="65754"/>
                  </a:lnTo>
                  <a:lnTo>
                    <a:pt x="42924" y="65754"/>
                  </a:lnTo>
                  <a:lnTo>
                    <a:pt x="43113" y="65659"/>
                  </a:lnTo>
                  <a:lnTo>
                    <a:pt x="41603" y="66037"/>
                  </a:lnTo>
                  <a:lnTo>
                    <a:pt x="39999" y="66320"/>
                  </a:lnTo>
                  <a:lnTo>
                    <a:pt x="38396" y="66508"/>
                  </a:lnTo>
                  <a:lnTo>
                    <a:pt x="36792" y="66697"/>
                  </a:lnTo>
                  <a:lnTo>
                    <a:pt x="33584" y="66980"/>
                  </a:lnTo>
                  <a:lnTo>
                    <a:pt x="32169" y="67169"/>
                  </a:lnTo>
                  <a:lnTo>
                    <a:pt x="30754" y="67357"/>
                  </a:lnTo>
                  <a:lnTo>
                    <a:pt x="30094" y="67357"/>
                  </a:lnTo>
                  <a:lnTo>
                    <a:pt x="29339" y="67263"/>
                  </a:lnTo>
                  <a:lnTo>
                    <a:pt x="27830" y="66886"/>
                  </a:lnTo>
                  <a:lnTo>
                    <a:pt x="26415" y="66508"/>
                  </a:lnTo>
                  <a:lnTo>
                    <a:pt x="25754" y="66414"/>
                  </a:lnTo>
                  <a:lnTo>
                    <a:pt x="25094" y="66414"/>
                  </a:lnTo>
                  <a:lnTo>
                    <a:pt x="25566" y="66980"/>
                  </a:lnTo>
                  <a:lnTo>
                    <a:pt x="25471" y="67074"/>
                  </a:lnTo>
                  <a:lnTo>
                    <a:pt x="25188" y="66980"/>
                  </a:lnTo>
                  <a:lnTo>
                    <a:pt x="24339" y="66791"/>
                  </a:lnTo>
                  <a:lnTo>
                    <a:pt x="23773" y="66508"/>
                  </a:lnTo>
                  <a:lnTo>
                    <a:pt x="24245" y="66414"/>
                  </a:lnTo>
                  <a:lnTo>
                    <a:pt x="24717" y="66603"/>
                  </a:lnTo>
                  <a:lnTo>
                    <a:pt x="24811" y="66414"/>
                  </a:lnTo>
                  <a:lnTo>
                    <a:pt x="24811" y="66320"/>
                  </a:lnTo>
                  <a:lnTo>
                    <a:pt x="24717" y="66225"/>
                  </a:lnTo>
                  <a:lnTo>
                    <a:pt x="24528" y="66131"/>
                  </a:lnTo>
                  <a:lnTo>
                    <a:pt x="24151" y="66225"/>
                  </a:lnTo>
                  <a:lnTo>
                    <a:pt x="23679" y="66320"/>
                  </a:lnTo>
                  <a:lnTo>
                    <a:pt x="23018" y="66414"/>
                  </a:lnTo>
                  <a:lnTo>
                    <a:pt x="23490" y="66225"/>
                  </a:lnTo>
                  <a:lnTo>
                    <a:pt x="22075" y="65942"/>
                  </a:lnTo>
                  <a:lnTo>
                    <a:pt x="20943" y="65659"/>
                  </a:lnTo>
                  <a:lnTo>
                    <a:pt x="20000" y="65282"/>
                  </a:lnTo>
                  <a:lnTo>
                    <a:pt x="19056" y="64810"/>
                  </a:lnTo>
                  <a:lnTo>
                    <a:pt x="19056" y="64810"/>
                  </a:lnTo>
                  <a:lnTo>
                    <a:pt x="19717" y="64999"/>
                  </a:lnTo>
                  <a:lnTo>
                    <a:pt x="19151" y="64716"/>
                  </a:lnTo>
                  <a:lnTo>
                    <a:pt x="18962" y="64810"/>
                  </a:lnTo>
                  <a:lnTo>
                    <a:pt x="19151" y="64905"/>
                  </a:lnTo>
                  <a:lnTo>
                    <a:pt x="18490" y="64905"/>
                  </a:lnTo>
                  <a:lnTo>
                    <a:pt x="17830" y="64716"/>
                  </a:lnTo>
                  <a:lnTo>
                    <a:pt x="17264" y="64527"/>
                  </a:lnTo>
                  <a:lnTo>
                    <a:pt x="16698" y="64150"/>
                  </a:lnTo>
                  <a:lnTo>
                    <a:pt x="16981" y="64056"/>
                  </a:lnTo>
                  <a:lnTo>
                    <a:pt x="17264" y="64150"/>
                  </a:lnTo>
                  <a:lnTo>
                    <a:pt x="17264" y="64150"/>
                  </a:lnTo>
                  <a:lnTo>
                    <a:pt x="15188" y="63207"/>
                  </a:lnTo>
                  <a:lnTo>
                    <a:pt x="14622" y="62829"/>
                  </a:lnTo>
                  <a:lnTo>
                    <a:pt x="14717" y="62924"/>
                  </a:lnTo>
                  <a:lnTo>
                    <a:pt x="13773" y="62546"/>
                  </a:lnTo>
                  <a:lnTo>
                    <a:pt x="12924" y="62075"/>
                  </a:lnTo>
                  <a:lnTo>
                    <a:pt x="12358" y="61697"/>
                  </a:lnTo>
                  <a:lnTo>
                    <a:pt x="12264" y="61508"/>
                  </a:lnTo>
                  <a:lnTo>
                    <a:pt x="12170" y="61320"/>
                  </a:lnTo>
                  <a:lnTo>
                    <a:pt x="11698" y="60942"/>
                  </a:lnTo>
                  <a:lnTo>
                    <a:pt x="11132" y="60471"/>
                  </a:lnTo>
                  <a:lnTo>
                    <a:pt x="9906" y="59244"/>
                  </a:lnTo>
                  <a:lnTo>
                    <a:pt x="9906" y="59244"/>
                  </a:lnTo>
                  <a:lnTo>
                    <a:pt x="10566" y="59527"/>
                  </a:lnTo>
                  <a:lnTo>
                    <a:pt x="9434" y="58584"/>
                  </a:lnTo>
                  <a:lnTo>
                    <a:pt x="8207" y="57546"/>
                  </a:lnTo>
                  <a:lnTo>
                    <a:pt x="7547" y="56886"/>
                  </a:lnTo>
                  <a:lnTo>
                    <a:pt x="6981" y="56131"/>
                  </a:lnTo>
                  <a:lnTo>
                    <a:pt x="6226" y="55094"/>
                  </a:lnTo>
                  <a:lnTo>
                    <a:pt x="6415" y="55377"/>
                  </a:lnTo>
                  <a:lnTo>
                    <a:pt x="6038" y="54905"/>
                  </a:lnTo>
                  <a:lnTo>
                    <a:pt x="5472" y="54244"/>
                  </a:lnTo>
                  <a:lnTo>
                    <a:pt x="5283" y="53961"/>
                  </a:lnTo>
                  <a:lnTo>
                    <a:pt x="5094" y="53867"/>
                  </a:lnTo>
                  <a:lnTo>
                    <a:pt x="5377" y="54622"/>
                  </a:lnTo>
                  <a:lnTo>
                    <a:pt x="5849" y="55282"/>
                  </a:lnTo>
                  <a:lnTo>
                    <a:pt x="6321" y="55943"/>
                  </a:lnTo>
                  <a:lnTo>
                    <a:pt x="6698" y="56603"/>
                  </a:lnTo>
                  <a:lnTo>
                    <a:pt x="6226" y="56226"/>
                  </a:lnTo>
                  <a:lnTo>
                    <a:pt x="5943" y="55848"/>
                  </a:lnTo>
                  <a:lnTo>
                    <a:pt x="6038" y="56037"/>
                  </a:lnTo>
                  <a:lnTo>
                    <a:pt x="5943" y="55943"/>
                  </a:lnTo>
                  <a:lnTo>
                    <a:pt x="5377" y="55188"/>
                  </a:lnTo>
                  <a:lnTo>
                    <a:pt x="5000" y="54716"/>
                  </a:lnTo>
                  <a:lnTo>
                    <a:pt x="4717" y="54150"/>
                  </a:lnTo>
                  <a:lnTo>
                    <a:pt x="4528" y="53678"/>
                  </a:lnTo>
                  <a:lnTo>
                    <a:pt x="4528" y="53584"/>
                  </a:lnTo>
                  <a:lnTo>
                    <a:pt x="4623" y="53395"/>
                  </a:lnTo>
                  <a:lnTo>
                    <a:pt x="5094" y="54244"/>
                  </a:lnTo>
                  <a:lnTo>
                    <a:pt x="4717" y="53301"/>
                  </a:lnTo>
                  <a:lnTo>
                    <a:pt x="4528" y="53018"/>
                  </a:lnTo>
                  <a:lnTo>
                    <a:pt x="4151" y="52263"/>
                  </a:lnTo>
                  <a:lnTo>
                    <a:pt x="4151" y="52169"/>
                  </a:lnTo>
                  <a:lnTo>
                    <a:pt x="3774" y="51509"/>
                  </a:lnTo>
                  <a:lnTo>
                    <a:pt x="3396" y="50660"/>
                  </a:lnTo>
                  <a:lnTo>
                    <a:pt x="3585" y="51603"/>
                  </a:lnTo>
                  <a:lnTo>
                    <a:pt x="3396" y="51226"/>
                  </a:lnTo>
                  <a:lnTo>
                    <a:pt x="3208" y="50848"/>
                  </a:lnTo>
                  <a:lnTo>
                    <a:pt x="3208" y="50471"/>
                  </a:lnTo>
                  <a:lnTo>
                    <a:pt x="3208" y="50094"/>
                  </a:lnTo>
                  <a:lnTo>
                    <a:pt x="3585" y="50754"/>
                  </a:lnTo>
                  <a:lnTo>
                    <a:pt x="3868" y="51509"/>
                  </a:lnTo>
                  <a:lnTo>
                    <a:pt x="3868" y="51509"/>
                  </a:lnTo>
                  <a:lnTo>
                    <a:pt x="3208" y="49528"/>
                  </a:lnTo>
                  <a:lnTo>
                    <a:pt x="3208" y="49528"/>
                  </a:lnTo>
                  <a:lnTo>
                    <a:pt x="3868" y="50754"/>
                  </a:lnTo>
                  <a:lnTo>
                    <a:pt x="3208" y="48962"/>
                  </a:lnTo>
                  <a:lnTo>
                    <a:pt x="3585" y="49339"/>
                  </a:lnTo>
                  <a:lnTo>
                    <a:pt x="3774" y="49433"/>
                  </a:lnTo>
                  <a:lnTo>
                    <a:pt x="3962" y="49528"/>
                  </a:lnTo>
                  <a:lnTo>
                    <a:pt x="4057" y="49905"/>
                  </a:lnTo>
                  <a:lnTo>
                    <a:pt x="3868" y="48962"/>
                  </a:lnTo>
                  <a:lnTo>
                    <a:pt x="3491" y="47924"/>
                  </a:lnTo>
                  <a:lnTo>
                    <a:pt x="2641" y="45565"/>
                  </a:lnTo>
                  <a:lnTo>
                    <a:pt x="2170" y="43867"/>
                  </a:lnTo>
                  <a:lnTo>
                    <a:pt x="1698" y="41886"/>
                  </a:lnTo>
                  <a:lnTo>
                    <a:pt x="1698" y="41886"/>
                  </a:lnTo>
                  <a:lnTo>
                    <a:pt x="1887" y="42075"/>
                  </a:lnTo>
                  <a:lnTo>
                    <a:pt x="1981" y="41981"/>
                  </a:lnTo>
                  <a:lnTo>
                    <a:pt x="2075" y="42075"/>
                  </a:lnTo>
                  <a:lnTo>
                    <a:pt x="2264" y="42169"/>
                  </a:lnTo>
                  <a:lnTo>
                    <a:pt x="2170" y="40283"/>
                  </a:lnTo>
                  <a:lnTo>
                    <a:pt x="2075" y="38301"/>
                  </a:lnTo>
                  <a:lnTo>
                    <a:pt x="2170" y="36415"/>
                  </a:lnTo>
                  <a:lnTo>
                    <a:pt x="2358" y="35566"/>
                  </a:lnTo>
                  <a:lnTo>
                    <a:pt x="2453" y="34811"/>
                  </a:lnTo>
                  <a:lnTo>
                    <a:pt x="2830" y="32830"/>
                  </a:lnTo>
                  <a:lnTo>
                    <a:pt x="2830" y="33207"/>
                  </a:lnTo>
                  <a:lnTo>
                    <a:pt x="2924" y="33490"/>
                  </a:lnTo>
                  <a:lnTo>
                    <a:pt x="2924" y="32453"/>
                  </a:lnTo>
                  <a:lnTo>
                    <a:pt x="3019" y="31415"/>
                  </a:lnTo>
                  <a:lnTo>
                    <a:pt x="3396" y="29245"/>
                  </a:lnTo>
                  <a:lnTo>
                    <a:pt x="3868" y="27075"/>
                  </a:lnTo>
                  <a:lnTo>
                    <a:pt x="4623" y="25000"/>
                  </a:lnTo>
                  <a:lnTo>
                    <a:pt x="5566" y="22830"/>
                  </a:lnTo>
                  <a:lnTo>
                    <a:pt x="6604" y="20849"/>
                  </a:lnTo>
                  <a:lnTo>
                    <a:pt x="7830" y="18868"/>
                  </a:lnTo>
                  <a:lnTo>
                    <a:pt x="9151" y="16887"/>
                  </a:lnTo>
                  <a:lnTo>
                    <a:pt x="10566" y="15094"/>
                  </a:lnTo>
                  <a:lnTo>
                    <a:pt x="12075" y="13302"/>
                  </a:lnTo>
                  <a:lnTo>
                    <a:pt x="13773" y="11698"/>
                  </a:lnTo>
                  <a:lnTo>
                    <a:pt x="15377" y="10095"/>
                  </a:lnTo>
                  <a:lnTo>
                    <a:pt x="17170" y="8679"/>
                  </a:lnTo>
                  <a:lnTo>
                    <a:pt x="18962" y="7453"/>
                  </a:lnTo>
                  <a:lnTo>
                    <a:pt x="20754" y="6321"/>
                  </a:lnTo>
                  <a:lnTo>
                    <a:pt x="22547" y="5378"/>
                  </a:lnTo>
                  <a:lnTo>
                    <a:pt x="21603" y="6227"/>
                  </a:lnTo>
                  <a:lnTo>
                    <a:pt x="22641" y="5472"/>
                  </a:lnTo>
                  <a:lnTo>
                    <a:pt x="23302" y="5095"/>
                  </a:lnTo>
                  <a:lnTo>
                    <a:pt x="25377" y="4151"/>
                  </a:lnTo>
                  <a:lnTo>
                    <a:pt x="24811" y="4151"/>
                  </a:lnTo>
                  <a:lnTo>
                    <a:pt x="25660" y="3774"/>
                  </a:lnTo>
                  <a:lnTo>
                    <a:pt x="26886" y="3208"/>
                  </a:lnTo>
                  <a:lnTo>
                    <a:pt x="26603" y="3585"/>
                  </a:lnTo>
                  <a:lnTo>
                    <a:pt x="26886" y="3585"/>
                  </a:lnTo>
                  <a:lnTo>
                    <a:pt x="26886" y="3680"/>
                  </a:lnTo>
                  <a:lnTo>
                    <a:pt x="26792" y="3774"/>
                  </a:lnTo>
                  <a:lnTo>
                    <a:pt x="28301" y="3302"/>
                  </a:lnTo>
                  <a:lnTo>
                    <a:pt x="29622" y="2736"/>
                  </a:lnTo>
                  <a:lnTo>
                    <a:pt x="31037" y="2264"/>
                  </a:lnTo>
                  <a:lnTo>
                    <a:pt x="31792" y="2076"/>
                  </a:lnTo>
                  <a:lnTo>
                    <a:pt x="32641" y="1981"/>
                  </a:lnTo>
                  <a:lnTo>
                    <a:pt x="32547" y="2076"/>
                  </a:lnTo>
                  <a:lnTo>
                    <a:pt x="32924" y="1981"/>
                  </a:lnTo>
                  <a:lnTo>
                    <a:pt x="34245" y="1793"/>
                  </a:lnTo>
                  <a:lnTo>
                    <a:pt x="35848" y="1415"/>
                  </a:lnTo>
                  <a:lnTo>
                    <a:pt x="36981" y="1132"/>
                  </a:lnTo>
                  <a:lnTo>
                    <a:pt x="36981" y="1415"/>
                  </a:lnTo>
                  <a:lnTo>
                    <a:pt x="40943" y="1227"/>
                  </a:lnTo>
                  <a:lnTo>
                    <a:pt x="41509" y="1038"/>
                  </a:lnTo>
                  <a:lnTo>
                    <a:pt x="41697" y="1132"/>
                  </a:lnTo>
                  <a:lnTo>
                    <a:pt x="41509" y="1227"/>
                  </a:lnTo>
                  <a:lnTo>
                    <a:pt x="41320" y="1321"/>
                  </a:lnTo>
                  <a:lnTo>
                    <a:pt x="42263" y="1321"/>
                  </a:lnTo>
                  <a:lnTo>
                    <a:pt x="43113" y="1227"/>
                  </a:lnTo>
                  <a:lnTo>
                    <a:pt x="43396" y="1415"/>
                  </a:lnTo>
                  <a:lnTo>
                    <a:pt x="44056" y="1604"/>
                  </a:lnTo>
                  <a:lnTo>
                    <a:pt x="45943" y="2076"/>
                  </a:lnTo>
                  <a:lnTo>
                    <a:pt x="48018" y="2359"/>
                  </a:lnTo>
                  <a:lnTo>
                    <a:pt x="49622" y="2736"/>
                  </a:lnTo>
                  <a:lnTo>
                    <a:pt x="47641" y="1981"/>
                  </a:lnTo>
                  <a:lnTo>
                    <a:pt x="45282" y="1321"/>
                  </a:lnTo>
                  <a:lnTo>
                    <a:pt x="42735" y="755"/>
                  </a:lnTo>
                  <a:lnTo>
                    <a:pt x="40188" y="283"/>
                  </a:lnTo>
                  <a:lnTo>
                    <a:pt x="37735" y="95"/>
                  </a:lnTo>
                  <a:lnTo>
                    <a:pt x="35471" y="0"/>
                  </a:lnTo>
                  <a:close/>
                </a:path>
              </a:pathLst>
            </a:custGeom>
            <a:solidFill>
              <a:schemeClr val="bg1">
                <a:lumMod val="95000"/>
              </a:schemeClr>
            </a:solidFill>
            <a:ln w="0">
              <a:solidFill>
                <a:srgbClr val="0079D1"/>
              </a:solidFill>
            </a:ln>
          </p:spPr>
          <p:txBody>
            <a:bodyPr spcFirstLastPara="1" wrap="square" lIns="91425" tIns="91425" rIns="91425" bIns="91425" anchor="ctr" anchorCtr="0">
              <a:noAutofit/>
            </a:bodyPr>
            <a:lstStyle/>
            <a:p>
              <a:pPr marL="0" lvl="0" indent="0">
                <a:spcBef>
                  <a:spcPts val="0"/>
                </a:spcBef>
                <a:spcAft>
                  <a:spcPts val="0"/>
                </a:spcAft>
                <a:buNone/>
              </a:pPr>
              <a:endParaRPr sz="1400"/>
            </a:p>
          </p:txBody>
        </p:sp>
        <p:sp>
          <p:nvSpPr>
            <p:cNvPr id="600" name="TextBox 599">
              <a:extLst>
                <a:ext uri="{FF2B5EF4-FFF2-40B4-BE49-F238E27FC236}">
                  <a16:creationId xmlns:a16="http://schemas.microsoft.com/office/drawing/2014/main" id="{805862B6-C709-9148-A0B1-C3AD6FF9B116}"/>
                </a:ext>
              </a:extLst>
            </p:cNvPr>
            <p:cNvSpPr txBox="1"/>
            <p:nvPr/>
          </p:nvSpPr>
          <p:spPr>
            <a:xfrm>
              <a:off x="8676898" y="4619460"/>
              <a:ext cx="229951" cy="215444"/>
            </a:xfrm>
            <a:prstGeom prst="rect">
              <a:avLst/>
            </a:prstGeom>
            <a:noFill/>
          </p:spPr>
          <p:txBody>
            <a:bodyPr wrap="square" rtlCol="0">
              <a:spAutoFit/>
            </a:bodyPr>
            <a:lstStyle/>
            <a:p>
              <a:r>
                <a:rPr lang="en-US" sz="800" b="1" dirty="0">
                  <a:solidFill>
                    <a:srgbClr val="0079D1"/>
                  </a:solidFill>
                </a:rPr>
                <a:t>B</a:t>
              </a:r>
            </a:p>
          </p:txBody>
        </p:sp>
      </p:grpSp>
      <p:sp>
        <p:nvSpPr>
          <p:cNvPr id="601" name="TextBox 600">
            <a:extLst>
              <a:ext uri="{FF2B5EF4-FFF2-40B4-BE49-F238E27FC236}">
                <a16:creationId xmlns:a16="http://schemas.microsoft.com/office/drawing/2014/main" id="{FFA0A33D-930F-A344-A43C-0D21C2352966}"/>
              </a:ext>
            </a:extLst>
          </p:cNvPr>
          <p:cNvSpPr txBox="1"/>
          <p:nvPr/>
        </p:nvSpPr>
        <p:spPr>
          <a:xfrm>
            <a:off x="342091" y="2078701"/>
            <a:ext cx="1776287" cy="289480"/>
          </a:xfrm>
          <a:prstGeom prst="rect">
            <a:avLst/>
          </a:prstGeom>
          <a:noFill/>
        </p:spPr>
        <p:txBody>
          <a:bodyPr wrap="square" tIns="90000" bIns="90000" rtlCol="0" anchor="t">
            <a:spAutoFit/>
          </a:bodyPr>
          <a:lstStyle/>
          <a:p>
            <a:r>
              <a:rPr lang="en-US" sz="700" b="1" dirty="0">
                <a:solidFill>
                  <a:srgbClr val="0079D1"/>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Solace/Kafka Custom API Source</a:t>
            </a:r>
          </a:p>
        </p:txBody>
      </p:sp>
      <p:grpSp>
        <p:nvGrpSpPr>
          <p:cNvPr id="602" name="Group 601">
            <a:extLst>
              <a:ext uri="{FF2B5EF4-FFF2-40B4-BE49-F238E27FC236}">
                <a16:creationId xmlns:a16="http://schemas.microsoft.com/office/drawing/2014/main" id="{5AE491BE-0166-CA41-BF91-B318B1A1A580}"/>
              </a:ext>
            </a:extLst>
          </p:cNvPr>
          <p:cNvGrpSpPr/>
          <p:nvPr/>
        </p:nvGrpSpPr>
        <p:grpSpPr>
          <a:xfrm>
            <a:off x="138465" y="2146644"/>
            <a:ext cx="229951" cy="215444"/>
            <a:chOff x="8676898" y="4619460"/>
            <a:chExt cx="229951" cy="215444"/>
          </a:xfrm>
        </p:grpSpPr>
        <p:sp>
          <p:nvSpPr>
            <p:cNvPr id="603" name="Google Shape;431;p39">
              <a:extLst>
                <a:ext uri="{FF2B5EF4-FFF2-40B4-BE49-F238E27FC236}">
                  <a16:creationId xmlns:a16="http://schemas.microsoft.com/office/drawing/2014/main" id="{72E499F9-556E-1141-99F9-5BF5AE26C756}"/>
                </a:ext>
              </a:extLst>
            </p:cNvPr>
            <p:cNvSpPr/>
            <p:nvPr/>
          </p:nvSpPr>
          <p:spPr>
            <a:xfrm>
              <a:off x="8709950" y="4635551"/>
              <a:ext cx="179407" cy="167874"/>
            </a:xfrm>
            <a:custGeom>
              <a:avLst/>
              <a:gdLst/>
              <a:ahLst/>
              <a:cxnLst/>
              <a:rect l="0" t="0" r="0" b="0"/>
              <a:pathLst>
                <a:path w="67641" h="69056" extrusionOk="0">
                  <a:moveTo>
                    <a:pt x="49622" y="2736"/>
                  </a:moveTo>
                  <a:lnTo>
                    <a:pt x="49622" y="2736"/>
                  </a:lnTo>
                  <a:lnTo>
                    <a:pt x="49622" y="2736"/>
                  </a:lnTo>
                  <a:close/>
                  <a:moveTo>
                    <a:pt x="59622" y="55565"/>
                  </a:moveTo>
                  <a:lnTo>
                    <a:pt x="59622" y="55565"/>
                  </a:lnTo>
                  <a:lnTo>
                    <a:pt x="59622" y="55565"/>
                  </a:lnTo>
                  <a:close/>
                  <a:moveTo>
                    <a:pt x="35471" y="0"/>
                  </a:moveTo>
                  <a:lnTo>
                    <a:pt x="34433" y="95"/>
                  </a:lnTo>
                  <a:lnTo>
                    <a:pt x="33584" y="189"/>
                  </a:lnTo>
                  <a:lnTo>
                    <a:pt x="32735" y="378"/>
                  </a:lnTo>
                  <a:lnTo>
                    <a:pt x="32169" y="566"/>
                  </a:lnTo>
                  <a:lnTo>
                    <a:pt x="31509" y="472"/>
                  </a:lnTo>
                  <a:lnTo>
                    <a:pt x="30754" y="472"/>
                  </a:lnTo>
                  <a:lnTo>
                    <a:pt x="29339" y="566"/>
                  </a:lnTo>
                  <a:lnTo>
                    <a:pt x="27830" y="849"/>
                  </a:lnTo>
                  <a:lnTo>
                    <a:pt x="26320" y="1321"/>
                  </a:lnTo>
                  <a:lnTo>
                    <a:pt x="24811" y="1981"/>
                  </a:lnTo>
                  <a:lnTo>
                    <a:pt x="23207" y="2736"/>
                  </a:lnTo>
                  <a:lnTo>
                    <a:pt x="21698" y="3585"/>
                  </a:lnTo>
                  <a:lnTo>
                    <a:pt x="20188" y="4623"/>
                  </a:lnTo>
                  <a:lnTo>
                    <a:pt x="18679" y="5661"/>
                  </a:lnTo>
                  <a:lnTo>
                    <a:pt x="17170" y="6793"/>
                  </a:lnTo>
                  <a:lnTo>
                    <a:pt x="15754" y="8019"/>
                  </a:lnTo>
                  <a:lnTo>
                    <a:pt x="14434" y="9151"/>
                  </a:lnTo>
                  <a:lnTo>
                    <a:pt x="11981" y="11510"/>
                  </a:lnTo>
                  <a:lnTo>
                    <a:pt x="10000" y="13774"/>
                  </a:lnTo>
                  <a:lnTo>
                    <a:pt x="7736" y="16981"/>
                  </a:lnTo>
                  <a:lnTo>
                    <a:pt x="8019" y="16321"/>
                  </a:lnTo>
                  <a:lnTo>
                    <a:pt x="8302" y="15660"/>
                  </a:lnTo>
                  <a:lnTo>
                    <a:pt x="7736" y="16604"/>
                  </a:lnTo>
                  <a:lnTo>
                    <a:pt x="7075" y="17642"/>
                  </a:lnTo>
                  <a:lnTo>
                    <a:pt x="7170" y="17830"/>
                  </a:lnTo>
                  <a:lnTo>
                    <a:pt x="6509" y="18868"/>
                  </a:lnTo>
                  <a:lnTo>
                    <a:pt x="7075" y="17359"/>
                  </a:lnTo>
                  <a:lnTo>
                    <a:pt x="6132" y="19057"/>
                  </a:lnTo>
                  <a:lnTo>
                    <a:pt x="5189" y="20849"/>
                  </a:lnTo>
                  <a:lnTo>
                    <a:pt x="4434" y="22736"/>
                  </a:lnTo>
                  <a:lnTo>
                    <a:pt x="3679" y="24622"/>
                  </a:lnTo>
                  <a:lnTo>
                    <a:pt x="2453" y="28490"/>
                  </a:lnTo>
                  <a:lnTo>
                    <a:pt x="1321" y="32169"/>
                  </a:lnTo>
                  <a:lnTo>
                    <a:pt x="1509" y="32264"/>
                  </a:lnTo>
                  <a:lnTo>
                    <a:pt x="1604" y="32453"/>
                  </a:lnTo>
                  <a:lnTo>
                    <a:pt x="1604" y="32641"/>
                  </a:lnTo>
                  <a:lnTo>
                    <a:pt x="1509" y="32924"/>
                  </a:lnTo>
                  <a:lnTo>
                    <a:pt x="1226" y="33396"/>
                  </a:lnTo>
                  <a:lnTo>
                    <a:pt x="1038" y="33585"/>
                  </a:lnTo>
                  <a:lnTo>
                    <a:pt x="1038" y="33773"/>
                  </a:lnTo>
                  <a:lnTo>
                    <a:pt x="1038" y="35000"/>
                  </a:lnTo>
                  <a:lnTo>
                    <a:pt x="849" y="36132"/>
                  </a:lnTo>
                  <a:lnTo>
                    <a:pt x="660" y="37358"/>
                  </a:lnTo>
                  <a:lnTo>
                    <a:pt x="472" y="38867"/>
                  </a:lnTo>
                  <a:lnTo>
                    <a:pt x="283" y="38301"/>
                  </a:lnTo>
                  <a:lnTo>
                    <a:pt x="94" y="39811"/>
                  </a:lnTo>
                  <a:lnTo>
                    <a:pt x="0" y="41509"/>
                  </a:lnTo>
                  <a:lnTo>
                    <a:pt x="94" y="43301"/>
                  </a:lnTo>
                  <a:lnTo>
                    <a:pt x="283" y="44056"/>
                  </a:lnTo>
                  <a:lnTo>
                    <a:pt x="472" y="44622"/>
                  </a:lnTo>
                  <a:lnTo>
                    <a:pt x="566" y="45660"/>
                  </a:lnTo>
                  <a:lnTo>
                    <a:pt x="755" y="46792"/>
                  </a:lnTo>
                  <a:lnTo>
                    <a:pt x="1226" y="48962"/>
                  </a:lnTo>
                  <a:lnTo>
                    <a:pt x="1981" y="51037"/>
                  </a:lnTo>
                  <a:lnTo>
                    <a:pt x="2924" y="53112"/>
                  </a:lnTo>
                  <a:lnTo>
                    <a:pt x="4057" y="55094"/>
                  </a:lnTo>
                  <a:lnTo>
                    <a:pt x="5283" y="56980"/>
                  </a:lnTo>
                  <a:lnTo>
                    <a:pt x="6698" y="58678"/>
                  </a:lnTo>
                  <a:lnTo>
                    <a:pt x="8113" y="60282"/>
                  </a:lnTo>
                  <a:lnTo>
                    <a:pt x="9056" y="61131"/>
                  </a:lnTo>
                  <a:lnTo>
                    <a:pt x="10000" y="61980"/>
                  </a:lnTo>
                  <a:lnTo>
                    <a:pt x="11038" y="62829"/>
                  </a:lnTo>
                  <a:lnTo>
                    <a:pt x="12075" y="63584"/>
                  </a:lnTo>
                  <a:lnTo>
                    <a:pt x="14339" y="64905"/>
                  </a:lnTo>
                  <a:lnTo>
                    <a:pt x="16604" y="66131"/>
                  </a:lnTo>
                  <a:lnTo>
                    <a:pt x="19056" y="67169"/>
                  </a:lnTo>
                  <a:lnTo>
                    <a:pt x="21509" y="67923"/>
                  </a:lnTo>
                  <a:lnTo>
                    <a:pt x="24056" y="68584"/>
                  </a:lnTo>
                  <a:lnTo>
                    <a:pt x="26603" y="69055"/>
                  </a:lnTo>
                  <a:lnTo>
                    <a:pt x="27830" y="69055"/>
                  </a:lnTo>
                  <a:lnTo>
                    <a:pt x="30188" y="68867"/>
                  </a:lnTo>
                  <a:lnTo>
                    <a:pt x="33113" y="68678"/>
                  </a:lnTo>
                  <a:lnTo>
                    <a:pt x="36509" y="68301"/>
                  </a:lnTo>
                  <a:lnTo>
                    <a:pt x="39811" y="67923"/>
                  </a:lnTo>
                  <a:lnTo>
                    <a:pt x="42735" y="67452"/>
                  </a:lnTo>
                  <a:lnTo>
                    <a:pt x="44905" y="66980"/>
                  </a:lnTo>
                  <a:lnTo>
                    <a:pt x="45565" y="66791"/>
                  </a:lnTo>
                  <a:lnTo>
                    <a:pt x="45943" y="66508"/>
                  </a:lnTo>
                  <a:lnTo>
                    <a:pt x="47358" y="65942"/>
                  </a:lnTo>
                  <a:lnTo>
                    <a:pt x="48018" y="65565"/>
                  </a:lnTo>
                  <a:lnTo>
                    <a:pt x="48678" y="65188"/>
                  </a:lnTo>
                  <a:lnTo>
                    <a:pt x="47924" y="65471"/>
                  </a:lnTo>
                  <a:lnTo>
                    <a:pt x="51509" y="62924"/>
                  </a:lnTo>
                  <a:lnTo>
                    <a:pt x="53301" y="61508"/>
                  </a:lnTo>
                  <a:lnTo>
                    <a:pt x="55093" y="59905"/>
                  </a:lnTo>
                  <a:lnTo>
                    <a:pt x="55093" y="59905"/>
                  </a:lnTo>
                  <a:lnTo>
                    <a:pt x="54810" y="60376"/>
                  </a:lnTo>
                  <a:lnTo>
                    <a:pt x="54339" y="60754"/>
                  </a:lnTo>
                  <a:lnTo>
                    <a:pt x="55376" y="59999"/>
                  </a:lnTo>
                  <a:lnTo>
                    <a:pt x="56320" y="59056"/>
                  </a:lnTo>
                  <a:lnTo>
                    <a:pt x="57075" y="58395"/>
                  </a:lnTo>
                  <a:lnTo>
                    <a:pt x="57169" y="58207"/>
                  </a:lnTo>
                  <a:lnTo>
                    <a:pt x="57075" y="58207"/>
                  </a:lnTo>
                  <a:lnTo>
                    <a:pt x="57924" y="57546"/>
                  </a:lnTo>
                  <a:lnTo>
                    <a:pt x="58678" y="56697"/>
                  </a:lnTo>
                  <a:lnTo>
                    <a:pt x="59339" y="55754"/>
                  </a:lnTo>
                  <a:lnTo>
                    <a:pt x="59905" y="54905"/>
                  </a:lnTo>
                  <a:lnTo>
                    <a:pt x="59716" y="54999"/>
                  </a:lnTo>
                  <a:lnTo>
                    <a:pt x="59622" y="54999"/>
                  </a:lnTo>
                  <a:lnTo>
                    <a:pt x="59810" y="54622"/>
                  </a:lnTo>
                  <a:lnTo>
                    <a:pt x="59150" y="55565"/>
                  </a:lnTo>
                  <a:lnTo>
                    <a:pt x="59527" y="55094"/>
                  </a:lnTo>
                  <a:lnTo>
                    <a:pt x="59433" y="55377"/>
                  </a:lnTo>
                  <a:lnTo>
                    <a:pt x="58867" y="56037"/>
                  </a:lnTo>
                  <a:lnTo>
                    <a:pt x="59056" y="55660"/>
                  </a:lnTo>
                  <a:lnTo>
                    <a:pt x="59056" y="55660"/>
                  </a:lnTo>
                  <a:lnTo>
                    <a:pt x="58678" y="56037"/>
                  </a:lnTo>
                  <a:lnTo>
                    <a:pt x="59810" y="54339"/>
                  </a:lnTo>
                  <a:lnTo>
                    <a:pt x="60282" y="53490"/>
                  </a:lnTo>
                  <a:lnTo>
                    <a:pt x="60282" y="53301"/>
                  </a:lnTo>
                  <a:lnTo>
                    <a:pt x="60188" y="53395"/>
                  </a:lnTo>
                  <a:lnTo>
                    <a:pt x="60188" y="53395"/>
                  </a:lnTo>
                  <a:lnTo>
                    <a:pt x="60565" y="52924"/>
                  </a:lnTo>
                  <a:lnTo>
                    <a:pt x="61037" y="52452"/>
                  </a:lnTo>
                  <a:lnTo>
                    <a:pt x="61886" y="51509"/>
                  </a:lnTo>
                  <a:lnTo>
                    <a:pt x="61508" y="52452"/>
                  </a:lnTo>
                  <a:lnTo>
                    <a:pt x="60848" y="53584"/>
                  </a:lnTo>
                  <a:lnTo>
                    <a:pt x="59622" y="55565"/>
                  </a:lnTo>
                  <a:lnTo>
                    <a:pt x="60376" y="54528"/>
                  </a:lnTo>
                  <a:lnTo>
                    <a:pt x="60942" y="53678"/>
                  </a:lnTo>
                  <a:lnTo>
                    <a:pt x="61980" y="51792"/>
                  </a:lnTo>
                  <a:lnTo>
                    <a:pt x="61886" y="51886"/>
                  </a:lnTo>
                  <a:lnTo>
                    <a:pt x="61886" y="51697"/>
                  </a:lnTo>
                  <a:lnTo>
                    <a:pt x="62169" y="51037"/>
                  </a:lnTo>
                  <a:lnTo>
                    <a:pt x="62735" y="49999"/>
                  </a:lnTo>
                  <a:lnTo>
                    <a:pt x="61508" y="51603"/>
                  </a:lnTo>
                  <a:lnTo>
                    <a:pt x="61603" y="51037"/>
                  </a:lnTo>
                  <a:lnTo>
                    <a:pt x="61697" y="50377"/>
                  </a:lnTo>
                  <a:lnTo>
                    <a:pt x="62169" y="48962"/>
                  </a:lnTo>
                  <a:lnTo>
                    <a:pt x="62829" y="47358"/>
                  </a:lnTo>
                  <a:lnTo>
                    <a:pt x="63678" y="45565"/>
                  </a:lnTo>
                  <a:lnTo>
                    <a:pt x="65376" y="42169"/>
                  </a:lnTo>
                  <a:lnTo>
                    <a:pt x="66131" y="40660"/>
                  </a:lnTo>
                  <a:lnTo>
                    <a:pt x="66697" y="39339"/>
                  </a:lnTo>
                  <a:lnTo>
                    <a:pt x="66603" y="39528"/>
                  </a:lnTo>
                  <a:lnTo>
                    <a:pt x="66697" y="39056"/>
                  </a:lnTo>
                  <a:lnTo>
                    <a:pt x="66791" y="38962"/>
                  </a:lnTo>
                  <a:lnTo>
                    <a:pt x="66791" y="39056"/>
                  </a:lnTo>
                  <a:lnTo>
                    <a:pt x="66886" y="38584"/>
                  </a:lnTo>
                  <a:lnTo>
                    <a:pt x="66791" y="38867"/>
                  </a:lnTo>
                  <a:lnTo>
                    <a:pt x="66980" y="38207"/>
                  </a:lnTo>
                  <a:lnTo>
                    <a:pt x="67169" y="37264"/>
                  </a:lnTo>
                  <a:lnTo>
                    <a:pt x="67263" y="36415"/>
                  </a:lnTo>
                  <a:lnTo>
                    <a:pt x="67357" y="36509"/>
                  </a:lnTo>
                  <a:lnTo>
                    <a:pt x="67452" y="36509"/>
                  </a:lnTo>
                  <a:lnTo>
                    <a:pt x="67546" y="35943"/>
                  </a:lnTo>
                  <a:lnTo>
                    <a:pt x="67546" y="34811"/>
                  </a:lnTo>
                  <a:lnTo>
                    <a:pt x="67640" y="31037"/>
                  </a:lnTo>
                  <a:lnTo>
                    <a:pt x="67640" y="28490"/>
                  </a:lnTo>
                  <a:lnTo>
                    <a:pt x="67546" y="27736"/>
                  </a:lnTo>
                  <a:lnTo>
                    <a:pt x="67546" y="27547"/>
                  </a:lnTo>
                  <a:lnTo>
                    <a:pt x="67452" y="27547"/>
                  </a:lnTo>
                  <a:lnTo>
                    <a:pt x="67074" y="26792"/>
                  </a:lnTo>
                  <a:lnTo>
                    <a:pt x="66791" y="25660"/>
                  </a:lnTo>
                  <a:lnTo>
                    <a:pt x="66508" y="24528"/>
                  </a:lnTo>
                  <a:lnTo>
                    <a:pt x="66414" y="23585"/>
                  </a:lnTo>
                  <a:lnTo>
                    <a:pt x="66320" y="23679"/>
                  </a:lnTo>
                  <a:lnTo>
                    <a:pt x="66320" y="23490"/>
                  </a:lnTo>
                  <a:lnTo>
                    <a:pt x="65942" y="22924"/>
                  </a:lnTo>
                  <a:lnTo>
                    <a:pt x="65565" y="22358"/>
                  </a:lnTo>
                  <a:lnTo>
                    <a:pt x="64527" y="21132"/>
                  </a:lnTo>
                  <a:lnTo>
                    <a:pt x="63584" y="19906"/>
                  </a:lnTo>
                  <a:lnTo>
                    <a:pt x="63207" y="19340"/>
                  </a:lnTo>
                  <a:lnTo>
                    <a:pt x="63018" y="18774"/>
                  </a:lnTo>
                  <a:lnTo>
                    <a:pt x="63112" y="18962"/>
                  </a:lnTo>
                  <a:lnTo>
                    <a:pt x="63301" y="19057"/>
                  </a:lnTo>
                  <a:lnTo>
                    <a:pt x="63301" y="19057"/>
                  </a:lnTo>
                  <a:lnTo>
                    <a:pt x="63207" y="18868"/>
                  </a:lnTo>
                  <a:lnTo>
                    <a:pt x="62923" y="18491"/>
                  </a:lnTo>
                  <a:lnTo>
                    <a:pt x="61980" y="17453"/>
                  </a:lnTo>
                  <a:lnTo>
                    <a:pt x="61037" y="16509"/>
                  </a:lnTo>
                  <a:lnTo>
                    <a:pt x="61037" y="16698"/>
                  </a:lnTo>
                  <a:lnTo>
                    <a:pt x="61037" y="16887"/>
                  </a:lnTo>
                  <a:lnTo>
                    <a:pt x="60093" y="15943"/>
                  </a:lnTo>
                  <a:lnTo>
                    <a:pt x="60376" y="16321"/>
                  </a:lnTo>
                  <a:lnTo>
                    <a:pt x="59527" y="15377"/>
                  </a:lnTo>
                  <a:lnTo>
                    <a:pt x="59056" y="14906"/>
                  </a:lnTo>
                  <a:lnTo>
                    <a:pt x="59244" y="14906"/>
                  </a:lnTo>
                  <a:lnTo>
                    <a:pt x="59905" y="15472"/>
                  </a:lnTo>
                  <a:lnTo>
                    <a:pt x="59905" y="15472"/>
                  </a:lnTo>
                  <a:lnTo>
                    <a:pt x="57641" y="13396"/>
                  </a:lnTo>
                  <a:lnTo>
                    <a:pt x="58112" y="13868"/>
                  </a:lnTo>
                  <a:lnTo>
                    <a:pt x="56886" y="13019"/>
                  </a:lnTo>
                  <a:lnTo>
                    <a:pt x="55754" y="12453"/>
                  </a:lnTo>
                  <a:lnTo>
                    <a:pt x="56603" y="13113"/>
                  </a:lnTo>
                  <a:lnTo>
                    <a:pt x="57452" y="13774"/>
                  </a:lnTo>
                  <a:lnTo>
                    <a:pt x="58961" y="15283"/>
                  </a:lnTo>
                  <a:lnTo>
                    <a:pt x="60376" y="16604"/>
                  </a:lnTo>
                  <a:lnTo>
                    <a:pt x="61225" y="17264"/>
                  </a:lnTo>
                  <a:lnTo>
                    <a:pt x="62074" y="17925"/>
                  </a:lnTo>
                  <a:lnTo>
                    <a:pt x="62074" y="17925"/>
                  </a:lnTo>
                  <a:lnTo>
                    <a:pt x="61414" y="17547"/>
                  </a:lnTo>
                  <a:lnTo>
                    <a:pt x="60659" y="16981"/>
                  </a:lnTo>
                  <a:lnTo>
                    <a:pt x="60754" y="17264"/>
                  </a:lnTo>
                  <a:lnTo>
                    <a:pt x="60942" y="17642"/>
                  </a:lnTo>
                  <a:lnTo>
                    <a:pt x="61980" y="19151"/>
                  </a:lnTo>
                  <a:lnTo>
                    <a:pt x="63301" y="20943"/>
                  </a:lnTo>
                  <a:lnTo>
                    <a:pt x="63207" y="20943"/>
                  </a:lnTo>
                  <a:lnTo>
                    <a:pt x="63395" y="21038"/>
                  </a:lnTo>
                  <a:lnTo>
                    <a:pt x="63490" y="21321"/>
                  </a:lnTo>
                  <a:lnTo>
                    <a:pt x="63678" y="21604"/>
                  </a:lnTo>
                  <a:lnTo>
                    <a:pt x="63773" y="21698"/>
                  </a:lnTo>
                  <a:lnTo>
                    <a:pt x="63584" y="21321"/>
                  </a:lnTo>
                  <a:lnTo>
                    <a:pt x="63584" y="21321"/>
                  </a:lnTo>
                  <a:lnTo>
                    <a:pt x="64244" y="22170"/>
                  </a:lnTo>
                  <a:lnTo>
                    <a:pt x="64716" y="22641"/>
                  </a:lnTo>
                  <a:lnTo>
                    <a:pt x="64905" y="22830"/>
                  </a:lnTo>
                  <a:lnTo>
                    <a:pt x="64999" y="22830"/>
                  </a:lnTo>
                  <a:lnTo>
                    <a:pt x="64999" y="22641"/>
                  </a:lnTo>
                  <a:lnTo>
                    <a:pt x="64905" y="22358"/>
                  </a:lnTo>
                  <a:lnTo>
                    <a:pt x="65282" y="23207"/>
                  </a:lnTo>
                  <a:lnTo>
                    <a:pt x="65565" y="24056"/>
                  </a:lnTo>
                  <a:lnTo>
                    <a:pt x="66225" y="25943"/>
                  </a:lnTo>
                  <a:lnTo>
                    <a:pt x="66697" y="27830"/>
                  </a:lnTo>
                  <a:lnTo>
                    <a:pt x="66886" y="28490"/>
                  </a:lnTo>
                  <a:lnTo>
                    <a:pt x="66980" y="28868"/>
                  </a:lnTo>
                  <a:lnTo>
                    <a:pt x="66886" y="28962"/>
                  </a:lnTo>
                  <a:lnTo>
                    <a:pt x="66697" y="28679"/>
                  </a:lnTo>
                  <a:lnTo>
                    <a:pt x="66697" y="29245"/>
                  </a:lnTo>
                  <a:lnTo>
                    <a:pt x="66791" y="29905"/>
                  </a:lnTo>
                  <a:lnTo>
                    <a:pt x="66886" y="29905"/>
                  </a:lnTo>
                  <a:lnTo>
                    <a:pt x="66886" y="30094"/>
                  </a:lnTo>
                  <a:lnTo>
                    <a:pt x="66886" y="30566"/>
                  </a:lnTo>
                  <a:lnTo>
                    <a:pt x="66697" y="30377"/>
                  </a:lnTo>
                  <a:lnTo>
                    <a:pt x="66603" y="30188"/>
                  </a:lnTo>
                  <a:lnTo>
                    <a:pt x="66603" y="30094"/>
                  </a:lnTo>
                  <a:lnTo>
                    <a:pt x="66697" y="29905"/>
                  </a:lnTo>
                  <a:lnTo>
                    <a:pt x="66508" y="28679"/>
                  </a:lnTo>
                  <a:lnTo>
                    <a:pt x="66225" y="27358"/>
                  </a:lnTo>
                  <a:lnTo>
                    <a:pt x="66603" y="30283"/>
                  </a:lnTo>
                  <a:lnTo>
                    <a:pt x="66697" y="31792"/>
                  </a:lnTo>
                  <a:lnTo>
                    <a:pt x="66697" y="33302"/>
                  </a:lnTo>
                  <a:lnTo>
                    <a:pt x="66603" y="34717"/>
                  </a:lnTo>
                  <a:lnTo>
                    <a:pt x="66414" y="36226"/>
                  </a:lnTo>
                  <a:lnTo>
                    <a:pt x="66131" y="37547"/>
                  </a:lnTo>
                  <a:lnTo>
                    <a:pt x="65659" y="38962"/>
                  </a:lnTo>
                  <a:lnTo>
                    <a:pt x="65848" y="38584"/>
                  </a:lnTo>
                  <a:lnTo>
                    <a:pt x="65942" y="38584"/>
                  </a:lnTo>
                  <a:lnTo>
                    <a:pt x="65848" y="39245"/>
                  </a:lnTo>
                  <a:lnTo>
                    <a:pt x="65565" y="40188"/>
                  </a:lnTo>
                  <a:lnTo>
                    <a:pt x="65471" y="40471"/>
                  </a:lnTo>
                  <a:lnTo>
                    <a:pt x="65282" y="40660"/>
                  </a:lnTo>
                  <a:lnTo>
                    <a:pt x="65282" y="40566"/>
                  </a:lnTo>
                  <a:lnTo>
                    <a:pt x="65093" y="41132"/>
                  </a:lnTo>
                  <a:lnTo>
                    <a:pt x="64433" y="43018"/>
                  </a:lnTo>
                  <a:lnTo>
                    <a:pt x="63678" y="45282"/>
                  </a:lnTo>
                  <a:lnTo>
                    <a:pt x="62735" y="47264"/>
                  </a:lnTo>
                  <a:lnTo>
                    <a:pt x="61697" y="49056"/>
                  </a:lnTo>
                  <a:lnTo>
                    <a:pt x="60659" y="50943"/>
                  </a:lnTo>
                  <a:lnTo>
                    <a:pt x="59433" y="52735"/>
                  </a:lnTo>
                  <a:lnTo>
                    <a:pt x="58207" y="54433"/>
                  </a:lnTo>
                  <a:lnTo>
                    <a:pt x="56886" y="56037"/>
                  </a:lnTo>
                  <a:lnTo>
                    <a:pt x="55376" y="57641"/>
                  </a:lnTo>
                  <a:lnTo>
                    <a:pt x="53867" y="59150"/>
                  </a:lnTo>
                  <a:lnTo>
                    <a:pt x="52169" y="60376"/>
                  </a:lnTo>
                  <a:lnTo>
                    <a:pt x="48961" y="62452"/>
                  </a:lnTo>
                  <a:lnTo>
                    <a:pt x="44528" y="65282"/>
                  </a:lnTo>
                  <a:lnTo>
                    <a:pt x="44622" y="65188"/>
                  </a:lnTo>
                  <a:lnTo>
                    <a:pt x="44716" y="65093"/>
                  </a:lnTo>
                  <a:lnTo>
                    <a:pt x="45094" y="64810"/>
                  </a:lnTo>
                  <a:lnTo>
                    <a:pt x="45660" y="64527"/>
                  </a:lnTo>
                  <a:lnTo>
                    <a:pt x="43867" y="65376"/>
                  </a:lnTo>
                  <a:lnTo>
                    <a:pt x="43113" y="65754"/>
                  </a:lnTo>
                  <a:lnTo>
                    <a:pt x="42924" y="65754"/>
                  </a:lnTo>
                  <a:lnTo>
                    <a:pt x="43113" y="65659"/>
                  </a:lnTo>
                  <a:lnTo>
                    <a:pt x="41603" y="66037"/>
                  </a:lnTo>
                  <a:lnTo>
                    <a:pt x="39999" y="66320"/>
                  </a:lnTo>
                  <a:lnTo>
                    <a:pt x="38396" y="66508"/>
                  </a:lnTo>
                  <a:lnTo>
                    <a:pt x="36792" y="66697"/>
                  </a:lnTo>
                  <a:lnTo>
                    <a:pt x="33584" y="66980"/>
                  </a:lnTo>
                  <a:lnTo>
                    <a:pt x="32169" y="67169"/>
                  </a:lnTo>
                  <a:lnTo>
                    <a:pt x="30754" y="67357"/>
                  </a:lnTo>
                  <a:lnTo>
                    <a:pt x="30094" y="67357"/>
                  </a:lnTo>
                  <a:lnTo>
                    <a:pt x="29339" y="67263"/>
                  </a:lnTo>
                  <a:lnTo>
                    <a:pt x="27830" y="66886"/>
                  </a:lnTo>
                  <a:lnTo>
                    <a:pt x="26415" y="66508"/>
                  </a:lnTo>
                  <a:lnTo>
                    <a:pt x="25754" y="66414"/>
                  </a:lnTo>
                  <a:lnTo>
                    <a:pt x="25094" y="66414"/>
                  </a:lnTo>
                  <a:lnTo>
                    <a:pt x="25566" y="66980"/>
                  </a:lnTo>
                  <a:lnTo>
                    <a:pt x="25471" y="67074"/>
                  </a:lnTo>
                  <a:lnTo>
                    <a:pt x="25188" y="66980"/>
                  </a:lnTo>
                  <a:lnTo>
                    <a:pt x="24339" y="66791"/>
                  </a:lnTo>
                  <a:lnTo>
                    <a:pt x="23773" y="66508"/>
                  </a:lnTo>
                  <a:lnTo>
                    <a:pt x="24245" y="66414"/>
                  </a:lnTo>
                  <a:lnTo>
                    <a:pt x="24717" y="66603"/>
                  </a:lnTo>
                  <a:lnTo>
                    <a:pt x="24811" y="66414"/>
                  </a:lnTo>
                  <a:lnTo>
                    <a:pt x="24811" y="66320"/>
                  </a:lnTo>
                  <a:lnTo>
                    <a:pt x="24717" y="66225"/>
                  </a:lnTo>
                  <a:lnTo>
                    <a:pt x="24528" y="66131"/>
                  </a:lnTo>
                  <a:lnTo>
                    <a:pt x="24151" y="66225"/>
                  </a:lnTo>
                  <a:lnTo>
                    <a:pt x="23679" y="66320"/>
                  </a:lnTo>
                  <a:lnTo>
                    <a:pt x="23018" y="66414"/>
                  </a:lnTo>
                  <a:lnTo>
                    <a:pt x="23490" y="66225"/>
                  </a:lnTo>
                  <a:lnTo>
                    <a:pt x="22075" y="65942"/>
                  </a:lnTo>
                  <a:lnTo>
                    <a:pt x="20943" y="65659"/>
                  </a:lnTo>
                  <a:lnTo>
                    <a:pt x="20000" y="65282"/>
                  </a:lnTo>
                  <a:lnTo>
                    <a:pt x="19056" y="64810"/>
                  </a:lnTo>
                  <a:lnTo>
                    <a:pt x="19056" y="64810"/>
                  </a:lnTo>
                  <a:lnTo>
                    <a:pt x="19717" y="64999"/>
                  </a:lnTo>
                  <a:lnTo>
                    <a:pt x="19151" y="64716"/>
                  </a:lnTo>
                  <a:lnTo>
                    <a:pt x="18962" y="64810"/>
                  </a:lnTo>
                  <a:lnTo>
                    <a:pt x="19151" y="64905"/>
                  </a:lnTo>
                  <a:lnTo>
                    <a:pt x="18490" y="64905"/>
                  </a:lnTo>
                  <a:lnTo>
                    <a:pt x="17830" y="64716"/>
                  </a:lnTo>
                  <a:lnTo>
                    <a:pt x="17264" y="64527"/>
                  </a:lnTo>
                  <a:lnTo>
                    <a:pt x="16698" y="64150"/>
                  </a:lnTo>
                  <a:lnTo>
                    <a:pt x="16981" y="64056"/>
                  </a:lnTo>
                  <a:lnTo>
                    <a:pt x="17264" y="64150"/>
                  </a:lnTo>
                  <a:lnTo>
                    <a:pt x="17264" y="64150"/>
                  </a:lnTo>
                  <a:lnTo>
                    <a:pt x="15188" y="63207"/>
                  </a:lnTo>
                  <a:lnTo>
                    <a:pt x="14622" y="62829"/>
                  </a:lnTo>
                  <a:lnTo>
                    <a:pt x="14717" y="62924"/>
                  </a:lnTo>
                  <a:lnTo>
                    <a:pt x="13773" y="62546"/>
                  </a:lnTo>
                  <a:lnTo>
                    <a:pt x="12924" y="62075"/>
                  </a:lnTo>
                  <a:lnTo>
                    <a:pt x="12358" y="61697"/>
                  </a:lnTo>
                  <a:lnTo>
                    <a:pt x="12264" y="61508"/>
                  </a:lnTo>
                  <a:lnTo>
                    <a:pt x="12170" y="61320"/>
                  </a:lnTo>
                  <a:lnTo>
                    <a:pt x="11698" y="60942"/>
                  </a:lnTo>
                  <a:lnTo>
                    <a:pt x="11132" y="60471"/>
                  </a:lnTo>
                  <a:lnTo>
                    <a:pt x="9906" y="59244"/>
                  </a:lnTo>
                  <a:lnTo>
                    <a:pt x="9906" y="59244"/>
                  </a:lnTo>
                  <a:lnTo>
                    <a:pt x="10566" y="59527"/>
                  </a:lnTo>
                  <a:lnTo>
                    <a:pt x="9434" y="58584"/>
                  </a:lnTo>
                  <a:lnTo>
                    <a:pt x="8207" y="57546"/>
                  </a:lnTo>
                  <a:lnTo>
                    <a:pt x="7547" y="56886"/>
                  </a:lnTo>
                  <a:lnTo>
                    <a:pt x="6981" y="56131"/>
                  </a:lnTo>
                  <a:lnTo>
                    <a:pt x="6226" y="55094"/>
                  </a:lnTo>
                  <a:lnTo>
                    <a:pt x="6415" y="55377"/>
                  </a:lnTo>
                  <a:lnTo>
                    <a:pt x="6038" y="54905"/>
                  </a:lnTo>
                  <a:lnTo>
                    <a:pt x="5472" y="54244"/>
                  </a:lnTo>
                  <a:lnTo>
                    <a:pt x="5283" y="53961"/>
                  </a:lnTo>
                  <a:lnTo>
                    <a:pt x="5094" y="53867"/>
                  </a:lnTo>
                  <a:lnTo>
                    <a:pt x="5377" y="54622"/>
                  </a:lnTo>
                  <a:lnTo>
                    <a:pt x="5849" y="55282"/>
                  </a:lnTo>
                  <a:lnTo>
                    <a:pt x="6321" y="55943"/>
                  </a:lnTo>
                  <a:lnTo>
                    <a:pt x="6698" y="56603"/>
                  </a:lnTo>
                  <a:lnTo>
                    <a:pt x="6226" y="56226"/>
                  </a:lnTo>
                  <a:lnTo>
                    <a:pt x="5943" y="55848"/>
                  </a:lnTo>
                  <a:lnTo>
                    <a:pt x="6038" y="56037"/>
                  </a:lnTo>
                  <a:lnTo>
                    <a:pt x="5943" y="55943"/>
                  </a:lnTo>
                  <a:lnTo>
                    <a:pt x="5377" y="55188"/>
                  </a:lnTo>
                  <a:lnTo>
                    <a:pt x="5000" y="54716"/>
                  </a:lnTo>
                  <a:lnTo>
                    <a:pt x="4717" y="54150"/>
                  </a:lnTo>
                  <a:lnTo>
                    <a:pt x="4528" y="53678"/>
                  </a:lnTo>
                  <a:lnTo>
                    <a:pt x="4528" y="53584"/>
                  </a:lnTo>
                  <a:lnTo>
                    <a:pt x="4623" y="53395"/>
                  </a:lnTo>
                  <a:lnTo>
                    <a:pt x="5094" y="54244"/>
                  </a:lnTo>
                  <a:lnTo>
                    <a:pt x="4717" y="53301"/>
                  </a:lnTo>
                  <a:lnTo>
                    <a:pt x="4528" y="53018"/>
                  </a:lnTo>
                  <a:lnTo>
                    <a:pt x="4151" y="52263"/>
                  </a:lnTo>
                  <a:lnTo>
                    <a:pt x="4151" y="52169"/>
                  </a:lnTo>
                  <a:lnTo>
                    <a:pt x="3774" y="51509"/>
                  </a:lnTo>
                  <a:lnTo>
                    <a:pt x="3396" y="50660"/>
                  </a:lnTo>
                  <a:lnTo>
                    <a:pt x="3585" y="51603"/>
                  </a:lnTo>
                  <a:lnTo>
                    <a:pt x="3396" y="51226"/>
                  </a:lnTo>
                  <a:lnTo>
                    <a:pt x="3208" y="50848"/>
                  </a:lnTo>
                  <a:lnTo>
                    <a:pt x="3208" y="50471"/>
                  </a:lnTo>
                  <a:lnTo>
                    <a:pt x="3208" y="50094"/>
                  </a:lnTo>
                  <a:lnTo>
                    <a:pt x="3585" y="50754"/>
                  </a:lnTo>
                  <a:lnTo>
                    <a:pt x="3868" y="51509"/>
                  </a:lnTo>
                  <a:lnTo>
                    <a:pt x="3868" y="51509"/>
                  </a:lnTo>
                  <a:lnTo>
                    <a:pt x="3208" y="49528"/>
                  </a:lnTo>
                  <a:lnTo>
                    <a:pt x="3208" y="49528"/>
                  </a:lnTo>
                  <a:lnTo>
                    <a:pt x="3868" y="50754"/>
                  </a:lnTo>
                  <a:lnTo>
                    <a:pt x="3208" y="48962"/>
                  </a:lnTo>
                  <a:lnTo>
                    <a:pt x="3585" y="49339"/>
                  </a:lnTo>
                  <a:lnTo>
                    <a:pt x="3774" y="49433"/>
                  </a:lnTo>
                  <a:lnTo>
                    <a:pt x="3962" y="49528"/>
                  </a:lnTo>
                  <a:lnTo>
                    <a:pt x="4057" y="49905"/>
                  </a:lnTo>
                  <a:lnTo>
                    <a:pt x="3868" y="48962"/>
                  </a:lnTo>
                  <a:lnTo>
                    <a:pt x="3491" y="47924"/>
                  </a:lnTo>
                  <a:lnTo>
                    <a:pt x="2641" y="45565"/>
                  </a:lnTo>
                  <a:lnTo>
                    <a:pt x="2170" y="43867"/>
                  </a:lnTo>
                  <a:lnTo>
                    <a:pt x="1698" y="41886"/>
                  </a:lnTo>
                  <a:lnTo>
                    <a:pt x="1698" y="41886"/>
                  </a:lnTo>
                  <a:lnTo>
                    <a:pt x="1887" y="42075"/>
                  </a:lnTo>
                  <a:lnTo>
                    <a:pt x="1981" y="41981"/>
                  </a:lnTo>
                  <a:lnTo>
                    <a:pt x="2075" y="42075"/>
                  </a:lnTo>
                  <a:lnTo>
                    <a:pt x="2264" y="42169"/>
                  </a:lnTo>
                  <a:lnTo>
                    <a:pt x="2170" y="40283"/>
                  </a:lnTo>
                  <a:lnTo>
                    <a:pt x="2075" y="38301"/>
                  </a:lnTo>
                  <a:lnTo>
                    <a:pt x="2170" y="36415"/>
                  </a:lnTo>
                  <a:lnTo>
                    <a:pt x="2358" y="35566"/>
                  </a:lnTo>
                  <a:lnTo>
                    <a:pt x="2453" y="34811"/>
                  </a:lnTo>
                  <a:lnTo>
                    <a:pt x="2830" y="32830"/>
                  </a:lnTo>
                  <a:lnTo>
                    <a:pt x="2830" y="33207"/>
                  </a:lnTo>
                  <a:lnTo>
                    <a:pt x="2924" y="33490"/>
                  </a:lnTo>
                  <a:lnTo>
                    <a:pt x="2924" y="32453"/>
                  </a:lnTo>
                  <a:lnTo>
                    <a:pt x="3019" y="31415"/>
                  </a:lnTo>
                  <a:lnTo>
                    <a:pt x="3396" y="29245"/>
                  </a:lnTo>
                  <a:lnTo>
                    <a:pt x="3868" y="27075"/>
                  </a:lnTo>
                  <a:lnTo>
                    <a:pt x="4623" y="25000"/>
                  </a:lnTo>
                  <a:lnTo>
                    <a:pt x="5566" y="22830"/>
                  </a:lnTo>
                  <a:lnTo>
                    <a:pt x="6604" y="20849"/>
                  </a:lnTo>
                  <a:lnTo>
                    <a:pt x="7830" y="18868"/>
                  </a:lnTo>
                  <a:lnTo>
                    <a:pt x="9151" y="16887"/>
                  </a:lnTo>
                  <a:lnTo>
                    <a:pt x="10566" y="15094"/>
                  </a:lnTo>
                  <a:lnTo>
                    <a:pt x="12075" y="13302"/>
                  </a:lnTo>
                  <a:lnTo>
                    <a:pt x="13773" y="11698"/>
                  </a:lnTo>
                  <a:lnTo>
                    <a:pt x="15377" y="10095"/>
                  </a:lnTo>
                  <a:lnTo>
                    <a:pt x="17170" y="8679"/>
                  </a:lnTo>
                  <a:lnTo>
                    <a:pt x="18962" y="7453"/>
                  </a:lnTo>
                  <a:lnTo>
                    <a:pt x="20754" y="6321"/>
                  </a:lnTo>
                  <a:lnTo>
                    <a:pt x="22547" y="5378"/>
                  </a:lnTo>
                  <a:lnTo>
                    <a:pt x="21603" y="6227"/>
                  </a:lnTo>
                  <a:lnTo>
                    <a:pt x="22641" y="5472"/>
                  </a:lnTo>
                  <a:lnTo>
                    <a:pt x="23302" y="5095"/>
                  </a:lnTo>
                  <a:lnTo>
                    <a:pt x="25377" y="4151"/>
                  </a:lnTo>
                  <a:lnTo>
                    <a:pt x="24811" y="4151"/>
                  </a:lnTo>
                  <a:lnTo>
                    <a:pt x="25660" y="3774"/>
                  </a:lnTo>
                  <a:lnTo>
                    <a:pt x="26886" y="3208"/>
                  </a:lnTo>
                  <a:lnTo>
                    <a:pt x="26603" y="3585"/>
                  </a:lnTo>
                  <a:lnTo>
                    <a:pt x="26886" y="3585"/>
                  </a:lnTo>
                  <a:lnTo>
                    <a:pt x="26886" y="3680"/>
                  </a:lnTo>
                  <a:lnTo>
                    <a:pt x="26792" y="3774"/>
                  </a:lnTo>
                  <a:lnTo>
                    <a:pt x="28301" y="3302"/>
                  </a:lnTo>
                  <a:lnTo>
                    <a:pt x="29622" y="2736"/>
                  </a:lnTo>
                  <a:lnTo>
                    <a:pt x="31037" y="2264"/>
                  </a:lnTo>
                  <a:lnTo>
                    <a:pt x="31792" y="2076"/>
                  </a:lnTo>
                  <a:lnTo>
                    <a:pt x="32641" y="1981"/>
                  </a:lnTo>
                  <a:lnTo>
                    <a:pt x="32547" y="2076"/>
                  </a:lnTo>
                  <a:lnTo>
                    <a:pt x="32924" y="1981"/>
                  </a:lnTo>
                  <a:lnTo>
                    <a:pt x="34245" y="1793"/>
                  </a:lnTo>
                  <a:lnTo>
                    <a:pt x="35848" y="1415"/>
                  </a:lnTo>
                  <a:lnTo>
                    <a:pt x="36981" y="1132"/>
                  </a:lnTo>
                  <a:lnTo>
                    <a:pt x="36981" y="1415"/>
                  </a:lnTo>
                  <a:lnTo>
                    <a:pt x="40943" y="1227"/>
                  </a:lnTo>
                  <a:lnTo>
                    <a:pt x="41509" y="1038"/>
                  </a:lnTo>
                  <a:lnTo>
                    <a:pt x="41697" y="1132"/>
                  </a:lnTo>
                  <a:lnTo>
                    <a:pt x="41509" y="1227"/>
                  </a:lnTo>
                  <a:lnTo>
                    <a:pt x="41320" y="1321"/>
                  </a:lnTo>
                  <a:lnTo>
                    <a:pt x="42263" y="1321"/>
                  </a:lnTo>
                  <a:lnTo>
                    <a:pt x="43113" y="1227"/>
                  </a:lnTo>
                  <a:lnTo>
                    <a:pt x="43396" y="1415"/>
                  </a:lnTo>
                  <a:lnTo>
                    <a:pt x="44056" y="1604"/>
                  </a:lnTo>
                  <a:lnTo>
                    <a:pt x="45943" y="2076"/>
                  </a:lnTo>
                  <a:lnTo>
                    <a:pt x="48018" y="2359"/>
                  </a:lnTo>
                  <a:lnTo>
                    <a:pt x="49622" y="2736"/>
                  </a:lnTo>
                  <a:lnTo>
                    <a:pt x="47641" y="1981"/>
                  </a:lnTo>
                  <a:lnTo>
                    <a:pt x="45282" y="1321"/>
                  </a:lnTo>
                  <a:lnTo>
                    <a:pt x="42735" y="755"/>
                  </a:lnTo>
                  <a:lnTo>
                    <a:pt x="40188" y="283"/>
                  </a:lnTo>
                  <a:lnTo>
                    <a:pt x="37735" y="95"/>
                  </a:lnTo>
                  <a:lnTo>
                    <a:pt x="35471" y="0"/>
                  </a:lnTo>
                  <a:close/>
                </a:path>
              </a:pathLst>
            </a:custGeom>
            <a:solidFill>
              <a:schemeClr val="bg1">
                <a:lumMod val="95000"/>
              </a:schemeClr>
            </a:solidFill>
            <a:ln w="0">
              <a:solidFill>
                <a:srgbClr val="0079D1"/>
              </a:solidFill>
            </a:ln>
          </p:spPr>
          <p:txBody>
            <a:bodyPr spcFirstLastPara="1" wrap="square" lIns="91425" tIns="91425" rIns="91425" bIns="91425" anchor="ctr" anchorCtr="0">
              <a:noAutofit/>
            </a:bodyPr>
            <a:lstStyle/>
            <a:p>
              <a:pPr marL="0" lvl="0" indent="0">
                <a:spcBef>
                  <a:spcPts val="0"/>
                </a:spcBef>
                <a:spcAft>
                  <a:spcPts val="0"/>
                </a:spcAft>
                <a:buNone/>
              </a:pPr>
              <a:endParaRPr sz="1400"/>
            </a:p>
          </p:txBody>
        </p:sp>
        <p:sp>
          <p:nvSpPr>
            <p:cNvPr id="604" name="TextBox 603">
              <a:extLst>
                <a:ext uri="{FF2B5EF4-FFF2-40B4-BE49-F238E27FC236}">
                  <a16:creationId xmlns:a16="http://schemas.microsoft.com/office/drawing/2014/main" id="{6E6E5E21-F2E5-9347-A7DC-5E1491D41BF2}"/>
                </a:ext>
              </a:extLst>
            </p:cNvPr>
            <p:cNvSpPr txBox="1"/>
            <p:nvPr/>
          </p:nvSpPr>
          <p:spPr>
            <a:xfrm>
              <a:off x="8676898" y="4619460"/>
              <a:ext cx="229951" cy="215444"/>
            </a:xfrm>
            <a:prstGeom prst="rect">
              <a:avLst/>
            </a:prstGeom>
            <a:noFill/>
          </p:spPr>
          <p:txBody>
            <a:bodyPr wrap="square" rtlCol="0">
              <a:spAutoFit/>
            </a:bodyPr>
            <a:lstStyle/>
            <a:p>
              <a:r>
                <a:rPr lang="en-US" sz="800" b="1" dirty="0">
                  <a:solidFill>
                    <a:srgbClr val="0079D1"/>
                  </a:solidFill>
                </a:rPr>
                <a:t>C</a:t>
              </a:r>
            </a:p>
          </p:txBody>
        </p:sp>
      </p:grpSp>
      <p:sp>
        <p:nvSpPr>
          <p:cNvPr id="605" name="TextBox 604">
            <a:extLst>
              <a:ext uri="{FF2B5EF4-FFF2-40B4-BE49-F238E27FC236}">
                <a16:creationId xmlns:a16="http://schemas.microsoft.com/office/drawing/2014/main" id="{D04C8BB4-2E3E-A24E-BD50-3C90524BAA90}"/>
              </a:ext>
            </a:extLst>
          </p:cNvPr>
          <p:cNvSpPr txBox="1"/>
          <p:nvPr/>
        </p:nvSpPr>
        <p:spPr>
          <a:xfrm>
            <a:off x="342091" y="2383797"/>
            <a:ext cx="1776287" cy="289480"/>
          </a:xfrm>
          <a:prstGeom prst="rect">
            <a:avLst/>
          </a:prstGeom>
          <a:noFill/>
        </p:spPr>
        <p:txBody>
          <a:bodyPr wrap="square" tIns="90000" bIns="90000" rtlCol="0" anchor="t">
            <a:spAutoFit/>
          </a:bodyPr>
          <a:lstStyle/>
          <a:p>
            <a:r>
              <a:rPr lang="en-US" sz="700" b="1" dirty="0">
                <a:solidFill>
                  <a:srgbClr val="0079D1"/>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JDBC/ Kafka Custom API Source</a:t>
            </a:r>
          </a:p>
        </p:txBody>
      </p:sp>
      <p:grpSp>
        <p:nvGrpSpPr>
          <p:cNvPr id="606" name="Group 605">
            <a:extLst>
              <a:ext uri="{FF2B5EF4-FFF2-40B4-BE49-F238E27FC236}">
                <a16:creationId xmlns:a16="http://schemas.microsoft.com/office/drawing/2014/main" id="{9B4D85E3-770D-624B-9C20-D65AF047C65A}"/>
              </a:ext>
            </a:extLst>
          </p:cNvPr>
          <p:cNvGrpSpPr/>
          <p:nvPr/>
        </p:nvGrpSpPr>
        <p:grpSpPr>
          <a:xfrm>
            <a:off x="138465" y="2451740"/>
            <a:ext cx="229951" cy="215444"/>
            <a:chOff x="8676898" y="4619460"/>
            <a:chExt cx="229951" cy="215444"/>
          </a:xfrm>
        </p:grpSpPr>
        <p:sp>
          <p:nvSpPr>
            <p:cNvPr id="607" name="Google Shape;431;p39">
              <a:extLst>
                <a:ext uri="{FF2B5EF4-FFF2-40B4-BE49-F238E27FC236}">
                  <a16:creationId xmlns:a16="http://schemas.microsoft.com/office/drawing/2014/main" id="{0BD51DCE-0F00-1549-B66E-552A4608047E}"/>
                </a:ext>
              </a:extLst>
            </p:cNvPr>
            <p:cNvSpPr/>
            <p:nvPr/>
          </p:nvSpPr>
          <p:spPr>
            <a:xfrm>
              <a:off x="8709950" y="4635551"/>
              <a:ext cx="179407" cy="167874"/>
            </a:xfrm>
            <a:custGeom>
              <a:avLst/>
              <a:gdLst/>
              <a:ahLst/>
              <a:cxnLst/>
              <a:rect l="0" t="0" r="0" b="0"/>
              <a:pathLst>
                <a:path w="67641" h="69056" extrusionOk="0">
                  <a:moveTo>
                    <a:pt x="49622" y="2736"/>
                  </a:moveTo>
                  <a:lnTo>
                    <a:pt x="49622" y="2736"/>
                  </a:lnTo>
                  <a:lnTo>
                    <a:pt x="49622" y="2736"/>
                  </a:lnTo>
                  <a:close/>
                  <a:moveTo>
                    <a:pt x="59622" y="55565"/>
                  </a:moveTo>
                  <a:lnTo>
                    <a:pt x="59622" y="55565"/>
                  </a:lnTo>
                  <a:lnTo>
                    <a:pt x="59622" y="55565"/>
                  </a:lnTo>
                  <a:close/>
                  <a:moveTo>
                    <a:pt x="35471" y="0"/>
                  </a:moveTo>
                  <a:lnTo>
                    <a:pt x="34433" y="95"/>
                  </a:lnTo>
                  <a:lnTo>
                    <a:pt x="33584" y="189"/>
                  </a:lnTo>
                  <a:lnTo>
                    <a:pt x="32735" y="378"/>
                  </a:lnTo>
                  <a:lnTo>
                    <a:pt x="32169" y="566"/>
                  </a:lnTo>
                  <a:lnTo>
                    <a:pt x="31509" y="472"/>
                  </a:lnTo>
                  <a:lnTo>
                    <a:pt x="30754" y="472"/>
                  </a:lnTo>
                  <a:lnTo>
                    <a:pt x="29339" y="566"/>
                  </a:lnTo>
                  <a:lnTo>
                    <a:pt x="27830" y="849"/>
                  </a:lnTo>
                  <a:lnTo>
                    <a:pt x="26320" y="1321"/>
                  </a:lnTo>
                  <a:lnTo>
                    <a:pt x="24811" y="1981"/>
                  </a:lnTo>
                  <a:lnTo>
                    <a:pt x="23207" y="2736"/>
                  </a:lnTo>
                  <a:lnTo>
                    <a:pt x="21698" y="3585"/>
                  </a:lnTo>
                  <a:lnTo>
                    <a:pt x="20188" y="4623"/>
                  </a:lnTo>
                  <a:lnTo>
                    <a:pt x="18679" y="5661"/>
                  </a:lnTo>
                  <a:lnTo>
                    <a:pt x="17170" y="6793"/>
                  </a:lnTo>
                  <a:lnTo>
                    <a:pt x="15754" y="8019"/>
                  </a:lnTo>
                  <a:lnTo>
                    <a:pt x="14434" y="9151"/>
                  </a:lnTo>
                  <a:lnTo>
                    <a:pt x="11981" y="11510"/>
                  </a:lnTo>
                  <a:lnTo>
                    <a:pt x="10000" y="13774"/>
                  </a:lnTo>
                  <a:lnTo>
                    <a:pt x="7736" y="16981"/>
                  </a:lnTo>
                  <a:lnTo>
                    <a:pt x="8019" y="16321"/>
                  </a:lnTo>
                  <a:lnTo>
                    <a:pt x="8302" y="15660"/>
                  </a:lnTo>
                  <a:lnTo>
                    <a:pt x="7736" y="16604"/>
                  </a:lnTo>
                  <a:lnTo>
                    <a:pt x="7075" y="17642"/>
                  </a:lnTo>
                  <a:lnTo>
                    <a:pt x="7170" y="17830"/>
                  </a:lnTo>
                  <a:lnTo>
                    <a:pt x="6509" y="18868"/>
                  </a:lnTo>
                  <a:lnTo>
                    <a:pt x="7075" y="17359"/>
                  </a:lnTo>
                  <a:lnTo>
                    <a:pt x="6132" y="19057"/>
                  </a:lnTo>
                  <a:lnTo>
                    <a:pt x="5189" y="20849"/>
                  </a:lnTo>
                  <a:lnTo>
                    <a:pt x="4434" y="22736"/>
                  </a:lnTo>
                  <a:lnTo>
                    <a:pt x="3679" y="24622"/>
                  </a:lnTo>
                  <a:lnTo>
                    <a:pt x="2453" y="28490"/>
                  </a:lnTo>
                  <a:lnTo>
                    <a:pt x="1321" y="32169"/>
                  </a:lnTo>
                  <a:lnTo>
                    <a:pt x="1509" y="32264"/>
                  </a:lnTo>
                  <a:lnTo>
                    <a:pt x="1604" y="32453"/>
                  </a:lnTo>
                  <a:lnTo>
                    <a:pt x="1604" y="32641"/>
                  </a:lnTo>
                  <a:lnTo>
                    <a:pt x="1509" y="32924"/>
                  </a:lnTo>
                  <a:lnTo>
                    <a:pt x="1226" y="33396"/>
                  </a:lnTo>
                  <a:lnTo>
                    <a:pt x="1038" y="33585"/>
                  </a:lnTo>
                  <a:lnTo>
                    <a:pt x="1038" y="33773"/>
                  </a:lnTo>
                  <a:lnTo>
                    <a:pt x="1038" y="35000"/>
                  </a:lnTo>
                  <a:lnTo>
                    <a:pt x="849" y="36132"/>
                  </a:lnTo>
                  <a:lnTo>
                    <a:pt x="660" y="37358"/>
                  </a:lnTo>
                  <a:lnTo>
                    <a:pt x="472" y="38867"/>
                  </a:lnTo>
                  <a:lnTo>
                    <a:pt x="283" y="38301"/>
                  </a:lnTo>
                  <a:lnTo>
                    <a:pt x="94" y="39811"/>
                  </a:lnTo>
                  <a:lnTo>
                    <a:pt x="0" y="41509"/>
                  </a:lnTo>
                  <a:lnTo>
                    <a:pt x="94" y="43301"/>
                  </a:lnTo>
                  <a:lnTo>
                    <a:pt x="283" y="44056"/>
                  </a:lnTo>
                  <a:lnTo>
                    <a:pt x="472" y="44622"/>
                  </a:lnTo>
                  <a:lnTo>
                    <a:pt x="566" y="45660"/>
                  </a:lnTo>
                  <a:lnTo>
                    <a:pt x="755" y="46792"/>
                  </a:lnTo>
                  <a:lnTo>
                    <a:pt x="1226" y="48962"/>
                  </a:lnTo>
                  <a:lnTo>
                    <a:pt x="1981" y="51037"/>
                  </a:lnTo>
                  <a:lnTo>
                    <a:pt x="2924" y="53112"/>
                  </a:lnTo>
                  <a:lnTo>
                    <a:pt x="4057" y="55094"/>
                  </a:lnTo>
                  <a:lnTo>
                    <a:pt x="5283" y="56980"/>
                  </a:lnTo>
                  <a:lnTo>
                    <a:pt x="6698" y="58678"/>
                  </a:lnTo>
                  <a:lnTo>
                    <a:pt x="8113" y="60282"/>
                  </a:lnTo>
                  <a:lnTo>
                    <a:pt x="9056" y="61131"/>
                  </a:lnTo>
                  <a:lnTo>
                    <a:pt x="10000" y="61980"/>
                  </a:lnTo>
                  <a:lnTo>
                    <a:pt x="11038" y="62829"/>
                  </a:lnTo>
                  <a:lnTo>
                    <a:pt x="12075" y="63584"/>
                  </a:lnTo>
                  <a:lnTo>
                    <a:pt x="14339" y="64905"/>
                  </a:lnTo>
                  <a:lnTo>
                    <a:pt x="16604" y="66131"/>
                  </a:lnTo>
                  <a:lnTo>
                    <a:pt x="19056" y="67169"/>
                  </a:lnTo>
                  <a:lnTo>
                    <a:pt x="21509" y="67923"/>
                  </a:lnTo>
                  <a:lnTo>
                    <a:pt x="24056" y="68584"/>
                  </a:lnTo>
                  <a:lnTo>
                    <a:pt x="26603" y="69055"/>
                  </a:lnTo>
                  <a:lnTo>
                    <a:pt x="27830" y="69055"/>
                  </a:lnTo>
                  <a:lnTo>
                    <a:pt x="30188" y="68867"/>
                  </a:lnTo>
                  <a:lnTo>
                    <a:pt x="33113" y="68678"/>
                  </a:lnTo>
                  <a:lnTo>
                    <a:pt x="36509" y="68301"/>
                  </a:lnTo>
                  <a:lnTo>
                    <a:pt x="39811" y="67923"/>
                  </a:lnTo>
                  <a:lnTo>
                    <a:pt x="42735" y="67452"/>
                  </a:lnTo>
                  <a:lnTo>
                    <a:pt x="44905" y="66980"/>
                  </a:lnTo>
                  <a:lnTo>
                    <a:pt x="45565" y="66791"/>
                  </a:lnTo>
                  <a:lnTo>
                    <a:pt x="45943" y="66508"/>
                  </a:lnTo>
                  <a:lnTo>
                    <a:pt x="47358" y="65942"/>
                  </a:lnTo>
                  <a:lnTo>
                    <a:pt x="48018" y="65565"/>
                  </a:lnTo>
                  <a:lnTo>
                    <a:pt x="48678" y="65188"/>
                  </a:lnTo>
                  <a:lnTo>
                    <a:pt x="47924" y="65471"/>
                  </a:lnTo>
                  <a:lnTo>
                    <a:pt x="51509" y="62924"/>
                  </a:lnTo>
                  <a:lnTo>
                    <a:pt x="53301" y="61508"/>
                  </a:lnTo>
                  <a:lnTo>
                    <a:pt x="55093" y="59905"/>
                  </a:lnTo>
                  <a:lnTo>
                    <a:pt x="55093" y="59905"/>
                  </a:lnTo>
                  <a:lnTo>
                    <a:pt x="54810" y="60376"/>
                  </a:lnTo>
                  <a:lnTo>
                    <a:pt x="54339" y="60754"/>
                  </a:lnTo>
                  <a:lnTo>
                    <a:pt x="55376" y="59999"/>
                  </a:lnTo>
                  <a:lnTo>
                    <a:pt x="56320" y="59056"/>
                  </a:lnTo>
                  <a:lnTo>
                    <a:pt x="57075" y="58395"/>
                  </a:lnTo>
                  <a:lnTo>
                    <a:pt x="57169" y="58207"/>
                  </a:lnTo>
                  <a:lnTo>
                    <a:pt x="57075" y="58207"/>
                  </a:lnTo>
                  <a:lnTo>
                    <a:pt x="57924" y="57546"/>
                  </a:lnTo>
                  <a:lnTo>
                    <a:pt x="58678" y="56697"/>
                  </a:lnTo>
                  <a:lnTo>
                    <a:pt x="59339" y="55754"/>
                  </a:lnTo>
                  <a:lnTo>
                    <a:pt x="59905" y="54905"/>
                  </a:lnTo>
                  <a:lnTo>
                    <a:pt x="59716" y="54999"/>
                  </a:lnTo>
                  <a:lnTo>
                    <a:pt x="59622" y="54999"/>
                  </a:lnTo>
                  <a:lnTo>
                    <a:pt x="59810" y="54622"/>
                  </a:lnTo>
                  <a:lnTo>
                    <a:pt x="59150" y="55565"/>
                  </a:lnTo>
                  <a:lnTo>
                    <a:pt x="59527" y="55094"/>
                  </a:lnTo>
                  <a:lnTo>
                    <a:pt x="59433" y="55377"/>
                  </a:lnTo>
                  <a:lnTo>
                    <a:pt x="58867" y="56037"/>
                  </a:lnTo>
                  <a:lnTo>
                    <a:pt x="59056" y="55660"/>
                  </a:lnTo>
                  <a:lnTo>
                    <a:pt x="59056" y="55660"/>
                  </a:lnTo>
                  <a:lnTo>
                    <a:pt x="58678" y="56037"/>
                  </a:lnTo>
                  <a:lnTo>
                    <a:pt x="59810" y="54339"/>
                  </a:lnTo>
                  <a:lnTo>
                    <a:pt x="60282" y="53490"/>
                  </a:lnTo>
                  <a:lnTo>
                    <a:pt x="60282" y="53301"/>
                  </a:lnTo>
                  <a:lnTo>
                    <a:pt x="60188" y="53395"/>
                  </a:lnTo>
                  <a:lnTo>
                    <a:pt x="60188" y="53395"/>
                  </a:lnTo>
                  <a:lnTo>
                    <a:pt x="60565" y="52924"/>
                  </a:lnTo>
                  <a:lnTo>
                    <a:pt x="61037" y="52452"/>
                  </a:lnTo>
                  <a:lnTo>
                    <a:pt x="61886" y="51509"/>
                  </a:lnTo>
                  <a:lnTo>
                    <a:pt x="61508" y="52452"/>
                  </a:lnTo>
                  <a:lnTo>
                    <a:pt x="60848" y="53584"/>
                  </a:lnTo>
                  <a:lnTo>
                    <a:pt x="59622" y="55565"/>
                  </a:lnTo>
                  <a:lnTo>
                    <a:pt x="60376" y="54528"/>
                  </a:lnTo>
                  <a:lnTo>
                    <a:pt x="60942" y="53678"/>
                  </a:lnTo>
                  <a:lnTo>
                    <a:pt x="61980" y="51792"/>
                  </a:lnTo>
                  <a:lnTo>
                    <a:pt x="61886" y="51886"/>
                  </a:lnTo>
                  <a:lnTo>
                    <a:pt x="61886" y="51697"/>
                  </a:lnTo>
                  <a:lnTo>
                    <a:pt x="62169" y="51037"/>
                  </a:lnTo>
                  <a:lnTo>
                    <a:pt x="62735" y="49999"/>
                  </a:lnTo>
                  <a:lnTo>
                    <a:pt x="61508" y="51603"/>
                  </a:lnTo>
                  <a:lnTo>
                    <a:pt x="61603" y="51037"/>
                  </a:lnTo>
                  <a:lnTo>
                    <a:pt x="61697" y="50377"/>
                  </a:lnTo>
                  <a:lnTo>
                    <a:pt x="62169" y="48962"/>
                  </a:lnTo>
                  <a:lnTo>
                    <a:pt x="62829" y="47358"/>
                  </a:lnTo>
                  <a:lnTo>
                    <a:pt x="63678" y="45565"/>
                  </a:lnTo>
                  <a:lnTo>
                    <a:pt x="65376" y="42169"/>
                  </a:lnTo>
                  <a:lnTo>
                    <a:pt x="66131" y="40660"/>
                  </a:lnTo>
                  <a:lnTo>
                    <a:pt x="66697" y="39339"/>
                  </a:lnTo>
                  <a:lnTo>
                    <a:pt x="66603" y="39528"/>
                  </a:lnTo>
                  <a:lnTo>
                    <a:pt x="66697" y="39056"/>
                  </a:lnTo>
                  <a:lnTo>
                    <a:pt x="66791" y="38962"/>
                  </a:lnTo>
                  <a:lnTo>
                    <a:pt x="66791" y="39056"/>
                  </a:lnTo>
                  <a:lnTo>
                    <a:pt x="66886" y="38584"/>
                  </a:lnTo>
                  <a:lnTo>
                    <a:pt x="66791" y="38867"/>
                  </a:lnTo>
                  <a:lnTo>
                    <a:pt x="66980" y="38207"/>
                  </a:lnTo>
                  <a:lnTo>
                    <a:pt x="67169" y="37264"/>
                  </a:lnTo>
                  <a:lnTo>
                    <a:pt x="67263" y="36415"/>
                  </a:lnTo>
                  <a:lnTo>
                    <a:pt x="67357" y="36509"/>
                  </a:lnTo>
                  <a:lnTo>
                    <a:pt x="67452" y="36509"/>
                  </a:lnTo>
                  <a:lnTo>
                    <a:pt x="67546" y="35943"/>
                  </a:lnTo>
                  <a:lnTo>
                    <a:pt x="67546" y="34811"/>
                  </a:lnTo>
                  <a:lnTo>
                    <a:pt x="67640" y="31037"/>
                  </a:lnTo>
                  <a:lnTo>
                    <a:pt x="67640" y="28490"/>
                  </a:lnTo>
                  <a:lnTo>
                    <a:pt x="67546" y="27736"/>
                  </a:lnTo>
                  <a:lnTo>
                    <a:pt x="67546" y="27547"/>
                  </a:lnTo>
                  <a:lnTo>
                    <a:pt x="67452" y="27547"/>
                  </a:lnTo>
                  <a:lnTo>
                    <a:pt x="67074" y="26792"/>
                  </a:lnTo>
                  <a:lnTo>
                    <a:pt x="66791" y="25660"/>
                  </a:lnTo>
                  <a:lnTo>
                    <a:pt x="66508" y="24528"/>
                  </a:lnTo>
                  <a:lnTo>
                    <a:pt x="66414" y="23585"/>
                  </a:lnTo>
                  <a:lnTo>
                    <a:pt x="66320" y="23679"/>
                  </a:lnTo>
                  <a:lnTo>
                    <a:pt x="66320" y="23490"/>
                  </a:lnTo>
                  <a:lnTo>
                    <a:pt x="65942" y="22924"/>
                  </a:lnTo>
                  <a:lnTo>
                    <a:pt x="65565" y="22358"/>
                  </a:lnTo>
                  <a:lnTo>
                    <a:pt x="64527" y="21132"/>
                  </a:lnTo>
                  <a:lnTo>
                    <a:pt x="63584" y="19906"/>
                  </a:lnTo>
                  <a:lnTo>
                    <a:pt x="63207" y="19340"/>
                  </a:lnTo>
                  <a:lnTo>
                    <a:pt x="63018" y="18774"/>
                  </a:lnTo>
                  <a:lnTo>
                    <a:pt x="63112" y="18962"/>
                  </a:lnTo>
                  <a:lnTo>
                    <a:pt x="63301" y="19057"/>
                  </a:lnTo>
                  <a:lnTo>
                    <a:pt x="63301" y="19057"/>
                  </a:lnTo>
                  <a:lnTo>
                    <a:pt x="63207" y="18868"/>
                  </a:lnTo>
                  <a:lnTo>
                    <a:pt x="62923" y="18491"/>
                  </a:lnTo>
                  <a:lnTo>
                    <a:pt x="61980" y="17453"/>
                  </a:lnTo>
                  <a:lnTo>
                    <a:pt x="61037" y="16509"/>
                  </a:lnTo>
                  <a:lnTo>
                    <a:pt x="61037" y="16698"/>
                  </a:lnTo>
                  <a:lnTo>
                    <a:pt x="61037" y="16887"/>
                  </a:lnTo>
                  <a:lnTo>
                    <a:pt x="60093" y="15943"/>
                  </a:lnTo>
                  <a:lnTo>
                    <a:pt x="60376" y="16321"/>
                  </a:lnTo>
                  <a:lnTo>
                    <a:pt x="59527" y="15377"/>
                  </a:lnTo>
                  <a:lnTo>
                    <a:pt x="59056" y="14906"/>
                  </a:lnTo>
                  <a:lnTo>
                    <a:pt x="59244" y="14906"/>
                  </a:lnTo>
                  <a:lnTo>
                    <a:pt x="59905" y="15472"/>
                  </a:lnTo>
                  <a:lnTo>
                    <a:pt x="59905" y="15472"/>
                  </a:lnTo>
                  <a:lnTo>
                    <a:pt x="57641" y="13396"/>
                  </a:lnTo>
                  <a:lnTo>
                    <a:pt x="58112" y="13868"/>
                  </a:lnTo>
                  <a:lnTo>
                    <a:pt x="56886" y="13019"/>
                  </a:lnTo>
                  <a:lnTo>
                    <a:pt x="55754" y="12453"/>
                  </a:lnTo>
                  <a:lnTo>
                    <a:pt x="56603" y="13113"/>
                  </a:lnTo>
                  <a:lnTo>
                    <a:pt x="57452" y="13774"/>
                  </a:lnTo>
                  <a:lnTo>
                    <a:pt x="58961" y="15283"/>
                  </a:lnTo>
                  <a:lnTo>
                    <a:pt x="60376" y="16604"/>
                  </a:lnTo>
                  <a:lnTo>
                    <a:pt x="61225" y="17264"/>
                  </a:lnTo>
                  <a:lnTo>
                    <a:pt x="62074" y="17925"/>
                  </a:lnTo>
                  <a:lnTo>
                    <a:pt x="62074" y="17925"/>
                  </a:lnTo>
                  <a:lnTo>
                    <a:pt x="61414" y="17547"/>
                  </a:lnTo>
                  <a:lnTo>
                    <a:pt x="60659" y="16981"/>
                  </a:lnTo>
                  <a:lnTo>
                    <a:pt x="60754" y="17264"/>
                  </a:lnTo>
                  <a:lnTo>
                    <a:pt x="60942" y="17642"/>
                  </a:lnTo>
                  <a:lnTo>
                    <a:pt x="61980" y="19151"/>
                  </a:lnTo>
                  <a:lnTo>
                    <a:pt x="63301" y="20943"/>
                  </a:lnTo>
                  <a:lnTo>
                    <a:pt x="63207" y="20943"/>
                  </a:lnTo>
                  <a:lnTo>
                    <a:pt x="63395" y="21038"/>
                  </a:lnTo>
                  <a:lnTo>
                    <a:pt x="63490" y="21321"/>
                  </a:lnTo>
                  <a:lnTo>
                    <a:pt x="63678" y="21604"/>
                  </a:lnTo>
                  <a:lnTo>
                    <a:pt x="63773" y="21698"/>
                  </a:lnTo>
                  <a:lnTo>
                    <a:pt x="63584" y="21321"/>
                  </a:lnTo>
                  <a:lnTo>
                    <a:pt x="63584" y="21321"/>
                  </a:lnTo>
                  <a:lnTo>
                    <a:pt x="64244" y="22170"/>
                  </a:lnTo>
                  <a:lnTo>
                    <a:pt x="64716" y="22641"/>
                  </a:lnTo>
                  <a:lnTo>
                    <a:pt x="64905" y="22830"/>
                  </a:lnTo>
                  <a:lnTo>
                    <a:pt x="64999" y="22830"/>
                  </a:lnTo>
                  <a:lnTo>
                    <a:pt x="64999" y="22641"/>
                  </a:lnTo>
                  <a:lnTo>
                    <a:pt x="64905" y="22358"/>
                  </a:lnTo>
                  <a:lnTo>
                    <a:pt x="65282" y="23207"/>
                  </a:lnTo>
                  <a:lnTo>
                    <a:pt x="65565" y="24056"/>
                  </a:lnTo>
                  <a:lnTo>
                    <a:pt x="66225" y="25943"/>
                  </a:lnTo>
                  <a:lnTo>
                    <a:pt x="66697" y="27830"/>
                  </a:lnTo>
                  <a:lnTo>
                    <a:pt x="66886" y="28490"/>
                  </a:lnTo>
                  <a:lnTo>
                    <a:pt x="66980" y="28868"/>
                  </a:lnTo>
                  <a:lnTo>
                    <a:pt x="66886" y="28962"/>
                  </a:lnTo>
                  <a:lnTo>
                    <a:pt x="66697" y="28679"/>
                  </a:lnTo>
                  <a:lnTo>
                    <a:pt x="66697" y="29245"/>
                  </a:lnTo>
                  <a:lnTo>
                    <a:pt x="66791" y="29905"/>
                  </a:lnTo>
                  <a:lnTo>
                    <a:pt x="66886" y="29905"/>
                  </a:lnTo>
                  <a:lnTo>
                    <a:pt x="66886" y="30094"/>
                  </a:lnTo>
                  <a:lnTo>
                    <a:pt x="66886" y="30566"/>
                  </a:lnTo>
                  <a:lnTo>
                    <a:pt x="66697" y="30377"/>
                  </a:lnTo>
                  <a:lnTo>
                    <a:pt x="66603" y="30188"/>
                  </a:lnTo>
                  <a:lnTo>
                    <a:pt x="66603" y="30094"/>
                  </a:lnTo>
                  <a:lnTo>
                    <a:pt x="66697" y="29905"/>
                  </a:lnTo>
                  <a:lnTo>
                    <a:pt x="66508" y="28679"/>
                  </a:lnTo>
                  <a:lnTo>
                    <a:pt x="66225" y="27358"/>
                  </a:lnTo>
                  <a:lnTo>
                    <a:pt x="66603" y="30283"/>
                  </a:lnTo>
                  <a:lnTo>
                    <a:pt x="66697" y="31792"/>
                  </a:lnTo>
                  <a:lnTo>
                    <a:pt x="66697" y="33302"/>
                  </a:lnTo>
                  <a:lnTo>
                    <a:pt x="66603" y="34717"/>
                  </a:lnTo>
                  <a:lnTo>
                    <a:pt x="66414" y="36226"/>
                  </a:lnTo>
                  <a:lnTo>
                    <a:pt x="66131" y="37547"/>
                  </a:lnTo>
                  <a:lnTo>
                    <a:pt x="65659" y="38962"/>
                  </a:lnTo>
                  <a:lnTo>
                    <a:pt x="65848" y="38584"/>
                  </a:lnTo>
                  <a:lnTo>
                    <a:pt x="65942" y="38584"/>
                  </a:lnTo>
                  <a:lnTo>
                    <a:pt x="65848" y="39245"/>
                  </a:lnTo>
                  <a:lnTo>
                    <a:pt x="65565" y="40188"/>
                  </a:lnTo>
                  <a:lnTo>
                    <a:pt x="65471" y="40471"/>
                  </a:lnTo>
                  <a:lnTo>
                    <a:pt x="65282" y="40660"/>
                  </a:lnTo>
                  <a:lnTo>
                    <a:pt x="65282" y="40566"/>
                  </a:lnTo>
                  <a:lnTo>
                    <a:pt x="65093" y="41132"/>
                  </a:lnTo>
                  <a:lnTo>
                    <a:pt x="64433" y="43018"/>
                  </a:lnTo>
                  <a:lnTo>
                    <a:pt x="63678" y="45282"/>
                  </a:lnTo>
                  <a:lnTo>
                    <a:pt x="62735" y="47264"/>
                  </a:lnTo>
                  <a:lnTo>
                    <a:pt x="61697" y="49056"/>
                  </a:lnTo>
                  <a:lnTo>
                    <a:pt x="60659" y="50943"/>
                  </a:lnTo>
                  <a:lnTo>
                    <a:pt x="59433" y="52735"/>
                  </a:lnTo>
                  <a:lnTo>
                    <a:pt x="58207" y="54433"/>
                  </a:lnTo>
                  <a:lnTo>
                    <a:pt x="56886" y="56037"/>
                  </a:lnTo>
                  <a:lnTo>
                    <a:pt x="55376" y="57641"/>
                  </a:lnTo>
                  <a:lnTo>
                    <a:pt x="53867" y="59150"/>
                  </a:lnTo>
                  <a:lnTo>
                    <a:pt x="52169" y="60376"/>
                  </a:lnTo>
                  <a:lnTo>
                    <a:pt x="48961" y="62452"/>
                  </a:lnTo>
                  <a:lnTo>
                    <a:pt x="44528" y="65282"/>
                  </a:lnTo>
                  <a:lnTo>
                    <a:pt x="44622" y="65188"/>
                  </a:lnTo>
                  <a:lnTo>
                    <a:pt x="44716" y="65093"/>
                  </a:lnTo>
                  <a:lnTo>
                    <a:pt x="45094" y="64810"/>
                  </a:lnTo>
                  <a:lnTo>
                    <a:pt x="45660" y="64527"/>
                  </a:lnTo>
                  <a:lnTo>
                    <a:pt x="43867" y="65376"/>
                  </a:lnTo>
                  <a:lnTo>
                    <a:pt x="43113" y="65754"/>
                  </a:lnTo>
                  <a:lnTo>
                    <a:pt x="42924" y="65754"/>
                  </a:lnTo>
                  <a:lnTo>
                    <a:pt x="43113" y="65659"/>
                  </a:lnTo>
                  <a:lnTo>
                    <a:pt x="41603" y="66037"/>
                  </a:lnTo>
                  <a:lnTo>
                    <a:pt x="39999" y="66320"/>
                  </a:lnTo>
                  <a:lnTo>
                    <a:pt x="38396" y="66508"/>
                  </a:lnTo>
                  <a:lnTo>
                    <a:pt x="36792" y="66697"/>
                  </a:lnTo>
                  <a:lnTo>
                    <a:pt x="33584" y="66980"/>
                  </a:lnTo>
                  <a:lnTo>
                    <a:pt x="32169" y="67169"/>
                  </a:lnTo>
                  <a:lnTo>
                    <a:pt x="30754" y="67357"/>
                  </a:lnTo>
                  <a:lnTo>
                    <a:pt x="30094" y="67357"/>
                  </a:lnTo>
                  <a:lnTo>
                    <a:pt x="29339" y="67263"/>
                  </a:lnTo>
                  <a:lnTo>
                    <a:pt x="27830" y="66886"/>
                  </a:lnTo>
                  <a:lnTo>
                    <a:pt x="26415" y="66508"/>
                  </a:lnTo>
                  <a:lnTo>
                    <a:pt x="25754" y="66414"/>
                  </a:lnTo>
                  <a:lnTo>
                    <a:pt x="25094" y="66414"/>
                  </a:lnTo>
                  <a:lnTo>
                    <a:pt x="25566" y="66980"/>
                  </a:lnTo>
                  <a:lnTo>
                    <a:pt x="25471" y="67074"/>
                  </a:lnTo>
                  <a:lnTo>
                    <a:pt x="25188" y="66980"/>
                  </a:lnTo>
                  <a:lnTo>
                    <a:pt x="24339" y="66791"/>
                  </a:lnTo>
                  <a:lnTo>
                    <a:pt x="23773" y="66508"/>
                  </a:lnTo>
                  <a:lnTo>
                    <a:pt x="24245" y="66414"/>
                  </a:lnTo>
                  <a:lnTo>
                    <a:pt x="24717" y="66603"/>
                  </a:lnTo>
                  <a:lnTo>
                    <a:pt x="24811" y="66414"/>
                  </a:lnTo>
                  <a:lnTo>
                    <a:pt x="24811" y="66320"/>
                  </a:lnTo>
                  <a:lnTo>
                    <a:pt x="24717" y="66225"/>
                  </a:lnTo>
                  <a:lnTo>
                    <a:pt x="24528" y="66131"/>
                  </a:lnTo>
                  <a:lnTo>
                    <a:pt x="24151" y="66225"/>
                  </a:lnTo>
                  <a:lnTo>
                    <a:pt x="23679" y="66320"/>
                  </a:lnTo>
                  <a:lnTo>
                    <a:pt x="23018" y="66414"/>
                  </a:lnTo>
                  <a:lnTo>
                    <a:pt x="23490" y="66225"/>
                  </a:lnTo>
                  <a:lnTo>
                    <a:pt x="22075" y="65942"/>
                  </a:lnTo>
                  <a:lnTo>
                    <a:pt x="20943" y="65659"/>
                  </a:lnTo>
                  <a:lnTo>
                    <a:pt x="20000" y="65282"/>
                  </a:lnTo>
                  <a:lnTo>
                    <a:pt x="19056" y="64810"/>
                  </a:lnTo>
                  <a:lnTo>
                    <a:pt x="19056" y="64810"/>
                  </a:lnTo>
                  <a:lnTo>
                    <a:pt x="19717" y="64999"/>
                  </a:lnTo>
                  <a:lnTo>
                    <a:pt x="19151" y="64716"/>
                  </a:lnTo>
                  <a:lnTo>
                    <a:pt x="18962" y="64810"/>
                  </a:lnTo>
                  <a:lnTo>
                    <a:pt x="19151" y="64905"/>
                  </a:lnTo>
                  <a:lnTo>
                    <a:pt x="18490" y="64905"/>
                  </a:lnTo>
                  <a:lnTo>
                    <a:pt x="17830" y="64716"/>
                  </a:lnTo>
                  <a:lnTo>
                    <a:pt x="17264" y="64527"/>
                  </a:lnTo>
                  <a:lnTo>
                    <a:pt x="16698" y="64150"/>
                  </a:lnTo>
                  <a:lnTo>
                    <a:pt x="16981" y="64056"/>
                  </a:lnTo>
                  <a:lnTo>
                    <a:pt x="17264" y="64150"/>
                  </a:lnTo>
                  <a:lnTo>
                    <a:pt x="17264" y="64150"/>
                  </a:lnTo>
                  <a:lnTo>
                    <a:pt x="15188" y="63207"/>
                  </a:lnTo>
                  <a:lnTo>
                    <a:pt x="14622" y="62829"/>
                  </a:lnTo>
                  <a:lnTo>
                    <a:pt x="14717" y="62924"/>
                  </a:lnTo>
                  <a:lnTo>
                    <a:pt x="13773" y="62546"/>
                  </a:lnTo>
                  <a:lnTo>
                    <a:pt x="12924" y="62075"/>
                  </a:lnTo>
                  <a:lnTo>
                    <a:pt x="12358" y="61697"/>
                  </a:lnTo>
                  <a:lnTo>
                    <a:pt x="12264" y="61508"/>
                  </a:lnTo>
                  <a:lnTo>
                    <a:pt x="12170" y="61320"/>
                  </a:lnTo>
                  <a:lnTo>
                    <a:pt x="11698" y="60942"/>
                  </a:lnTo>
                  <a:lnTo>
                    <a:pt x="11132" y="60471"/>
                  </a:lnTo>
                  <a:lnTo>
                    <a:pt x="9906" y="59244"/>
                  </a:lnTo>
                  <a:lnTo>
                    <a:pt x="9906" y="59244"/>
                  </a:lnTo>
                  <a:lnTo>
                    <a:pt x="10566" y="59527"/>
                  </a:lnTo>
                  <a:lnTo>
                    <a:pt x="9434" y="58584"/>
                  </a:lnTo>
                  <a:lnTo>
                    <a:pt x="8207" y="57546"/>
                  </a:lnTo>
                  <a:lnTo>
                    <a:pt x="7547" y="56886"/>
                  </a:lnTo>
                  <a:lnTo>
                    <a:pt x="6981" y="56131"/>
                  </a:lnTo>
                  <a:lnTo>
                    <a:pt x="6226" y="55094"/>
                  </a:lnTo>
                  <a:lnTo>
                    <a:pt x="6415" y="55377"/>
                  </a:lnTo>
                  <a:lnTo>
                    <a:pt x="6038" y="54905"/>
                  </a:lnTo>
                  <a:lnTo>
                    <a:pt x="5472" y="54244"/>
                  </a:lnTo>
                  <a:lnTo>
                    <a:pt x="5283" y="53961"/>
                  </a:lnTo>
                  <a:lnTo>
                    <a:pt x="5094" y="53867"/>
                  </a:lnTo>
                  <a:lnTo>
                    <a:pt x="5377" y="54622"/>
                  </a:lnTo>
                  <a:lnTo>
                    <a:pt x="5849" y="55282"/>
                  </a:lnTo>
                  <a:lnTo>
                    <a:pt x="6321" y="55943"/>
                  </a:lnTo>
                  <a:lnTo>
                    <a:pt x="6698" y="56603"/>
                  </a:lnTo>
                  <a:lnTo>
                    <a:pt x="6226" y="56226"/>
                  </a:lnTo>
                  <a:lnTo>
                    <a:pt x="5943" y="55848"/>
                  </a:lnTo>
                  <a:lnTo>
                    <a:pt x="6038" y="56037"/>
                  </a:lnTo>
                  <a:lnTo>
                    <a:pt x="5943" y="55943"/>
                  </a:lnTo>
                  <a:lnTo>
                    <a:pt x="5377" y="55188"/>
                  </a:lnTo>
                  <a:lnTo>
                    <a:pt x="5000" y="54716"/>
                  </a:lnTo>
                  <a:lnTo>
                    <a:pt x="4717" y="54150"/>
                  </a:lnTo>
                  <a:lnTo>
                    <a:pt x="4528" y="53678"/>
                  </a:lnTo>
                  <a:lnTo>
                    <a:pt x="4528" y="53584"/>
                  </a:lnTo>
                  <a:lnTo>
                    <a:pt x="4623" y="53395"/>
                  </a:lnTo>
                  <a:lnTo>
                    <a:pt x="5094" y="54244"/>
                  </a:lnTo>
                  <a:lnTo>
                    <a:pt x="4717" y="53301"/>
                  </a:lnTo>
                  <a:lnTo>
                    <a:pt x="4528" y="53018"/>
                  </a:lnTo>
                  <a:lnTo>
                    <a:pt x="4151" y="52263"/>
                  </a:lnTo>
                  <a:lnTo>
                    <a:pt x="4151" y="52169"/>
                  </a:lnTo>
                  <a:lnTo>
                    <a:pt x="3774" y="51509"/>
                  </a:lnTo>
                  <a:lnTo>
                    <a:pt x="3396" y="50660"/>
                  </a:lnTo>
                  <a:lnTo>
                    <a:pt x="3585" y="51603"/>
                  </a:lnTo>
                  <a:lnTo>
                    <a:pt x="3396" y="51226"/>
                  </a:lnTo>
                  <a:lnTo>
                    <a:pt x="3208" y="50848"/>
                  </a:lnTo>
                  <a:lnTo>
                    <a:pt x="3208" y="50471"/>
                  </a:lnTo>
                  <a:lnTo>
                    <a:pt x="3208" y="50094"/>
                  </a:lnTo>
                  <a:lnTo>
                    <a:pt x="3585" y="50754"/>
                  </a:lnTo>
                  <a:lnTo>
                    <a:pt x="3868" y="51509"/>
                  </a:lnTo>
                  <a:lnTo>
                    <a:pt x="3868" y="51509"/>
                  </a:lnTo>
                  <a:lnTo>
                    <a:pt x="3208" y="49528"/>
                  </a:lnTo>
                  <a:lnTo>
                    <a:pt x="3208" y="49528"/>
                  </a:lnTo>
                  <a:lnTo>
                    <a:pt x="3868" y="50754"/>
                  </a:lnTo>
                  <a:lnTo>
                    <a:pt x="3208" y="48962"/>
                  </a:lnTo>
                  <a:lnTo>
                    <a:pt x="3585" y="49339"/>
                  </a:lnTo>
                  <a:lnTo>
                    <a:pt x="3774" y="49433"/>
                  </a:lnTo>
                  <a:lnTo>
                    <a:pt x="3962" y="49528"/>
                  </a:lnTo>
                  <a:lnTo>
                    <a:pt x="4057" y="49905"/>
                  </a:lnTo>
                  <a:lnTo>
                    <a:pt x="3868" y="48962"/>
                  </a:lnTo>
                  <a:lnTo>
                    <a:pt x="3491" y="47924"/>
                  </a:lnTo>
                  <a:lnTo>
                    <a:pt x="2641" y="45565"/>
                  </a:lnTo>
                  <a:lnTo>
                    <a:pt x="2170" y="43867"/>
                  </a:lnTo>
                  <a:lnTo>
                    <a:pt x="1698" y="41886"/>
                  </a:lnTo>
                  <a:lnTo>
                    <a:pt x="1698" y="41886"/>
                  </a:lnTo>
                  <a:lnTo>
                    <a:pt x="1887" y="42075"/>
                  </a:lnTo>
                  <a:lnTo>
                    <a:pt x="1981" y="41981"/>
                  </a:lnTo>
                  <a:lnTo>
                    <a:pt x="2075" y="42075"/>
                  </a:lnTo>
                  <a:lnTo>
                    <a:pt x="2264" y="42169"/>
                  </a:lnTo>
                  <a:lnTo>
                    <a:pt x="2170" y="40283"/>
                  </a:lnTo>
                  <a:lnTo>
                    <a:pt x="2075" y="38301"/>
                  </a:lnTo>
                  <a:lnTo>
                    <a:pt x="2170" y="36415"/>
                  </a:lnTo>
                  <a:lnTo>
                    <a:pt x="2358" y="35566"/>
                  </a:lnTo>
                  <a:lnTo>
                    <a:pt x="2453" y="34811"/>
                  </a:lnTo>
                  <a:lnTo>
                    <a:pt x="2830" y="32830"/>
                  </a:lnTo>
                  <a:lnTo>
                    <a:pt x="2830" y="33207"/>
                  </a:lnTo>
                  <a:lnTo>
                    <a:pt x="2924" y="33490"/>
                  </a:lnTo>
                  <a:lnTo>
                    <a:pt x="2924" y="32453"/>
                  </a:lnTo>
                  <a:lnTo>
                    <a:pt x="3019" y="31415"/>
                  </a:lnTo>
                  <a:lnTo>
                    <a:pt x="3396" y="29245"/>
                  </a:lnTo>
                  <a:lnTo>
                    <a:pt x="3868" y="27075"/>
                  </a:lnTo>
                  <a:lnTo>
                    <a:pt x="4623" y="25000"/>
                  </a:lnTo>
                  <a:lnTo>
                    <a:pt x="5566" y="22830"/>
                  </a:lnTo>
                  <a:lnTo>
                    <a:pt x="6604" y="20849"/>
                  </a:lnTo>
                  <a:lnTo>
                    <a:pt x="7830" y="18868"/>
                  </a:lnTo>
                  <a:lnTo>
                    <a:pt x="9151" y="16887"/>
                  </a:lnTo>
                  <a:lnTo>
                    <a:pt x="10566" y="15094"/>
                  </a:lnTo>
                  <a:lnTo>
                    <a:pt x="12075" y="13302"/>
                  </a:lnTo>
                  <a:lnTo>
                    <a:pt x="13773" y="11698"/>
                  </a:lnTo>
                  <a:lnTo>
                    <a:pt x="15377" y="10095"/>
                  </a:lnTo>
                  <a:lnTo>
                    <a:pt x="17170" y="8679"/>
                  </a:lnTo>
                  <a:lnTo>
                    <a:pt x="18962" y="7453"/>
                  </a:lnTo>
                  <a:lnTo>
                    <a:pt x="20754" y="6321"/>
                  </a:lnTo>
                  <a:lnTo>
                    <a:pt x="22547" y="5378"/>
                  </a:lnTo>
                  <a:lnTo>
                    <a:pt x="21603" y="6227"/>
                  </a:lnTo>
                  <a:lnTo>
                    <a:pt x="22641" y="5472"/>
                  </a:lnTo>
                  <a:lnTo>
                    <a:pt x="23302" y="5095"/>
                  </a:lnTo>
                  <a:lnTo>
                    <a:pt x="25377" y="4151"/>
                  </a:lnTo>
                  <a:lnTo>
                    <a:pt x="24811" y="4151"/>
                  </a:lnTo>
                  <a:lnTo>
                    <a:pt x="25660" y="3774"/>
                  </a:lnTo>
                  <a:lnTo>
                    <a:pt x="26886" y="3208"/>
                  </a:lnTo>
                  <a:lnTo>
                    <a:pt x="26603" y="3585"/>
                  </a:lnTo>
                  <a:lnTo>
                    <a:pt x="26886" y="3585"/>
                  </a:lnTo>
                  <a:lnTo>
                    <a:pt x="26886" y="3680"/>
                  </a:lnTo>
                  <a:lnTo>
                    <a:pt x="26792" y="3774"/>
                  </a:lnTo>
                  <a:lnTo>
                    <a:pt x="28301" y="3302"/>
                  </a:lnTo>
                  <a:lnTo>
                    <a:pt x="29622" y="2736"/>
                  </a:lnTo>
                  <a:lnTo>
                    <a:pt x="31037" y="2264"/>
                  </a:lnTo>
                  <a:lnTo>
                    <a:pt x="31792" y="2076"/>
                  </a:lnTo>
                  <a:lnTo>
                    <a:pt x="32641" y="1981"/>
                  </a:lnTo>
                  <a:lnTo>
                    <a:pt x="32547" y="2076"/>
                  </a:lnTo>
                  <a:lnTo>
                    <a:pt x="32924" y="1981"/>
                  </a:lnTo>
                  <a:lnTo>
                    <a:pt x="34245" y="1793"/>
                  </a:lnTo>
                  <a:lnTo>
                    <a:pt x="35848" y="1415"/>
                  </a:lnTo>
                  <a:lnTo>
                    <a:pt x="36981" y="1132"/>
                  </a:lnTo>
                  <a:lnTo>
                    <a:pt x="36981" y="1415"/>
                  </a:lnTo>
                  <a:lnTo>
                    <a:pt x="40943" y="1227"/>
                  </a:lnTo>
                  <a:lnTo>
                    <a:pt x="41509" y="1038"/>
                  </a:lnTo>
                  <a:lnTo>
                    <a:pt x="41697" y="1132"/>
                  </a:lnTo>
                  <a:lnTo>
                    <a:pt x="41509" y="1227"/>
                  </a:lnTo>
                  <a:lnTo>
                    <a:pt x="41320" y="1321"/>
                  </a:lnTo>
                  <a:lnTo>
                    <a:pt x="42263" y="1321"/>
                  </a:lnTo>
                  <a:lnTo>
                    <a:pt x="43113" y="1227"/>
                  </a:lnTo>
                  <a:lnTo>
                    <a:pt x="43396" y="1415"/>
                  </a:lnTo>
                  <a:lnTo>
                    <a:pt x="44056" y="1604"/>
                  </a:lnTo>
                  <a:lnTo>
                    <a:pt x="45943" y="2076"/>
                  </a:lnTo>
                  <a:lnTo>
                    <a:pt x="48018" y="2359"/>
                  </a:lnTo>
                  <a:lnTo>
                    <a:pt x="49622" y="2736"/>
                  </a:lnTo>
                  <a:lnTo>
                    <a:pt x="47641" y="1981"/>
                  </a:lnTo>
                  <a:lnTo>
                    <a:pt x="45282" y="1321"/>
                  </a:lnTo>
                  <a:lnTo>
                    <a:pt x="42735" y="755"/>
                  </a:lnTo>
                  <a:lnTo>
                    <a:pt x="40188" y="283"/>
                  </a:lnTo>
                  <a:lnTo>
                    <a:pt x="37735" y="95"/>
                  </a:lnTo>
                  <a:lnTo>
                    <a:pt x="35471" y="0"/>
                  </a:lnTo>
                  <a:close/>
                </a:path>
              </a:pathLst>
            </a:custGeom>
            <a:solidFill>
              <a:schemeClr val="bg1">
                <a:lumMod val="95000"/>
              </a:schemeClr>
            </a:solidFill>
            <a:ln w="0">
              <a:solidFill>
                <a:srgbClr val="0079D1"/>
              </a:solidFill>
            </a:ln>
          </p:spPr>
          <p:txBody>
            <a:bodyPr spcFirstLastPara="1" wrap="square" lIns="91425" tIns="91425" rIns="91425" bIns="91425" anchor="ctr" anchorCtr="0">
              <a:noAutofit/>
            </a:bodyPr>
            <a:lstStyle/>
            <a:p>
              <a:pPr marL="0" lvl="0" indent="0">
                <a:spcBef>
                  <a:spcPts val="0"/>
                </a:spcBef>
                <a:spcAft>
                  <a:spcPts val="0"/>
                </a:spcAft>
                <a:buNone/>
              </a:pPr>
              <a:endParaRPr sz="1400"/>
            </a:p>
          </p:txBody>
        </p:sp>
        <p:sp>
          <p:nvSpPr>
            <p:cNvPr id="608" name="TextBox 607">
              <a:extLst>
                <a:ext uri="{FF2B5EF4-FFF2-40B4-BE49-F238E27FC236}">
                  <a16:creationId xmlns:a16="http://schemas.microsoft.com/office/drawing/2014/main" id="{BC420702-7B9D-D847-9762-CF8EDA24086E}"/>
                </a:ext>
              </a:extLst>
            </p:cNvPr>
            <p:cNvSpPr txBox="1"/>
            <p:nvPr/>
          </p:nvSpPr>
          <p:spPr>
            <a:xfrm>
              <a:off x="8676898" y="4619460"/>
              <a:ext cx="229951" cy="215444"/>
            </a:xfrm>
            <a:prstGeom prst="rect">
              <a:avLst/>
            </a:prstGeom>
            <a:noFill/>
          </p:spPr>
          <p:txBody>
            <a:bodyPr wrap="square" rtlCol="0">
              <a:spAutoFit/>
            </a:bodyPr>
            <a:lstStyle/>
            <a:p>
              <a:r>
                <a:rPr lang="en-US" sz="800" b="1" dirty="0">
                  <a:solidFill>
                    <a:srgbClr val="0079D1"/>
                  </a:solidFill>
                </a:rPr>
                <a:t>D</a:t>
              </a:r>
            </a:p>
          </p:txBody>
        </p:sp>
      </p:grpSp>
      <p:sp>
        <p:nvSpPr>
          <p:cNvPr id="609" name="TextBox 608">
            <a:extLst>
              <a:ext uri="{FF2B5EF4-FFF2-40B4-BE49-F238E27FC236}">
                <a16:creationId xmlns:a16="http://schemas.microsoft.com/office/drawing/2014/main" id="{8136CB78-0C1B-E54E-9DF1-6F28CA136987}"/>
              </a:ext>
            </a:extLst>
          </p:cNvPr>
          <p:cNvSpPr txBox="1"/>
          <p:nvPr/>
        </p:nvSpPr>
        <p:spPr>
          <a:xfrm>
            <a:off x="361248" y="2682979"/>
            <a:ext cx="1899525" cy="343341"/>
          </a:xfrm>
          <a:prstGeom prst="rect">
            <a:avLst/>
          </a:prstGeom>
          <a:noFill/>
        </p:spPr>
        <p:txBody>
          <a:bodyPr wrap="square" tIns="90000" bIns="90000" rtlCol="0" anchor="t">
            <a:spAutoFit/>
          </a:bodyPr>
          <a:lstStyle>
            <a:defPPr>
              <a:defRPr lang="en-US"/>
            </a:defPPr>
            <a:lvl1pPr>
              <a:defRPr sz="700" b="1">
                <a:solidFill>
                  <a:srgbClr val="0079D1"/>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defRPr>
            </a:lvl1pPr>
          </a:lstStyle>
          <a:p>
            <a:r>
              <a:rPr lang="en-US" dirty="0"/>
              <a:t>EMS/ Kafka Custom API Source</a:t>
            </a:r>
          </a:p>
        </p:txBody>
      </p:sp>
      <p:grpSp>
        <p:nvGrpSpPr>
          <p:cNvPr id="610" name="Group 609">
            <a:extLst>
              <a:ext uri="{FF2B5EF4-FFF2-40B4-BE49-F238E27FC236}">
                <a16:creationId xmlns:a16="http://schemas.microsoft.com/office/drawing/2014/main" id="{58D8F92C-863E-5940-B9BC-16F0F3B8C743}"/>
              </a:ext>
            </a:extLst>
          </p:cNvPr>
          <p:cNvGrpSpPr/>
          <p:nvPr/>
        </p:nvGrpSpPr>
        <p:grpSpPr>
          <a:xfrm>
            <a:off x="157622" y="2750922"/>
            <a:ext cx="229951" cy="200055"/>
            <a:chOff x="8676898" y="4619460"/>
            <a:chExt cx="229951" cy="200055"/>
          </a:xfrm>
        </p:grpSpPr>
        <p:sp>
          <p:nvSpPr>
            <p:cNvPr id="611" name="Google Shape;431;p39">
              <a:extLst>
                <a:ext uri="{FF2B5EF4-FFF2-40B4-BE49-F238E27FC236}">
                  <a16:creationId xmlns:a16="http://schemas.microsoft.com/office/drawing/2014/main" id="{CC683B98-6B37-B245-90CB-52A42F10391D}"/>
                </a:ext>
              </a:extLst>
            </p:cNvPr>
            <p:cNvSpPr/>
            <p:nvPr/>
          </p:nvSpPr>
          <p:spPr>
            <a:xfrm>
              <a:off x="8709950" y="4635551"/>
              <a:ext cx="179407" cy="167874"/>
            </a:xfrm>
            <a:custGeom>
              <a:avLst/>
              <a:gdLst/>
              <a:ahLst/>
              <a:cxnLst/>
              <a:rect l="0" t="0" r="0" b="0"/>
              <a:pathLst>
                <a:path w="67641" h="69056" extrusionOk="0">
                  <a:moveTo>
                    <a:pt x="49622" y="2736"/>
                  </a:moveTo>
                  <a:lnTo>
                    <a:pt x="49622" y="2736"/>
                  </a:lnTo>
                  <a:lnTo>
                    <a:pt x="49622" y="2736"/>
                  </a:lnTo>
                  <a:close/>
                  <a:moveTo>
                    <a:pt x="59622" y="55565"/>
                  </a:moveTo>
                  <a:lnTo>
                    <a:pt x="59622" y="55565"/>
                  </a:lnTo>
                  <a:lnTo>
                    <a:pt x="59622" y="55565"/>
                  </a:lnTo>
                  <a:close/>
                  <a:moveTo>
                    <a:pt x="35471" y="0"/>
                  </a:moveTo>
                  <a:lnTo>
                    <a:pt x="34433" y="95"/>
                  </a:lnTo>
                  <a:lnTo>
                    <a:pt x="33584" y="189"/>
                  </a:lnTo>
                  <a:lnTo>
                    <a:pt x="32735" y="378"/>
                  </a:lnTo>
                  <a:lnTo>
                    <a:pt x="32169" y="566"/>
                  </a:lnTo>
                  <a:lnTo>
                    <a:pt x="31509" y="472"/>
                  </a:lnTo>
                  <a:lnTo>
                    <a:pt x="30754" y="472"/>
                  </a:lnTo>
                  <a:lnTo>
                    <a:pt x="29339" y="566"/>
                  </a:lnTo>
                  <a:lnTo>
                    <a:pt x="27830" y="849"/>
                  </a:lnTo>
                  <a:lnTo>
                    <a:pt x="26320" y="1321"/>
                  </a:lnTo>
                  <a:lnTo>
                    <a:pt x="24811" y="1981"/>
                  </a:lnTo>
                  <a:lnTo>
                    <a:pt x="23207" y="2736"/>
                  </a:lnTo>
                  <a:lnTo>
                    <a:pt x="21698" y="3585"/>
                  </a:lnTo>
                  <a:lnTo>
                    <a:pt x="20188" y="4623"/>
                  </a:lnTo>
                  <a:lnTo>
                    <a:pt x="18679" y="5661"/>
                  </a:lnTo>
                  <a:lnTo>
                    <a:pt x="17170" y="6793"/>
                  </a:lnTo>
                  <a:lnTo>
                    <a:pt x="15754" y="8019"/>
                  </a:lnTo>
                  <a:lnTo>
                    <a:pt x="14434" y="9151"/>
                  </a:lnTo>
                  <a:lnTo>
                    <a:pt x="11981" y="11510"/>
                  </a:lnTo>
                  <a:lnTo>
                    <a:pt x="10000" y="13774"/>
                  </a:lnTo>
                  <a:lnTo>
                    <a:pt x="7736" y="16981"/>
                  </a:lnTo>
                  <a:lnTo>
                    <a:pt x="8019" y="16321"/>
                  </a:lnTo>
                  <a:lnTo>
                    <a:pt x="8302" y="15660"/>
                  </a:lnTo>
                  <a:lnTo>
                    <a:pt x="7736" y="16604"/>
                  </a:lnTo>
                  <a:lnTo>
                    <a:pt x="7075" y="17642"/>
                  </a:lnTo>
                  <a:lnTo>
                    <a:pt x="7170" y="17830"/>
                  </a:lnTo>
                  <a:lnTo>
                    <a:pt x="6509" y="18868"/>
                  </a:lnTo>
                  <a:lnTo>
                    <a:pt x="7075" y="17359"/>
                  </a:lnTo>
                  <a:lnTo>
                    <a:pt x="6132" y="19057"/>
                  </a:lnTo>
                  <a:lnTo>
                    <a:pt x="5189" y="20849"/>
                  </a:lnTo>
                  <a:lnTo>
                    <a:pt x="4434" y="22736"/>
                  </a:lnTo>
                  <a:lnTo>
                    <a:pt x="3679" y="24622"/>
                  </a:lnTo>
                  <a:lnTo>
                    <a:pt x="2453" y="28490"/>
                  </a:lnTo>
                  <a:lnTo>
                    <a:pt x="1321" y="32169"/>
                  </a:lnTo>
                  <a:lnTo>
                    <a:pt x="1509" y="32264"/>
                  </a:lnTo>
                  <a:lnTo>
                    <a:pt x="1604" y="32453"/>
                  </a:lnTo>
                  <a:lnTo>
                    <a:pt x="1604" y="32641"/>
                  </a:lnTo>
                  <a:lnTo>
                    <a:pt x="1509" y="32924"/>
                  </a:lnTo>
                  <a:lnTo>
                    <a:pt x="1226" y="33396"/>
                  </a:lnTo>
                  <a:lnTo>
                    <a:pt x="1038" y="33585"/>
                  </a:lnTo>
                  <a:lnTo>
                    <a:pt x="1038" y="33773"/>
                  </a:lnTo>
                  <a:lnTo>
                    <a:pt x="1038" y="35000"/>
                  </a:lnTo>
                  <a:lnTo>
                    <a:pt x="849" y="36132"/>
                  </a:lnTo>
                  <a:lnTo>
                    <a:pt x="660" y="37358"/>
                  </a:lnTo>
                  <a:lnTo>
                    <a:pt x="472" y="38867"/>
                  </a:lnTo>
                  <a:lnTo>
                    <a:pt x="283" y="38301"/>
                  </a:lnTo>
                  <a:lnTo>
                    <a:pt x="94" y="39811"/>
                  </a:lnTo>
                  <a:lnTo>
                    <a:pt x="0" y="41509"/>
                  </a:lnTo>
                  <a:lnTo>
                    <a:pt x="94" y="43301"/>
                  </a:lnTo>
                  <a:lnTo>
                    <a:pt x="283" y="44056"/>
                  </a:lnTo>
                  <a:lnTo>
                    <a:pt x="472" y="44622"/>
                  </a:lnTo>
                  <a:lnTo>
                    <a:pt x="566" y="45660"/>
                  </a:lnTo>
                  <a:lnTo>
                    <a:pt x="755" y="46792"/>
                  </a:lnTo>
                  <a:lnTo>
                    <a:pt x="1226" y="48962"/>
                  </a:lnTo>
                  <a:lnTo>
                    <a:pt x="1981" y="51037"/>
                  </a:lnTo>
                  <a:lnTo>
                    <a:pt x="2924" y="53112"/>
                  </a:lnTo>
                  <a:lnTo>
                    <a:pt x="4057" y="55094"/>
                  </a:lnTo>
                  <a:lnTo>
                    <a:pt x="5283" y="56980"/>
                  </a:lnTo>
                  <a:lnTo>
                    <a:pt x="6698" y="58678"/>
                  </a:lnTo>
                  <a:lnTo>
                    <a:pt x="8113" y="60282"/>
                  </a:lnTo>
                  <a:lnTo>
                    <a:pt x="9056" y="61131"/>
                  </a:lnTo>
                  <a:lnTo>
                    <a:pt x="10000" y="61980"/>
                  </a:lnTo>
                  <a:lnTo>
                    <a:pt x="11038" y="62829"/>
                  </a:lnTo>
                  <a:lnTo>
                    <a:pt x="12075" y="63584"/>
                  </a:lnTo>
                  <a:lnTo>
                    <a:pt x="14339" y="64905"/>
                  </a:lnTo>
                  <a:lnTo>
                    <a:pt x="16604" y="66131"/>
                  </a:lnTo>
                  <a:lnTo>
                    <a:pt x="19056" y="67169"/>
                  </a:lnTo>
                  <a:lnTo>
                    <a:pt x="21509" y="67923"/>
                  </a:lnTo>
                  <a:lnTo>
                    <a:pt x="24056" y="68584"/>
                  </a:lnTo>
                  <a:lnTo>
                    <a:pt x="26603" y="69055"/>
                  </a:lnTo>
                  <a:lnTo>
                    <a:pt x="27830" y="69055"/>
                  </a:lnTo>
                  <a:lnTo>
                    <a:pt x="30188" y="68867"/>
                  </a:lnTo>
                  <a:lnTo>
                    <a:pt x="33113" y="68678"/>
                  </a:lnTo>
                  <a:lnTo>
                    <a:pt x="36509" y="68301"/>
                  </a:lnTo>
                  <a:lnTo>
                    <a:pt x="39811" y="67923"/>
                  </a:lnTo>
                  <a:lnTo>
                    <a:pt x="42735" y="67452"/>
                  </a:lnTo>
                  <a:lnTo>
                    <a:pt x="44905" y="66980"/>
                  </a:lnTo>
                  <a:lnTo>
                    <a:pt x="45565" y="66791"/>
                  </a:lnTo>
                  <a:lnTo>
                    <a:pt x="45943" y="66508"/>
                  </a:lnTo>
                  <a:lnTo>
                    <a:pt x="47358" y="65942"/>
                  </a:lnTo>
                  <a:lnTo>
                    <a:pt x="48018" y="65565"/>
                  </a:lnTo>
                  <a:lnTo>
                    <a:pt x="48678" y="65188"/>
                  </a:lnTo>
                  <a:lnTo>
                    <a:pt x="47924" y="65471"/>
                  </a:lnTo>
                  <a:lnTo>
                    <a:pt x="51509" y="62924"/>
                  </a:lnTo>
                  <a:lnTo>
                    <a:pt x="53301" y="61508"/>
                  </a:lnTo>
                  <a:lnTo>
                    <a:pt x="55093" y="59905"/>
                  </a:lnTo>
                  <a:lnTo>
                    <a:pt x="55093" y="59905"/>
                  </a:lnTo>
                  <a:lnTo>
                    <a:pt x="54810" y="60376"/>
                  </a:lnTo>
                  <a:lnTo>
                    <a:pt x="54339" y="60754"/>
                  </a:lnTo>
                  <a:lnTo>
                    <a:pt x="55376" y="59999"/>
                  </a:lnTo>
                  <a:lnTo>
                    <a:pt x="56320" y="59056"/>
                  </a:lnTo>
                  <a:lnTo>
                    <a:pt x="57075" y="58395"/>
                  </a:lnTo>
                  <a:lnTo>
                    <a:pt x="57169" y="58207"/>
                  </a:lnTo>
                  <a:lnTo>
                    <a:pt x="57075" y="58207"/>
                  </a:lnTo>
                  <a:lnTo>
                    <a:pt x="57924" y="57546"/>
                  </a:lnTo>
                  <a:lnTo>
                    <a:pt x="58678" y="56697"/>
                  </a:lnTo>
                  <a:lnTo>
                    <a:pt x="59339" y="55754"/>
                  </a:lnTo>
                  <a:lnTo>
                    <a:pt x="59905" y="54905"/>
                  </a:lnTo>
                  <a:lnTo>
                    <a:pt x="59716" y="54999"/>
                  </a:lnTo>
                  <a:lnTo>
                    <a:pt x="59622" y="54999"/>
                  </a:lnTo>
                  <a:lnTo>
                    <a:pt x="59810" y="54622"/>
                  </a:lnTo>
                  <a:lnTo>
                    <a:pt x="59150" y="55565"/>
                  </a:lnTo>
                  <a:lnTo>
                    <a:pt x="59527" y="55094"/>
                  </a:lnTo>
                  <a:lnTo>
                    <a:pt x="59433" y="55377"/>
                  </a:lnTo>
                  <a:lnTo>
                    <a:pt x="58867" y="56037"/>
                  </a:lnTo>
                  <a:lnTo>
                    <a:pt x="59056" y="55660"/>
                  </a:lnTo>
                  <a:lnTo>
                    <a:pt x="59056" y="55660"/>
                  </a:lnTo>
                  <a:lnTo>
                    <a:pt x="58678" y="56037"/>
                  </a:lnTo>
                  <a:lnTo>
                    <a:pt x="59810" y="54339"/>
                  </a:lnTo>
                  <a:lnTo>
                    <a:pt x="60282" y="53490"/>
                  </a:lnTo>
                  <a:lnTo>
                    <a:pt x="60282" y="53301"/>
                  </a:lnTo>
                  <a:lnTo>
                    <a:pt x="60188" y="53395"/>
                  </a:lnTo>
                  <a:lnTo>
                    <a:pt x="60188" y="53395"/>
                  </a:lnTo>
                  <a:lnTo>
                    <a:pt x="60565" y="52924"/>
                  </a:lnTo>
                  <a:lnTo>
                    <a:pt x="61037" y="52452"/>
                  </a:lnTo>
                  <a:lnTo>
                    <a:pt x="61886" y="51509"/>
                  </a:lnTo>
                  <a:lnTo>
                    <a:pt x="61508" y="52452"/>
                  </a:lnTo>
                  <a:lnTo>
                    <a:pt x="60848" y="53584"/>
                  </a:lnTo>
                  <a:lnTo>
                    <a:pt x="59622" y="55565"/>
                  </a:lnTo>
                  <a:lnTo>
                    <a:pt x="60376" y="54528"/>
                  </a:lnTo>
                  <a:lnTo>
                    <a:pt x="60942" y="53678"/>
                  </a:lnTo>
                  <a:lnTo>
                    <a:pt x="61980" y="51792"/>
                  </a:lnTo>
                  <a:lnTo>
                    <a:pt x="61886" y="51886"/>
                  </a:lnTo>
                  <a:lnTo>
                    <a:pt x="61886" y="51697"/>
                  </a:lnTo>
                  <a:lnTo>
                    <a:pt x="62169" y="51037"/>
                  </a:lnTo>
                  <a:lnTo>
                    <a:pt x="62735" y="49999"/>
                  </a:lnTo>
                  <a:lnTo>
                    <a:pt x="61508" y="51603"/>
                  </a:lnTo>
                  <a:lnTo>
                    <a:pt x="61603" y="51037"/>
                  </a:lnTo>
                  <a:lnTo>
                    <a:pt x="61697" y="50377"/>
                  </a:lnTo>
                  <a:lnTo>
                    <a:pt x="62169" y="48962"/>
                  </a:lnTo>
                  <a:lnTo>
                    <a:pt x="62829" y="47358"/>
                  </a:lnTo>
                  <a:lnTo>
                    <a:pt x="63678" y="45565"/>
                  </a:lnTo>
                  <a:lnTo>
                    <a:pt x="65376" y="42169"/>
                  </a:lnTo>
                  <a:lnTo>
                    <a:pt x="66131" y="40660"/>
                  </a:lnTo>
                  <a:lnTo>
                    <a:pt x="66697" y="39339"/>
                  </a:lnTo>
                  <a:lnTo>
                    <a:pt x="66603" y="39528"/>
                  </a:lnTo>
                  <a:lnTo>
                    <a:pt x="66697" y="39056"/>
                  </a:lnTo>
                  <a:lnTo>
                    <a:pt x="66791" y="38962"/>
                  </a:lnTo>
                  <a:lnTo>
                    <a:pt x="66791" y="39056"/>
                  </a:lnTo>
                  <a:lnTo>
                    <a:pt x="66886" y="38584"/>
                  </a:lnTo>
                  <a:lnTo>
                    <a:pt x="66791" y="38867"/>
                  </a:lnTo>
                  <a:lnTo>
                    <a:pt x="66980" y="38207"/>
                  </a:lnTo>
                  <a:lnTo>
                    <a:pt x="67169" y="37264"/>
                  </a:lnTo>
                  <a:lnTo>
                    <a:pt x="67263" y="36415"/>
                  </a:lnTo>
                  <a:lnTo>
                    <a:pt x="67357" y="36509"/>
                  </a:lnTo>
                  <a:lnTo>
                    <a:pt x="67452" y="36509"/>
                  </a:lnTo>
                  <a:lnTo>
                    <a:pt x="67546" y="35943"/>
                  </a:lnTo>
                  <a:lnTo>
                    <a:pt x="67546" y="34811"/>
                  </a:lnTo>
                  <a:lnTo>
                    <a:pt x="67640" y="31037"/>
                  </a:lnTo>
                  <a:lnTo>
                    <a:pt x="67640" y="28490"/>
                  </a:lnTo>
                  <a:lnTo>
                    <a:pt x="67546" y="27736"/>
                  </a:lnTo>
                  <a:lnTo>
                    <a:pt x="67546" y="27547"/>
                  </a:lnTo>
                  <a:lnTo>
                    <a:pt x="67452" y="27547"/>
                  </a:lnTo>
                  <a:lnTo>
                    <a:pt x="67074" y="26792"/>
                  </a:lnTo>
                  <a:lnTo>
                    <a:pt x="66791" y="25660"/>
                  </a:lnTo>
                  <a:lnTo>
                    <a:pt x="66508" y="24528"/>
                  </a:lnTo>
                  <a:lnTo>
                    <a:pt x="66414" y="23585"/>
                  </a:lnTo>
                  <a:lnTo>
                    <a:pt x="66320" y="23679"/>
                  </a:lnTo>
                  <a:lnTo>
                    <a:pt x="66320" y="23490"/>
                  </a:lnTo>
                  <a:lnTo>
                    <a:pt x="65942" y="22924"/>
                  </a:lnTo>
                  <a:lnTo>
                    <a:pt x="65565" y="22358"/>
                  </a:lnTo>
                  <a:lnTo>
                    <a:pt x="64527" y="21132"/>
                  </a:lnTo>
                  <a:lnTo>
                    <a:pt x="63584" y="19906"/>
                  </a:lnTo>
                  <a:lnTo>
                    <a:pt x="63207" y="19340"/>
                  </a:lnTo>
                  <a:lnTo>
                    <a:pt x="63018" y="18774"/>
                  </a:lnTo>
                  <a:lnTo>
                    <a:pt x="63112" y="18962"/>
                  </a:lnTo>
                  <a:lnTo>
                    <a:pt x="63301" y="19057"/>
                  </a:lnTo>
                  <a:lnTo>
                    <a:pt x="63301" y="19057"/>
                  </a:lnTo>
                  <a:lnTo>
                    <a:pt x="63207" y="18868"/>
                  </a:lnTo>
                  <a:lnTo>
                    <a:pt x="62923" y="18491"/>
                  </a:lnTo>
                  <a:lnTo>
                    <a:pt x="61980" y="17453"/>
                  </a:lnTo>
                  <a:lnTo>
                    <a:pt x="61037" y="16509"/>
                  </a:lnTo>
                  <a:lnTo>
                    <a:pt x="61037" y="16698"/>
                  </a:lnTo>
                  <a:lnTo>
                    <a:pt x="61037" y="16887"/>
                  </a:lnTo>
                  <a:lnTo>
                    <a:pt x="60093" y="15943"/>
                  </a:lnTo>
                  <a:lnTo>
                    <a:pt x="60376" y="16321"/>
                  </a:lnTo>
                  <a:lnTo>
                    <a:pt x="59527" y="15377"/>
                  </a:lnTo>
                  <a:lnTo>
                    <a:pt x="59056" y="14906"/>
                  </a:lnTo>
                  <a:lnTo>
                    <a:pt x="59244" y="14906"/>
                  </a:lnTo>
                  <a:lnTo>
                    <a:pt x="59905" y="15472"/>
                  </a:lnTo>
                  <a:lnTo>
                    <a:pt x="59905" y="15472"/>
                  </a:lnTo>
                  <a:lnTo>
                    <a:pt x="57641" y="13396"/>
                  </a:lnTo>
                  <a:lnTo>
                    <a:pt x="58112" y="13868"/>
                  </a:lnTo>
                  <a:lnTo>
                    <a:pt x="56886" y="13019"/>
                  </a:lnTo>
                  <a:lnTo>
                    <a:pt x="55754" y="12453"/>
                  </a:lnTo>
                  <a:lnTo>
                    <a:pt x="56603" y="13113"/>
                  </a:lnTo>
                  <a:lnTo>
                    <a:pt x="57452" y="13774"/>
                  </a:lnTo>
                  <a:lnTo>
                    <a:pt x="58961" y="15283"/>
                  </a:lnTo>
                  <a:lnTo>
                    <a:pt x="60376" y="16604"/>
                  </a:lnTo>
                  <a:lnTo>
                    <a:pt x="61225" y="17264"/>
                  </a:lnTo>
                  <a:lnTo>
                    <a:pt x="62074" y="17925"/>
                  </a:lnTo>
                  <a:lnTo>
                    <a:pt x="62074" y="17925"/>
                  </a:lnTo>
                  <a:lnTo>
                    <a:pt x="61414" y="17547"/>
                  </a:lnTo>
                  <a:lnTo>
                    <a:pt x="60659" y="16981"/>
                  </a:lnTo>
                  <a:lnTo>
                    <a:pt x="60754" y="17264"/>
                  </a:lnTo>
                  <a:lnTo>
                    <a:pt x="60942" y="17642"/>
                  </a:lnTo>
                  <a:lnTo>
                    <a:pt x="61980" y="19151"/>
                  </a:lnTo>
                  <a:lnTo>
                    <a:pt x="63301" y="20943"/>
                  </a:lnTo>
                  <a:lnTo>
                    <a:pt x="63207" y="20943"/>
                  </a:lnTo>
                  <a:lnTo>
                    <a:pt x="63395" y="21038"/>
                  </a:lnTo>
                  <a:lnTo>
                    <a:pt x="63490" y="21321"/>
                  </a:lnTo>
                  <a:lnTo>
                    <a:pt x="63678" y="21604"/>
                  </a:lnTo>
                  <a:lnTo>
                    <a:pt x="63773" y="21698"/>
                  </a:lnTo>
                  <a:lnTo>
                    <a:pt x="63584" y="21321"/>
                  </a:lnTo>
                  <a:lnTo>
                    <a:pt x="63584" y="21321"/>
                  </a:lnTo>
                  <a:lnTo>
                    <a:pt x="64244" y="22170"/>
                  </a:lnTo>
                  <a:lnTo>
                    <a:pt x="64716" y="22641"/>
                  </a:lnTo>
                  <a:lnTo>
                    <a:pt x="64905" y="22830"/>
                  </a:lnTo>
                  <a:lnTo>
                    <a:pt x="64999" y="22830"/>
                  </a:lnTo>
                  <a:lnTo>
                    <a:pt x="64999" y="22641"/>
                  </a:lnTo>
                  <a:lnTo>
                    <a:pt x="64905" y="22358"/>
                  </a:lnTo>
                  <a:lnTo>
                    <a:pt x="65282" y="23207"/>
                  </a:lnTo>
                  <a:lnTo>
                    <a:pt x="65565" y="24056"/>
                  </a:lnTo>
                  <a:lnTo>
                    <a:pt x="66225" y="25943"/>
                  </a:lnTo>
                  <a:lnTo>
                    <a:pt x="66697" y="27830"/>
                  </a:lnTo>
                  <a:lnTo>
                    <a:pt x="66886" y="28490"/>
                  </a:lnTo>
                  <a:lnTo>
                    <a:pt x="66980" y="28868"/>
                  </a:lnTo>
                  <a:lnTo>
                    <a:pt x="66886" y="28962"/>
                  </a:lnTo>
                  <a:lnTo>
                    <a:pt x="66697" y="28679"/>
                  </a:lnTo>
                  <a:lnTo>
                    <a:pt x="66697" y="29245"/>
                  </a:lnTo>
                  <a:lnTo>
                    <a:pt x="66791" y="29905"/>
                  </a:lnTo>
                  <a:lnTo>
                    <a:pt x="66886" y="29905"/>
                  </a:lnTo>
                  <a:lnTo>
                    <a:pt x="66886" y="30094"/>
                  </a:lnTo>
                  <a:lnTo>
                    <a:pt x="66886" y="30566"/>
                  </a:lnTo>
                  <a:lnTo>
                    <a:pt x="66697" y="30377"/>
                  </a:lnTo>
                  <a:lnTo>
                    <a:pt x="66603" y="30188"/>
                  </a:lnTo>
                  <a:lnTo>
                    <a:pt x="66603" y="30094"/>
                  </a:lnTo>
                  <a:lnTo>
                    <a:pt x="66697" y="29905"/>
                  </a:lnTo>
                  <a:lnTo>
                    <a:pt x="66508" y="28679"/>
                  </a:lnTo>
                  <a:lnTo>
                    <a:pt x="66225" y="27358"/>
                  </a:lnTo>
                  <a:lnTo>
                    <a:pt x="66603" y="30283"/>
                  </a:lnTo>
                  <a:lnTo>
                    <a:pt x="66697" y="31792"/>
                  </a:lnTo>
                  <a:lnTo>
                    <a:pt x="66697" y="33302"/>
                  </a:lnTo>
                  <a:lnTo>
                    <a:pt x="66603" y="34717"/>
                  </a:lnTo>
                  <a:lnTo>
                    <a:pt x="66414" y="36226"/>
                  </a:lnTo>
                  <a:lnTo>
                    <a:pt x="66131" y="37547"/>
                  </a:lnTo>
                  <a:lnTo>
                    <a:pt x="65659" y="38962"/>
                  </a:lnTo>
                  <a:lnTo>
                    <a:pt x="65848" y="38584"/>
                  </a:lnTo>
                  <a:lnTo>
                    <a:pt x="65942" y="38584"/>
                  </a:lnTo>
                  <a:lnTo>
                    <a:pt x="65848" y="39245"/>
                  </a:lnTo>
                  <a:lnTo>
                    <a:pt x="65565" y="40188"/>
                  </a:lnTo>
                  <a:lnTo>
                    <a:pt x="65471" y="40471"/>
                  </a:lnTo>
                  <a:lnTo>
                    <a:pt x="65282" y="40660"/>
                  </a:lnTo>
                  <a:lnTo>
                    <a:pt x="65282" y="40566"/>
                  </a:lnTo>
                  <a:lnTo>
                    <a:pt x="65093" y="41132"/>
                  </a:lnTo>
                  <a:lnTo>
                    <a:pt x="64433" y="43018"/>
                  </a:lnTo>
                  <a:lnTo>
                    <a:pt x="63678" y="45282"/>
                  </a:lnTo>
                  <a:lnTo>
                    <a:pt x="62735" y="47264"/>
                  </a:lnTo>
                  <a:lnTo>
                    <a:pt x="61697" y="49056"/>
                  </a:lnTo>
                  <a:lnTo>
                    <a:pt x="60659" y="50943"/>
                  </a:lnTo>
                  <a:lnTo>
                    <a:pt x="59433" y="52735"/>
                  </a:lnTo>
                  <a:lnTo>
                    <a:pt x="58207" y="54433"/>
                  </a:lnTo>
                  <a:lnTo>
                    <a:pt x="56886" y="56037"/>
                  </a:lnTo>
                  <a:lnTo>
                    <a:pt x="55376" y="57641"/>
                  </a:lnTo>
                  <a:lnTo>
                    <a:pt x="53867" y="59150"/>
                  </a:lnTo>
                  <a:lnTo>
                    <a:pt x="52169" y="60376"/>
                  </a:lnTo>
                  <a:lnTo>
                    <a:pt x="48961" y="62452"/>
                  </a:lnTo>
                  <a:lnTo>
                    <a:pt x="44528" y="65282"/>
                  </a:lnTo>
                  <a:lnTo>
                    <a:pt x="44622" y="65188"/>
                  </a:lnTo>
                  <a:lnTo>
                    <a:pt x="44716" y="65093"/>
                  </a:lnTo>
                  <a:lnTo>
                    <a:pt x="45094" y="64810"/>
                  </a:lnTo>
                  <a:lnTo>
                    <a:pt x="45660" y="64527"/>
                  </a:lnTo>
                  <a:lnTo>
                    <a:pt x="43867" y="65376"/>
                  </a:lnTo>
                  <a:lnTo>
                    <a:pt x="43113" y="65754"/>
                  </a:lnTo>
                  <a:lnTo>
                    <a:pt x="42924" y="65754"/>
                  </a:lnTo>
                  <a:lnTo>
                    <a:pt x="43113" y="65659"/>
                  </a:lnTo>
                  <a:lnTo>
                    <a:pt x="41603" y="66037"/>
                  </a:lnTo>
                  <a:lnTo>
                    <a:pt x="39999" y="66320"/>
                  </a:lnTo>
                  <a:lnTo>
                    <a:pt x="38396" y="66508"/>
                  </a:lnTo>
                  <a:lnTo>
                    <a:pt x="36792" y="66697"/>
                  </a:lnTo>
                  <a:lnTo>
                    <a:pt x="33584" y="66980"/>
                  </a:lnTo>
                  <a:lnTo>
                    <a:pt x="32169" y="67169"/>
                  </a:lnTo>
                  <a:lnTo>
                    <a:pt x="30754" y="67357"/>
                  </a:lnTo>
                  <a:lnTo>
                    <a:pt x="30094" y="67357"/>
                  </a:lnTo>
                  <a:lnTo>
                    <a:pt x="29339" y="67263"/>
                  </a:lnTo>
                  <a:lnTo>
                    <a:pt x="27830" y="66886"/>
                  </a:lnTo>
                  <a:lnTo>
                    <a:pt x="26415" y="66508"/>
                  </a:lnTo>
                  <a:lnTo>
                    <a:pt x="25754" y="66414"/>
                  </a:lnTo>
                  <a:lnTo>
                    <a:pt x="25094" y="66414"/>
                  </a:lnTo>
                  <a:lnTo>
                    <a:pt x="25566" y="66980"/>
                  </a:lnTo>
                  <a:lnTo>
                    <a:pt x="25471" y="67074"/>
                  </a:lnTo>
                  <a:lnTo>
                    <a:pt x="25188" y="66980"/>
                  </a:lnTo>
                  <a:lnTo>
                    <a:pt x="24339" y="66791"/>
                  </a:lnTo>
                  <a:lnTo>
                    <a:pt x="23773" y="66508"/>
                  </a:lnTo>
                  <a:lnTo>
                    <a:pt x="24245" y="66414"/>
                  </a:lnTo>
                  <a:lnTo>
                    <a:pt x="24717" y="66603"/>
                  </a:lnTo>
                  <a:lnTo>
                    <a:pt x="24811" y="66414"/>
                  </a:lnTo>
                  <a:lnTo>
                    <a:pt x="24811" y="66320"/>
                  </a:lnTo>
                  <a:lnTo>
                    <a:pt x="24717" y="66225"/>
                  </a:lnTo>
                  <a:lnTo>
                    <a:pt x="24528" y="66131"/>
                  </a:lnTo>
                  <a:lnTo>
                    <a:pt x="24151" y="66225"/>
                  </a:lnTo>
                  <a:lnTo>
                    <a:pt x="23679" y="66320"/>
                  </a:lnTo>
                  <a:lnTo>
                    <a:pt x="23018" y="66414"/>
                  </a:lnTo>
                  <a:lnTo>
                    <a:pt x="23490" y="66225"/>
                  </a:lnTo>
                  <a:lnTo>
                    <a:pt x="22075" y="65942"/>
                  </a:lnTo>
                  <a:lnTo>
                    <a:pt x="20943" y="65659"/>
                  </a:lnTo>
                  <a:lnTo>
                    <a:pt x="20000" y="65282"/>
                  </a:lnTo>
                  <a:lnTo>
                    <a:pt x="19056" y="64810"/>
                  </a:lnTo>
                  <a:lnTo>
                    <a:pt x="19056" y="64810"/>
                  </a:lnTo>
                  <a:lnTo>
                    <a:pt x="19717" y="64999"/>
                  </a:lnTo>
                  <a:lnTo>
                    <a:pt x="19151" y="64716"/>
                  </a:lnTo>
                  <a:lnTo>
                    <a:pt x="18962" y="64810"/>
                  </a:lnTo>
                  <a:lnTo>
                    <a:pt x="19151" y="64905"/>
                  </a:lnTo>
                  <a:lnTo>
                    <a:pt x="18490" y="64905"/>
                  </a:lnTo>
                  <a:lnTo>
                    <a:pt x="17830" y="64716"/>
                  </a:lnTo>
                  <a:lnTo>
                    <a:pt x="17264" y="64527"/>
                  </a:lnTo>
                  <a:lnTo>
                    <a:pt x="16698" y="64150"/>
                  </a:lnTo>
                  <a:lnTo>
                    <a:pt x="16981" y="64056"/>
                  </a:lnTo>
                  <a:lnTo>
                    <a:pt x="17264" y="64150"/>
                  </a:lnTo>
                  <a:lnTo>
                    <a:pt x="17264" y="64150"/>
                  </a:lnTo>
                  <a:lnTo>
                    <a:pt x="15188" y="63207"/>
                  </a:lnTo>
                  <a:lnTo>
                    <a:pt x="14622" y="62829"/>
                  </a:lnTo>
                  <a:lnTo>
                    <a:pt x="14717" y="62924"/>
                  </a:lnTo>
                  <a:lnTo>
                    <a:pt x="13773" y="62546"/>
                  </a:lnTo>
                  <a:lnTo>
                    <a:pt x="12924" y="62075"/>
                  </a:lnTo>
                  <a:lnTo>
                    <a:pt x="12358" y="61697"/>
                  </a:lnTo>
                  <a:lnTo>
                    <a:pt x="12264" y="61508"/>
                  </a:lnTo>
                  <a:lnTo>
                    <a:pt x="12170" y="61320"/>
                  </a:lnTo>
                  <a:lnTo>
                    <a:pt x="11698" y="60942"/>
                  </a:lnTo>
                  <a:lnTo>
                    <a:pt x="11132" y="60471"/>
                  </a:lnTo>
                  <a:lnTo>
                    <a:pt x="9906" y="59244"/>
                  </a:lnTo>
                  <a:lnTo>
                    <a:pt x="9906" y="59244"/>
                  </a:lnTo>
                  <a:lnTo>
                    <a:pt x="10566" y="59527"/>
                  </a:lnTo>
                  <a:lnTo>
                    <a:pt x="9434" y="58584"/>
                  </a:lnTo>
                  <a:lnTo>
                    <a:pt x="8207" y="57546"/>
                  </a:lnTo>
                  <a:lnTo>
                    <a:pt x="7547" y="56886"/>
                  </a:lnTo>
                  <a:lnTo>
                    <a:pt x="6981" y="56131"/>
                  </a:lnTo>
                  <a:lnTo>
                    <a:pt x="6226" y="55094"/>
                  </a:lnTo>
                  <a:lnTo>
                    <a:pt x="6415" y="55377"/>
                  </a:lnTo>
                  <a:lnTo>
                    <a:pt x="6038" y="54905"/>
                  </a:lnTo>
                  <a:lnTo>
                    <a:pt x="5472" y="54244"/>
                  </a:lnTo>
                  <a:lnTo>
                    <a:pt x="5283" y="53961"/>
                  </a:lnTo>
                  <a:lnTo>
                    <a:pt x="5094" y="53867"/>
                  </a:lnTo>
                  <a:lnTo>
                    <a:pt x="5377" y="54622"/>
                  </a:lnTo>
                  <a:lnTo>
                    <a:pt x="5849" y="55282"/>
                  </a:lnTo>
                  <a:lnTo>
                    <a:pt x="6321" y="55943"/>
                  </a:lnTo>
                  <a:lnTo>
                    <a:pt x="6698" y="56603"/>
                  </a:lnTo>
                  <a:lnTo>
                    <a:pt x="6226" y="56226"/>
                  </a:lnTo>
                  <a:lnTo>
                    <a:pt x="5943" y="55848"/>
                  </a:lnTo>
                  <a:lnTo>
                    <a:pt x="6038" y="56037"/>
                  </a:lnTo>
                  <a:lnTo>
                    <a:pt x="5943" y="55943"/>
                  </a:lnTo>
                  <a:lnTo>
                    <a:pt x="5377" y="55188"/>
                  </a:lnTo>
                  <a:lnTo>
                    <a:pt x="5000" y="54716"/>
                  </a:lnTo>
                  <a:lnTo>
                    <a:pt x="4717" y="54150"/>
                  </a:lnTo>
                  <a:lnTo>
                    <a:pt x="4528" y="53678"/>
                  </a:lnTo>
                  <a:lnTo>
                    <a:pt x="4528" y="53584"/>
                  </a:lnTo>
                  <a:lnTo>
                    <a:pt x="4623" y="53395"/>
                  </a:lnTo>
                  <a:lnTo>
                    <a:pt x="5094" y="54244"/>
                  </a:lnTo>
                  <a:lnTo>
                    <a:pt x="4717" y="53301"/>
                  </a:lnTo>
                  <a:lnTo>
                    <a:pt x="4528" y="53018"/>
                  </a:lnTo>
                  <a:lnTo>
                    <a:pt x="4151" y="52263"/>
                  </a:lnTo>
                  <a:lnTo>
                    <a:pt x="4151" y="52169"/>
                  </a:lnTo>
                  <a:lnTo>
                    <a:pt x="3774" y="51509"/>
                  </a:lnTo>
                  <a:lnTo>
                    <a:pt x="3396" y="50660"/>
                  </a:lnTo>
                  <a:lnTo>
                    <a:pt x="3585" y="51603"/>
                  </a:lnTo>
                  <a:lnTo>
                    <a:pt x="3396" y="51226"/>
                  </a:lnTo>
                  <a:lnTo>
                    <a:pt x="3208" y="50848"/>
                  </a:lnTo>
                  <a:lnTo>
                    <a:pt x="3208" y="50471"/>
                  </a:lnTo>
                  <a:lnTo>
                    <a:pt x="3208" y="50094"/>
                  </a:lnTo>
                  <a:lnTo>
                    <a:pt x="3585" y="50754"/>
                  </a:lnTo>
                  <a:lnTo>
                    <a:pt x="3868" y="51509"/>
                  </a:lnTo>
                  <a:lnTo>
                    <a:pt x="3868" y="51509"/>
                  </a:lnTo>
                  <a:lnTo>
                    <a:pt x="3208" y="49528"/>
                  </a:lnTo>
                  <a:lnTo>
                    <a:pt x="3208" y="49528"/>
                  </a:lnTo>
                  <a:lnTo>
                    <a:pt x="3868" y="50754"/>
                  </a:lnTo>
                  <a:lnTo>
                    <a:pt x="3208" y="48962"/>
                  </a:lnTo>
                  <a:lnTo>
                    <a:pt x="3585" y="49339"/>
                  </a:lnTo>
                  <a:lnTo>
                    <a:pt x="3774" y="49433"/>
                  </a:lnTo>
                  <a:lnTo>
                    <a:pt x="3962" y="49528"/>
                  </a:lnTo>
                  <a:lnTo>
                    <a:pt x="4057" y="49905"/>
                  </a:lnTo>
                  <a:lnTo>
                    <a:pt x="3868" y="48962"/>
                  </a:lnTo>
                  <a:lnTo>
                    <a:pt x="3491" y="47924"/>
                  </a:lnTo>
                  <a:lnTo>
                    <a:pt x="2641" y="45565"/>
                  </a:lnTo>
                  <a:lnTo>
                    <a:pt x="2170" y="43867"/>
                  </a:lnTo>
                  <a:lnTo>
                    <a:pt x="1698" y="41886"/>
                  </a:lnTo>
                  <a:lnTo>
                    <a:pt x="1698" y="41886"/>
                  </a:lnTo>
                  <a:lnTo>
                    <a:pt x="1887" y="42075"/>
                  </a:lnTo>
                  <a:lnTo>
                    <a:pt x="1981" y="41981"/>
                  </a:lnTo>
                  <a:lnTo>
                    <a:pt x="2075" y="42075"/>
                  </a:lnTo>
                  <a:lnTo>
                    <a:pt x="2264" y="42169"/>
                  </a:lnTo>
                  <a:lnTo>
                    <a:pt x="2170" y="40283"/>
                  </a:lnTo>
                  <a:lnTo>
                    <a:pt x="2075" y="38301"/>
                  </a:lnTo>
                  <a:lnTo>
                    <a:pt x="2170" y="36415"/>
                  </a:lnTo>
                  <a:lnTo>
                    <a:pt x="2358" y="35566"/>
                  </a:lnTo>
                  <a:lnTo>
                    <a:pt x="2453" y="34811"/>
                  </a:lnTo>
                  <a:lnTo>
                    <a:pt x="2830" y="32830"/>
                  </a:lnTo>
                  <a:lnTo>
                    <a:pt x="2830" y="33207"/>
                  </a:lnTo>
                  <a:lnTo>
                    <a:pt x="2924" y="33490"/>
                  </a:lnTo>
                  <a:lnTo>
                    <a:pt x="2924" y="32453"/>
                  </a:lnTo>
                  <a:lnTo>
                    <a:pt x="3019" y="31415"/>
                  </a:lnTo>
                  <a:lnTo>
                    <a:pt x="3396" y="29245"/>
                  </a:lnTo>
                  <a:lnTo>
                    <a:pt x="3868" y="27075"/>
                  </a:lnTo>
                  <a:lnTo>
                    <a:pt x="4623" y="25000"/>
                  </a:lnTo>
                  <a:lnTo>
                    <a:pt x="5566" y="22830"/>
                  </a:lnTo>
                  <a:lnTo>
                    <a:pt x="6604" y="20849"/>
                  </a:lnTo>
                  <a:lnTo>
                    <a:pt x="7830" y="18868"/>
                  </a:lnTo>
                  <a:lnTo>
                    <a:pt x="9151" y="16887"/>
                  </a:lnTo>
                  <a:lnTo>
                    <a:pt x="10566" y="15094"/>
                  </a:lnTo>
                  <a:lnTo>
                    <a:pt x="12075" y="13302"/>
                  </a:lnTo>
                  <a:lnTo>
                    <a:pt x="13773" y="11698"/>
                  </a:lnTo>
                  <a:lnTo>
                    <a:pt x="15377" y="10095"/>
                  </a:lnTo>
                  <a:lnTo>
                    <a:pt x="17170" y="8679"/>
                  </a:lnTo>
                  <a:lnTo>
                    <a:pt x="18962" y="7453"/>
                  </a:lnTo>
                  <a:lnTo>
                    <a:pt x="20754" y="6321"/>
                  </a:lnTo>
                  <a:lnTo>
                    <a:pt x="22547" y="5378"/>
                  </a:lnTo>
                  <a:lnTo>
                    <a:pt x="21603" y="6227"/>
                  </a:lnTo>
                  <a:lnTo>
                    <a:pt x="22641" y="5472"/>
                  </a:lnTo>
                  <a:lnTo>
                    <a:pt x="23302" y="5095"/>
                  </a:lnTo>
                  <a:lnTo>
                    <a:pt x="25377" y="4151"/>
                  </a:lnTo>
                  <a:lnTo>
                    <a:pt x="24811" y="4151"/>
                  </a:lnTo>
                  <a:lnTo>
                    <a:pt x="25660" y="3774"/>
                  </a:lnTo>
                  <a:lnTo>
                    <a:pt x="26886" y="3208"/>
                  </a:lnTo>
                  <a:lnTo>
                    <a:pt x="26603" y="3585"/>
                  </a:lnTo>
                  <a:lnTo>
                    <a:pt x="26886" y="3585"/>
                  </a:lnTo>
                  <a:lnTo>
                    <a:pt x="26886" y="3680"/>
                  </a:lnTo>
                  <a:lnTo>
                    <a:pt x="26792" y="3774"/>
                  </a:lnTo>
                  <a:lnTo>
                    <a:pt x="28301" y="3302"/>
                  </a:lnTo>
                  <a:lnTo>
                    <a:pt x="29622" y="2736"/>
                  </a:lnTo>
                  <a:lnTo>
                    <a:pt x="31037" y="2264"/>
                  </a:lnTo>
                  <a:lnTo>
                    <a:pt x="31792" y="2076"/>
                  </a:lnTo>
                  <a:lnTo>
                    <a:pt x="32641" y="1981"/>
                  </a:lnTo>
                  <a:lnTo>
                    <a:pt x="32547" y="2076"/>
                  </a:lnTo>
                  <a:lnTo>
                    <a:pt x="32924" y="1981"/>
                  </a:lnTo>
                  <a:lnTo>
                    <a:pt x="34245" y="1793"/>
                  </a:lnTo>
                  <a:lnTo>
                    <a:pt x="35848" y="1415"/>
                  </a:lnTo>
                  <a:lnTo>
                    <a:pt x="36981" y="1132"/>
                  </a:lnTo>
                  <a:lnTo>
                    <a:pt x="36981" y="1415"/>
                  </a:lnTo>
                  <a:lnTo>
                    <a:pt x="40943" y="1227"/>
                  </a:lnTo>
                  <a:lnTo>
                    <a:pt x="41509" y="1038"/>
                  </a:lnTo>
                  <a:lnTo>
                    <a:pt x="41697" y="1132"/>
                  </a:lnTo>
                  <a:lnTo>
                    <a:pt x="41509" y="1227"/>
                  </a:lnTo>
                  <a:lnTo>
                    <a:pt x="41320" y="1321"/>
                  </a:lnTo>
                  <a:lnTo>
                    <a:pt x="42263" y="1321"/>
                  </a:lnTo>
                  <a:lnTo>
                    <a:pt x="43113" y="1227"/>
                  </a:lnTo>
                  <a:lnTo>
                    <a:pt x="43396" y="1415"/>
                  </a:lnTo>
                  <a:lnTo>
                    <a:pt x="44056" y="1604"/>
                  </a:lnTo>
                  <a:lnTo>
                    <a:pt x="45943" y="2076"/>
                  </a:lnTo>
                  <a:lnTo>
                    <a:pt x="48018" y="2359"/>
                  </a:lnTo>
                  <a:lnTo>
                    <a:pt x="49622" y="2736"/>
                  </a:lnTo>
                  <a:lnTo>
                    <a:pt x="47641" y="1981"/>
                  </a:lnTo>
                  <a:lnTo>
                    <a:pt x="45282" y="1321"/>
                  </a:lnTo>
                  <a:lnTo>
                    <a:pt x="42735" y="755"/>
                  </a:lnTo>
                  <a:lnTo>
                    <a:pt x="40188" y="283"/>
                  </a:lnTo>
                  <a:lnTo>
                    <a:pt x="37735" y="95"/>
                  </a:lnTo>
                  <a:lnTo>
                    <a:pt x="35471" y="0"/>
                  </a:lnTo>
                  <a:close/>
                </a:path>
              </a:pathLst>
            </a:custGeom>
            <a:solidFill>
              <a:schemeClr val="bg1">
                <a:lumMod val="95000"/>
              </a:schemeClr>
            </a:solidFill>
            <a:ln w="0">
              <a:solidFill>
                <a:srgbClr val="0079D1"/>
              </a:solidFill>
            </a:ln>
          </p:spPr>
          <p:txBody>
            <a:bodyPr spcFirstLastPara="1" wrap="square" lIns="91425" tIns="91425" rIns="91425" bIns="91425" anchor="ctr" anchorCtr="0">
              <a:noAutofit/>
            </a:bodyPr>
            <a:lstStyle/>
            <a:p>
              <a:pPr marL="0" lvl="0" indent="0">
                <a:spcBef>
                  <a:spcPts val="0"/>
                </a:spcBef>
                <a:spcAft>
                  <a:spcPts val="0"/>
                </a:spcAft>
                <a:buNone/>
              </a:pPr>
              <a:endParaRPr sz="1200">
                <a:latin typeface="+mj-lt"/>
              </a:endParaRPr>
            </a:p>
          </p:txBody>
        </p:sp>
        <p:sp>
          <p:nvSpPr>
            <p:cNvPr id="612" name="TextBox 611">
              <a:extLst>
                <a:ext uri="{FF2B5EF4-FFF2-40B4-BE49-F238E27FC236}">
                  <a16:creationId xmlns:a16="http://schemas.microsoft.com/office/drawing/2014/main" id="{AC15E3AF-734D-9B41-8E62-2F6D0FF4068C}"/>
                </a:ext>
              </a:extLst>
            </p:cNvPr>
            <p:cNvSpPr txBox="1"/>
            <p:nvPr/>
          </p:nvSpPr>
          <p:spPr>
            <a:xfrm>
              <a:off x="8676898" y="4619460"/>
              <a:ext cx="229951" cy="200055"/>
            </a:xfrm>
            <a:prstGeom prst="rect">
              <a:avLst/>
            </a:prstGeom>
            <a:noFill/>
          </p:spPr>
          <p:txBody>
            <a:bodyPr wrap="square" rtlCol="0">
              <a:spAutoFit/>
            </a:bodyPr>
            <a:lstStyle/>
            <a:p>
              <a:r>
                <a:rPr lang="en-US" sz="700" b="1" dirty="0">
                  <a:solidFill>
                    <a:srgbClr val="0079D1"/>
                  </a:solidFill>
                  <a:latin typeface="+mj-lt"/>
                </a:rPr>
                <a:t>E</a:t>
              </a:r>
            </a:p>
          </p:txBody>
        </p:sp>
      </p:grpSp>
      <p:sp>
        <p:nvSpPr>
          <p:cNvPr id="613" name="TextBox 612">
            <a:extLst>
              <a:ext uri="{FF2B5EF4-FFF2-40B4-BE49-F238E27FC236}">
                <a16:creationId xmlns:a16="http://schemas.microsoft.com/office/drawing/2014/main" id="{423D06AE-E882-4D42-A13C-D5C2787BCA86}"/>
              </a:ext>
            </a:extLst>
          </p:cNvPr>
          <p:cNvSpPr txBox="1"/>
          <p:nvPr/>
        </p:nvSpPr>
        <p:spPr>
          <a:xfrm>
            <a:off x="358377" y="2980795"/>
            <a:ext cx="1899525" cy="343341"/>
          </a:xfrm>
          <a:prstGeom prst="rect">
            <a:avLst/>
          </a:prstGeom>
          <a:noFill/>
        </p:spPr>
        <p:txBody>
          <a:bodyPr wrap="square" tIns="90000" bIns="90000" rtlCol="0" anchor="t">
            <a:spAutoFit/>
          </a:bodyPr>
          <a:lstStyle>
            <a:defPPr>
              <a:defRPr lang="en-US"/>
            </a:defPPr>
            <a:lvl1pPr>
              <a:defRPr sz="700" b="1">
                <a:solidFill>
                  <a:srgbClr val="0079D1"/>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defRPr>
            </a:lvl1pPr>
          </a:lstStyle>
          <a:p>
            <a:r>
              <a:rPr lang="en-US" dirty="0"/>
              <a:t>Data Capture</a:t>
            </a:r>
          </a:p>
        </p:txBody>
      </p:sp>
      <p:grpSp>
        <p:nvGrpSpPr>
          <p:cNvPr id="614" name="Group 613">
            <a:extLst>
              <a:ext uri="{FF2B5EF4-FFF2-40B4-BE49-F238E27FC236}">
                <a16:creationId xmlns:a16="http://schemas.microsoft.com/office/drawing/2014/main" id="{5156B8FB-793E-D343-B48B-145CB3970CD8}"/>
              </a:ext>
            </a:extLst>
          </p:cNvPr>
          <p:cNvGrpSpPr/>
          <p:nvPr/>
        </p:nvGrpSpPr>
        <p:grpSpPr>
          <a:xfrm>
            <a:off x="154751" y="3048738"/>
            <a:ext cx="229951" cy="215444"/>
            <a:chOff x="8676898" y="4619460"/>
            <a:chExt cx="229951" cy="215444"/>
          </a:xfrm>
        </p:grpSpPr>
        <p:sp>
          <p:nvSpPr>
            <p:cNvPr id="615" name="Google Shape;431;p39">
              <a:extLst>
                <a:ext uri="{FF2B5EF4-FFF2-40B4-BE49-F238E27FC236}">
                  <a16:creationId xmlns:a16="http://schemas.microsoft.com/office/drawing/2014/main" id="{6067710D-16B5-3946-8D01-BB34F8A2E6E4}"/>
                </a:ext>
              </a:extLst>
            </p:cNvPr>
            <p:cNvSpPr/>
            <p:nvPr/>
          </p:nvSpPr>
          <p:spPr>
            <a:xfrm>
              <a:off x="8709950" y="4635551"/>
              <a:ext cx="179407" cy="167874"/>
            </a:xfrm>
            <a:custGeom>
              <a:avLst/>
              <a:gdLst/>
              <a:ahLst/>
              <a:cxnLst/>
              <a:rect l="0" t="0" r="0" b="0"/>
              <a:pathLst>
                <a:path w="67641" h="69056" extrusionOk="0">
                  <a:moveTo>
                    <a:pt x="49622" y="2736"/>
                  </a:moveTo>
                  <a:lnTo>
                    <a:pt x="49622" y="2736"/>
                  </a:lnTo>
                  <a:lnTo>
                    <a:pt x="49622" y="2736"/>
                  </a:lnTo>
                  <a:close/>
                  <a:moveTo>
                    <a:pt x="59622" y="55565"/>
                  </a:moveTo>
                  <a:lnTo>
                    <a:pt x="59622" y="55565"/>
                  </a:lnTo>
                  <a:lnTo>
                    <a:pt x="59622" y="55565"/>
                  </a:lnTo>
                  <a:close/>
                  <a:moveTo>
                    <a:pt x="35471" y="0"/>
                  </a:moveTo>
                  <a:lnTo>
                    <a:pt x="34433" y="95"/>
                  </a:lnTo>
                  <a:lnTo>
                    <a:pt x="33584" y="189"/>
                  </a:lnTo>
                  <a:lnTo>
                    <a:pt x="32735" y="378"/>
                  </a:lnTo>
                  <a:lnTo>
                    <a:pt x="32169" y="566"/>
                  </a:lnTo>
                  <a:lnTo>
                    <a:pt x="31509" y="472"/>
                  </a:lnTo>
                  <a:lnTo>
                    <a:pt x="30754" y="472"/>
                  </a:lnTo>
                  <a:lnTo>
                    <a:pt x="29339" y="566"/>
                  </a:lnTo>
                  <a:lnTo>
                    <a:pt x="27830" y="849"/>
                  </a:lnTo>
                  <a:lnTo>
                    <a:pt x="26320" y="1321"/>
                  </a:lnTo>
                  <a:lnTo>
                    <a:pt x="24811" y="1981"/>
                  </a:lnTo>
                  <a:lnTo>
                    <a:pt x="23207" y="2736"/>
                  </a:lnTo>
                  <a:lnTo>
                    <a:pt x="21698" y="3585"/>
                  </a:lnTo>
                  <a:lnTo>
                    <a:pt x="20188" y="4623"/>
                  </a:lnTo>
                  <a:lnTo>
                    <a:pt x="18679" y="5661"/>
                  </a:lnTo>
                  <a:lnTo>
                    <a:pt x="17170" y="6793"/>
                  </a:lnTo>
                  <a:lnTo>
                    <a:pt x="15754" y="8019"/>
                  </a:lnTo>
                  <a:lnTo>
                    <a:pt x="14434" y="9151"/>
                  </a:lnTo>
                  <a:lnTo>
                    <a:pt x="11981" y="11510"/>
                  </a:lnTo>
                  <a:lnTo>
                    <a:pt x="10000" y="13774"/>
                  </a:lnTo>
                  <a:lnTo>
                    <a:pt x="7736" y="16981"/>
                  </a:lnTo>
                  <a:lnTo>
                    <a:pt x="8019" y="16321"/>
                  </a:lnTo>
                  <a:lnTo>
                    <a:pt x="8302" y="15660"/>
                  </a:lnTo>
                  <a:lnTo>
                    <a:pt x="7736" y="16604"/>
                  </a:lnTo>
                  <a:lnTo>
                    <a:pt x="7075" y="17642"/>
                  </a:lnTo>
                  <a:lnTo>
                    <a:pt x="7170" y="17830"/>
                  </a:lnTo>
                  <a:lnTo>
                    <a:pt x="6509" y="18868"/>
                  </a:lnTo>
                  <a:lnTo>
                    <a:pt x="7075" y="17359"/>
                  </a:lnTo>
                  <a:lnTo>
                    <a:pt x="6132" y="19057"/>
                  </a:lnTo>
                  <a:lnTo>
                    <a:pt x="5189" y="20849"/>
                  </a:lnTo>
                  <a:lnTo>
                    <a:pt x="4434" y="22736"/>
                  </a:lnTo>
                  <a:lnTo>
                    <a:pt x="3679" y="24622"/>
                  </a:lnTo>
                  <a:lnTo>
                    <a:pt x="2453" y="28490"/>
                  </a:lnTo>
                  <a:lnTo>
                    <a:pt x="1321" y="32169"/>
                  </a:lnTo>
                  <a:lnTo>
                    <a:pt x="1509" y="32264"/>
                  </a:lnTo>
                  <a:lnTo>
                    <a:pt x="1604" y="32453"/>
                  </a:lnTo>
                  <a:lnTo>
                    <a:pt x="1604" y="32641"/>
                  </a:lnTo>
                  <a:lnTo>
                    <a:pt x="1509" y="32924"/>
                  </a:lnTo>
                  <a:lnTo>
                    <a:pt x="1226" y="33396"/>
                  </a:lnTo>
                  <a:lnTo>
                    <a:pt x="1038" y="33585"/>
                  </a:lnTo>
                  <a:lnTo>
                    <a:pt x="1038" y="33773"/>
                  </a:lnTo>
                  <a:lnTo>
                    <a:pt x="1038" y="35000"/>
                  </a:lnTo>
                  <a:lnTo>
                    <a:pt x="849" y="36132"/>
                  </a:lnTo>
                  <a:lnTo>
                    <a:pt x="660" y="37358"/>
                  </a:lnTo>
                  <a:lnTo>
                    <a:pt x="472" y="38867"/>
                  </a:lnTo>
                  <a:lnTo>
                    <a:pt x="283" y="38301"/>
                  </a:lnTo>
                  <a:lnTo>
                    <a:pt x="94" y="39811"/>
                  </a:lnTo>
                  <a:lnTo>
                    <a:pt x="0" y="41509"/>
                  </a:lnTo>
                  <a:lnTo>
                    <a:pt x="94" y="43301"/>
                  </a:lnTo>
                  <a:lnTo>
                    <a:pt x="283" y="44056"/>
                  </a:lnTo>
                  <a:lnTo>
                    <a:pt x="472" y="44622"/>
                  </a:lnTo>
                  <a:lnTo>
                    <a:pt x="566" y="45660"/>
                  </a:lnTo>
                  <a:lnTo>
                    <a:pt x="755" y="46792"/>
                  </a:lnTo>
                  <a:lnTo>
                    <a:pt x="1226" y="48962"/>
                  </a:lnTo>
                  <a:lnTo>
                    <a:pt x="1981" y="51037"/>
                  </a:lnTo>
                  <a:lnTo>
                    <a:pt x="2924" y="53112"/>
                  </a:lnTo>
                  <a:lnTo>
                    <a:pt x="4057" y="55094"/>
                  </a:lnTo>
                  <a:lnTo>
                    <a:pt x="5283" y="56980"/>
                  </a:lnTo>
                  <a:lnTo>
                    <a:pt x="6698" y="58678"/>
                  </a:lnTo>
                  <a:lnTo>
                    <a:pt x="8113" y="60282"/>
                  </a:lnTo>
                  <a:lnTo>
                    <a:pt x="9056" y="61131"/>
                  </a:lnTo>
                  <a:lnTo>
                    <a:pt x="10000" y="61980"/>
                  </a:lnTo>
                  <a:lnTo>
                    <a:pt x="11038" y="62829"/>
                  </a:lnTo>
                  <a:lnTo>
                    <a:pt x="12075" y="63584"/>
                  </a:lnTo>
                  <a:lnTo>
                    <a:pt x="14339" y="64905"/>
                  </a:lnTo>
                  <a:lnTo>
                    <a:pt x="16604" y="66131"/>
                  </a:lnTo>
                  <a:lnTo>
                    <a:pt x="19056" y="67169"/>
                  </a:lnTo>
                  <a:lnTo>
                    <a:pt x="21509" y="67923"/>
                  </a:lnTo>
                  <a:lnTo>
                    <a:pt x="24056" y="68584"/>
                  </a:lnTo>
                  <a:lnTo>
                    <a:pt x="26603" y="69055"/>
                  </a:lnTo>
                  <a:lnTo>
                    <a:pt x="27830" y="69055"/>
                  </a:lnTo>
                  <a:lnTo>
                    <a:pt x="30188" y="68867"/>
                  </a:lnTo>
                  <a:lnTo>
                    <a:pt x="33113" y="68678"/>
                  </a:lnTo>
                  <a:lnTo>
                    <a:pt x="36509" y="68301"/>
                  </a:lnTo>
                  <a:lnTo>
                    <a:pt x="39811" y="67923"/>
                  </a:lnTo>
                  <a:lnTo>
                    <a:pt x="42735" y="67452"/>
                  </a:lnTo>
                  <a:lnTo>
                    <a:pt x="44905" y="66980"/>
                  </a:lnTo>
                  <a:lnTo>
                    <a:pt x="45565" y="66791"/>
                  </a:lnTo>
                  <a:lnTo>
                    <a:pt x="45943" y="66508"/>
                  </a:lnTo>
                  <a:lnTo>
                    <a:pt x="47358" y="65942"/>
                  </a:lnTo>
                  <a:lnTo>
                    <a:pt x="48018" y="65565"/>
                  </a:lnTo>
                  <a:lnTo>
                    <a:pt x="48678" y="65188"/>
                  </a:lnTo>
                  <a:lnTo>
                    <a:pt x="47924" y="65471"/>
                  </a:lnTo>
                  <a:lnTo>
                    <a:pt x="51509" y="62924"/>
                  </a:lnTo>
                  <a:lnTo>
                    <a:pt x="53301" y="61508"/>
                  </a:lnTo>
                  <a:lnTo>
                    <a:pt x="55093" y="59905"/>
                  </a:lnTo>
                  <a:lnTo>
                    <a:pt x="55093" y="59905"/>
                  </a:lnTo>
                  <a:lnTo>
                    <a:pt x="54810" y="60376"/>
                  </a:lnTo>
                  <a:lnTo>
                    <a:pt x="54339" y="60754"/>
                  </a:lnTo>
                  <a:lnTo>
                    <a:pt x="55376" y="59999"/>
                  </a:lnTo>
                  <a:lnTo>
                    <a:pt x="56320" y="59056"/>
                  </a:lnTo>
                  <a:lnTo>
                    <a:pt x="57075" y="58395"/>
                  </a:lnTo>
                  <a:lnTo>
                    <a:pt x="57169" y="58207"/>
                  </a:lnTo>
                  <a:lnTo>
                    <a:pt x="57075" y="58207"/>
                  </a:lnTo>
                  <a:lnTo>
                    <a:pt x="57924" y="57546"/>
                  </a:lnTo>
                  <a:lnTo>
                    <a:pt x="58678" y="56697"/>
                  </a:lnTo>
                  <a:lnTo>
                    <a:pt x="59339" y="55754"/>
                  </a:lnTo>
                  <a:lnTo>
                    <a:pt x="59905" y="54905"/>
                  </a:lnTo>
                  <a:lnTo>
                    <a:pt x="59716" y="54999"/>
                  </a:lnTo>
                  <a:lnTo>
                    <a:pt x="59622" y="54999"/>
                  </a:lnTo>
                  <a:lnTo>
                    <a:pt x="59810" y="54622"/>
                  </a:lnTo>
                  <a:lnTo>
                    <a:pt x="59150" y="55565"/>
                  </a:lnTo>
                  <a:lnTo>
                    <a:pt x="59527" y="55094"/>
                  </a:lnTo>
                  <a:lnTo>
                    <a:pt x="59433" y="55377"/>
                  </a:lnTo>
                  <a:lnTo>
                    <a:pt x="58867" y="56037"/>
                  </a:lnTo>
                  <a:lnTo>
                    <a:pt x="59056" y="55660"/>
                  </a:lnTo>
                  <a:lnTo>
                    <a:pt x="59056" y="55660"/>
                  </a:lnTo>
                  <a:lnTo>
                    <a:pt x="58678" y="56037"/>
                  </a:lnTo>
                  <a:lnTo>
                    <a:pt x="59810" y="54339"/>
                  </a:lnTo>
                  <a:lnTo>
                    <a:pt x="60282" y="53490"/>
                  </a:lnTo>
                  <a:lnTo>
                    <a:pt x="60282" y="53301"/>
                  </a:lnTo>
                  <a:lnTo>
                    <a:pt x="60188" y="53395"/>
                  </a:lnTo>
                  <a:lnTo>
                    <a:pt x="60188" y="53395"/>
                  </a:lnTo>
                  <a:lnTo>
                    <a:pt x="60565" y="52924"/>
                  </a:lnTo>
                  <a:lnTo>
                    <a:pt x="61037" y="52452"/>
                  </a:lnTo>
                  <a:lnTo>
                    <a:pt x="61886" y="51509"/>
                  </a:lnTo>
                  <a:lnTo>
                    <a:pt x="61508" y="52452"/>
                  </a:lnTo>
                  <a:lnTo>
                    <a:pt x="60848" y="53584"/>
                  </a:lnTo>
                  <a:lnTo>
                    <a:pt x="59622" y="55565"/>
                  </a:lnTo>
                  <a:lnTo>
                    <a:pt x="60376" y="54528"/>
                  </a:lnTo>
                  <a:lnTo>
                    <a:pt x="60942" y="53678"/>
                  </a:lnTo>
                  <a:lnTo>
                    <a:pt x="61980" y="51792"/>
                  </a:lnTo>
                  <a:lnTo>
                    <a:pt x="61886" y="51886"/>
                  </a:lnTo>
                  <a:lnTo>
                    <a:pt x="61886" y="51697"/>
                  </a:lnTo>
                  <a:lnTo>
                    <a:pt x="62169" y="51037"/>
                  </a:lnTo>
                  <a:lnTo>
                    <a:pt x="62735" y="49999"/>
                  </a:lnTo>
                  <a:lnTo>
                    <a:pt x="61508" y="51603"/>
                  </a:lnTo>
                  <a:lnTo>
                    <a:pt x="61603" y="51037"/>
                  </a:lnTo>
                  <a:lnTo>
                    <a:pt x="61697" y="50377"/>
                  </a:lnTo>
                  <a:lnTo>
                    <a:pt x="62169" y="48962"/>
                  </a:lnTo>
                  <a:lnTo>
                    <a:pt x="62829" y="47358"/>
                  </a:lnTo>
                  <a:lnTo>
                    <a:pt x="63678" y="45565"/>
                  </a:lnTo>
                  <a:lnTo>
                    <a:pt x="65376" y="42169"/>
                  </a:lnTo>
                  <a:lnTo>
                    <a:pt x="66131" y="40660"/>
                  </a:lnTo>
                  <a:lnTo>
                    <a:pt x="66697" y="39339"/>
                  </a:lnTo>
                  <a:lnTo>
                    <a:pt x="66603" y="39528"/>
                  </a:lnTo>
                  <a:lnTo>
                    <a:pt x="66697" y="39056"/>
                  </a:lnTo>
                  <a:lnTo>
                    <a:pt x="66791" y="38962"/>
                  </a:lnTo>
                  <a:lnTo>
                    <a:pt x="66791" y="39056"/>
                  </a:lnTo>
                  <a:lnTo>
                    <a:pt x="66886" y="38584"/>
                  </a:lnTo>
                  <a:lnTo>
                    <a:pt x="66791" y="38867"/>
                  </a:lnTo>
                  <a:lnTo>
                    <a:pt x="66980" y="38207"/>
                  </a:lnTo>
                  <a:lnTo>
                    <a:pt x="67169" y="37264"/>
                  </a:lnTo>
                  <a:lnTo>
                    <a:pt x="67263" y="36415"/>
                  </a:lnTo>
                  <a:lnTo>
                    <a:pt x="67357" y="36509"/>
                  </a:lnTo>
                  <a:lnTo>
                    <a:pt x="67452" y="36509"/>
                  </a:lnTo>
                  <a:lnTo>
                    <a:pt x="67546" y="35943"/>
                  </a:lnTo>
                  <a:lnTo>
                    <a:pt x="67546" y="34811"/>
                  </a:lnTo>
                  <a:lnTo>
                    <a:pt x="67640" y="31037"/>
                  </a:lnTo>
                  <a:lnTo>
                    <a:pt x="67640" y="28490"/>
                  </a:lnTo>
                  <a:lnTo>
                    <a:pt x="67546" y="27736"/>
                  </a:lnTo>
                  <a:lnTo>
                    <a:pt x="67546" y="27547"/>
                  </a:lnTo>
                  <a:lnTo>
                    <a:pt x="67452" y="27547"/>
                  </a:lnTo>
                  <a:lnTo>
                    <a:pt x="67074" y="26792"/>
                  </a:lnTo>
                  <a:lnTo>
                    <a:pt x="66791" y="25660"/>
                  </a:lnTo>
                  <a:lnTo>
                    <a:pt x="66508" y="24528"/>
                  </a:lnTo>
                  <a:lnTo>
                    <a:pt x="66414" y="23585"/>
                  </a:lnTo>
                  <a:lnTo>
                    <a:pt x="66320" y="23679"/>
                  </a:lnTo>
                  <a:lnTo>
                    <a:pt x="66320" y="23490"/>
                  </a:lnTo>
                  <a:lnTo>
                    <a:pt x="65942" y="22924"/>
                  </a:lnTo>
                  <a:lnTo>
                    <a:pt x="65565" y="22358"/>
                  </a:lnTo>
                  <a:lnTo>
                    <a:pt x="64527" y="21132"/>
                  </a:lnTo>
                  <a:lnTo>
                    <a:pt x="63584" y="19906"/>
                  </a:lnTo>
                  <a:lnTo>
                    <a:pt x="63207" y="19340"/>
                  </a:lnTo>
                  <a:lnTo>
                    <a:pt x="63018" y="18774"/>
                  </a:lnTo>
                  <a:lnTo>
                    <a:pt x="63112" y="18962"/>
                  </a:lnTo>
                  <a:lnTo>
                    <a:pt x="63301" y="19057"/>
                  </a:lnTo>
                  <a:lnTo>
                    <a:pt x="63301" y="19057"/>
                  </a:lnTo>
                  <a:lnTo>
                    <a:pt x="63207" y="18868"/>
                  </a:lnTo>
                  <a:lnTo>
                    <a:pt x="62923" y="18491"/>
                  </a:lnTo>
                  <a:lnTo>
                    <a:pt x="61980" y="17453"/>
                  </a:lnTo>
                  <a:lnTo>
                    <a:pt x="61037" y="16509"/>
                  </a:lnTo>
                  <a:lnTo>
                    <a:pt x="61037" y="16698"/>
                  </a:lnTo>
                  <a:lnTo>
                    <a:pt x="61037" y="16887"/>
                  </a:lnTo>
                  <a:lnTo>
                    <a:pt x="60093" y="15943"/>
                  </a:lnTo>
                  <a:lnTo>
                    <a:pt x="60376" y="16321"/>
                  </a:lnTo>
                  <a:lnTo>
                    <a:pt x="59527" y="15377"/>
                  </a:lnTo>
                  <a:lnTo>
                    <a:pt x="59056" y="14906"/>
                  </a:lnTo>
                  <a:lnTo>
                    <a:pt x="59244" y="14906"/>
                  </a:lnTo>
                  <a:lnTo>
                    <a:pt x="59905" y="15472"/>
                  </a:lnTo>
                  <a:lnTo>
                    <a:pt x="59905" y="15472"/>
                  </a:lnTo>
                  <a:lnTo>
                    <a:pt x="57641" y="13396"/>
                  </a:lnTo>
                  <a:lnTo>
                    <a:pt x="58112" y="13868"/>
                  </a:lnTo>
                  <a:lnTo>
                    <a:pt x="56886" y="13019"/>
                  </a:lnTo>
                  <a:lnTo>
                    <a:pt x="55754" y="12453"/>
                  </a:lnTo>
                  <a:lnTo>
                    <a:pt x="56603" y="13113"/>
                  </a:lnTo>
                  <a:lnTo>
                    <a:pt x="57452" y="13774"/>
                  </a:lnTo>
                  <a:lnTo>
                    <a:pt x="58961" y="15283"/>
                  </a:lnTo>
                  <a:lnTo>
                    <a:pt x="60376" y="16604"/>
                  </a:lnTo>
                  <a:lnTo>
                    <a:pt x="61225" y="17264"/>
                  </a:lnTo>
                  <a:lnTo>
                    <a:pt x="62074" y="17925"/>
                  </a:lnTo>
                  <a:lnTo>
                    <a:pt x="62074" y="17925"/>
                  </a:lnTo>
                  <a:lnTo>
                    <a:pt x="61414" y="17547"/>
                  </a:lnTo>
                  <a:lnTo>
                    <a:pt x="60659" y="16981"/>
                  </a:lnTo>
                  <a:lnTo>
                    <a:pt x="60754" y="17264"/>
                  </a:lnTo>
                  <a:lnTo>
                    <a:pt x="60942" y="17642"/>
                  </a:lnTo>
                  <a:lnTo>
                    <a:pt x="61980" y="19151"/>
                  </a:lnTo>
                  <a:lnTo>
                    <a:pt x="63301" y="20943"/>
                  </a:lnTo>
                  <a:lnTo>
                    <a:pt x="63207" y="20943"/>
                  </a:lnTo>
                  <a:lnTo>
                    <a:pt x="63395" y="21038"/>
                  </a:lnTo>
                  <a:lnTo>
                    <a:pt x="63490" y="21321"/>
                  </a:lnTo>
                  <a:lnTo>
                    <a:pt x="63678" y="21604"/>
                  </a:lnTo>
                  <a:lnTo>
                    <a:pt x="63773" y="21698"/>
                  </a:lnTo>
                  <a:lnTo>
                    <a:pt x="63584" y="21321"/>
                  </a:lnTo>
                  <a:lnTo>
                    <a:pt x="63584" y="21321"/>
                  </a:lnTo>
                  <a:lnTo>
                    <a:pt x="64244" y="22170"/>
                  </a:lnTo>
                  <a:lnTo>
                    <a:pt x="64716" y="22641"/>
                  </a:lnTo>
                  <a:lnTo>
                    <a:pt x="64905" y="22830"/>
                  </a:lnTo>
                  <a:lnTo>
                    <a:pt x="64999" y="22830"/>
                  </a:lnTo>
                  <a:lnTo>
                    <a:pt x="64999" y="22641"/>
                  </a:lnTo>
                  <a:lnTo>
                    <a:pt x="64905" y="22358"/>
                  </a:lnTo>
                  <a:lnTo>
                    <a:pt x="65282" y="23207"/>
                  </a:lnTo>
                  <a:lnTo>
                    <a:pt x="65565" y="24056"/>
                  </a:lnTo>
                  <a:lnTo>
                    <a:pt x="66225" y="25943"/>
                  </a:lnTo>
                  <a:lnTo>
                    <a:pt x="66697" y="27830"/>
                  </a:lnTo>
                  <a:lnTo>
                    <a:pt x="66886" y="28490"/>
                  </a:lnTo>
                  <a:lnTo>
                    <a:pt x="66980" y="28868"/>
                  </a:lnTo>
                  <a:lnTo>
                    <a:pt x="66886" y="28962"/>
                  </a:lnTo>
                  <a:lnTo>
                    <a:pt x="66697" y="28679"/>
                  </a:lnTo>
                  <a:lnTo>
                    <a:pt x="66697" y="29245"/>
                  </a:lnTo>
                  <a:lnTo>
                    <a:pt x="66791" y="29905"/>
                  </a:lnTo>
                  <a:lnTo>
                    <a:pt x="66886" y="29905"/>
                  </a:lnTo>
                  <a:lnTo>
                    <a:pt x="66886" y="30094"/>
                  </a:lnTo>
                  <a:lnTo>
                    <a:pt x="66886" y="30566"/>
                  </a:lnTo>
                  <a:lnTo>
                    <a:pt x="66697" y="30377"/>
                  </a:lnTo>
                  <a:lnTo>
                    <a:pt x="66603" y="30188"/>
                  </a:lnTo>
                  <a:lnTo>
                    <a:pt x="66603" y="30094"/>
                  </a:lnTo>
                  <a:lnTo>
                    <a:pt x="66697" y="29905"/>
                  </a:lnTo>
                  <a:lnTo>
                    <a:pt x="66508" y="28679"/>
                  </a:lnTo>
                  <a:lnTo>
                    <a:pt x="66225" y="27358"/>
                  </a:lnTo>
                  <a:lnTo>
                    <a:pt x="66603" y="30283"/>
                  </a:lnTo>
                  <a:lnTo>
                    <a:pt x="66697" y="31792"/>
                  </a:lnTo>
                  <a:lnTo>
                    <a:pt x="66697" y="33302"/>
                  </a:lnTo>
                  <a:lnTo>
                    <a:pt x="66603" y="34717"/>
                  </a:lnTo>
                  <a:lnTo>
                    <a:pt x="66414" y="36226"/>
                  </a:lnTo>
                  <a:lnTo>
                    <a:pt x="66131" y="37547"/>
                  </a:lnTo>
                  <a:lnTo>
                    <a:pt x="65659" y="38962"/>
                  </a:lnTo>
                  <a:lnTo>
                    <a:pt x="65848" y="38584"/>
                  </a:lnTo>
                  <a:lnTo>
                    <a:pt x="65942" y="38584"/>
                  </a:lnTo>
                  <a:lnTo>
                    <a:pt x="65848" y="39245"/>
                  </a:lnTo>
                  <a:lnTo>
                    <a:pt x="65565" y="40188"/>
                  </a:lnTo>
                  <a:lnTo>
                    <a:pt x="65471" y="40471"/>
                  </a:lnTo>
                  <a:lnTo>
                    <a:pt x="65282" y="40660"/>
                  </a:lnTo>
                  <a:lnTo>
                    <a:pt x="65282" y="40566"/>
                  </a:lnTo>
                  <a:lnTo>
                    <a:pt x="65093" y="41132"/>
                  </a:lnTo>
                  <a:lnTo>
                    <a:pt x="64433" y="43018"/>
                  </a:lnTo>
                  <a:lnTo>
                    <a:pt x="63678" y="45282"/>
                  </a:lnTo>
                  <a:lnTo>
                    <a:pt x="62735" y="47264"/>
                  </a:lnTo>
                  <a:lnTo>
                    <a:pt x="61697" y="49056"/>
                  </a:lnTo>
                  <a:lnTo>
                    <a:pt x="60659" y="50943"/>
                  </a:lnTo>
                  <a:lnTo>
                    <a:pt x="59433" y="52735"/>
                  </a:lnTo>
                  <a:lnTo>
                    <a:pt x="58207" y="54433"/>
                  </a:lnTo>
                  <a:lnTo>
                    <a:pt x="56886" y="56037"/>
                  </a:lnTo>
                  <a:lnTo>
                    <a:pt x="55376" y="57641"/>
                  </a:lnTo>
                  <a:lnTo>
                    <a:pt x="53867" y="59150"/>
                  </a:lnTo>
                  <a:lnTo>
                    <a:pt x="52169" y="60376"/>
                  </a:lnTo>
                  <a:lnTo>
                    <a:pt x="48961" y="62452"/>
                  </a:lnTo>
                  <a:lnTo>
                    <a:pt x="44528" y="65282"/>
                  </a:lnTo>
                  <a:lnTo>
                    <a:pt x="44622" y="65188"/>
                  </a:lnTo>
                  <a:lnTo>
                    <a:pt x="44716" y="65093"/>
                  </a:lnTo>
                  <a:lnTo>
                    <a:pt x="45094" y="64810"/>
                  </a:lnTo>
                  <a:lnTo>
                    <a:pt x="45660" y="64527"/>
                  </a:lnTo>
                  <a:lnTo>
                    <a:pt x="43867" y="65376"/>
                  </a:lnTo>
                  <a:lnTo>
                    <a:pt x="43113" y="65754"/>
                  </a:lnTo>
                  <a:lnTo>
                    <a:pt x="42924" y="65754"/>
                  </a:lnTo>
                  <a:lnTo>
                    <a:pt x="43113" y="65659"/>
                  </a:lnTo>
                  <a:lnTo>
                    <a:pt x="41603" y="66037"/>
                  </a:lnTo>
                  <a:lnTo>
                    <a:pt x="39999" y="66320"/>
                  </a:lnTo>
                  <a:lnTo>
                    <a:pt x="38396" y="66508"/>
                  </a:lnTo>
                  <a:lnTo>
                    <a:pt x="36792" y="66697"/>
                  </a:lnTo>
                  <a:lnTo>
                    <a:pt x="33584" y="66980"/>
                  </a:lnTo>
                  <a:lnTo>
                    <a:pt x="32169" y="67169"/>
                  </a:lnTo>
                  <a:lnTo>
                    <a:pt x="30754" y="67357"/>
                  </a:lnTo>
                  <a:lnTo>
                    <a:pt x="30094" y="67357"/>
                  </a:lnTo>
                  <a:lnTo>
                    <a:pt x="29339" y="67263"/>
                  </a:lnTo>
                  <a:lnTo>
                    <a:pt x="27830" y="66886"/>
                  </a:lnTo>
                  <a:lnTo>
                    <a:pt x="26415" y="66508"/>
                  </a:lnTo>
                  <a:lnTo>
                    <a:pt x="25754" y="66414"/>
                  </a:lnTo>
                  <a:lnTo>
                    <a:pt x="25094" y="66414"/>
                  </a:lnTo>
                  <a:lnTo>
                    <a:pt x="25566" y="66980"/>
                  </a:lnTo>
                  <a:lnTo>
                    <a:pt x="25471" y="67074"/>
                  </a:lnTo>
                  <a:lnTo>
                    <a:pt x="25188" y="66980"/>
                  </a:lnTo>
                  <a:lnTo>
                    <a:pt x="24339" y="66791"/>
                  </a:lnTo>
                  <a:lnTo>
                    <a:pt x="23773" y="66508"/>
                  </a:lnTo>
                  <a:lnTo>
                    <a:pt x="24245" y="66414"/>
                  </a:lnTo>
                  <a:lnTo>
                    <a:pt x="24717" y="66603"/>
                  </a:lnTo>
                  <a:lnTo>
                    <a:pt x="24811" y="66414"/>
                  </a:lnTo>
                  <a:lnTo>
                    <a:pt x="24811" y="66320"/>
                  </a:lnTo>
                  <a:lnTo>
                    <a:pt x="24717" y="66225"/>
                  </a:lnTo>
                  <a:lnTo>
                    <a:pt x="24528" y="66131"/>
                  </a:lnTo>
                  <a:lnTo>
                    <a:pt x="24151" y="66225"/>
                  </a:lnTo>
                  <a:lnTo>
                    <a:pt x="23679" y="66320"/>
                  </a:lnTo>
                  <a:lnTo>
                    <a:pt x="23018" y="66414"/>
                  </a:lnTo>
                  <a:lnTo>
                    <a:pt x="23490" y="66225"/>
                  </a:lnTo>
                  <a:lnTo>
                    <a:pt x="22075" y="65942"/>
                  </a:lnTo>
                  <a:lnTo>
                    <a:pt x="20943" y="65659"/>
                  </a:lnTo>
                  <a:lnTo>
                    <a:pt x="20000" y="65282"/>
                  </a:lnTo>
                  <a:lnTo>
                    <a:pt x="19056" y="64810"/>
                  </a:lnTo>
                  <a:lnTo>
                    <a:pt x="19056" y="64810"/>
                  </a:lnTo>
                  <a:lnTo>
                    <a:pt x="19717" y="64999"/>
                  </a:lnTo>
                  <a:lnTo>
                    <a:pt x="19151" y="64716"/>
                  </a:lnTo>
                  <a:lnTo>
                    <a:pt x="18962" y="64810"/>
                  </a:lnTo>
                  <a:lnTo>
                    <a:pt x="19151" y="64905"/>
                  </a:lnTo>
                  <a:lnTo>
                    <a:pt x="18490" y="64905"/>
                  </a:lnTo>
                  <a:lnTo>
                    <a:pt x="17830" y="64716"/>
                  </a:lnTo>
                  <a:lnTo>
                    <a:pt x="17264" y="64527"/>
                  </a:lnTo>
                  <a:lnTo>
                    <a:pt x="16698" y="64150"/>
                  </a:lnTo>
                  <a:lnTo>
                    <a:pt x="16981" y="64056"/>
                  </a:lnTo>
                  <a:lnTo>
                    <a:pt x="17264" y="64150"/>
                  </a:lnTo>
                  <a:lnTo>
                    <a:pt x="17264" y="64150"/>
                  </a:lnTo>
                  <a:lnTo>
                    <a:pt x="15188" y="63207"/>
                  </a:lnTo>
                  <a:lnTo>
                    <a:pt x="14622" y="62829"/>
                  </a:lnTo>
                  <a:lnTo>
                    <a:pt x="14717" y="62924"/>
                  </a:lnTo>
                  <a:lnTo>
                    <a:pt x="13773" y="62546"/>
                  </a:lnTo>
                  <a:lnTo>
                    <a:pt x="12924" y="62075"/>
                  </a:lnTo>
                  <a:lnTo>
                    <a:pt x="12358" y="61697"/>
                  </a:lnTo>
                  <a:lnTo>
                    <a:pt x="12264" y="61508"/>
                  </a:lnTo>
                  <a:lnTo>
                    <a:pt x="12170" y="61320"/>
                  </a:lnTo>
                  <a:lnTo>
                    <a:pt x="11698" y="60942"/>
                  </a:lnTo>
                  <a:lnTo>
                    <a:pt x="11132" y="60471"/>
                  </a:lnTo>
                  <a:lnTo>
                    <a:pt x="9906" y="59244"/>
                  </a:lnTo>
                  <a:lnTo>
                    <a:pt x="9906" y="59244"/>
                  </a:lnTo>
                  <a:lnTo>
                    <a:pt x="10566" y="59527"/>
                  </a:lnTo>
                  <a:lnTo>
                    <a:pt x="9434" y="58584"/>
                  </a:lnTo>
                  <a:lnTo>
                    <a:pt x="8207" y="57546"/>
                  </a:lnTo>
                  <a:lnTo>
                    <a:pt x="7547" y="56886"/>
                  </a:lnTo>
                  <a:lnTo>
                    <a:pt x="6981" y="56131"/>
                  </a:lnTo>
                  <a:lnTo>
                    <a:pt x="6226" y="55094"/>
                  </a:lnTo>
                  <a:lnTo>
                    <a:pt x="6415" y="55377"/>
                  </a:lnTo>
                  <a:lnTo>
                    <a:pt x="6038" y="54905"/>
                  </a:lnTo>
                  <a:lnTo>
                    <a:pt x="5472" y="54244"/>
                  </a:lnTo>
                  <a:lnTo>
                    <a:pt x="5283" y="53961"/>
                  </a:lnTo>
                  <a:lnTo>
                    <a:pt x="5094" y="53867"/>
                  </a:lnTo>
                  <a:lnTo>
                    <a:pt x="5377" y="54622"/>
                  </a:lnTo>
                  <a:lnTo>
                    <a:pt x="5849" y="55282"/>
                  </a:lnTo>
                  <a:lnTo>
                    <a:pt x="6321" y="55943"/>
                  </a:lnTo>
                  <a:lnTo>
                    <a:pt x="6698" y="56603"/>
                  </a:lnTo>
                  <a:lnTo>
                    <a:pt x="6226" y="56226"/>
                  </a:lnTo>
                  <a:lnTo>
                    <a:pt x="5943" y="55848"/>
                  </a:lnTo>
                  <a:lnTo>
                    <a:pt x="6038" y="56037"/>
                  </a:lnTo>
                  <a:lnTo>
                    <a:pt x="5943" y="55943"/>
                  </a:lnTo>
                  <a:lnTo>
                    <a:pt x="5377" y="55188"/>
                  </a:lnTo>
                  <a:lnTo>
                    <a:pt x="5000" y="54716"/>
                  </a:lnTo>
                  <a:lnTo>
                    <a:pt x="4717" y="54150"/>
                  </a:lnTo>
                  <a:lnTo>
                    <a:pt x="4528" y="53678"/>
                  </a:lnTo>
                  <a:lnTo>
                    <a:pt x="4528" y="53584"/>
                  </a:lnTo>
                  <a:lnTo>
                    <a:pt x="4623" y="53395"/>
                  </a:lnTo>
                  <a:lnTo>
                    <a:pt x="5094" y="54244"/>
                  </a:lnTo>
                  <a:lnTo>
                    <a:pt x="4717" y="53301"/>
                  </a:lnTo>
                  <a:lnTo>
                    <a:pt x="4528" y="53018"/>
                  </a:lnTo>
                  <a:lnTo>
                    <a:pt x="4151" y="52263"/>
                  </a:lnTo>
                  <a:lnTo>
                    <a:pt x="4151" y="52169"/>
                  </a:lnTo>
                  <a:lnTo>
                    <a:pt x="3774" y="51509"/>
                  </a:lnTo>
                  <a:lnTo>
                    <a:pt x="3396" y="50660"/>
                  </a:lnTo>
                  <a:lnTo>
                    <a:pt x="3585" y="51603"/>
                  </a:lnTo>
                  <a:lnTo>
                    <a:pt x="3396" y="51226"/>
                  </a:lnTo>
                  <a:lnTo>
                    <a:pt x="3208" y="50848"/>
                  </a:lnTo>
                  <a:lnTo>
                    <a:pt x="3208" y="50471"/>
                  </a:lnTo>
                  <a:lnTo>
                    <a:pt x="3208" y="50094"/>
                  </a:lnTo>
                  <a:lnTo>
                    <a:pt x="3585" y="50754"/>
                  </a:lnTo>
                  <a:lnTo>
                    <a:pt x="3868" y="51509"/>
                  </a:lnTo>
                  <a:lnTo>
                    <a:pt x="3868" y="51509"/>
                  </a:lnTo>
                  <a:lnTo>
                    <a:pt x="3208" y="49528"/>
                  </a:lnTo>
                  <a:lnTo>
                    <a:pt x="3208" y="49528"/>
                  </a:lnTo>
                  <a:lnTo>
                    <a:pt x="3868" y="50754"/>
                  </a:lnTo>
                  <a:lnTo>
                    <a:pt x="3208" y="48962"/>
                  </a:lnTo>
                  <a:lnTo>
                    <a:pt x="3585" y="49339"/>
                  </a:lnTo>
                  <a:lnTo>
                    <a:pt x="3774" y="49433"/>
                  </a:lnTo>
                  <a:lnTo>
                    <a:pt x="3962" y="49528"/>
                  </a:lnTo>
                  <a:lnTo>
                    <a:pt x="4057" y="49905"/>
                  </a:lnTo>
                  <a:lnTo>
                    <a:pt x="3868" y="48962"/>
                  </a:lnTo>
                  <a:lnTo>
                    <a:pt x="3491" y="47924"/>
                  </a:lnTo>
                  <a:lnTo>
                    <a:pt x="2641" y="45565"/>
                  </a:lnTo>
                  <a:lnTo>
                    <a:pt x="2170" y="43867"/>
                  </a:lnTo>
                  <a:lnTo>
                    <a:pt x="1698" y="41886"/>
                  </a:lnTo>
                  <a:lnTo>
                    <a:pt x="1698" y="41886"/>
                  </a:lnTo>
                  <a:lnTo>
                    <a:pt x="1887" y="42075"/>
                  </a:lnTo>
                  <a:lnTo>
                    <a:pt x="1981" y="41981"/>
                  </a:lnTo>
                  <a:lnTo>
                    <a:pt x="2075" y="42075"/>
                  </a:lnTo>
                  <a:lnTo>
                    <a:pt x="2264" y="42169"/>
                  </a:lnTo>
                  <a:lnTo>
                    <a:pt x="2170" y="40283"/>
                  </a:lnTo>
                  <a:lnTo>
                    <a:pt x="2075" y="38301"/>
                  </a:lnTo>
                  <a:lnTo>
                    <a:pt x="2170" y="36415"/>
                  </a:lnTo>
                  <a:lnTo>
                    <a:pt x="2358" y="35566"/>
                  </a:lnTo>
                  <a:lnTo>
                    <a:pt x="2453" y="34811"/>
                  </a:lnTo>
                  <a:lnTo>
                    <a:pt x="2830" y="32830"/>
                  </a:lnTo>
                  <a:lnTo>
                    <a:pt x="2830" y="33207"/>
                  </a:lnTo>
                  <a:lnTo>
                    <a:pt x="2924" y="33490"/>
                  </a:lnTo>
                  <a:lnTo>
                    <a:pt x="2924" y="32453"/>
                  </a:lnTo>
                  <a:lnTo>
                    <a:pt x="3019" y="31415"/>
                  </a:lnTo>
                  <a:lnTo>
                    <a:pt x="3396" y="29245"/>
                  </a:lnTo>
                  <a:lnTo>
                    <a:pt x="3868" y="27075"/>
                  </a:lnTo>
                  <a:lnTo>
                    <a:pt x="4623" y="25000"/>
                  </a:lnTo>
                  <a:lnTo>
                    <a:pt x="5566" y="22830"/>
                  </a:lnTo>
                  <a:lnTo>
                    <a:pt x="6604" y="20849"/>
                  </a:lnTo>
                  <a:lnTo>
                    <a:pt x="7830" y="18868"/>
                  </a:lnTo>
                  <a:lnTo>
                    <a:pt x="9151" y="16887"/>
                  </a:lnTo>
                  <a:lnTo>
                    <a:pt x="10566" y="15094"/>
                  </a:lnTo>
                  <a:lnTo>
                    <a:pt x="12075" y="13302"/>
                  </a:lnTo>
                  <a:lnTo>
                    <a:pt x="13773" y="11698"/>
                  </a:lnTo>
                  <a:lnTo>
                    <a:pt x="15377" y="10095"/>
                  </a:lnTo>
                  <a:lnTo>
                    <a:pt x="17170" y="8679"/>
                  </a:lnTo>
                  <a:lnTo>
                    <a:pt x="18962" y="7453"/>
                  </a:lnTo>
                  <a:lnTo>
                    <a:pt x="20754" y="6321"/>
                  </a:lnTo>
                  <a:lnTo>
                    <a:pt x="22547" y="5378"/>
                  </a:lnTo>
                  <a:lnTo>
                    <a:pt x="21603" y="6227"/>
                  </a:lnTo>
                  <a:lnTo>
                    <a:pt x="22641" y="5472"/>
                  </a:lnTo>
                  <a:lnTo>
                    <a:pt x="23302" y="5095"/>
                  </a:lnTo>
                  <a:lnTo>
                    <a:pt x="25377" y="4151"/>
                  </a:lnTo>
                  <a:lnTo>
                    <a:pt x="24811" y="4151"/>
                  </a:lnTo>
                  <a:lnTo>
                    <a:pt x="25660" y="3774"/>
                  </a:lnTo>
                  <a:lnTo>
                    <a:pt x="26886" y="3208"/>
                  </a:lnTo>
                  <a:lnTo>
                    <a:pt x="26603" y="3585"/>
                  </a:lnTo>
                  <a:lnTo>
                    <a:pt x="26886" y="3585"/>
                  </a:lnTo>
                  <a:lnTo>
                    <a:pt x="26886" y="3680"/>
                  </a:lnTo>
                  <a:lnTo>
                    <a:pt x="26792" y="3774"/>
                  </a:lnTo>
                  <a:lnTo>
                    <a:pt x="28301" y="3302"/>
                  </a:lnTo>
                  <a:lnTo>
                    <a:pt x="29622" y="2736"/>
                  </a:lnTo>
                  <a:lnTo>
                    <a:pt x="31037" y="2264"/>
                  </a:lnTo>
                  <a:lnTo>
                    <a:pt x="31792" y="2076"/>
                  </a:lnTo>
                  <a:lnTo>
                    <a:pt x="32641" y="1981"/>
                  </a:lnTo>
                  <a:lnTo>
                    <a:pt x="32547" y="2076"/>
                  </a:lnTo>
                  <a:lnTo>
                    <a:pt x="32924" y="1981"/>
                  </a:lnTo>
                  <a:lnTo>
                    <a:pt x="34245" y="1793"/>
                  </a:lnTo>
                  <a:lnTo>
                    <a:pt x="35848" y="1415"/>
                  </a:lnTo>
                  <a:lnTo>
                    <a:pt x="36981" y="1132"/>
                  </a:lnTo>
                  <a:lnTo>
                    <a:pt x="36981" y="1415"/>
                  </a:lnTo>
                  <a:lnTo>
                    <a:pt x="40943" y="1227"/>
                  </a:lnTo>
                  <a:lnTo>
                    <a:pt x="41509" y="1038"/>
                  </a:lnTo>
                  <a:lnTo>
                    <a:pt x="41697" y="1132"/>
                  </a:lnTo>
                  <a:lnTo>
                    <a:pt x="41509" y="1227"/>
                  </a:lnTo>
                  <a:lnTo>
                    <a:pt x="41320" y="1321"/>
                  </a:lnTo>
                  <a:lnTo>
                    <a:pt x="42263" y="1321"/>
                  </a:lnTo>
                  <a:lnTo>
                    <a:pt x="43113" y="1227"/>
                  </a:lnTo>
                  <a:lnTo>
                    <a:pt x="43396" y="1415"/>
                  </a:lnTo>
                  <a:lnTo>
                    <a:pt x="44056" y="1604"/>
                  </a:lnTo>
                  <a:lnTo>
                    <a:pt x="45943" y="2076"/>
                  </a:lnTo>
                  <a:lnTo>
                    <a:pt x="48018" y="2359"/>
                  </a:lnTo>
                  <a:lnTo>
                    <a:pt x="49622" y="2736"/>
                  </a:lnTo>
                  <a:lnTo>
                    <a:pt x="47641" y="1981"/>
                  </a:lnTo>
                  <a:lnTo>
                    <a:pt x="45282" y="1321"/>
                  </a:lnTo>
                  <a:lnTo>
                    <a:pt x="42735" y="755"/>
                  </a:lnTo>
                  <a:lnTo>
                    <a:pt x="40188" y="283"/>
                  </a:lnTo>
                  <a:lnTo>
                    <a:pt x="37735" y="95"/>
                  </a:lnTo>
                  <a:lnTo>
                    <a:pt x="35471" y="0"/>
                  </a:lnTo>
                  <a:close/>
                </a:path>
              </a:pathLst>
            </a:custGeom>
            <a:solidFill>
              <a:schemeClr val="bg1">
                <a:lumMod val="95000"/>
              </a:schemeClr>
            </a:solidFill>
            <a:ln w="0">
              <a:solidFill>
                <a:srgbClr val="0079D1"/>
              </a:solidFill>
            </a:ln>
          </p:spPr>
          <p:txBody>
            <a:bodyPr spcFirstLastPara="1" wrap="square" lIns="91425" tIns="91425" rIns="91425" bIns="91425" anchor="ctr" anchorCtr="0">
              <a:noAutofit/>
            </a:bodyPr>
            <a:lstStyle/>
            <a:p>
              <a:pPr marL="0" lvl="0" indent="0">
                <a:spcBef>
                  <a:spcPts val="0"/>
                </a:spcBef>
                <a:spcAft>
                  <a:spcPts val="0"/>
                </a:spcAft>
                <a:buNone/>
              </a:pPr>
              <a:endParaRPr sz="1400">
                <a:latin typeface="+mj-lt"/>
              </a:endParaRPr>
            </a:p>
          </p:txBody>
        </p:sp>
        <p:sp>
          <p:nvSpPr>
            <p:cNvPr id="616" name="TextBox 615">
              <a:extLst>
                <a:ext uri="{FF2B5EF4-FFF2-40B4-BE49-F238E27FC236}">
                  <a16:creationId xmlns:a16="http://schemas.microsoft.com/office/drawing/2014/main" id="{F02C44E6-0641-7D4B-82F7-EA8038E97AE0}"/>
                </a:ext>
              </a:extLst>
            </p:cNvPr>
            <p:cNvSpPr txBox="1"/>
            <p:nvPr/>
          </p:nvSpPr>
          <p:spPr>
            <a:xfrm>
              <a:off x="8676898" y="4619460"/>
              <a:ext cx="229951" cy="215444"/>
            </a:xfrm>
            <a:prstGeom prst="rect">
              <a:avLst/>
            </a:prstGeom>
            <a:noFill/>
          </p:spPr>
          <p:txBody>
            <a:bodyPr wrap="square" rtlCol="0">
              <a:spAutoFit/>
            </a:bodyPr>
            <a:lstStyle/>
            <a:p>
              <a:r>
                <a:rPr lang="en-US" sz="800" b="1" dirty="0">
                  <a:solidFill>
                    <a:srgbClr val="0079D1"/>
                  </a:solidFill>
                  <a:latin typeface="+mj-lt"/>
                </a:rPr>
                <a:t>F</a:t>
              </a:r>
            </a:p>
          </p:txBody>
        </p:sp>
      </p:grpSp>
      <p:grpSp>
        <p:nvGrpSpPr>
          <p:cNvPr id="617" name="Group 616">
            <a:extLst>
              <a:ext uri="{FF2B5EF4-FFF2-40B4-BE49-F238E27FC236}">
                <a16:creationId xmlns:a16="http://schemas.microsoft.com/office/drawing/2014/main" id="{4A5D3198-5A80-4D4A-88B3-7FA37FAC1666}"/>
              </a:ext>
            </a:extLst>
          </p:cNvPr>
          <p:cNvGrpSpPr/>
          <p:nvPr/>
        </p:nvGrpSpPr>
        <p:grpSpPr>
          <a:xfrm>
            <a:off x="3199308" y="4112419"/>
            <a:ext cx="229951" cy="200055"/>
            <a:chOff x="8676898" y="4619460"/>
            <a:chExt cx="229951" cy="200055"/>
          </a:xfrm>
        </p:grpSpPr>
        <p:sp>
          <p:nvSpPr>
            <p:cNvPr id="618" name="Google Shape;431;p39">
              <a:extLst>
                <a:ext uri="{FF2B5EF4-FFF2-40B4-BE49-F238E27FC236}">
                  <a16:creationId xmlns:a16="http://schemas.microsoft.com/office/drawing/2014/main" id="{39FB6614-0DA3-504C-9211-98011F4CF321}"/>
                </a:ext>
              </a:extLst>
            </p:cNvPr>
            <p:cNvSpPr/>
            <p:nvPr/>
          </p:nvSpPr>
          <p:spPr>
            <a:xfrm>
              <a:off x="8709950" y="4635551"/>
              <a:ext cx="179407" cy="167874"/>
            </a:xfrm>
            <a:custGeom>
              <a:avLst/>
              <a:gdLst/>
              <a:ahLst/>
              <a:cxnLst/>
              <a:rect l="0" t="0" r="0" b="0"/>
              <a:pathLst>
                <a:path w="67641" h="69056" extrusionOk="0">
                  <a:moveTo>
                    <a:pt x="49622" y="2736"/>
                  </a:moveTo>
                  <a:lnTo>
                    <a:pt x="49622" y="2736"/>
                  </a:lnTo>
                  <a:lnTo>
                    <a:pt x="49622" y="2736"/>
                  </a:lnTo>
                  <a:close/>
                  <a:moveTo>
                    <a:pt x="59622" y="55565"/>
                  </a:moveTo>
                  <a:lnTo>
                    <a:pt x="59622" y="55565"/>
                  </a:lnTo>
                  <a:lnTo>
                    <a:pt x="59622" y="55565"/>
                  </a:lnTo>
                  <a:close/>
                  <a:moveTo>
                    <a:pt x="35471" y="0"/>
                  </a:moveTo>
                  <a:lnTo>
                    <a:pt x="34433" y="95"/>
                  </a:lnTo>
                  <a:lnTo>
                    <a:pt x="33584" y="189"/>
                  </a:lnTo>
                  <a:lnTo>
                    <a:pt x="32735" y="378"/>
                  </a:lnTo>
                  <a:lnTo>
                    <a:pt x="32169" y="566"/>
                  </a:lnTo>
                  <a:lnTo>
                    <a:pt x="31509" y="472"/>
                  </a:lnTo>
                  <a:lnTo>
                    <a:pt x="30754" y="472"/>
                  </a:lnTo>
                  <a:lnTo>
                    <a:pt x="29339" y="566"/>
                  </a:lnTo>
                  <a:lnTo>
                    <a:pt x="27830" y="849"/>
                  </a:lnTo>
                  <a:lnTo>
                    <a:pt x="26320" y="1321"/>
                  </a:lnTo>
                  <a:lnTo>
                    <a:pt x="24811" y="1981"/>
                  </a:lnTo>
                  <a:lnTo>
                    <a:pt x="23207" y="2736"/>
                  </a:lnTo>
                  <a:lnTo>
                    <a:pt x="21698" y="3585"/>
                  </a:lnTo>
                  <a:lnTo>
                    <a:pt x="20188" y="4623"/>
                  </a:lnTo>
                  <a:lnTo>
                    <a:pt x="18679" y="5661"/>
                  </a:lnTo>
                  <a:lnTo>
                    <a:pt x="17170" y="6793"/>
                  </a:lnTo>
                  <a:lnTo>
                    <a:pt x="15754" y="8019"/>
                  </a:lnTo>
                  <a:lnTo>
                    <a:pt x="14434" y="9151"/>
                  </a:lnTo>
                  <a:lnTo>
                    <a:pt x="11981" y="11510"/>
                  </a:lnTo>
                  <a:lnTo>
                    <a:pt x="10000" y="13774"/>
                  </a:lnTo>
                  <a:lnTo>
                    <a:pt x="7736" y="16981"/>
                  </a:lnTo>
                  <a:lnTo>
                    <a:pt x="8019" y="16321"/>
                  </a:lnTo>
                  <a:lnTo>
                    <a:pt x="8302" y="15660"/>
                  </a:lnTo>
                  <a:lnTo>
                    <a:pt x="7736" y="16604"/>
                  </a:lnTo>
                  <a:lnTo>
                    <a:pt x="7075" y="17642"/>
                  </a:lnTo>
                  <a:lnTo>
                    <a:pt x="7170" y="17830"/>
                  </a:lnTo>
                  <a:lnTo>
                    <a:pt x="6509" y="18868"/>
                  </a:lnTo>
                  <a:lnTo>
                    <a:pt x="7075" y="17359"/>
                  </a:lnTo>
                  <a:lnTo>
                    <a:pt x="6132" y="19057"/>
                  </a:lnTo>
                  <a:lnTo>
                    <a:pt x="5189" y="20849"/>
                  </a:lnTo>
                  <a:lnTo>
                    <a:pt x="4434" y="22736"/>
                  </a:lnTo>
                  <a:lnTo>
                    <a:pt x="3679" y="24622"/>
                  </a:lnTo>
                  <a:lnTo>
                    <a:pt x="2453" y="28490"/>
                  </a:lnTo>
                  <a:lnTo>
                    <a:pt x="1321" y="32169"/>
                  </a:lnTo>
                  <a:lnTo>
                    <a:pt x="1509" y="32264"/>
                  </a:lnTo>
                  <a:lnTo>
                    <a:pt x="1604" y="32453"/>
                  </a:lnTo>
                  <a:lnTo>
                    <a:pt x="1604" y="32641"/>
                  </a:lnTo>
                  <a:lnTo>
                    <a:pt x="1509" y="32924"/>
                  </a:lnTo>
                  <a:lnTo>
                    <a:pt x="1226" y="33396"/>
                  </a:lnTo>
                  <a:lnTo>
                    <a:pt x="1038" y="33585"/>
                  </a:lnTo>
                  <a:lnTo>
                    <a:pt x="1038" y="33773"/>
                  </a:lnTo>
                  <a:lnTo>
                    <a:pt x="1038" y="35000"/>
                  </a:lnTo>
                  <a:lnTo>
                    <a:pt x="849" y="36132"/>
                  </a:lnTo>
                  <a:lnTo>
                    <a:pt x="660" y="37358"/>
                  </a:lnTo>
                  <a:lnTo>
                    <a:pt x="472" y="38867"/>
                  </a:lnTo>
                  <a:lnTo>
                    <a:pt x="283" y="38301"/>
                  </a:lnTo>
                  <a:lnTo>
                    <a:pt x="94" y="39811"/>
                  </a:lnTo>
                  <a:lnTo>
                    <a:pt x="0" y="41509"/>
                  </a:lnTo>
                  <a:lnTo>
                    <a:pt x="94" y="43301"/>
                  </a:lnTo>
                  <a:lnTo>
                    <a:pt x="283" y="44056"/>
                  </a:lnTo>
                  <a:lnTo>
                    <a:pt x="472" y="44622"/>
                  </a:lnTo>
                  <a:lnTo>
                    <a:pt x="566" y="45660"/>
                  </a:lnTo>
                  <a:lnTo>
                    <a:pt x="755" y="46792"/>
                  </a:lnTo>
                  <a:lnTo>
                    <a:pt x="1226" y="48962"/>
                  </a:lnTo>
                  <a:lnTo>
                    <a:pt x="1981" y="51037"/>
                  </a:lnTo>
                  <a:lnTo>
                    <a:pt x="2924" y="53112"/>
                  </a:lnTo>
                  <a:lnTo>
                    <a:pt x="4057" y="55094"/>
                  </a:lnTo>
                  <a:lnTo>
                    <a:pt x="5283" y="56980"/>
                  </a:lnTo>
                  <a:lnTo>
                    <a:pt x="6698" y="58678"/>
                  </a:lnTo>
                  <a:lnTo>
                    <a:pt x="8113" y="60282"/>
                  </a:lnTo>
                  <a:lnTo>
                    <a:pt x="9056" y="61131"/>
                  </a:lnTo>
                  <a:lnTo>
                    <a:pt x="10000" y="61980"/>
                  </a:lnTo>
                  <a:lnTo>
                    <a:pt x="11038" y="62829"/>
                  </a:lnTo>
                  <a:lnTo>
                    <a:pt x="12075" y="63584"/>
                  </a:lnTo>
                  <a:lnTo>
                    <a:pt x="14339" y="64905"/>
                  </a:lnTo>
                  <a:lnTo>
                    <a:pt x="16604" y="66131"/>
                  </a:lnTo>
                  <a:lnTo>
                    <a:pt x="19056" y="67169"/>
                  </a:lnTo>
                  <a:lnTo>
                    <a:pt x="21509" y="67923"/>
                  </a:lnTo>
                  <a:lnTo>
                    <a:pt x="24056" y="68584"/>
                  </a:lnTo>
                  <a:lnTo>
                    <a:pt x="26603" y="69055"/>
                  </a:lnTo>
                  <a:lnTo>
                    <a:pt x="27830" y="69055"/>
                  </a:lnTo>
                  <a:lnTo>
                    <a:pt x="30188" y="68867"/>
                  </a:lnTo>
                  <a:lnTo>
                    <a:pt x="33113" y="68678"/>
                  </a:lnTo>
                  <a:lnTo>
                    <a:pt x="36509" y="68301"/>
                  </a:lnTo>
                  <a:lnTo>
                    <a:pt x="39811" y="67923"/>
                  </a:lnTo>
                  <a:lnTo>
                    <a:pt x="42735" y="67452"/>
                  </a:lnTo>
                  <a:lnTo>
                    <a:pt x="44905" y="66980"/>
                  </a:lnTo>
                  <a:lnTo>
                    <a:pt x="45565" y="66791"/>
                  </a:lnTo>
                  <a:lnTo>
                    <a:pt x="45943" y="66508"/>
                  </a:lnTo>
                  <a:lnTo>
                    <a:pt x="47358" y="65942"/>
                  </a:lnTo>
                  <a:lnTo>
                    <a:pt x="48018" y="65565"/>
                  </a:lnTo>
                  <a:lnTo>
                    <a:pt x="48678" y="65188"/>
                  </a:lnTo>
                  <a:lnTo>
                    <a:pt x="47924" y="65471"/>
                  </a:lnTo>
                  <a:lnTo>
                    <a:pt x="51509" y="62924"/>
                  </a:lnTo>
                  <a:lnTo>
                    <a:pt x="53301" y="61508"/>
                  </a:lnTo>
                  <a:lnTo>
                    <a:pt x="55093" y="59905"/>
                  </a:lnTo>
                  <a:lnTo>
                    <a:pt x="55093" y="59905"/>
                  </a:lnTo>
                  <a:lnTo>
                    <a:pt x="54810" y="60376"/>
                  </a:lnTo>
                  <a:lnTo>
                    <a:pt x="54339" y="60754"/>
                  </a:lnTo>
                  <a:lnTo>
                    <a:pt x="55376" y="59999"/>
                  </a:lnTo>
                  <a:lnTo>
                    <a:pt x="56320" y="59056"/>
                  </a:lnTo>
                  <a:lnTo>
                    <a:pt x="57075" y="58395"/>
                  </a:lnTo>
                  <a:lnTo>
                    <a:pt x="57169" y="58207"/>
                  </a:lnTo>
                  <a:lnTo>
                    <a:pt x="57075" y="58207"/>
                  </a:lnTo>
                  <a:lnTo>
                    <a:pt x="57924" y="57546"/>
                  </a:lnTo>
                  <a:lnTo>
                    <a:pt x="58678" y="56697"/>
                  </a:lnTo>
                  <a:lnTo>
                    <a:pt x="59339" y="55754"/>
                  </a:lnTo>
                  <a:lnTo>
                    <a:pt x="59905" y="54905"/>
                  </a:lnTo>
                  <a:lnTo>
                    <a:pt x="59716" y="54999"/>
                  </a:lnTo>
                  <a:lnTo>
                    <a:pt x="59622" y="54999"/>
                  </a:lnTo>
                  <a:lnTo>
                    <a:pt x="59810" y="54622"/>
                  </a:lnTo>
                  <a:lnTo>
                    <a:pt x="59150" y="55565"/>
                  </a:lnTo>
                  <a:lnTo>
                    <a:pt x="59527" y="55094"/>
                  </a:lnTo>
                  <a:lnTo>
                    <a:pt x="59433" y="55377"/>
                  </a:lnTo>
                  <a:lnTo>
                    <a:pt x="58867" y="56037"/>
                  </a:lnTo>
                  <a:lnTo>
                    <a:pt x="59056" y="55660"/>
                  </a:lnTo>
                  <a:lnTo>
                    <a:pt x="59056" y="55660"/>
                  </a:lnTo>
                  <a:lnTo>
                    <a:pt x="58678" y="56037"/>
                  </a:lnTo>
                  <a:lnTo>
                    <a:pt x="59810" y="54339"/>
                  </a:lnTo>
                  <a:lnTo>
                    <a:pt x="60282" y="53490"/>
                  </a:lnTo>
                  <a:lnTo>
                    <a:pt x="60282" y="53301"/>
                  </a:lnTo>
                  <a:lnTo>
                    <a:pt x="60188" y="53395"/>
                  </a:lnTo>
                  <a:lnTo>
                    <a:pt x="60188" y="53395"/>
                  </a:lnTo>
                  <a:lnTo>
                    <a:pt x="60565" y="52924"/>
                  </a:lnTo>
                  <a:lnTo>
                    <a:pt x="61037" y="52452"/>
                  </a:lnTo>
                  <a:lnTo>
                    <a:pt x="61886" y="51509"/>
                  </a:lnTo>
                  <a:lnTo>
                    <a:pt x="61508" y="52452"/>
                  </a:lnTo>
                  <a:lnTo>
                    <a:pt x="60848" y="53584"/>
                  </a:lnTo>
                  <a:lnTo>
                    <a:pt x="59622" y="55565"/>
                  </a:lnTo>
                  <a:lnTo>
                    <a:pt x="60376" y="54528"/>
                  </a:lnTo>
                  <a:lnTo>
                    <a:pt x="60942" y="53678"/>
                  </a:lnTo>
                  <a:lnTo>
                    <a:pt x="61980" y="51792"/>
                  </a:lnTo>
                  <a:lnTo>
                    <a:pt x="61886" y="51886"/>
                  </a:lnTo>
                  <a:lnTo>
                    <a:pt x="61886" y="51697"/>
                  </a:lnTo>
                  <a:lnTo>
                    <a:pt x="62169" y="51037"/>
                  </a:lnTo>
                  <a:lnTo>
                    <a:pt x="62735" y="49999"/>
                  </a:lnTo>
                  <a:lnTo>
                    <a:pt x="61508" y="51603"/>
                  </a:lnTo>
                  <a:lnTo>
                    <a:pt x="61603" y="51037"/>
                  </a:lnTo>
                  <a:lnTo>
                    <a:pt x="61697" y="50377"/>
                  </a:lnTo>
                  <a:lnTo>
                    <a:pt x="62169" y="48962"/>
                  </a:lnTo>
                  <a:lnTo>
                    <a:pt x="62829" y="47358"/>
                  </a:lnTo>
                  <a:lnTo>
                    <a:pt x="63678" y="45565"/>
                  </a:lnTo>
                  <a:lnTo>
                    <a:pt x="65376" y="42169"/>
                  </a:lnTo>
                  <a:lnTo>
                    <a:pt x="66131" y="40660"/>
                  </a:lnTo>
                  <a:lnTo>
                    <a:pt x="66697" y="39339"/>
                  </a:lnTo>
                  <a:lnTo>
                    <a:pt x="66603" y="39528"/>
                  </a:lnTo>
                  <a:lnTo>
                    <a:pt x="66697" y="39056"/>
                  </a:lnTo>
                  <a:lnTo>
                    <a:pt x="66791" y="38962"/>
                  </a:lnTo>
                  <a:lnTo>
                    <a:pt x="66791" y="39056"/>
                  </a:lnTo>
                  <a:lnTo>
                    <a:pt x="66886" y="38584"/>
                  </a:lnTo>
                  <a:lnTo>
                    <a:pt x="66791" y="38867"/>
                  </a:lnTo>
                  <a:lnTo>
                    <a:pt x="66980" y="38207"/>
                  </a:lnTo>
                  <a:lnTo>
                    <a:pt x="67169" y="37264"/>
                  </a:lnTo>
                  <a:lnTo>
                    <a:pt x="67263" y="36415"/>
                  </a:lnTo>
                  <a:lnTo>
                    <a:pt x="67357" y="36509"/>
                  </a:lnTo>
                  <a:lnTo>
                    <a:pt x="67452" y="36509"/>
                  </a:lnTo>
                  <a:lnTo>
                    <a:pt x="67546" y="35943"/>
                  </a:lnTo>
                  <a:lnTo>
                    <a:pt x="67546" y="34811"/>
                  </a:lnTo>
                  <a:lnTo>
                    <a:pt x="67640" y="31037"/>
                  </a:lnTo>
                  <a:lnTo>
                    <a:pt x="67640" y="28490"/>
                  </a:lnTo>
                  <a:lnTo>
                    <a:pt x="67546" y="27736"/>
                  </a:lnTo>
                  <a:lnTo>
                    <a:pt x="67546" y="27547"/>
                  </a:lnTo>
                  <a:lnTo>
                    <a:pt x="67452" y="27547"/>
                  </a:lnTo>
                  <a:lnTo>
                    <a:pt x="67074" y="26792"/>
                  </a:lnTo>
                  <a:lnTo>
                    <a:pt x="66791" y="25660"/>
                  </a:lnTo>
                  <a:lnTo>
                    <a:pt x="66508" y="24528"/>
                  </a:lnTo>
                  <a:lnTo>
                    <a:pt x="66414" y="23585"/>
                  </a:lnTo>
                  <a:lnTo>
                    <a:pt x="66320" y="23679"/>
                  </a:lnTo>
                  <a:lnTo>
                    <a:pt x="66320" y="23490"/>
                  </a:lnTo>
                  <a:lnTo>
                    <a:pt x="65942" y="22924"/>
                  </a:lnTo>
                  <a:lnTo>
                    <a:pt x="65565" y="22358"/>
                  </a:lnTo>
                  <a:lnTo>
                    <a:pt x="64527" y="21132"/>
                  </a:lnTo>
                  <a:lnTo>
                    <a:pt x="63584" y="19906"/>
                  </a:lnTo>
                  <a:lnTo>
                    <a:pt x="63207" y="19340"/>
                  </a:lnTo>
                  <a:lnTo>
                    <a:pt x="63018" y="18774"/>
                  </a:lnTo>
                  <a:lnTo>
                    <a:pt x="63112" y="18962"/>
                  </a:lnTo>
                  <a:lnTo>
                    <a:pt x="63301" y="19057"/>
                  </a:lnTo>
                  <a:lnTo>
                    <a:pt x="63301" y="19057"/>
                  </a:lnTo>
                  <a:lnTo>
                    <a:pt x="63207" y="18868"/>
                  </a:lnTo>
                  <a:lnTo>
                    <a:pt x="62923" y="18491"/>
                  </a:lnTo>
                  <a:lnTo>
                    <a:pt x="61980" y="17453"/>
                  </a:lnTo>
                  <a:lnTo>
                    <a:pt x="61037" y="16509"/>
                  </a:lnTo>
                  <a:lnTo>
                    <a:pt x="61037" y="16698"/>
                  </a:lnTo>
                  <a:lnTo>
                    <a:pt x="61037" y="16887"/>
                  </a:lnTo>
                  <a:lnTo>
                    <a:pt x="60093" y="15943"/>
                  </a:lnTo>
                  <a:lnTo>
                    <a:pt x="60376" y="16321"/>
                  </a:lnTo>
                  <a:lnTo>
                    <a:pt x="59527" y="15377"/>
                  </a:lnTo>
                  <a:lnTo>
                    <a:pt x="59056" y="14906"/>
                  </a:lnTo>
                  <a:lnTo>
                    <a:pt x="59244" y="14906"/>
                  </a:lnTo>
                  <a:lnTo>
                    <a:pt x="59905" y="15472"/>
                  </a:lnTo>
                  <a:lnTo>
                    <a:pt x="59905" y="15472"/>
                  </a:lnTo>
                  <a:lnTo>
                    <a:pt x="57641" y="13396"/>
                  </a:lnTo>
                  <a:lnTo>
                    <a:pt x="58112" y="13868"/>
                  </a:lnTo>
                  <a:lnTo>
                    <a:pt x="56886" y="13019"/>
                  </a:lnTo>
                  <a:lnTo>
                    <a:pt x="55754" y="12453"/>
                  </a:lnTo>
                  <a:lnTo>
                    <a:pt x="56603" y="13113"/>
                  </a:lnTo>
                  <a:lnTo>
                    <a:pt x="57452" y="13774"/>
                  </a:lnTo>
                  <a:lnTo>
                    <a:pt x="58961" y="15283"/>
                  </a:lnTo>
                  <a:lnTo>
                    <a:pt x="60376" y="16604"/>
                  </a:lnTo>
                  <a:lnTo>
                    <a:pt x="61225" y="17264"/>
                  </a:lnTo>
                  <a:lnTo>
                    <a:pt x="62074" y="17925"/>
                  </a:lnTo>
                  <a:lnTo>
                    <a:pt x="62074" y="17925"/>
                  </a:lnTo>
                  <a:lnTo>
                    <a:pt x="61414" y="17547"/>
                  </a:lnTo>
                  <a:lnTo>
                    <a:pt x="60659" y="16981"/>
                  </a:lnTo>
                  <a:lnTo>
                    <a:pt x="60754" y="17264"/>
                  </a:lnTo>
                  <a:lnTo>
                    <a:pt x="60942" y="17642"/>
                  </a:lnTo>
                  <a:lnTo>
                    <a:pt x="61980" y="19151"/>
                  </a:lnTo>
                  <a:lnTo>
                    <a:pt x="63301" y="20943"/>
                  </a:lnTo>
                  <a:lnTo>
                    <a:pt x="63207" y="20943"/>
                  </a:lnTo>
                  <a:lnTo>
                    <a:pt x="63395" y="21038"/>
                  </a:lnTo>
                  <a:lnTo>
                    <a:pt x="63490" y="21321"/>
                  </a:lnTo>
                  <a:lnTo>
                    <a:pt x="63678" y="21604"/>
                  </a:lnTo>
                  <a:lnTo>
                    <a:pt x="63773" y="21698"/>
                  </a:lnTo>
                  <a:lnTo>
                    <a:pt x="63584" y="21321"/>
                  </a:lnTo>
                  <a:lnTo>
                    <a:pt x="63584" y="21321"/>
                  </a:lnTo>
                  <a:lnTo>
                    <a:pt x="64244" y="22170"/>
                  </a:lnTo>
                  <a:lnTo>
                    <a:pt x="64716" y="22641"/>
                  </a:lnTo>
                  <a:lnTo>
                    <a:pt x="64905" y="22830"/>
                  </a:lnTo>
                  <a:lnTo>
                    <a:pt x="64999" y="22830"/>
                  </a:lnTo>
                  <a:lnTo>
                    <a:pt x="64999" y="22641"/>
                  </a:lnTo>
                  <a:lnTo>
                    <a:pt x="64905" y="22358"/>
                  </a:lnTo>
                  <a:lnTo>
                    <a:pt x="65282" y="23207"/>
                  </a:lnTo>
                  <a:lnTo>
                    <a:pt x="65565" y="24056"/>
                  </a:lnTo>
                  <a:lnTo>
                    <a:pt x="66225" y="25943"/>
                  </a:lnTo>
                  <a:lnTo>
                    <a:pt x="66697" y="27830"/>
                  </a:lnTo>
                  <a:lnTo>
                    <a:pt x="66886" y="28490"/>
                  </a:lnTo>
                  <a:lnTo>
                    <a:pt x="66980" y="28868"/>
                  </a:lnTo>
                  <a:lnTo>
                    <a:pt x="66886" y="28962"/>
                  </a:lnTo>
                  <a:lnTo>
                    <a:pt x="66697" y="28679"/>
                  </a:lnTo>
                  <a:lnTo>
                    <a:pt x="66697" y="29245"/>
                  </a:lnTo>
                  <a:lnTo>
                    <a:pt x="66791" y="29905"/>
                  </a:lnTo>
                  <a:lnTo>
                    <a:pt x="66886" y="29905"/>
                  </a:lnTo>
                  <a:lnTo>
                    <a:pt x="66886" y="30094"/>
                  </a:lnTo>
                  <a:lnTo>
                    <a:pt x="66886" y="30566"/>
                  </a:lnTo>
                  <a:lnTo>
                    <a:pt x="66697" y="30377"/>
                  </a:lnTo>
                  <a:lnTo>
                    <a:pt x="66603" y="30188"/>
                  </a:lnTo>
                  <a:lnTo>
                    <a:pt x="66603" y="30094"/>
                  </a:lnTo>
                  <a:lnTo>
                    <a:pt x="66697" y="29905"/>
                  </a:lnTo>
                  <a:lnTo>
                    <a:pt x="66508" y="28679"/>
                  </a:lnTo>
                  <a:lnTo>
                    <a:pt x="66225" y="27358"/>
                  </a:lnTo>
                  <a:lnTo>
                    <a:pt x="66603" y="30283"/>
                  </a:lnTo>
                  <a:lnTo>
                    <a:pt x="66697" y="31792"/>
                  </a:lnTo>
                  <a:lnTo>
                    <a:pt x="66697" y="33302"/>
                  </a:lnTo>
                  <a:lnTo>
                    <a:pt x="66603" y="34717"/>
                  </a:lnTo>
                  <a:lnTo>
                    <a:pt x="66414" y="36226"/>
                  </a:lnTo>
                  <a:lnTo>
                    <a:pt x="66131" y="37547"/>
                  </a:lnTo>
                  <a:lnTo>
                    <a:pt x="65659" y="38962"/>
                  </a:lnTo>
                  <a:lnTo>
                    <a:pt x="65848" y="38584"/>
                  </a:lnTo>
                  <a:lnTo>
                    <a:pt x="65942" y="38584"/>
                  </a:lnTo>
                  <a:lnTo>
                    <a:pt x="65848" y="39245"/>
                  </a:lnTo>
                  <a:lnTo>
                    <a:pt x="65565" y="40188"/>
                  </a:lnTo>
                  <a:lnTo>
                    <a:pt x="65471" y="40471"/>
                  </a:lnTo>
                  <a:lnTo>
                    <a:pt x="65282" y="40660"/>
                  </a:lnTo>
                  <a:lnTo>
                    <a:pt x="65282" y="40566"/>
                  </a:lnTo>
                  <a:lnTo>
                    <a:pt x="65093" y="41132"/>
                  </a:lnTo>
                  <a:lnTo>
                    <a:pt x="64433" y="43018"/>
                  </a:lnTo>
                  <a:lnTo>
                    <a:pt x="63678" y="45282"/>
                  </a:lnTo>
                  <a:lnTo>
                    <a:pt x="62735" y="47264"/>
                  </a:lnTo>
                  <a:lnTo>
                    <a:pt x="61697" y="49056"/>
                  </a:lnTo>
                  <a:lnTo>
                    <a:pt x="60659" y="50943"/>
                  </a:lnTo>
                  <a:lnTo>
                    <a:pt x="59433" y="52735"/>
                  </a:lnTo>
                  <a:lnTo>
                    <a:pt x="58207" y="54433"/>
                  </a:lnTo>
                  <a:lnTo>
                    <a:pt x="56886" y="56037"/>
                  </a:lnTo>
                  <a:lnTo>
                    <a:pt x="55376" y="57641"/>
                  </a:lnTo>
                  <a:lnTo>
                    <a:pt x="53867" y="59150"/>
                  </a:lnTo>
                  <a:lnTo>
                    <a:pt x="52169" y="60376"/>
                  </a:lnTo>
                  <a:lnTo>
                    <a:pt x="48961" y="62452"/>
                  </a:lnTo>
                  <a:lnTo>
                    <a:pt x="44528" y="65282"/>
                  </a:lnTo>
                  <a:lnTo>
                    <a:pt x="44622" y="65188"/>
                  </a:lnTo>
                  <a:lnTo>
                    <a:pt x="44716" y="65093"/>
                  </a:lnTo>
                  <a:lnTo>
                    <a:pt x="45094" y="64810"/>
                  </a:lnTo>
                  <a:lnTo>
                    <a:pt x="45660" y="64527"/>
                  </a:lnTo>
                  <a:lnTo>
                    <a:pt x="43867" y="65376"/>
                  </a:lnTo>
                  <a:lnTo>
                    <a:pt x="43113" y="65754"/>
                  </a:lnTo>
                  <a:lnTo>
                    <a:pt x="42924" y="65754"/>
                  </a:lnTo>
                  <a:lnTo>
                    <a:pt x="43113" y="65659"/>
                  </a:lnTo>
                  <a:lnTo>
                    <a:pt x="41603" y="66037"/>
                  </a:lnTo>
                  <a:lnTo>
                    <a:pt x="39999" y="66320"/>
                  </a:lnTo>
                  <a:lnTo>
                    <a:pt x="38396" y="66508"/>
                  </a:lnTo>
                  <a:lnTo>
                    <a:pt x="36792" y="66697"/>
                  </a:lnTo>
                  <a:lnTo>
                    <a:pt x="33584" y="66980"/>
                  </a:lnTo>
                  <a:lnTo>
                    <a:pt x="32169" y="67169"/>
                  </a:lnTo>
                  <a:lnTo>
                    <a:pt x="30754" y="67357"/>
                  </a:lnTo>
                  <a:lnTo>
                    <a:pt x="30094" y="67357"/>
                  </a:lnTo>
                  <a:lnTo>
                    <a:pt x="29339" y="67263"/>
                  </a:lnTo>
                  <a:lnTo>
                    <a:pt x="27830" y="66886"/>
                  </a:lnTo>
                  <a:lnTo>
                    <a:pt x="26415" y="66508"/>
                  </a:lnTo>
                  <a:lnTo>
                    <a:pt x="25754" y="66414"/>
                  </a:lnTo>
                  <a:lnTo>
                    <a:pt x="25094" y="66414"/>
                  </a:lnTo>
                  <a:lnTo>
                    <a:pt x="25566" y="66980"/>
                  </a:lnTo>
                  <a:lnTo>
                    <a:pt x="25471" y="67074"/>
                  </a:lnTo>
                  <a:lnTo>
                    <a:pt x="25188" y="66980"/>
                  </a:lnTo>
                  <a:lnTo>
                    <a:pt x="24339" y="66791"/>
                  </a:lnTo>
                  <a:lnTo>
                    <a:pt x="23773" y="66508"/>
                  </a:lnTo>
                  <a:lnTo>
                    <a:pt x="24245" y="66414"/>
                  </a:lnTo>
                  <a:lnTo>
                    <a:pt x="24717" y="66603"/>
                  </a:lnTo>
                  <a:lnTo>
                    <a:pt x="24811" y="66414"/>
                  </a:lnTo>
                  <a:lnTo>
                    <a:pt x="24811" y="66320"/>
                  </a:lnTo>
                  <a:lnTo>
                    <a:pt x="24717" y="66225"/>
                  </a:lnTo>
                  <a:lnTo>
                    <a:pt x="24528" y="66131"/>
                  </a:lnTo>
                  <a:lnTo>
                    <a:pt x="24151" y="66225"/>
                  </a:lnTo>
                  <a:lnTo>
                    <a:pt x="23679" y="66320"/>
                  </a:lnTo>
                  <a:lnTo>
                    <a:pt x="23018" y="66414"/>
                  </a:lnTo>
                  <a:lnTo>
                    <a:pt x="23490" y="66225"/>
                  </a:lnTo>
                  <a:lnTo>
                    <a:pt x="22075" y="65942"/>
                  </a:lnTo>
                  <a:lnTo>
                    <a:pt x="20943" y="65659"/>
                  </a:lnTo>
                  <a:lnTo>
                    <a:pt x="20000" y="65282"/>
                  </a:lnTo>
                  <a:lnTo>
                    <a:pt x="19056" y="64810"/>
                  </a:lnTo>
                  <a:lnTo>
                    <a:pt x="19056" y="64810"/>
                  </a:lnTo>
                  <a:lnTo>
                    <a:pt x="19717" y="64999"/>
                  </a:lnTo>
                  <a:lnTo>
                    <a:pt x="19151" y="64716"/>
                  </a:lnTo>
                  <a:lnTo>
                    <a:pt x="18962" y="64810"/>
                  </a:lnTo>
                  <a:lnTo>
                    <a:pt x="19151" y="64905"/>
                  </a:lnTo>
                  <a:lnTo>
                    <a:pt x="18490" y="64905"/>
                  </a:lnTo>
                  <a:lnTo>
                    <a:pt x="17830" y="64716"/>
                  </a:lnTo>
                  <a:lnTo>
                    <a:pt x="17264" y="64527"/>
                  </a:lnTo>
                  <a:lnTo>
                    <a:pt x="16698" y="64150"/>
                  </a:lnTo>
                  <a:lnTo>
                    <a:pt x="16981" y="64056"/>
                  </a:lnTo>
                  <a:lnTo>
                    <a:pt x="17264" y="64150"/>
                  </a:lnTo>
                  <a:lnTo>
                    <a:pt x="17264" y="64150"/>
                  </a:lnTo>
                  <a:lnTo>
                    <a:pt x="15188" y="63207"/>
                  </a:lnTo>
                  <a:lnTo>
                    <a:pt x="14622" y="62829"/>
                  </a:lnTo>
                  <a:lnTo>
                    <a:pt x="14717" y="62924"/>
                  </a:lnTo>
                  <a:lnTo>
                    <a:pt x="13773" y="62546"/>
                  </a:lnTo>
                  <a:lnTo>
                    <a:pt x="12924" y="62075"/>
                  </a:lnTo>
                  <a:lnTo>
                    <a:pt x="12358" y="61697"/>
                  </a:lnTo>
                  <a:lnTo>
                    <a:pt x="12264" y="61508"/>
                  </a:lnTo>
                  <a:lnTo>
                    <a:pt x="12170" y="61320"/>
                  </a:lnTo>
                  <a:lnTo>
                    <a:pt x="11698" y="60942"/>
                  </a:lnTo>
                  <a:lnTo>
                    <a:pt x="11132" y="60471"/>
                  </a:lnTo>
                  <a:lnTo>
                    <a:pt x="9906" y="59244"/>
                  </a:lnTo>
                  <a:lnTo>
                    <a:pt x="9906" y="59244"/>
                  </a:lnTo>
                  <a:lnTo>
                    <a:pt x="10566" y="59527"/>
                  </a:lnTo>
                  <a:lnTo>
                    <a:pt x="9434" y="58584"/>
                  </a:lnTo>
                  <a:lnTo>
                    <a:pt x="8207" y="57546"/>
                  </a:lnTo>
                  <a:lnTo>
                    <a:pt x="7547" y="56886"/>
                  </a:lnTo>
                  <a:lnTo>
                    <a:pt x="6981" y="56131"/>
                  </a:lnTo>
                  <a:lnTo>
                    <a:pt x="6226" y="55094"/>
                  </a:lnTo>
                  <a:lnTo>
                    <a:pt x="6415" y="55377"/>
                  </a:lnTo>
                  <a:lnTo>
                    <a:pt x="6038" y="54905"/>
                  </a:lnTo>
                  <a:lnTo>
                    <a:pt x="5472" y="54244"/>
                  </a:lnTo>
                  <a:lnTo>
                    <a:pt x="5283" y="53961"/>
                  </a:lnTo>
                  <a:lnTo>
                    <a:pt x="5094" y="53867"/>
                  </a:lnTo>
                  <a:lnTo>
                    <a:pt x="5377" y="54622"/>
                  </a:lnTo>
                  <a:lnTo>
                    <a:pt x="5849" y="55282"/>
                  </a:lnTo>
                  <a:lnTo>
                    <a:pt x="6321" y="55943"/>
                  </a:lnTo>
                  <a:lnTo>
                    <a:pt x="6698" y="56603"/>
                  </a:lnTo>
                  <a:lnTo>
                    <a:pt x="6226" y="56226"/>
                  </a:lnTo>
                  <a:lnTo>
                    <a:pt x="5943" y="55848"/>
                  </a:lnTo>
                  <a:lnTo>
                    <a:pt x="6038" y="56037"/>
                  </a:lnTo>
                  <a:lnTo>
                    <a:pt x="5943" y="55943"/>
                  </a:lnTo>
                  <a:lnTo>
                    <a:pt x="5377" y="55188"/>
                  </a:lnTo>
                  <a:lnTo>
                    <a:pt x="5000" y="54716"/>
                  </a:lnTo>
                  <a:lnTo>
                    <a:pt x="4717" y="54150"/>
                  </a:lnTo>
                  <a:lnTo>
                    <a:pt x="4528" y="53678"/>
                  </a:lnTo>
                  <a:lnTo>
                    <a:pt x="4528" y="53584"/>
                  </a:lnTo>
                  <a:lnTo>
                    <a:pt x="4623" y="53395"/>
                  </a:lnTo>
                  <a:lnTo>
                    <a:pt x="5094" y="54244"/>
                  </a:lnTo>
                  <a:lnTo>
                    <a:pt x="4717" y="53301"/>
                  </a:lnTo>
                  <a:lnTo>
                    <a:pt x="4528" y="53018"/>
                  </a:lnTo>
                  <a:lnTo>
                    <a:pt x="4151" y="52263"/>
                  </a:lnTo>
                  <a:lnTo>
                    <a:pt x="4151" y="52169"/>
                  </a:lnTo>
                  <a:lnTo>
                    <a:pt x="3774" y="51509"/>
                  </a:lnTo>
                  <a:lnTo>
                    <a:pt x="3396" y="50660"/>
                  </a:lnTo>
                  <a:lnTo>
                    <a:pt x="3585" y="51603"/>
                  </a:lnTo>
                  <a:lnTo>
                    <a:pt x="3396" y="51226"/>
                  </a:lnTo>
                  <a:lnTo>
                    <a:pt x="3208" y="50848"/>
                  </a:lnTo>
                  <a:lnTo>
                    <a:pt x="3208" y="50471"/>
                  </a:lnTo>
                  <a:lnTo>
                    <a:pt x="3208" y="50094"/>
                  </a:lnTo>
                  <a:lnTo>
                    <a:pt x="3585" y="50754"/>
                  </a:lnTo>
                  <a:lnTo>
                    <a:pt x="3868" y="51509"/>
                  </a:lnTo>
                  <a:lnTo>
                    <a:pt x="3868" y="51509"/>
                  </a:lnTo>
                  <a:lnTo>
                    <a:pt x="3208" y="49528"/>
                  </a:lnTo>
                  <a:lnTo>
                    <a:pt x="3208" y="49528"/>
                  </a:lnTo>
                  <a:lnTo>
                    <a:pt x="3868" y="50754"/>
                  </a:lnTo>
                  <a:lnTo>
                    <a:pt x="3208" y="48962"/>
                  </a:lnTo>
                  <a:lnTo>
                    <a:pt x="3585" y="49339"/>
                  </a:lnTo>
                  <a:lnTo>
                    <a:pt x="3774" y="49433"/>
                  </a:lnTo>
                  <a:lnTo>
                    <a:pt x="3962" y="49528"/>
                  </a:lnTo>
                  <a:lnTo>
                    <a:pt x="4057" y="49905"/>
                  </a:lnTo>
                  <a:lnTo>
                    <a:pt x="3868" y="48962"/>
                  </a:lnTo>
                  <a:lnTo>
                    <a:pt x="3491" y="47924"/>
                  </a:lnTo>
                  <a:lnTo>
                    <a:pt x="2641" y="45565"/>
                  </a:lnTo>
                  <a:lnTo>
                    <a:pt x="2170" y="43867"/>
                  </a:lnTo>
                  <a:lnTo>
                    <a:pt x="1698" y="41886"/>
                  </a:lnTo>
                  <a:lnTo>
                    <a:pt x="1698" y="41886"/>
                  </a:lnTo>
                  <a:lnTo>
                    <a:pt x="1887" y="42075"/>
                  </a:lnTo>
                  <a:lnTo>
                    <a:pt x="1981" y="41981"/>
                  </a:lnTo>
                  <a:lnTo>
                    <a:pt x="2075" y="42075"/>
                  </a:lnTo>
                  <a:lnTo>
                    <a:pt x="2264" y="42169"/>
                  </a:lnTo>
                  <a:lnTo>
                    <a:pt x="2170" y="40283"/>
                  </a:lnTo>
                  <a:lnTo>
                    <a:pt x="2075" y="38301"/>
                  </a:lnTo>
                  <a:lnTo>
                    <a:pt x="2170" y="36415"/>
                  </a:lnTo>
                  <a:lnTo>
                    <a:pt x="2358" y="35566"/>
                  </a:lnTo>
                  <a:lnTo>
                    <a:pt x="2453" y="34811"/>
                  </a:lnTo>
                  <a:lnTo>
                    <a:pt x="2830" y="32830"/>
                  </a:lnTo>
                  <a:lnTo>
                    <a:pt x="2830" y="33207"/>
                  </a:lnTo>
                  <a:lnTo>
                    <a:pt x="2924" y="33490"/>
                  </a:lnTo>
                  <a:lnTo>
                    <a:pt x="2924" y="32453"/>
                  </a:lnTo>
                  <a:lnTo>
                    <a:pt x="3019" y="31415"/>
                  </a:lnTo>
                  <a:lnTo>
                    <a:pt x="3396" y="29245"/>
                  </a:lnTo>
                  <a:lnTo>
                    <a:pt x="3868" y="27075"/>
                  </a:lnTo>
                  <a:lnTo>
                    <a:pt x="4623" y="25000"/>
                  </a:lnTo>
                  <a:lnTo>
                    <a:pt x="5566" y="22830"/>
                  </a:lnTo>
                  <a:lnTo>
                    <a:pt x="6604" y="20849"/>
                  </a:lnTo>
                  <a:lnTo>
                    <a:pt x="7830" y="18868"/>
                  </a:lnTo>
                  <a:lnTo>
                    <a:pt x="9151" y="16887"/>
                  </a:lnTo>
                  <a:lnTo>
                    <a:pt x="10566" y="15094"/>
                  </a:lnTo>
                  <a:lnTo>
                    <a:pt x="12075" y="13302"/>
                  </a:lnTo>
                  <a:lnTo>
                    <a:pt x="13773" y="11698"/>
                  </a:lnTo>
                  <a:lnTo>
                    <a:pt x="15377" y="10095"/>
                  </a:lnTo>
                  <a:lnTo>
                    <a:pt x="17170" y="8679"/>
                  </a:lnTo>
                  <a:lnTo>
                    <a:pt x="18962" y="7453"/>
                  </a:lnTo>
                  <a:lnTo>
                    <a:pt x="20754" y="6321"/>
                  </a:lnTo>
                  <a:lnTo>
                    <a:pt x="22547" y="5378"/>
                  </a:lnTo>
                  <a:lnTo>
                    <a:pt x="21603" y="6227"/>
                  </a:lnTo>
                  <a:lnTo>
                    <a:pt x="22641" y="5472"/>
                  </a:lnTo>
                  <a:lnTo>
                    <a:pt x="23302" y="5095"/>
                  </a:lnTo>
                  <a:lnTo>
                    <a:pt x="25377" y="4151"/>
                  </a:lnTo>
                  <a:lnTo>
                    <a:pt x="24811" y="4151"/>
                  </a:lnTo>
                  <a:lnTo>
                    <a:pt x="25660" y="3774"/>
                  </a:lnTo>
                  <a:lnTo>
                    <a:pt x="26886" y="3208"/>
                  </a:lnTo>
                  <a:lnTo>
                    <a:pt x="26603" y="3585"/>
                  </a:lnTo>
                  <a:lnTo>
                    <a:pt x="26886" y="3585"/>
                  </a:lnTo>
                  <a:lnTo>
                    <a:pt x="26886" y="3680"/>
                  </a:lnTo>
                  <a:lnTo>
                    <a:pt x="26792" y="3774"/>
                  </a:lnTo>
                  <a:lnTo>
                    <a:pt x="28301" y="3302"/>
                  </a:lnTo>
                  <a:lnTo>
                    <a:pt x="29622" y="2736"/>
                  </a:lnTo>
                  <a:lnTo>
                    <a:pt x="31037" y="2264"/>
                  </a:lnTo>
                  <a:lnTo>
                    <a:pt x="31792" y="2076"/>
                  </a:lnTo>
                  <a:lnTo>
                    <a:pt x="32641" y="1981"/>
                  </a:lnTo>
                  <a:lnTo>
                    <a:pt x="32547" y="2076"/>
                  </a:lnTo>
                  <a:lnTo>
                    <a:pt x="32924" y="1981"/>
                  </a:lnTo>
                  <a:lnTo>
                    <a:pt x="34245" y="1793"/>
                  </a:lnTo>
                  <a:lnTo>
                    <a:pt x="35848" y="1415"/>
                  </a:lnTo>
                  <a:lnTo>
                    <a:pt x="36981" y="1132"/>
                  </a:lnTo>
                  <a:lnTo>
                    <a:pt x="36981" y="1415"/>
                  </a:lnTo>
                  <a:lnTo>
                    <a:pt x="40943" y="1227"/>
                  </a:lnTo>
                  <a:lnTo>
                    <a:pt x="41509" y="1038"/>
                  </a:lnTo>
                  <a:lnTo>
                    <a:pt x="41697" y="1132"/>
                  </a:lnTo>
                  <a:lnTo>
                    <a:pt x="41509" y="1227"/>
                  </a:lnTo>
                  <a:lnTo>
                    <a:pt x="41320" y="1321"/>
                  </a:lnTo>
                  <a:lnTo>
                    <a:pt x="42263" y="1321"/>
                  </a:lnTo>
                  <a:lnTo>
                    <a:pt x="43113" y="1227"/>
                  </a:lnTo>
                  <a:lnTo>
                    <a:pt x="43396" y="1415"/>
                  </a:lnTo>
                  <a:lnTo>
                    <a:pt x="44056" y="1604"/>
                  </a:lnTo>
                  <a:lnTo>
                    <a:pt x="45943" y="2076"/>
                  </a:lnTo>
                  <a:lnTo>
                    <a:pt x="48018" y="2359"/>
                  </a:lnTo>
                  <a:lnTo>
                    <a:pt x="49622" y="2736"/>
                  </a:lnTo>
                  <a:lnTo>
                    <a:pt x="47641" y="1981"/>
                  </a:lnTo>
                  <a:lnTo>
                    <a:pt x="45282" y="1321"/>
                  </a:lnTo>
                  <a:lnTo>
                    <a:pt x="42735" y="755"/>
                  </a:lnTo>
                  <a:lnTo>
                    <a:pt x="40188" y="283"/>
                  </a:lnTo>
                  <a:lnTo>
                    <a:pt x="37735" y="95"/>
                  </a:lnTo>
                  <a:lnTo>
                    <a:pt x="35471" y="0"/>
                  </a:lnTo>
                  <a:close/>
                </a:path>
              </a:pathLst>
            </a:custGeom>
            <a:solidFill>
              <a:schemeClr val="bg1">
                <a:lumMod val="95000"/>
              </a:schemeClr>
            </a:solidFill>
            <a:ln w="0">
              <a:solidFill>
                <a:srgbClr val="0079D1"/>
              </a:solidFill>
            </a:ln>
          </p:spPr>
          <p:txBody>
            <a:bodyPr spcFirstLastPara="1" wrap="square" lIns="91425" tIns="91425" rIns="91425" bIns="91425" anchor="ctr" anchorCtr="0">
              <a:noAutofit/>
            </a:bodyPr>
            <a:lstStyle/>
            <a:p>
              <a:pPr marL="0" lvl="0" indent="0">
                <a:spcBef>
                  <a:spcPts val="0"/>
                </a:spcBef>
                <a:spcAft>
                  <a:spcPts val="0"/>
                </a:spcAft>
                <a:buNone/>
              </a:pPr>
              <a:endParaRPr sz="1200">
                <a:latin typeface="+mj-lt"/>
              </a:endParaRPr>
            </a:p>
          </p:txBody>
        </p:sp>
        <p:sp>
          <p:nvSpPr>
            <p:cNvPr id="621" name="TextBox 620">
              <a:extLst>
                <a:ext uri="{FF2B5EF4-FFF2-40B4-BE49-F238E27FC236}">
                  <a16:creationId xmlns:a16="http://schemas.microsoft.com/office/drawing/2014/main" id="{231D54FC-637F-3A45-8274-4AC3D4F76251}"/>
                </a:ext>
              </a:extLst>
            </p:cNvPr>
            <p:cNvSpPr txBox="1"/>
            <p:nvPr/>
          </p:nvSpPr>
          <p:spPr>
            <a:xfrm>
              <a:off x="8676898" y="4619460"/>
              <a:ext cx="229951" cy="200055"/>
            </a:xfrm>
            <a:prstGeom prst="rect">
              <a:avLst/>
            </a:prstGeom>
            <a:noFill/>
          </p:spPr>
          <p:txBody>
            <a:bodyPr wrap="square" rtlCol="0">
              <a:spAutoFit/>
            </a:bodyPr>
            <a:lstStyle/>
            <a:p>
              <a:r>
                <a:rPr lang="en-US" sz="700" b="1" dirty="0">
                  <a:solidFill>
                    <a:srgbClr val="0079D1"/>
                  </a:solidFill>
                  <a:latin typeface="+mj-lt"/>
                </a:rPr>
                <a:t>F</a:t>
              </a:r>
            </a:p>
          </p:txBody>
        </p:sp>
      </p:grpSp>
      <p:grpSp>
        <p:nvGrpSpPr>
          <p:cNvPr id="624" name="Group 623">
            <a:extLst>
              <a:ext uri="{FF2B5EF4-FFF2-40B4-BE49-F238E27FC236}">
                <a16:creationId xmlns:a16="http://schemas.microsoft.com/office/drawing/2014/main" id="{7C242536-E450-AE4E-AE79-A7E7B62956C5}"/>
              </a:ext>
            </a:extLst>
          </p:cNvPr>
          <p:cNvGrpSpPr/>
          <p:nvPr/>
        </p:nvGrpSpPr>
        <p:grpSpPr>
          <a:xfrm>
            <a:off x="10347952" y="2534777"/>
            <a:ext cx="229951" cy="200055"/>
            <a:chOff x="8676898" y="4619460"/>
            <a:chExt cx="229951" cy="200055"/>
          </a:xfrm>
        </p:grpSpPr>
        <p:sp>
          <p:nvSpPr>
            <p:cNvPr id="625" name="Google Shape;431;p39">
              <a:extLst>
                <a:ext uri="{FF2B5EF4-FFF2-40B4-BE49-F238E27FC236}">
                  <a16:creationId xmlns:a16="http://schemas.microsoft.com/office/drawing/2014/main" id="{D380E521-12C2-7743-A5D9-2E6D41168ABF}"/>
                </a:ext>
              </a:extLst>
            </p:cNvPr>
            <p:cNvSpPr/>
            <p:nvPr/>
          </p:nvSpPr>
          <p:spPr>
            <a:xfrm>
              <a:off x="8709950" y="4635551"/>
              <a:ext cx="179407" cy="167874"/>
            </a:xfrm>
            <a:custGeom>
              <a:avLst/>
              <a:gdLst/>
              <a:ahLst/>
              <a:cxnLst/>
              <a:rect l="0" t="0" r="0" b="0"/>
              <a:pathLst>
                <a:path w="67641" h="69056" extrusionOk="0">
                  <a:moveTo>
                    <a:pt x="49622" y="2736"/>
                  </a:moveTo>
                  <a:lnTo>
                    <a:pt x="49622" y="2736"/>
                  </a:lnTo>
                  <a:lnTo>
                    <a:pt x="49622" y="2736"/>
                  </a:lnTo>
                  <a:close/>
                  <a:moveTo>
                    <a:pt x="59622" y="55565"/>
                  </a:moveTo>
                  <a:lnTo>
                    <a:pt x="59622" y="55565"/>
                  </a:lnTo>
                  <a:lnTo>
                    <a:pt x="59622" y="55565"/>
                  </a:lnTo>
                  <a:close/>
                  <a:moveTo>
                    <a:pt x="35471" y="0"/>
                  </a:moveTo>
                  <a:lnTo>
                    <a:pt x="34433" y="95"/>
                  </a:lnTo>
                  <a:lnTo>
                    <a:pt x="33584" y="189"/>
                  </a:lnTo>
                  <a:lnTo>
                    <a:pt x="32735" y="378"/>
                  </a:lnTo>
                  <a:lnTo>
                    <a:pt x="32169" y="566"/>
                  </a:lnTo>
                  <a:lnTo>
                    <a:pt x="31509" y="472"/>
                  </a:lnTo>
                  <a:lnTo>
                    <a:pt x="30754" y="472"/>
                  </a:lnTo>
                  <a:lnTo>
                    <a:pt x="29339" y="566"/>
                  </a:lnTo>
                  <a:lnTo>
                    <a:pt x="27830" y="849"/>
                  </a:lnTo>
                  <a:lnTo>
                    <a:pt x="26320" y="1321"/>
                  </a:lnTo>
                  <a:lnTo>
                    <a:pt x="24811" y="1981"/>
                  </a:lnTo>
                  <a:lnTo>
                    <a:pt x="23207" y="2736"/>
                  </a:lnTo>
                  <a:lnTo>
                    <a:pt x="21698" y="3585"/>
                  </a:lnTo>
                  <a:lnTo>
                    <a:pt x="20188" y="4623"/>
                  </a:lnTo>
                  <a:lnTo>
                    <a:pt x="18679" y="5661"/>
                  </a:lnTo>
                  <a:lnTo>
                    <a:pt x="17170" y="6793"/>
                  </a:lnTo>
                  <a:lnTo>
                    <a:pt x="15754" y="8019"/>
                  </a:lnTo>
                  <a:lnTo>
                    <a:pt x="14434" y="9151"/>
                  </a:lnTo>
                  <a:lnTo>
                    <a:pt x="11981" y="11510"/>
                  </a:lnTo>
                  <a:lnTo>
                    <a:pt x="10000" y="13774"/>
                  </a:lnTo>
                  <a:lnTo>
                    <a:pt x="7736" y="16981"/>
                  </a:lnTo>
                  <a:lnTo>
                    <a:pt x="8019" y="16321"/>
                  </a:lnTo>
                  <a:lnTo>
                    <a:pt x="8302" y="15660"/>
                  </a:lnTo>
                  <a:lnTo>
                    <a:pt x="7736" y="16604"/>
                  </a:lnTo>
                  <a:lnTo>
                    <a:pt x="7075" y="17642"/>
                  </a:lnTo>
                  <a:lnTo>
                    <a:pt x="7170" y="17830"/>
                  </a:lnTo>
                  <a:lnTo>
                    <a:pt x="6509" y="18868"/>
                  </a:lnTo>
                  <a:lnTo>
                    <a:pt x="7075" y="17359"/>
                  </a:lnTo>
                  <a:lnTo>
                    <a:pt x="6132" y="19057"/>
                  </a:lnTo>
                  <a:lnTo>
                    <a:pt x="5189" y="20849"/>
                  </a:lnTo>
                  <a:lnTo>
                    <a:pt x="4434" y="22736"/>
                  </a:lnTo>
                  <a:lnTo>
                    <a:pt x="3679" y="24622"/>
                  </a:lnTo>
                  <a:lnTo>
                    <a:pt x="2453" y="28490"/>
                  </a:lnTo>
                  <a:lnTo>
                    <a:pt x="1321" y="32169"/>
                  </a:lnTo>
                  <a:lnTo>
                    <a:pt x="1509" y="32264"/>
                  </a:lnTo>
                  <a:lnTo>
                    <a:pt x="1604" y="32453"/>
                  </a:lnTo>
                  <a:lnTo>
                    <a:pt x="1604" y="32641"/>
                  </a:lnTo>
                  <a:lnTo>
                    <a:pt x="1509" y="32924"/>
                  </a:lnTo>
                  <a:lnTo>
                    <a:pt x="1226" y="33396"/>
                  </a:lnTo>
                  <a:lnTo>
                    <a:pt x="1038" y="33585"/>
                  </a:lnTo>
                  <a:lnTo>
                    <a:pt x="1038" y="33773"/>
                  </a:lnTo>
                  <a:lnTo>
                    <a:pt x="1038" y="35000"/>
                  </a:lnTo>
                  <a:lnTo>
                    <a:pt x="849" y="36132"/>
                  </a:lnTo>
                  <a:lnTo>
                    <a:pt x="660" y="37358"/>
                  </a:lnTo>
                  <a:lnTo>
                    <a:pt x="472" y="38867"/>
                  </a:lnTo>
                  <a:lnTo>
                    <a:pt x="283" y="38301"/>
                  </a:lnTo>
                  <a:lnTo>
                    <a:pt x="94" y="39811"/>
                  </a:lnTo>
                  <a:lnTo>
                    <a:pt x="0" y="41509"/>
                  </a:lnTo>
                  <a:lnTo>
                    <a:pt x="94" y="43301"/>
                  </a:lnTo>
                  <a:lnTo>
                    <a:pt x="283" y="44056"/>
                  </a:lnTo>
                  <a:lnTo>
                    <a:pt x="472" y="44622"/>
                  </a:lnTo>
                  <a:lnTo>
                    <a:pt x="566" y="45660"/>
                  </a:lnTo>
                  <a:lnTo>
                    <a:pt x="755" y="46792"/>
                  </a:lnTo>
                  <a:lnTo>
                    <a:pt x="1226" y="48962"/>
                  </a:lnTo>
                  <a:lnTo>
                    <a:pt x="1981" y="51037"/>
                  </a:lnTo>
                  <a:lnTo>
                    <a:pt x="2924" y="53112"/>
                  </a:lnTo>
                  <a:lnTo>
                    <a:pt x="4057" y="55094"/>
                  </a:lnTo>
                  <a:lnTo>
                    <a:pt x="5283" y="56980"/>
                  </a:lnTo>
                  <a:lnTo>
                    <a:pt x="6698" y="58678"/>
                  </a:lnTo>
                  <a:lnTo>
                    <a:pt x="8113" y="60282"/>
                  </a:lnTo>
                  <a:lnTo>
                    <a:pt x="9056" y="61131"/>
                  </a:lnTo>
                  <a:lnTo>
                    <a:pt x="10000" y="61980"/>
                  </a:lnTo>
                  <a:lnTo>
                    <a:pt x="11038" y="62829"/>
                  </a:lnTo>
                  <a:lnTo>
                    <a:pt x="12075" y="63584"/>
                  </a:lnTo>
                  <a:lnTo>
                    <a:pt x="14339" y="64905"/>
                  </a:lnTo>
                  <a:lnTo>
                    <a:pt x="16604" y="66131"/>
                  </a:lnTo>
                  <a:lnTo>
                    <a:pt x="19056" y="67169"/>
                  </a:lnTo>
                  <a:lnTo>
                    <a:pt x="21509" y="67923"/>
                  </a:lnTo>
                  <a:lnTo>
                    <a:pt x="24056" y="68584"/>
                  </a:lnTo>
                  <a:lnTo>
                    <a:pt x="26603" y="69055"/>
                  </a:lnTo>
                  <a:lnTo>
                    <a:pt x="27830" y="69055"/>
                  </a:lnTo>
                  <a:lnTo>
                    <a:pt x="30188" y="68867"/>
                  </a:lnTo>
                  <a:lnTo>
                    <a:pt x="33113" y="68678"/>
                  </a:lnTo>
                  <a:lnTo>
                    <a:pt x="36509" y="68301"/>
                  </a:lnTo>
                  <a:lnTo>
                    <a:pt x="39811" y="67923"/>
                  </a:lnTo>
                  <a:lnTo>
                    <a:pt x="42735" y="67452"/>
                  </a:lnTo>
                  <a:lnTo>
                    <a:pt x="44905" y="66980"/>
                  </a:lnTo>
                  <a:lnTo>
                    <a:pt x="45565" y="66791"/>
                  </a:lnTo>
                  <a:lnTo>
                    <a:pt x="45943" y="66508"/>
                  </a:lnTo>
                  <a:lnTo>
                    <a:pt x="47358" y="65942"/>
                  </a:lnTo>
                  <a:lnTo>
                    <a:pt x="48018" y="65565"/>
                  </a:lnTo>
                  <a:lnTo>
                    <a:pt x="48678" y="65188"/>
                  </a:lnTo>
                  <a:lnTo>
                    <a:pt x="47924" y="65471"/>
                  </a:lnTo>
                  <a:lnTo>
                    <a:pt x="51509" y="62924"/>
                  </a:lnTo>
                  <a:lnTo>
                    <a:pt x="53301" y="61508"/>
                  </a:lnTo>
                  <a:lnTo>
                    <a:pt x="55093" y="59905"/>
                  </a:lnTo>
                  <a:lnTo>
                    <a:pt x="55093" y="59905"/>
                  </a:lnTo>
                  <a:lnTo>
                    <a:pt x="54810" y="60376"/>
                  </a:lnTo>
                  <a:lnTo>
                    <a:pt x="54339" y="60754"/>
                  </a:lnTo>
                  <a:lnTo>
                    <a:pt x="55376" y="59999"/>
                  </a:lnTo>
                  <a:lnTo>
                    <a:pt x="56320" y="59056"/>
                  </a:lnTo>
                  <a:lnTo>
                    <a:pt x="57075" y="58395"/>
                  </a:lnTo>
                  <a:lnTo>
                    <a:pt x="57169" y="58207"/>
                  </a:lnTo>
                  <a:lnTo>
                    <a:pt x="57075" y="58207"/>
                  </a:lnTo>
                  <a:lnTo>
                    <a:pt x="57924" y="57546"/>
                  </a:lnTo>
                  <a:lnTo>
                    <a:pt x="58678" y="56697"/>
                  </a:lnTo>
                  <a:lnTo>
                    <a:pt x="59339" y="55754"/>
                  </a:lnTo>
                  <a:lnTo>
                    <a:pt x="59905" y="54905"/>
                  </a:lnTo>
                  <a:lnTo>
                    <a:pt x="59716" y="54999"/>
                  </a:lnTo>
                  <a:lnTo>
                    <a:pt x="59622" y="54999"/>
                  </a:lnTo>
                  <a:lnTo>
                    <a:pt x="59810" y="54622"/>
                  </a:lnTo>
                  <a:lnTo>
                    <a:pt x="59150" y="55565"/>
                  </a:lnTo>
                  <a:lnTo>
                    <a:pt x="59527" y="55094"/>
                  </a:lnTo>
                  <a:lnTo>
                    <a:pt x="59433" y="55377"/>
                  </a:lnTo>
                  <a:lnTo>
                    <a:pt x="58867" y="56037"/>
                  </a:lnTo>
                  <a:lnTo>
                    <a:pt x="59056" y="55660"/>
                  </a:lnTo>
                  <a:lnTo>
                    <a:pt x="59056" y="55660"/>
                  </a:lnTo>
                  <a:lnTo>
                    <a:pt x="58678" y="56037"/>
                  </a:lnTo>
                  <a:lnTo>
                    <a:pt x="59810" y="54339"/>
                  </a:lnTo>
                  <a:lnTo>
                    <a:pt x="60282" y="53490"/>
                  </a:lnTo>
                  <a:lnTo>
                    <a:pt x="60282" y="53301"/>
                  </a:lnTo>
                  <a:lnTo>
                    <a:pt x="60188" y="53395"/>
                  </a:lnTo>
                  <a:lnTo>
                    <a:pt x="60188" y="53395"/>
                  </a:lnTo>
                  <a:lnTo>
                    <a:pt x="60565" y="52924"/>
                  </a:lnTo>
                  <a:lnTo>
                    <a:pt x="61037" y="52452"/>
                  </a:lnTo>
                  <a:lnTo>
                    <a:pt x="61886" y="51509"/>
                  </a:lnTo>
                  <a:lnTo>
                    <a:pt x="61508" y="52452"/>
                  </a:lnTo>
                  <a:lnTo>
                    <a:pt x="60848" y="53584"/>
                  </a:lnTo>
                  <a:lnTo>
                    <a:pt x="59622" y="55565"/>
                  </a:lnTo>
                  <a:lnTo>
                    <a:pt x="60376" y="54528"/>
                  </a:lnTo>
                  <a:lnTo>
                    <a:pt x="60942" y="53678"/>
                  </a:lnTo>
                  <a:lnTo>
                    <a:pt x="61980" y="51792"/>
                  </a:lnTo>
                  <a:lnTo>
                    <a:pt x="61886" y="51886"/>
                  </a:lnTo>
                  <a:lnTo>
                    <a:pt x="61886" y="51697"/>
                  </a:lnTo>
                  <a:lnTo>
                    <a:pt x="62169" y="51037"/>
                  </a:lnTo>
                  <a:lnTo>
                    <a:pt x="62735" y="49999"/>
                  </a:lnTo>
                  <a:lnTo>
                    <a:pt x="61508" y="51603"/>
                  </a:lnTo>
                  <a:lnTo>
                    <a:pt x="61603" y="51037"/>
                  </a:lnTo>
                  <a:lnTo>
                    <a:pt x="61697" y="50377"/>
                  </a:lnTo>
                  <a:lnTo>
                    <a:pt x="62169" y="48962"/>
                  </a:lnTo>
                  <a:lnTo>
                    <a:pt x="62829" y="47358"/>
                  </a:lnTo>
                  <a:lnTo>
                    <a:pt x="63678" y="45565"/>
                  </a:lnTo>
                  <a:lnTo>
                    <a:pt x="65376" y="42169"/>
                  </a:lnTo>
                  <a:lnTo>
                    <a:pt x="66131" y="40660"/>
                  </a:lnTo>
                  <a:lnTo>
                    <a:pt x="66697" y="39339"/>
                  </a:lnTo>
                  <a:lnTo>
                    <a:pt x="66603" y="39528"/>
                  </a:lnTo>
                  <a:lnTo>
                    <a:pt x="66697" y="39056"/>
                  </a:lnTo>
                  <a:lnTo>
                    <a:pt x="66791" y="38962"/>
                  </a:lnTo>
                  <a:lnTo>
                    <a:pt x="66791" y="39056"/>
                  </a:lnTo>
                  <a:lnTo>
                    <a:pt x="66886" y="38584"/>
                  </a:lnTo>
                  <a:lnTo>
                    <a:pt x="66791" y="38867"/>
                  </a:lnTo>
                  <a:lnTo>
                    <a:pt x="66980" y="38207"/>
                  </a:lnTo>
                  <a:lnTo>
                    <a:pt x="67169" y="37264"/>
                  </a:lnTo>
                  <a:lnTo>
                    <a:pt x="67263" y="36415"/>
                  </a:lnTo>
                  <a:lnTo>
                    <a:pt x="67357" y="36509"/>
                  </a:lnTo>
                  <a:lnTo>
                    <a:pt x="67452" y="36509"/>
                  </a:lnTo>
                  <a:lnTo>
                    <a:pt x="67546" y="35943"/>
                  </a:lnTo>
                  <a:lnTo>
                    <a:pt x="67546" y="34811"/>
                  </a:lnTo>
                  <a:lnTo>
                    <a:pt x="67640" y="31037"/>
                  </a:lnTo>
                  <a:lnTo>
                    <a:pt x="67640" y="28490"/>
                  </a:lnTo>
                  <a:lnTo>
                    <a:pt x="67546" y="27736"/>
                  </a:lnTo>
                  <a:lnTo>
                    <a:pt x="67546" y="27547"/>
                  </a:lnTo>
                  <a:lnTo>
                    <a:pt x="67452" y="27547"/>
                  </a:lnTo>
                  <a:lnTo>
                    <a:pt x="67074" y="26792"/>
                  </a:lnTo>
                  <a:lnTo>
                    <a:pt x="66791" y="25660"/>
                  </a:lnTo>
                  <a:lnTo>
                    <a:pt x="66508" y="24528"/>
                  </a:lnTo>
                  <a:lnTo>
                    <a:pt x="66414" y="23585"/>
                  </a:lnTo>
                  <a:lnTo>
                    <a:pt x="66320" y="23679"/>
                  </a:lnTo>
                  <a:lnTo>
                    <a:pt x="66320" y="23490"/>
                  </a:lnTo>
                  <a:lnTo>
                    <a:pt x="65942" y="22924"/>
                  </a:lnTo>
                  <a:lnTo>
                    <a:pt x="65565" y="22358"/>
                  </a:lnTo>
                  <a:lnTo>
                    <a:pt x="64527" y="21132"/>
                  </a:lnTo>
                  <a:lnTo>
                    <a:pt x="63584" y="19906"/>
                  </a:lnTo>
                  <a:lnTo>
                    <a:pt x="63207" y="19340"/>
                  </a:lnTo>
                  <a:lnTo>
                    <a:pt x="63018" y="18774"/>
                  </a:lnTo>
                  <a:lnTo>
                    <a:pt x="63112" y="18962"/>
                  </a:lnTo>
                  <a:lnTo>
                    <a:pt x="63301" y="19057"/>
                  </a:lnTo>
                  <a:lnTo>
                    <a:pt x="63301" y="19057"/>
                  </a:lnTo>
                  <a:lnTo>
                    <a:pt x="63207" y="18868"/>
                  </a:lnTo>
                  <a:lnTo>
                    <a:pt x="62923" y="18491"/>
                  </a:lnTo>
                  <a:lnTo>
                    <a:pt x="61980" y="17453"/>
                  </a:lnTo>
                  <a:lnTo>
                    <a:pt x="61037" y="16509"/>
                  </a:lnTo>
                  <a:lnTo>
                    <a:pt x="61037" y="16698"/>
                  </a:lnTo>
                  <a:lnTo>
                    <a:pt x="61037" y="16887"/>
                  </a:lnTo>
                  <a:lnTo>
                    <a:pt x="60093" y="15943"/>
                  </a:lnTo>
                  <a:lnTo>
                    <a:pt x="60376" y="16321"/>
                  </a:lnTo>
                  <a:lnTo>
                    <a:pt x="59527" y="15377"/>
                  </a:lnTo>
                  <a:lnTo>
                    <a:pt x="59056" y="14906"/>
                  </a:lnTo>
                  <a:lnTo>
                    <a:pt x="59244" y="14906"/>
                  </a:lnTo>
                  <a:lnTo>
                    <a:pt x="59905" y="15472"/>
                  </a:lnTo>
                  <a:lnTo>
                    <a:pt x="59905" y="15472"/>
                  </a:lnTo>
                  <a:lnTo>
                    <a:pt x="57641" y="13396"/>
                  </a:lnTo>
                  <a:lnTo>
                    <a:pt x="58112" y="13868"/>
                  </a:lnTo>
                  <a:lnTo>
                    <a:pt x="56886" y="13019"/>
                  </a:lnTo>
                  <a:lnTo>
                    <a:pt x="55754" y="12453"/>
                  </a:lnTo>
                  <a:lnTo>
                    <a:pt x="56603" y="13113"/>
                  </a:lnTo>
                  <a:lnTo>
                    <a:pt x="57452" y="13774"/>
                  </a:lnTo>
                  <a:lnTo>
                    <a:pt x="58961" y="15283"/>
                  </a:lnTo>
                  <a:lnTo>
                    <a:pt x="60376" y="16604"/>
                  </a:lnTo>
                  <a:lnTo>
                    <a:pt x="61225" y="17264"/>
                  </a:lnTo>
                  <a:lnTo>
                    <a:pt x="62074" y="17925"/>
                  </a:lnTo>
                  <a:lnTo>
                    <a:pt x="62074" y="17925"/>
                  </a:lnTo>
                  <a:lnTo>
                    <a:pt x="61414" y="17547"/>
                  </a:lnTo>
                  <a:lnTo>
                    <a:pt x="60659" y="16981"/>
                  </a:lnTo>
                  <a:lnTo>
                    <a:pt x="60754" y="17264"/>
                  </a:lnTo>
                  <a:lnTo>
                    <a:pt x="60942" y="17642"/>
                  </a:lnTo>
                  <a:lnTo>
                    <a:pt x="61980" y="19151"/>
                  </a:lnTo>
                  <a:lnTo>
                    <a:pt x="63301" y="20943"/>
                  </a:lnTo>
                  <a:lnTo>
                    <a:pt x="63207" y="20943"/>
                  </a:lnTo>
                  <a:lnTo>
                    <a:pt x="63395" y="21038"/>
                  </a:lnTo>
                  <a:lnTo>
                    <a:pt x="63490" y="21321"/>
                  </a:lnTo>
                  <a:lnTo>
                    <a:pt x="63678" y="21604"/>
                  </a:lnTo>
                  <a:lnTo>
                    <a:pt x="63773" y="21698"/>
                  </a:lnTo>
                  <a:lnTo>
                    <a:pt x="63584" y="21321"/>
                  </a:lnTo>
                  <a:lnTo>
                    <a:pt x="63584" y="21321"/>
                  </a:lnTo>
                  <a:lnTo>
                    <a:pt x="64244" y="22170"/>
                  </a:lnTo>
                  <a:lnTo>
                    <a:pt x="64716" y="22641"/>
                  </a:lnTo>
                  <a:lnTo>
                    <a:pt x="64905" y="22830"/>
                  </a:lnTo>
                  <a:lnTo>
                    <a:pt x="64999" y="22830"/>
                  </a:lnTo>
                  <a:lnTo>
                    <a:pt x="64999" y="22641"/>
                  </a:lnTo>
                  <a:lnTo>
                    <a:pt x="64905" y="22358"/>
                  </a:lnTo>
                  <a:lnTo>
                    <a:pt x="65282" y="23207"/>
                  </a:lnTo>
                  <a:lnTo>
                    <a:pt x="65565" y="24056"/>
                  </a:lnTo>
                  <a:lnTo>
                    <a:pt x="66225" y="25943"/>
                  </a:lnTo>
                  <a:lnTo>
                    <a:pt x="66697" y="27830"/>
                  </a:lnTo>
                  <a:lnTo>
                    <a:pt x="66886" y="28490"/>
                  </a:lnTo>
                  <a:lnTo>
                    <a:pt x="66980" y="28868"/>
                  </a:lnTo>
                  <a:lnTo>
                    <a:pt x="66886" y="28962"/>
                  </a:lnTo>
                  <a:lnTo>
                    <a:pt x="66697" y="28679"/>
                  </a:lnTo>
                  <a:lnTo>
                    <a:pt x="66697" y="29245"/>
                  </a:lnTo>
                  <a:lnTo>
                    <a:pt x="66791" y="29905"/>
                  </a:lnTo>
                  <a:lnTo>
                    <a:pt x="66886" y="29905"/>
                  </a:lnTo>
                  <a:lnTo>
                    <a:pt x="66886" y="30094"/>
                  </a:lnTo>
                  <a:lnTo>
                    <a:pt x="66886" y="30566"/>
                  </a:lnTo>
                  <a:lnTo>
                    <a:pt x="66697" y="30377"/>
                  </a:lnTo>
                  <a:lnTo>
                    <a:pt x="66603" y="30188"/>
                  </a:lnTo>
                  <a:lnTo>
                    <a:pt x="66603" y="30094"/>
                  </a:lnTo>
                  <a:lnTo>
                    <a:pt x="66697" y="29905"/>
                  </a:lnTo>
                  <a:lnTo>
                    <a:pt x="66508" y="28679"/>
                  </a:lnTo>
                  <a:lnTo>
                    <a:pt x="66225" y="27358"/>
                  </a:lnTo>
                  <a:lnTo>
                    <a:pt x="66603" y="30283"/>
                  </a:lnTo>
                  <a:lnTo>
                    <a:pt x="66697" y="31792"/>
                  </a:lnTo>
                  <a:lnTo>
                    <a:pt x="66697" y="33302"/>
                  </a:lnTo>
                  <a:lnTo>
                    <a:pt x="66603" y="34717"/>
                  </a:lnTo>
                  <a:lnTo>
                    <a:pt x="66414" y="36226"/>
                  </a:lnTo>
                  <a:lnTo>
                    <a:pt x="66131" y="37547"/>
                  </a:lnTo>
                  <a:lnTo>
                    <a:pt x="65659" y="38962"/>
                  </a:lnTo>
                  <a:lnTo>
                    <a:pt x="65848" y="38584"/>
                  </a:lnTo>
                  <a:lnTo>
                    <a:pt x="65942" y="38584"/>
                  </a:lnTo>
                  <a:lnTo>
                    <a:pt x="65848" y="39245"/>
                  </a:lnTo>
                  <a:lnTo>
                    <a:pt x="65565" y="40188"/>
                  </a:lnTo>
                  <a:lnTo>
                    <a:pt x="65471" y="40471"/>
                  </a:lnTo>
                  <a:lnTo>
                    <a:pt x="65282" y="40660"/>
                  </a:lnTo>
                  <a:lnTo>
                    <a:pt x="65282" y="40566"/>
                  </a:lnTo>
                  <a:lnTo>
                    <a:pt x="65093" y="41132"/>
                  </a:lnTo>
                  <a:lnTo>
                    <a:pt x="64433" y="43018"/>
                  </a:lnTo>
                  <a:lnTo>
                    <a:pt x="63678" y="45282"/>
                  </a:lnTo>
                  <a:lnTo>
                    <a:pt x="62735" y="47264"/>
                  </a:lnTo>
                  <a:lnTo>
                    <a:pt x="61697" y="49056"/>
                  </a:lnTo>
                  <a:lnTo>
                    <a:pt x="60659" y="50943"/>
                  </a:lnTo>
                  <a:lnTo>
                    <a:pt x="59433" y="52735"/>
                  </a:lnTo>
                  <a:lnTo>
                    <a:pt x="58207" y="54433"/>
                  </a:lnTo>
                  <a:lnTo>
                    <a:pt x="56886" y="56037"/>
                  </a:lnTo>
                  <a:lnTo>
                    <a:pt x="55376" y="57641"/>
                  </a:lnTo>
                  <a:lnTo>
                    <a:pt x="53867" y="59150"/>
                  </a:lnTo>
                  <a:lnTo>
                    <a:pt x="52169" y="60376"/>
                  </a:lnTo>
                  <a:lnTo>
                    <a:pt x="48961" y="62452"/>
                  </a:lnTo>
                  <a:lnTo>
                    <a:pt x="44528" y="65282"/>
                  </a:lnTo>
                  <a:lnTo>
                    <a:pt x="44622" y="65188"/>
                  </a:lnTo>
                  <a:lnTo>
                    <a:pt x="44716" y="65093"/>
                  </a:lnTo>
                  <a:lnTo>
                    <a:pt x="45094" y="64810"/>
                  </a:lnTo>
                  <a:lnTo>
                    <a:pt x="45660" y="64527"/>
                  </a:lnTo>
                  <a:lnTo>
                    <a:pt x="43867" y="65376"/>
                  </a:lnTo>
                  <a:lnTo>
                    <a:pt x="43113" y="65754"/>
                  </a:lnTo>
                  <a:lnTo>
                    <a:pt x="42924" y="65754"/>
                  </a:lnTo>
                  <a:lnTo>
                    <a:pt x="43113" y="65659"/>
                  </a:lnTo>
                  <a:lnTo>
                    <a:pt x="41603" y="66037"/>
                  </a:lnTo>
                  <a:lnTo>
                    <a:pt x="39999" y="66320"/>
                  </a:lnTo>
                  <a:lnTo>
                    <a:pt x="38396" y="66508"/>
                  </a:lnTo>
                  <a:lnTo>
                    <a:pt x="36792" y="66697"/>
                  </a:lnTo>
                  <a:lnTo>
                    <a:pt x="33584" y="66980"/>
                  </a:lnTo>
                  <a:lnTo>
                    <a:pt x="32169" y="67169"/>
                  </a:lnTo>
                  <a:lnTo>
                    <a:pt x="30754" y="67357"/>
                  </a:lnTo>
                  <a:lnTo>
                    <a:pt x="30094" y="67357"/>
                  </a:lnTo>
                  <a:lnTo>
                    <a:pt x="29339" y="67263"/>
                  </a:lnTo>
                  <a:lnTo>
                    <a:pt x="27830" y="66886"/>
                  </a:lnTo>
                  <a:lnTo>
                    <a:pt x="26415" y="66508"/>
                  </a:lnTo>
                  <a:lnTo>
                    <a:pt x="25754" y="66414"/>
                  </a:lnTo>
                  <a:lnTo>
                    <a:pt x="25094" y="66414"/>
                  </a:lnTo>
                  <a:lnTo>
                    <a:pt x="25566" y="66980"/>
                  </a:lnTo>
                  <a:lnTo>
                    <a:pt x="25471" y="67074"/>
                  </a:lnTo>
                  <a:lnTo>
                    <a:pt x="25188" y="66980"/>
                  </a:lnTo>
                  <a:lnTo>
                    <a:pt x="24339" y="66791"/>
                  </a:lnTo>
                  <a:lnTo>
                    <a:pt x="23773" y="66508"/>
                  </a:lnTo>
                  <a:lnTo>
                    <a:pt x="24245" y="66414"/>
                  </a:lnTo>
                  <a:lnTo>
                    <a:pt x="24717" y="66603"/>
                  </a:lnTo>
                  <a:lnTo>
                    <a:pt x="24811" y="66414"/>
                  </a:lnTo>
                  <a:lnTo>
                    <a:pt x="24811" y="66320"/>
                  </a:lnTo>
                  <a:lnTo>
                    <a:pt x="24717" y="66225"/>
                  </a:lnTo>
                  <a:lnTo>
                    <a:pt x="24528" y="66131"/>
                  </a:lnTo>
                  <a:lnTo>
                    <a:pt x="24151" y="66225"/>
                  </a:lnTo>
                  <a:lnTo>
                    <a:pt x="23679" y="66320"/>
                  </a:lnTo>
                  <a:lnTo>
                    <a:pt x="23018" y="66414"/>
                  </a:lnTo>
                  <a:lnTo>
                    <a:pt x="23490" y="66225"/>
                  </a:lnTo>
                  <a:lnTo>
                    <a:pt x="22075" y="65942"/>
                  </a:lnTo>
                  <a:lnTo>
                    <a:pt x="20943" y="65659"/>
                  </a:lnTo>
                  <a:lnTo>
                    <a:pt x="20000" y="65282"/>
                  </a:lnTo>
                  <a:lnTo>
                    <a:pt x="19056" y="64810"/>
                  </a:lnTo>
                  <a:lnTo>
                    <a:pt x="19056" y="64810"/>
                  </a:lnTo>
                  <a:lnTo>
                    <a:pt x="19717" y="64999"/>
                  </a:lnTo>
                  <a:lnTo>
                    <a:pt x="19151" y="64716"/>
                  </a:lnTo>
                  <a:lnTo>
                    <a:pt x="18962" y="64810"/>
                  </a:lnTo>
                  <a:lnTo>
                    <a:pt x="19151" y="64905"/>
                  </a:lnTo>
                  <a:lnTo>
                    <a:pt x="18490" y="64905"/>
                  </a:lnTo>
                  <a:lnTo>
                    <a:pt x="17830" y="64716"/>
                  </a:lnTo>
                  <a:lnTo>
                    <a:pt x="17264" y="64527"/>
                  </a:lnTo>
                  <a:lnTo>
                    <a:pt x="16698" y="64150"/>
                  </a:lnTo>
                  <a:lnTo>
                    <a:pt x="16981" y="64056"/>
                  </a:lnTo>
                  <a:lnTo>
                    <a:pt x="17264" y="64150"/>
                  </a:lnTo>
                  <a:lnTo>
                    <a:pt x="17264" y="64150"/>
                  </a:lnTo>
                  <a:lnTo>
                    <a:pt x="15188" y="63207"/>
                  </a:lnTo>
                  <a:lnTo>
                    <a:pt x="14622" y="62829"/>
                  </a:lnTo>
                  <a:lnTo>
                    <a:pt x="14717" y="62924"/>
                  </a:lnTo>
                  <a:lnTo>
                    <a:pt x="13773" y="62546"/>
                  </a:lnTo>
                  <a:lnTo>
                    <a:pt x="12924" y="62075"/>
                  </a:lnTo>
                  <a:lnTo>
                    <a:pt x="12358" y="61697"/>
                  </a:lnTo>
                  <a:lnTo>
                    <a:pt x="12264" y="61508"/>
                  </a:lnTo>
                  <a:lnTo>
                    <a:pt x="12170" y="61320"/>
                  </a:lnTo>
                  <a:lnTo>
                    <a:pt x="11698" y="60942"/>
                  </a:lnTo>
                  <a:lnTo>
                    <a:pt x="11132" y="60471"/>
                  </a:lnTo>
                  <a:lnTo>
                    <a:pt x="9906" y="59244"/>
                  </a:lnTo>
                  <a:lnTo>
                    <a:pt x="9906" y="59244"/>
                  </a:lnTo>
                  <a:lnTo>
                    <a:pt x="10566" y="59527"/>
                  </a:lnTo>
                  <a:lnTo>
                    <a:pt x="9434" y="58584"/>
                  </a:lnTo>
                  <a:lnTo>
                    <a:pt x="8207" y="57546"/>
                  </a:lnTo>
                  <a:lnTo>
                    <a:pt x="7547" y="56886"/>
                  </a:lnTo>
                  <a:lnTo>
                    <a:pt x="6981" y="56131"/>
                  </a:lnTo>
                  <a:lnTo>
                    <a:pt x="6226" y="55094"/>
                  </a:lnTo>
                  <a:lnTo>
                    <a:pt x="6415" y="55377"/>
                  </a:lnTo>
                  <a:lnTo>
                    <a:pt x="6038" y="54905"/>
                  </a:lnTo>
                  <a:lnTo>
                    <a:pt x="5472" y="54244"/>
                  </a:lnTo>
                  <a:lnTo>
                    <a:pt x="5283" y="53961"/>
                  </a:lnTo>
                  <a:lnTo>
                    <a:pt x="5094" y="53867"/>
                  </a:lnTo>
                  <a:lnTo>
                    <a:pt x="5377" y="54622"/>
                  </a:lnTo>
                  <a:lnTo>
                    <a:pt x="5849" y="55282"/>
                  </a:lnTo>
                  <a:lnTo>
                    <a:pt x="6321" y="55943"/>
                  </a:lnTo>
                  <a:lnTo>
                    <a:pt x="6698" y="56603"/>
                  </a:lnTo>
                  <a:lnTo>
                    <a:pt x="6226" y="56226"/>
                  </a:lnTo>
                  <a:lnTo>
                    <a:pt x="5943" y="55848"/>
                  </a:lnTo>
                  <a:lnTo>
                    <a:pt x="6038" y="56037"/>
                  </a:lnTo>
                  <a:lnTo>
                    <a:pt x="5943" y="55943"/>
                  </a:lnTo>
                  <a:lnTo>
                    <a:pt x="5377" y="55188"/>
                  </a:lnTo>
                  <a:lnTo>
                    <a:pt x="5000" y="54716"/>
                  </a:lnTo>
                  <a:lnTo>
                    <a:pt x="4717" y="54150"/>
                  </a:lnTo>
                  <a:lnTo>
                    <a:pt x="4528" y="53678"/>
                  </a:lnTo>
                  <a:lnTo>
                    <a:pt x="4528" y="53584"/>
                  </a:lnTo>
                  <a:lnTo>
                    <a:pt x="4623" y="53395"/>
                  </a:lnTo>
                  <a:lnTo>
                    <a:pt x="5094" y="54244"/>
                  </a:lnTo>
                  <a:lnTo>
                    <a:pt x="4717" y="53301"/>
                  </a:lnTo>
                  <a:lnTo>
                    <a:pt x="4528" y="53018"/>
                  </a:lnTo>
                  <a:lnTo>
                    <a:pt x="4151" y="52263"/>
                  </a:lnTo>
                  <a:lnTo>
                    <a:pt x="4151" y="52169"/>
                  </a:lnTo>
                  <a:lnTo>
                    <a:pt x="3774" y="51509"/>
                  </a:lnTo>
                  <a:lnTo>
                    <a:pt x="3396" y="50660"/>
                  </a:lnTo>
                  <a:lnTo>
                    <a:pt x="3585" y="51603"/>
                  </a:lnTo>
                  <a:lnTo>
                    <a:pt x="3396" y="51226"/>
                  </a:lnTo>
                  <a:lnTo>
                    <a:pt x="3208" y="50848"/>
                  </a:lnTo>
                  <a:lnTo>
                    <a:pt x="3208" y="50471"/>
                  </a:lnTo>
                  <a:lnTo>
                    <a:pt x="3208" y="50094"/>
                  </a:lnTo>
                  <a:lnTo>
                    <a:pt x="3585" y="50754"/>
                  </a:lnTo>
                  <a:lnTo>
                    <a:pt x="3868" y="51509"/>
                  </a:lnTo>
                  <a:lnTo>
                    <a:pt x="3868" y="51509"/>
                  </a:lnTo>
                  <a:lnTo>
                    <a:pt x="3208" y="49528"/>
                  </a:lnTo>
                  <a:lnTo>
                    <a:pt x="3208" y="49528"/>
                  </a:lnTo>
                  <a:lnTo>
                    <a:pt x="3868" y="50754"/>
                  </a:lnTo>
                  <a:lnTo>
                    <a:pt x="3208" y="48962"/>
                  </a:lnTo>
                  <a:lnTo>
                    <a:pt x="3585" y="49339"/>
                  </a:lnTo>
                  <a:lnTo>
                    <a:pt x="3774" y="49433"/>
                  </a:lnTo>
                  <a:lnTo>
                    <a:pt x="3962" y="49528"/>
                  </a:lnTo>
                  <a:lnTo>
                    <a:pt x="4057" y="49905"/>
                  </a:lnTo>
                  <a:lnTo>
                    <a:pt x="3868" y="48962"/>
                  </a:lnTo>
                  <a:lnTo>
                    <a:pt x="3491" y="47924"/>
                  </a:lnTo>
                  <a:lnTo>
                    <a:pt x="2641" y="45565"/>
                  </a:lnTo>
                  <a:lnTo>
                    <a:pt x="2170" y="43867"/>
                  </a:lnTo>
                  <a:lnTo>
                    <a:pt x="1698" y="41886"/>
                  </a:lnTo>
                  <a:lnTo>
                    <a:pt x="1698" y="41886"/>
                  </a:lnTo>
                  <a:lnTo>
                    <a:pt x="1887" y="42075"/>
                  </a:lnTo>
                  <a:lnTo>
                    <a:pt x="1981" y="41981"/>
                  </a:lnTo>
                  <a:lnTo>
                    <a:pt x="2075" y="42075"/>
                  </a:lnTo>
                  <a:lnTo>
                    <a:pt x="2264" y="42169"/>
                  </a:lnTo>
                  <a:lnTo>
                    <a:pt x="2170" y="40283"/>
                  </a:lnTo>
                  <a:lnTo>
                    <a:pt x="2075" y="38301"/>
                  </a:lnTo>
                  <a:lnTo>
                    <a:pt x="2170" y="36415"/>
                  </a:lnTo>
                  <a:lnTo>
                    <a:pt x="2358" y="35566"/>
                  </a:lnTo>
                  <a:lnTo>
                    <a:pt x="2453" y="34811"/>
                  </a:lnTo>
                  <a:lnTo>
                    <a:pt x="2830" y="32830"/>
                  </a:lnTo>
                  <a:lnTo>
                    <a:pt x="2830" y="33207"/>
                  </a:lnTo>
                  <a:lnTo>
                    <a:pt x="2924" y="33490"/>
                  </a:lnTo>
                  <a:lnTo>
                    <a:pt x="2924" y="32453"/>
                  </a:lnTo>
                  <a:lnTo>
                    <a:pt x="3019" y="31415"/>
                  </a:lnTo>
                  <a:lnTo>
                    <a:pt x="3396" y="29245"/>
                  </a:lnTo>
                  <a:lnTo>
                    <a:pt x="3868" y="27075"/>
                  </a:lnTo>
                  <a:lnTo>
                    <a:pt x="4623" y="25000"/>
                  </a:lnTo>
                  <a:lnTo>
                    <a:pt x="5566" y="22830"/>
                  </a:lnTo>
                  <a:lnTo>
                    <a:pt x="6604" y="20849"/>
                  </a:lnTo>
                  <a:lnTo>
                    <a:pt x="7830" y="18868"/>
                  </a:lnTo>
                  <a:lnTo>
                    <a:pt x="9151" y="16887"/>
                  </a:lnTo>
                  <a:lnTo>
                    <a:pt x="10566" y="15094"/>
                  </a:lnTo>
                  <a:lnTo>
                    <a:pt x="12075" y="13302"/>
                  </a:lnTo>
                  <a:lnTo>
                    <a:pt x="13773" y="11698"/>
                  </a:lnTo>
                  <a:lnTo>
                    <a:pt x="15377" y="10095"/>
                  </a:lnTo>
                  <a:lnTo>
                    <a:pt x="17170" y="8679"/>
                  </a:lnTo>
                  <a:lnTo>
                    <a:pt x="18962" y="7453"/>
                  </a:lnTo>
                  <a:lnTo>
                    <a:pt x="20754" y="6321"/>
                  </a:lnTo>
                  <a:lnTo>
                    <a:pt x="22547" y="5378"/>
                  </a:lnTo>
                  <a:lnTo>
                    <a:pt x="21603" y="6227"/>
                  </a:lnTo>
                  <a:lnTo>
                    <a:pt x="22641" y="5472"/>
                  </a:lnTo>
                  <a:lnTo>
                    <a:pt x="23302" y="5095"/>
                  </a:lnTo>
                  <a:lnTo>
                    <a:pt x="25377" y="4151"/>
                  </a:lnTo>
                  <a:lnTo>
                    <a:pt x="24811" y="4151"/>
                  </a:lnTo>
                  <a:lnTo>
                    <a:pt x="25660" y="3774"/>
                  </a:lnTo>
                  <a:lnTo>
                    <a:pt x="26886" y="3208"/>
                  </a:lnTo>
                  <a:lnTo>
                    <a:pt x="26603" y="3585"/>
                  </a:lnTo>
                  <a:lnTo>
                    <a:pt x="26886" y="3585"/>
                  </a:lnTo>
                  <a:lnTo>
                    <a:pt x="26886" y="3680"/>
                  </a:lnTo>
                  <a:lnTo>
                    <a:pt x="26792" y="3774"/>
                  </a:lnTo>
                  <a:lnTo>
                    <a:pt x="28301" y="3302"/>
                  </a:lnTo>
                  <a:lnTo>
                    <a:pt x="29622" y="2736"/>
                  </a:lnTo>
                  <a:lnTo>
                    <a:pt x="31037" y="2264"/>
                  </a:lnTo>
                  <a:lnTo>
                    <a:pt x="31792" y="2076"/>
                  </a:lnTo>
                  <a:lnTo>
                    <a:pt x="32641" y="1981"/>
                  </a:lnTo>
                  <a:lnTo>
                    <a:pt x="32547" y="2076"/>
                  </a:lnTo>
                  <a:lnTo>
                    <a:pt x="32924" y="1981"/>
                  </a:lnTo>
                  <a:lnTo>
                    <a:pt x="34245" y="1793"/>
                  </a:lnTo>
                  <a:lnTo>
                    <a:pt x="35848" y="1415"/>
                  </a:lnTo>
                  <a:lnTo>
                    <a:pt x="36981" y="1132"/>
                  </a:lnTo>
                  <a:lnTo>
                    <a:pt x="36981" y="1415"/>
                  </a:lnTo>
                  <a:lnTo>
                    <a:pt x="40943" y="1227"/>
                  </a:lnTo>
                  <a:lnTo>
                    <a:pt x="41509" y="1038"/>
                  </a:lnTo>
                  <a:lnTo>
                    <a:pt x="41697" y="1132"/>
                  </a:lnTo>
                  <a:lnTo>
                    <a:pt x="41509" y="1227"/>
                  </a:lnTo>
                  <a:lnTo>
                    <a:pt x="41320" y="1321"/>
                  </a:lnTo>
                  <a:lnTo>
                    <a:pt x="42263" y="1321"/>
                  </a:lnTo>
                  <a:lnTo>
                    <a:pt x="43113" y="1227"/>
                  </a:lnTo>
                  <a:lnTo>
                    <a:pt x="43396" y="1415"/>
                  </a:lnTo>
                  <a:lnTo>
                    <a:pt x="44056" y="1604"/>
                  </a:lnTo>
                  <a:lnTo>
                    <a:pt x="45943" y="2076"/>
                  </a:lnTo>
                  <a:lnTo>
                    <a:pt x="48018" y="2359"/>
                  </a:lnTo>
                  <a:lnTo>
                    <a:pt x="49622" y="2736"/>
                  </a:lnTo>
                  <a:lnTo>
                    <a:pt x="47641" y="1981"/>
                  </a:lnTo>
                  <a:lnTo>
                    <a:pt x="45282" y="1321"/>
                  </a:lnTo>
                  <a:lnTo>
                    <a:pt x="42735" y="755"/>
                  </a:lnTo>
                  <a:lnTo>
                    <a:pt x="40188" y="283"/>
                  </a:lnTo>
                  <a:lnTo>
                    <a:pt x="37735" y="95"/>
                  </a:lnTo>
                  <a:lnTo>
                    <a:pt x="35471" y="0"/>
                  </a:lnTo>
                  <a:close/>
                </a:path>
              </a:pathLst>
            </a:custGeom>
            <a:solidFill>
              <a:schemeClr val="bg1">
                <a:lumMod val="95000"/>
              </a:schemeClr>
            </a:solidFill>
            <a:ln w="0">
              <a:solidFill>
                <a:srgbClr val="0079D1"/>
              </a:solidFill>
            </a:ln>
          </p:spPr>
          <p:txBody>
            <a:bodyPr spcFirstLastPara="1" wrap="square" lIns="91425" tIns="91425" rIns="91425" bIns="91425" anchor="ctr" anchorCtr="0">
              <a:noAutofit/>
            </a:bodyPr>
            <a:lstStyle/>
            <a:p>
              <a:pPr marL="0" lvl="0" indent="0">
                <a:spcBef>
                  <a:spcPts val="0"/>
                </a:spcBef>
                <a:spcAft>
                  <a:spcPts val="0"/>
                </a:spcAft>
                <a:buNone/>
              </a:pPr>
              <a:endParaRPr sz="1200"/>
            </a:p>
          </p:txBody>
        </p:sp>
        <p:sp>
          <p:nvSpPr>
            <p:cNvPr id="626" name="TextBox 625">
              <a:extLst>
                <a:ext uri="{FF2B5EF4-FFF2-40B4-BE49-F238E27FC236}">
                  <a16:creationId xmlns:a16="http://schemas.microsoft.com/office/drawing/2014/main" id="{611CF4E4-80A9-7D47-B65F-833166C35799}"/>
                </a:ext>
              </a:extLst>
            </p:cNvPr>
            <p:cNvSpPr txBox="1"/>
            <p:nvPr/>
          </p:nvSpPr>
          <p:spPr>
            <a:xfrm>
              <a:off x="8676898" y="4619460"/>
              <a:ext cx="229951" cy="200055"/>
            </a:xfrm>
            <a:prstGeom prst="rect">
              <a:avLst/>
            </a:prstGeom>
            <a:noFill/>
          </p:spPr>
          <p:txBody>
            <a:bodyPr wrap="square" rtlCol="0">
              <a:spAutoFit/>
            </a:bodyPr>
            <a:lstStyle/>
            <a:p>
              <a:r>
                <a:rPr lang="en-US" sz="700" b="1" dirty="0">
                  <a:solidFill>
                    <a:srgbClr val="0079D1"/>
                  </a:solidFill>
                </a:rPr>
                <a:t>A</a:t>
              </a:r>
            </a:p>
          </p:txBody>
        </p:sp>
      </p:grpSp>
      <p:sp>
        <p:nvSpPr>
          <p:cNvPr id="627" name="TextBox 626">
            <a:extLst>
              <a:ext uri="{FF2B5EF4-FFF2-40B4-BE49-F238E27FC236}">
                <a16:creationId xmlns:a16="http://schemas.microsoft.com/office/drawing/2014/main" id="{23708055-C38D-D840-8404-BF6EDEA9B813}"/>
              </a:ext>
            </a:extLst>
          </p:cNvPr>
          <p:cNvSpPr txBox="1"/>
          <p:nvPr/>
        </p:nvSpPr>
        <p:spPr>
          <a:xfrm>
            <a:off x="303690" y="1114086"/>
            <a:ext cx="926544" cy="289480"/>
          </a:xfrm>
          <a:prstGeom prst="rect">
            <a:avLst/>
          </a:prstGeom>
          <a:noFill/>
        </p:spPr>
        <p:txBody>
          <a:bodyPr wrap="square" tIns="90000" bIns="90000" rtlCol="0" anchor="t">
            <a:spAutoFit/>
          </a:bodyPr>
          <a:lstStyle/>
          <a:p>
            <a:r>
              <a:rPr lang="en-US" sz="700" b="1" dirty="0">
                <a:solidFill>
                  <a:srgbClr val="C5277F"/>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Event Producer</a:t>
            </a:r>
          </a:p>
        </p:txBody>
      </p:sp>
      <p:sp>
        <p:nvSpPr>
          <p:cNvPr id="628" name="TextBox 627">
            <a:extLst>
              <a:ext uri="{FF2B5EF4-FFF2-40B4-BE49-F238E27FC236}">
                <a16:creationId xmlns:a16="http://schemas.microsoft.com/office/drawing/2014/main" id="{EF3745BA-80BC-1F41-9F5D-7987568C8283}"/>
              </a:ext>
            </a:extLst>
          </p:cNvPr>
          <p:cNvSpPr txBox="1"/>
          <p:nvPr/>
        </p:nvSpPr>
        <p:spPr>
          <a:xfrm>
            <a:off x="358470" y="3925021"/>
            <a:ext cx="1776287" cy="304868"/>
          </a:xfrm>
          <a:prstGeom prst="rect">
            <a:avLst/>
          </a:prstGeom>
          <a:noFill/>
        </p:spPr>
        <p:txBody>
          <a:bodyPr wrap="square" tIns="90000" bIns="90000" rtlCol="0" anchor="t">
            <a:spAutoFit/>
          </a:bodyPr>
          <a:lstStyle>
            <a:defPPr>
              <a:defRPr lang="en-US"/>
            </a:defPPr>
            <a:lvl1pPr>
              <a:defRPr sz="700" b="1">
                <a:solidFill>
                  <a:srgbClr val="0079D1"/>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defRPr>
            </a:lvl1pPr>
          </a:lstStyle>
          <a:p>
            <a:r>
              <a:rPr lang="en-US" dirty="0"/>
              <a:t>JDBC/Kafka Connector Source</a:t>
            </a:r>
          </a:p>
        </p:txBody>
      </p:sp>
      <p:grpSp>
        <p:nvGrpSpPr>
          <p:cNvPr id="629" name="Group 628">
            <a:extLst>
              <a:ext uri="{FF2B5EF4-FFF2-40B4-BE49-F238E27FC236}">
                <a16:creationId xmlns:a16="http://schemas.microsoft.com/office/drawing/2014/main" id="{37B6CAF5-E115-D747-869B-83245FB2CCEB}"/>
              </a:ext>
            </a:extLst>
          </p:cNvPr>
          <p:cNvGrpSpPr/>
          <p:nvPr/>
        </p:nvGrpSpPr>
        <p:grpSpPr>
          <a:xfrm>
            <a:off x="154844" y="3992964"/>
            <a:ext cx="229951" cy="215444"/>
            <a:chOff x="8676898" y="4619460"/>
            <a:chExt cx="229951" cy="215444"/>
          </a:xfrm>
        </p:grpSpPr>
        <p:sp>
          <p:nvSpPr>
            <p:cNvPr id="630" name="Google Shape;431;p39">
              <a:extLst>
                <a:ext uri="{FF2B5EF4-FFF2-40B4-BE49-F238E27FC236}">
                  <a16:creationId xmlns:a16="http://schemas.microsoft.com/office/drawing/2014/main" id="{8CC490EA-6936-8F44-B928-7023714DD8A9}"/>
                </a:ext>
              </a:extLst>
            </p:cNvPr>
            <p:cNvSpPr/>
            <p:nvPr/>
          </p:nvSpPr>
          <p:spPr>
            <a:xfrm>
              <a:off x="8709950" y="4635551"/>
              <a:ext cx="179407" cy="167874"/>
            </a:xfrm>
            <a:custGeom>
              <a:avLst/>
              <a:gdLst/>
              <a:ahLst/>
              <a:cxnLst/>
              <a:rect l="0" t="0" r="0" b="0"/>
              <a:pathLst>
                <a:path w="67641" h="69056" extrusionOk="0">
                  <a:moveTo>
                    <a:pt x="49622" y="2736"/>
                  </a:moveTo>
                  <a:lnTo>
                    <a:pt x="49622" y="2736"/>
                  </a:lnTo>
                  <a:lnTo>
                    <a:pt x="49622" y="2736"/>
                  </a:lnTo>
                  <a:close/>
                  <a:moveTo>
                    <a:pt x="59622" y="55565"/>
                  </a:moveTo>
                  <a:lnTo>
                    <a:pt x="59622" y="55565"/>
                  </a:lnTo>
                  <a:lnTo>
                    <a:pt x="59622" y="55565"/>
                  </a:lnTo>
                  <a:close/>
                  <a:moveTo>
                    <a:pt x="35471" y="0"/>
                  </a:moveTo>
                  <a:lnTo>
                    <a:pt x="34433" y="95"/>
                  </a:lnTo>
                  <a:lnTo>
                    <a:pt x="33584" y="189"/>
                  </a:lnTo>
                  <a:lnTo>
                    <a:pt x="32735" y="378"/>
                  </a:lnTo>
                  <a:lnTo>
                    <a:pt x="32169" y="566"/>
                  </a:lnTo>
                  <a:lnTo>
                    <a:pt x="31509" y="472"/>
                  </a:lnTo>
                  <a:lnTo>
                    <a:pt x="30754" y="472"/>
                  </a:lnTo>
                  <a:lnTo>
                    <a:pt x="29339" y="566"/>
                  </a:lnTo>
                  <a:lnTo>
                    <a:pt x="27830" y="849"/>
                  </a:lnTo>
                  <a:lnTo>
                    <a:pt x="26320" y="1321"/>
                  </a:lnTo>
                  <a:lnTo>
                    <a:pt x="24811" y="1981"/>
                  </a:lnTo>
                  <a:lnTo>
                    <a:pt x="23207" y="2736"/>
                  </a:lnTo>
                  <a:lnTo>
                    <a:pt x="21698" y="3585"/>
                  </a:lnTo>
                  <a:lnTo>
                    <a:pt x="20188" y="4623"/>
                  </a:lnTo>
                  <a:lnTo>
                    <a:pt x="18679" y="5661"/>
                  </a:lnTo>
                  <a:lnTo>
                    <a:pt x="17170" y="6793"/>
                  </a:lnTo>
                  <a:lnTo>
                    <a:pt x="15754" y="8019"/>
                  </a:lnTo>
                  <a:lnTo>
                    <a:pt x="14434" y="9151"/>
                  </a:lnTo>
                  <a:lnTo>
                    <a:pt x="11981" y="11510"/>
                  </a:lnTo>
                  <a:lnTo>
                    <a:pt x="10000" y="13774"/>
                  </a:lnTo>
                  <a:lnTo>
                    <a:pt x="7736" y="16981"/>
                  </a:lnTo>
                  <a:lnTo>
                    <a:pt x="8019" y="16321"/>
                  </a:lnTo>
                  <a:lnTo>
                    <a:pt x="8302" y="15660"/>
                  </a:lnTo>
                  <a:lnTo>
                    <a:pt x="7736" y="16604"/>
                  </a:lnTo>
                  <a:lnTo>
                    <a:pt x="7075" y="17642"/>
                  </a:lnTo>
                  <a:lnTo>
                    <a:pt x="7170" y="17830"/>
                  </a:lnTo>
                  <a:lnTo>
                    <a:pt x="6509" y="18868"/>
                  </a:lnTo>
                  <a:lnTo>
                    <a:pt x="7075" y="17359"/>
                  </a:lnTo>
                  <a:lnTo>
                    <a:pt x="6132" y="19057"/>
                  </a:lnTo>
                  <a:lnTo>
                    <a:pt x="5189" y="20849"/>
                  </a:lnTo>
                  <a:lnTo>
                    <a:pt x="4434" y="22736"/>
                  </a:lnTo>
                  <a:lnTo>
                    <a:pt x="3679" y="24622"/>
                  </a:lnTo>
                  <a:lnTo>
                    <a:pt x="2453" y="28490"/>
                  </a:lnTo>
                  <a:lnTo>
                    <a:pt x="1321" y="32169"/>
                  </a:lnTo>
                  <a:lnTo>
                    <a:pt x="1509" y="32264"/>
                  </a:lnTo>
                  <a:lnTo>
                    <a:pt x="1604" y="32453"/>
                  </a:lnTo>
                  <a:lnTo>
                    <a:pt x="1604" y="32641"/>
                  </a:lnTo>
                  <a:lnTo>
                    <a:pt x="1509" y="32924"/>
                  </a:lnTo>
                  <a:lnTo>
                    <a:pt x="1226" y="33396"/>
                  </a:lnTo>
                  <a:lnTo>
                    <a:pt x="1038" y="33585"/>
                  </a:lnTo>
                  <a:lnTo>
                    <a:pt x="1038" y="33773"/>
                  </a:lnTo>
                  <a:lnTo>
                    <a:pt x="1038" y="35000"/>
                  </a:lnTo>
                  <a:lnTo>
                    <a:pt x="849" y="36132"/>
                  </a:lnTo>
                  <a:lnTo>
                    <a:pt x="660" y="37358"/>
                  </a:lnTo>
                  <a:lnTo>
                    <a:pt x="472" y="38867"/>
                  </a:lnTo>
                  <a:lnTo>
                    <a:pt x="283" y="38301"/>
                  </a:lnTo>
                  <a:lnTo>
                    <a:pt x="94" y="39811"/>
                  </a:lnTo>
                  <a:lnTo>
                    <a:pt x="0" y="41509"/>
                  </a:lnTo>
                  <a:lnTo>
                    <a:pt x="94" y="43301"/>
                  </a:lnTo>
                  <a:lnTo>
                    <a:pt x="283" y="44056"/>
                  </a:lnTo>
                  <a:lnTo>
                    <a:pt x="472" y="44622"/>
                  </a:lnTo>
                  <a:lnTo>
                    <a:pt x="566" y="45660"/>
                  </a:lnTo>
                  <a:lnTo>
                    <a:pt x="755" y="46792"/>
                  </a:lnTo>
                  <a:lnTo>
                    <a:pt x="1226" y="48962"/>
                  </a:lnTo>
                  <a:lnTo>
                    <a:pt x="1981" y="51037"/>
                  </a:lnTo>
                  <a:lnTo>
                    <a:pt x="2924" y="53112"/>
                  </a:lnTo>
                  <a:lnTo>
                    <a:pt x="4057" y="55094"/>
                  </a:lnTo>
                  <a:lnTo>
                    <a:pt x="5283" y="56980"/>
                  </a:lnTo>
                  <a:lnTo>
                    <a:pt x="6698" y="58678"/>
                  </a:lnTo>
                  <a:lnTo>
                    <a:pt x="8113" y="60282"/>
                  </a:lnTo>
                  <a:lnTo>
                    <a:pt x="9056" y="61131"/>
                  </a:lnTo>
                  <a:lnTo>
                    <a:pt x="10000" y="61980"/>
                  </a:lnTo>
                  <a:lnTo>
                    <a:pt x="11038" y="62829"/>
                  </a:lnTo>
                  <a:lnTo>
                    <a:pt x="12075" y="63584"/>
                  </a:lnTo>
                  <a:lnTo>
                    <a:pt x="14339" y="64905"/>
                  </a:lnTo>
                  <a:lnTo>
                    <a:pt x="16604" y="66131"/>
                  </a:lnTo>
                  <a:lnTo>
                    <a:pt x="19056" y="67169"/>
                  </a:lnTo>
                  <a:lnTo>
                    <a:pt x="21509" y="67923"/>
                  </a:lnTo>
                  <a:lnTo>
                    <a:pt x="24056" y="68584"/>
                  </a:lnTo>
                  <a:lnTo>
                    <a:pt x="26603" y="69055"/>
                  </a:lnTo>
                  <a:lnTo>
                    <a:pt x="27830" y="69055"/>
                  </a:lnTo>
                  <a:lnTo>
                    <a:pt x="30188" y="68867"/>
                  </a:lnTo>
                  <a:lnTo>
                    <a:pt x="33113" y="68678"/>
                  </a:lnTo>
                  <a:lnTo>
                    <a:pt x="36509" y="68301"/>
                  </a:lnTo>
                  <a:lnTo>
                    <a:pt x="39811" y="67923"/>
                  </a:lnTo>
                  <a:lnTo>
                    <a:pt x="42735" y="67452"/>
                  </a:lnTo>
                  <a:lnTo>
                    <a:pt x="44905" y="66980"/>
                  </a:lnTo>
                  <a:lnTo>
                    <a:pt x="45565" y="66791"/>
                  </a:lnTo>
                  <a:lnTo>
                    <a:pt x="45943" y="66508"/>
                  </a:lnTo>
                  <a:lnTo>
                    <a:pt x="47358" y="65942"/>
                  </a:lnTo>
                  <a:lnTo>
                    <a:pt x="48018" y="65565"/>
                  </a:lnTo>
                  <a:lnTo>
                    <a:pt x="48678" y="65188"/>
                  </a:lnTo>
                  <a:lnTo>
                    <a:pt x="47924" y="65471"/>
                  </a:lnTo>
                  <a:lnTo>
                    <a:pt x="51509" y="62924"/>
                  </a:lnTo>
                  <a:lnTo>
                    <a:pt x="53301" y="61508"/>
                  </a:lnTo>
                  <a:lnTo>
                    <a:pt x="55093" y="59905"/>
                  </a:lnTo>
                  <a:lnTo>
                    <a:pt x="55093" y="59905"/>
                  </a:lnTo>
                  <a:lnTo>
                    <a:pt x="54810" y="60376"/>
                  </a:lnTo>
                  <a:lnTo>
                    <a:pt x="54339" y="60754"/>
                  </a:lnTo>
                  <a:lnTo>
                    <a:pt x="55376" y="59999"/>
                  </a:lnTo>
                  <a:lnTo>
                    <a:pt x="56320" y="59056"/>
                  </a:lnTo>
                  <a:lnTo>
                    <a:pt x="57075" y="58395"/>
                  </a:lnTo>
                  <a:lnTo>
                    <a:pt x="57169" y="58207"/>
                  </a:lnTo>
                  <a:lnTo>
                    <a:pt x="57075" y="58207"/>
                  </a:lnTo>
                  <a:lnTo>
                    <a:pt x="57924" y="57546"/>
                  </a:lnTo>
                  <a:lnTo>
                    <a:pt x="58678" y="56697"/>
                  </a:lnTo>
                  <a:lnTo>
                    <a:pt x="59339" y="55754"/>
                  </a:lnTo>
                  <a:lnTo>
                    <a:pt x="59905" y="54905"/>
                  </a:lnTo>
                  <a:lnTo>
                    <a:pt x="59716" y="54999"/>
                  </a:lnTo>
                  <a:lnTo>
                    <a:pt x="59622" y="54999"/>
                  </a:lnTo>
                  <a:lnTo>
                    <a:pt x="59810" y="54622"/>
                  </a:lnTo>
                  <a:lnTo>
                    <a:pt x="59150" y="55565"/>
                  </a:lnTo>
                  <a:lnTo>
                    <a:pt x="59527" y="55094"/>
                  </a:lnTo>
                  <a:lnTo>
                    <a:pt x="59433" y="55377"/>
                  </a:lnTo>
                  <a:lnTo>
                    <a:pt x="58867" y="56037"/>
                  </a:lnTo>
                  <a:lnTo>
                    <a:pt x="59056" y="55660"/>
                  </a:lnTo>
                  <a:lnTo>
                    <a:pt x="59056" y="55660"/>
                  </a:lnTo>
                  <a:lnTo>
                    <a:pt x="58678" y="56037"/>
                  </a:lnTo>
                  <a:lnTo>
                    <a:pt x="59810" y="54339"/>
                  </a:lnTo>
                  <a:lnTo>
                    <a:pt x="60282" y="53490"/>
                  </a:lnTo>
                  <a:lnTo>
                    <a:pt x="60282" y="53301"/>
                  </a:lnTo>
                  <a:lnTo>
                    <a:pt x="60188" y="53395"/>
                  </a:lnTo>
                  <a:lnTo>
                    <a:pt x="60188" y="53395"/>
                  </a:lnTo>
                  <a:lnTo>
                    <a:pt x="60565" y="52924"/>
                  </a:lnTo>
                  <a:lnTo>
                    <a:pt x="61037" y="52452"/>
                  </a:lnTo>
                  <a:lnTo>
                    <a:pt x="61886" y="51509"/>
                  </a:lnTo>
                  <a:lnTo>
                    <a:pt x="61508" y="52452"/>
                  </a:lnTo>
                  <a:lnTo>
                    <a:pt x="60848" y="53584"/>
                  </a:lnTo>
                  <a:lnTo>
                    <a:pt x="59622" y="55565"/>
                  </a:lnTo>
                  <a:lnTo>
                    <a:pt x="60376" y="54528"/>
                  </a:lnTo>
                  <a:lnTo>
                    <a:pt x="60942" y="53678"/>
                  </a:lnTo>
                  <a:lnTo>
                    <a:pt x="61980" y="51792"/>
                  </a:lnTo>
                  <a:lnTo>
                    <a:pt x="61886" y="51886"/>
                  </a:lnTo>
                  <a:lnTo>
                    <a:pt x="61886" y="51697"/>
                  </a:lnTo>
                  <a:lnTo>
                    <a:pt x="62169" y="51037"/>
                  </a:lnTo>
                  <a:lnTo>
                    <a:pt x="62735" y="49999"/>
                  </a:lnTo>
                  <a:lnTo>
                    <a:pt x="61508" y="51603"/>
                  </a:lnTo>
                  <a:lnTo>
                    <a:pt x="61603" y="51037"/>
                  </a:lnTo>
                  <a:lnTo>
                    <a:pt x="61697" y="50377"/>
                  </a:lnTo>
                  <a:lnTo>
                    <a:pt x="62169" y="48962"/>
                  </a:lnTo>
                  <a:lnTo>
                    <a:pt x="62829" y="47358"/>
                  </a:lnTo>
                  <a:lnTo>
                    <a:pt x="63678" y="45565"/>
                  </a:lnTo>
                  <a:lnTo>
                    <a:pt x="65376" y="42169"/>
                  </a:lnTo>
                  <a:lnTo>
                    <a:pt x="66131" y="40660"/>
                  </a:lnTo>
                  <a:lnTo>
                    <a:pt x="66697" y="39339"/>
                  </a:lnTo>
                  <a:lnTo>
                    <a:pt x="66603" y="39528"/>
                  </a:lnTo>
                  <a:lnTo>
                    <a:pt x="66697" y="39056"/>
                  </a:lnTo>
                  <a:lnTo>
                    <a:pt x="66791" y="38962"/>
                  </a:lnTo>
                  <a:lnTo>
                    <a:pt x="66791" y="39056"/>
                  </a:lnTo>
                  <a:lnTo>
                    <a:pt x="66886" y="38584"/>
                  </a:lnTo>
                  <a:lnTo>
                    <a:pt x="66791" y="38867"/>
                  </a:lnTo>
                  <a:lnTo>
                    <a:pt x="66980" y="38207"/>
                  </a:lnTo>
                  <a:lnTo>
                    <a:pt x="67169" y="37264"/>
                  </a:lnTo>
                  <a:lnTo>
                    <a:pt x="67263" y="36415"/>
                  </a:lnTo>
                  <a:lnTo>
                    <a:pt x="67357" y="36509"/>
                  </a:lnTo>
                  <a:lnTo>
                    <a:pt x="67452" y="36509"/>
                  </a:lnTo>
                  <a:lnTo>
                    <a:pt x="67546" y="35943"/>
                  </a:lnTo>
                  <a:lnTo>
                    <a:pt x="67546" y="34811"/>
                  </a:lnTo>
                  <a:lnTo>
                    <a:pt x="67640" y="31037"/>
                  </a:lnTo>
                  <a:lnTo>
                    <a:pt x="67640" y="28490"/>
                  </a:lnTo>
                  <a:lnTo>
                    <a:pt x="67546" y="27736"/>
                  </a:lnTo>
                  <a:lnTo>
                    <a:pt x="67546" y="27547"/>
                  </a:lnTo>
                  <a:lnTo>
                    <a:pt x="67452" y="27547"/>
                  </a:lnTo>
                  <a:lnTo>
                    <a:pt x="67074" y="26792"/>
                  </a:lnTo>
                  <a:lnTo>
                    <a:pt x="66791" y="25660"/>
                  </a:lnTo>
                  <a:lnTo>
                    <a:pt x="66508" y="24528"/>
                  </a:lnTo>
                  <a:lnTo>
                    <a:pt x="66414" y="23585"/>
                  </a:lnTo>
                  <a:lnTo>
                    <a:pt x="66320" y="23679"/>
                  </a:lnTo>
                  <a:lnTo>
                    <a:pt x="66320" y="23490"/>
                  </a:lnTo>
                  <a:lnTo>
                    <a:pt x="65942" y="22924"/>
                  </a:lnTo>
                  <a:lnTo>
                    <a:pt x="65565" y="22358"/>
                  </a:lnTo>
                  <a:lnTo>
                    <a:pt x="64527" y="21132"/>
                  </a:lnTo>
                  <a:lnTo>
                    <a:pt x="63584" y="19906"/>
                  </a:lnTo>
                  <a:lnTo>
                    <a:pt x="63207" y="19340"/>
                  </a:lnTo>
                  <a:lnTo>
                    <a:pt x="63018" y="18774"/>
                  </a:lnTo>
                  <a:lnTo>
                    <a:pt x="63112" y="18962"/>
                  </a:lnTo>
                  <a:lnTo>
                    <a:pt x="63301" y="19057"/>
                  </a:lnTo>
                  <a:lnTo>
                    <a:pt x="63301" y="19057"/>
                  </a:lnTo>
                  <a:lnTo>
                    <a:pt x="63207" y="18868"/>
                  </a:lnTo>
                  <a:lnTo>
                    <a:pt x="62923" y="18491"/>
                  </a:lnTo>
                  <a:lnTo>
                    <a:pt x="61980" y="17453"/>
                  </a:lnTo>
                  <a:lnTo>
                    <a:pt x="61037" y="16509"/>
                  </a:lnTo>
                  <a:lnTo>
                    <a:pt x="61037" y="16698"/>
                  </a:lnTo>
                  <a:lnTo>
                    <a:pt x="61037" y="16887"/>
                  </a:lnTo>
                  <a:lnTo>
                    <a:pt x="60093" y="15943"/>
                  </a:lnTo>
                  <a:lnTo>
                    <a:pt x="60376" y="16321"/>
                  </a:lnTo>
                  <a:lnTo>
                    <a:pt x="59527" y="15377"/>
                  </a:lnTo>
                  <a:lnTo>
                    <a:pt x="59056" y="14906"/>
                  </a:lnTo>
                  <a:lnTo>
                    <a:pt x="59244" y="14906"/>
                  </a:lnTo>
                  <a:lnTo>
                    <a:pt x="59905" y="15472"/>
                  </a:lnTo>
                  <a:lnTo>
                    <a:pt x="59905" y="15472"/>
                  </a:lnTo>
                  <a:lnTo>
                    <a:pt x="57641" y="13396"/>
                  </a:lnTo>
                  <a:lnTo>
                    <a:pt x="58112" y="13868"/>
                  </a:lnTo>
                  <a:lnTo>
                    <a:pt x="56886" y="13019"/>
                  </a:lnTo>
                  <a:lnTo>
                    <a:pt x="55754" y="12453"/>
                  </a:lnTo>
                  <a:lnTo>
                    <a:pt x="56603" y="13113"/>
                  </a:lnTo>
                  <a:lnTo>
                    <a:pt x="57452" y="13774"/>
                  </a:lnTo>
                  <a:lnTo>
                    <a:pt x="58961" y="15283"/>
                  </a:lnTo>
                  <a:lnTo>
                    <a:pt x="60376" y="16604"/>
                  </a:lnTo>
                  <a:lnTo>
                    <a:pt x="61225" y="17264"/>
                  </a:lnTo>
                  <a:lnTo>
                    <a:pt x="62074" y="17925"/>
                  </a:lnTo>
                  <a:lnTo>
                    <a:pt x="62074" y="17925"/>
                  </a:lnTo>
                  <a:lnTo>
                    <a:pt x="61414" y="17547"/>
                  </a:lnTo>
                  <a:lnTo>
                    <a:pt x="60659" y="16981"/>
                  </a:lnTo>
                  <a:lnTo>
                    <a:pt x="60754" y="17264"/>
                  </a:lnTo>
                  <a:lnTo>
                    <a:pt x="60942" y="17642"/>
                  </a:lnTo>
                  <a:lnTo>
                    <a:pt x="61980" y="19151"/>
                  </a:lnTo>
                  <a:lnTo>
                    <a:pt x="63301" y="20943"/>
                  </a:lnTo>
                  <a:lnTo>
                    <a:pt x="63207" y="20943"/>
                  </a:lnTo>
                  <a:lnTo>
                    <a:pt x="63395" y="21038"/>
                  </a:lnTo>
                  <a:lnTo>
                    <a:pt x="63490" y="21321"/>
                  </a:lnTo>
                  <a:lnTo>
                    <a:pt x="63678" y="21604"/>
                  </a:lnTo>
                  <a:lnTo>
                    <a:pt x="63773" y="21698"/>
                  </a:lnTo>
                  <a:lnTo>
                    <a:pt x="63584" y="21321"/>
                  </a:lnTo>
                  <a:lnTo>
                    <a:pt x="63584" y="21321"/>
                  </a:lnTo>
                  <a:lnTo>
                    <a:pt x="64244" y="22170"/>
                  </a:lnTo>
                  <a:lnTo>
                    <a:pt x="64716" y="22641"/>
                  </a:lnTo>
                  <a:lnTo>
                    <a:pt x="64905" y="22830"/>
                  </a:lnTo>
                  <a:lnTo>
                    <a:pt x="64999" y="22830"/>
                  </a:lnTo>
                  <a:lnTo>
                    <a:pt x="64999" y="22641"/>
                  </a:lnTo>
                  <a:lnTo>
                    <a:pt x="64905" y="22358"/>
                  </a:lnTo>
                  <a:lnTo>
                    <a:pt x="65282" y="23207"/>
                  </a:lnTo>
                  <a:lnTo>
                    <a:pt x="65565" y="24056"/>
                  </a:lnTo>
                  <a:lnTo>
                    <a:pt x="66225" y="25943"/>
                  </a:lnTo>
                  <a:lnTo>
                    <a:pt x="66697" y="27830"/>
                  </a:lnTo>
                  <a:lnTo>
                    <a:pt x="66886" y="28490"/>
                  </a:lnTo>
                  <a:lnTo>
                    <a:pt x="66980" y="28868"/>
                  </a:lnTo>
                  <a:lnTo>
                    <a:pt x="66886" y="28962"/>
                  </a:lnTo>
                  <a:lnTo>
                    <a:pt x="66697" y="28679"/>
                  </a:lnTo>
                  <a:lnTo>
                    <a:pt x="66697" y="29245"/>
                  </a:lnTo>
                  <a:lnTo>
                    <a:pt x="66791" y="29905"/>
                  </a:lnTo>
                  <a:lnTo>
                    <a:pt x="66886" y="29905"/>
                  </a:lnTo>
                  <a:lnTo>
                    <a:pt x="66886" y="30094"/>
                  </a:lnTo>
                  <a:lnTo>
                    <a:pt x="66886" y="30566"/>
                  </a:lnTo>
                  <a:lnTo>
                    <a:pt x="66697" y="30377"/>
                  </a:lnTo>
                  <a:lnTo>
                    <a:pt x="66603" y="30188"/>
                  </a:lnTo>
                  <a:lnTo>
                    <a:pt x="66603" y="30094"/>
                  </a:lnTo>
                  <a:lnTo>
                    <a:pt x="66697" y="29905"/>
                  </a:lnTo>
                  <a:lnTo>
                    <a:pt x="66508" y="28679"/>
                  </a:lnTo>
                  <a:lnTo>
                    <a:pt x="66225" y="27358"/>
                  </a:lnTo>
                  <a:lnTo>
                    <a:pt x="66603" y="30283"/>
                  </a:lnTo>
                  <a:lnTo>
                    <a:pt x="66697" y="31792"/>
                  </a:lnTo>
                  <a:lnTo>
                    <a:pt x="66697" y="33302"/>
                  </a:lnTo>
                  <a:lnTo>
                    <a:pt x="66603" y="34717"/>
                  </a:lnTo>
                  <a:lnTo>
                    <a:pt x="66414" y="36226"/>
                  </a:lnTo>
                  <a:lnTo>
                    <a:pt x="66131" y="37547"/>
                  </a:lnTo>
                  <a:lnTo>
                    <a:pt x="65659" y="38962"/>
                  </a:lnTo>
                  <a:lnTo>
                    <a:pt x="65848" y="38584"/>
                  </a:lnTo>
                  <a:lnTo>
                    <a:pt x="65942" y="38584"/>
                  </a:lnTo>
                  <a:lnTo>
                    <a:pt x="65848" y="39245"/>
                  </a:lnTo>
                  <a:lnTo>
                    <a:pt x="65565" y="40188"/>
                  </a:lnTo>
                  <a:lnTo>
                    <a:pt x="65471" y="40471"/>
                  </a:lnTo>
                  <a:lnTo>
                    <a:pt x="65282" y="40660"/>
                  </a:lnTo>
                  <a:lnTo>
                    <a:pt x="65282" y="40566"/>
                  </a:lnTo>
                  <a:lnTo>
                    <a:pt x="65093" y="41132"/>
                  </a:lnTo>
                  <a:lnTo>
                    <a:pt x="64433" y="43018"/>
                  </a:lnTo>
                  <a:lnTo>
                    <a:pt x="63678" y="45282"/>
                  </a:lnTo>
                  <a:lnTo>
                    <a:pt x="62735" y="47264"/>
                  </a:lnTo>
                  <a:lnTo>
                    <a:pt x="61697" y="49056"/>
                  </a:lnTo>
                  <a:lnTo>
                    <a:pt x="60659" y="50943"/>
                  </a:lnTo>
                  <a:lnTo>
                    <a:pt x="59433" y="52735"/>
                  </a:lnTo>
                  <a:lnTo>
                    <a:pt x="58207" y="54433"/>
                  </a:lnTo>
                  <a:lnTo>
                    <a:pt x="56886" y="56037"/>
                  </a:lnTo>
                  <a:lnTo>
                    <a:pt x="55376" y="57641"/>
                  </a:lnTo>
                  <a:lnTo>
                    <a:pt x="53867" y="59150"/>
                  </a:lnTo>
                  <a:lnTo>
                    <a:pt x="52169" y="60376"/>
                  </a:lnTo>
                  <a:lnTo>
                    <a:pt x="48961" y="62452"/>
                  </a:lnTo>
                  <a:lnTo>
                    <a:pt x="44528" y="65282"/>
                  </a:lnTo>
                  <a:lnTo>
                    <a:pt x="44622" y="65188"/>
                  </a:lnTo>
                  <a:lnTo>
                    <a:pt x="44716" y="65093"/>
                  </a:lnTo>
                  <a:lnTo>
                    <a:pt x="45094" y="64810"/>
                  </a:lnTo>
                  <a:lnTo>
                    <a:pt x="45660" y="64527"/>
                  </a:lnTo>
                  <a:lnTo>
                    <a:pt x="43867" y="65376"/>
                  </a:lnTo>
                  <a:lnTo>
                    <a:pt x="43113" y="65754"/>
                  </a:lnTo>
                  <a:lnTo>
                    <a:pt x="42924" y="65754"/>
                  </a:lnTo>
                  <a:lnTo>
                    <a:pt x="43113" y="65659"/>
                  </a:lnTo>
                  <a:lnTo>
                    <a:pt x="41603" y="66037"/>
                  </a:lnTo>
                  <a:lnTo>
                    <a:pt x="39999" y="66320"/>
                  </a:lnTo>
                  <a:lnTo>
                    <a:pt x="38396" y="66508"/>
                  </a:lnTo>
                  <a:lnTo>
                    <a:pt x="36792" y="66697"/>
                  </a:lnTo>
                  <a:lnTo>
                    <a:pt x="33584" y="66980"/>
                  </a:lnTo>
                  <a:lnTo>
                    <a:pt x="32169" y="67169"/>
                  </a:lnTo>
                  <a:lnTo>
                    <a:pt x="30754" y="67357"/>
                  </a:lnTo>
                  <a:lnTo>
                    <a:pt x="30094" y="67357"/>
                  </a:lnTo>
                  <a:lnTo>
                    <a:pt x="29339" y="67263"/>
                  </a:lnTo>
                  <a:lnTo>
                    <a:pt x="27830" y="66886"/>
                  </a:lnTo>
                  <a:lnTo>
                    <a:pt x="26415" y="66508"/>
                  </a:lnTo>
                  <a:lnTo>
                    <a:pt x="25754" y="66414"/>
                  </a:lnTo>
                  <a:lnTo>
                    <a:pt x="25094" y="66414"/>
                  </a:lnTo>
                  <a:lnTo>
                    <a:pt x="25566" y="66980"/>
                  </a:lnTo>
                  <a:lnTo>
                    <a:pt x="25471" y="67074"/>
                  </a:lnTo>
                  <a:lnTo>
                    <a:pt x="25188" y="66980"/>
                  </a:lnTo>
                  <a:lnTo>
                    <a:pt x="24339" y="66791"/>
                  </a:lnTo>
                  <a:lnTo>
                    <a:pt x="23773" y="66508"/>
                  </a:lnTo>
                  <a:lnTo>
                    <a:pt x="24245" y="66414"/>
                  </a:lnTo>
                  <a:lnTo>
                    <a:pt x="24717" y="66603"/>
                  </a:lnTo>
                  <a:lnTo>
                    <a:pt x="24811" y="66414"/>
                  </a:lnTo>
                  <a:lnTo>
                    <a:pt x="24811" y="66320"/>
                  </a:lnTo>
                  <a:lnTo>
                    <a:pt x="24717" y="66225"/>
                  </a:lnTo>
                  <a:lnTo>
                    <a:pt x="24528" y="66131"/>
                  </a:lnTo>
                  <a:lnTo>
                    <a:pt x="24151" y="66225"/>
                  </a:lnTo>
                  <a:lnTo>
                    <a:pt x="23679" y="66320"/>
                  </a:lnTo>
                  <a:lnTo>
                    <a:pt x="23018" y="66414"/>
                  </a:lnTo>
                  <a:lnTo>
                    <a:pt x="23490" y="66225"/>
                  </a:lnTo>
                  <a:lnTo>
                    <a:pt x="22075" y="65942"/>
                  </a:lnTo>
                  <a:lnTo>
                    <a:pt x="20943" y="65659"/>
                  </a:lnTo>
                  <a:lnTo>
                    <a:pt x="20000" y="65282"/>
                  </a:lnTo>
                  <a:lnTo>
                    <a:pt x="19056" y="64810"/>
                  </a:lnTo>
                  <a:lnTo>
                    <a:pt x="19056" y="64810"/>
                  </a:lnTo>
                  <a:lnTo>
                    <a:pt x="19717" y="64999"/>
                  </a:lnTo>
                  <a:lnTo>
                    <a:pt x="19151" y="64716"/>
                  </a:lnTo>
                  <a:lnTo>
                    <a:pt x="18962" y="64810"/>
                  </a:lnTo>
                  <a:lnTo>
                    <a:pt x="19151" y="64905"/>
                  </a:lnTo>
                  <a:lnTo>
                    <a:pt x="18490" y="64905"/>
                  </a:lnTo>
                  <a:lnTo>
                    <a:pt x="17830" y="64716"/>
                  </a:lnTo>
                  <a:lnTo>
                    <a:pt x="17264" y="64527"/>
                  </a:lnTo>
                  <a:lnTo>
                    <a:pt x="16698" y="64150"/>
                  </a:lnTo>
                  <a:lnTo>
                    <a:pt x="16981" y="64056"/>
                  </a:lnTo>
                  <a:lnTo>
                    <a:pt x="17264" y="64150"/>
                  </a:lnTo>
                  <a:lnTo>
                    <a:pt x="17264" y="64150"/>
                  </a:lnTo>
                  <a:lnTo>
                    <a:pt x="15188" y="63207"/>
                  </a:lnTo>
                  <a:lnTo>
                    <a:pt x="14622" y="62829"/>
                  </a:lnTo>
                  <a:lnTo>
                    <a:pt x="14717" y="62924"/>
                  </a:lnTo>
                  <a:lnTo>
                    <a:pt x="13773" y="62546"/>
                  </a:lnTo>
                  <a:lnTo>
                    <a:pt x="12924" y="62075"/>
                  </a:lnTo>
                  <a:lnTo>
                    <a:pt x="12358" y="61697"/>
                  </a:lnTo>
                  <a:lnTo>
                    <a:pt x="12264" y="61508"/>
                  </a:lnTo>
                  <a:lnTo>
                    <a:pt x="12170" y="61320"/>
                  </a:lnTo>
                  <a:lnTo>
                    <a:pt x="11698" y="60942"/>
                  </a:lnTo>
                  <a:lnTo>
                    <a:pt x="11132" y="60471"/>
                  </a:lnTo>
                  <a:lnTo>
                    <a:pt x="9906" y="59244"/>
                  </a:lnTo>
                  <a:lnTo>
                    <a:pt x="9906" y="59244"/>
                  </a:lnTo>
                  <a:lnTo>
                    <a:pt x="10566" y="59527"/>
                  </a:lnTo>
                  <a:lnTo>
                    <a:pt x="9434" y="58584"/>
                  </a:lnTo>
                  <a:lnTo>
                    <a:pt x="8207" y="57546"/>
                  </a:lnTo>
                  <a:lnTo>
                    <a:pt x="7547" y="56886"/>
                  </a:lnTo>
                  <a:lnTo>
                    <a:pt x="6981" y="56131"/>
                  </a:lnTo>
                  <a:lnTo>
                    <a:pt x="6226" y="55094"/>
                  </a:lnTo>
                  <a:lnTo>
                    <a:pt x="6415" y="55377"/>
                  </a:lnTo>
                  <a:lnTo>
                    <a:pt x="6038" y="54905"/>
                  </a:lnTo>
                  <a:lnTo>
                    <a:pt x="5472" y="54244"/>
                  </a:lnTo>
                  <a:lnTo>
                    <a:pt x="5283" y="53961"/>
                  </a:lnTo>
                  <a:lnTo>
                    <a:pt x="5094" y="53867"/>
                  </a:lnTo>
                  <a:lnTo>
                    <a:pt x="5377" y="54622"/>
                  </a:lnTo>
                  <a:lnTo>
                    <a:pt x="5849" y="55282"/>
                  </a:lnTo>
                  <a:lnTo>
                    <a:pt x="6321" y="55943"/>
                  </a:lnTo>
                  <a:lnTo>
                    <a:pt x="6698" y="56603"/>
                  </a:lnTo>
                  <a:lnTo>
                    <a:pt x="6226" y="56226"/>
                  </a:lnTo>
                  <a:lnTo>
                    <a:pt x="5943" y="55848"/>
                  </a:lnTo>
                  <a:lnTo>
                    <a:pt x="6038" y="56037"/>
                  </a:lnTo>
                  <a:lnTo>
                    <a:pt x="5943" y="55943"/>
                  </a:lnTo>
                  <a:lnTo>
                    <a:pt x="5377" y="55188"/>
                  </a:lnTo>
                  <a:lnTo>
                    <a:pt x="5000" y="54716"/>
                  </a:lnTo>
                  <a:lnTo>
                    <a:pt x="4717" y="54150"/>
                  </a:lnTo>
                  <a:lnTo>
                    <a:pt x="4528" y="53678"/>
                  </a:lnTo>
                  <a:lnTo>
                    <a:pt x="4528" y="53584"/>
                  </a:lnTo>
                  <a:lnTo>
                    <a:pt x="4623" y="53395"/>
                  </a:lnTo>
                  <a:lnTo>
                    <a:pt x="5094" y="54244"/>
                  </a:lnTo>
                  <a:lnTo>
                    <a:pt x="4717" y="53301"/>
                  </a:lnTo>
                  <a:lnTo>
                    <a:pt x="4528" y="53018"/>
                  </a:lnTo>
                  <a:lnTo>
                    <a:pt x="4151" y="52263"/>
                  </a:lnTo>
                  <a:lnTo>
                    <a:pt x="4151" y="52169"/>
                  </a:lnTo>
                  <a:lnTo>
                    <a:pt x="3774" y="51509"/>
                  </a:lnTo>
                  <a:lnTo>
                    <a:pt x="3396" y="50660"/>
                  </a:lnTo>
                  <a:lnTo>
                    <a:pt x="3585" y="51603"/>
                  </a:lnTo>
                  <a:lnTo>
                    <a:pt x="3396" y="51226"/>
                  </a:lnTo>
                  <a:lnTo>
                    <a:pt x="3208" y="50848"/>
                  </a:lnTo>
                  <a:lnTo>
                    <a:pt x="3208" y="50471"/>
                  </a:lnTo>
                  <a:lnTo>
                    <a:pt x="3208" y="50094"/>
                  </a:lnTo>
                  <a:lnTo>
                    <a:pt x="3585" y="50754"/>
                  </a:lnTo>
                  <a:lnTo>
                    <a:pt x="3868" y="51509"/>
                  </a:lnTo>
                  <a:lnTo>
                    <a:pt x="3868" y="51509"/>
                  </a:lnTo>
                  <a:lnTo>
                    <a:pt x="3208" y="49528"/>
                  </a:lnTo>
                  <a:lnTo>
                    <a:pt x="3208" y="49528"/>
                  </a:lnTo>
                  <a:lnTo>
                    <a:pt x="3868" y="50754"/>
                  </a:lnTo>
                  <a:lnTo>
                    <a:pt x="3208" y="48962"/>
                  </a:lnTo>
                  <a:lnTo>
                    <a:pt x="3585" y="49339"/>
                  </a:lnTo>
                  <a:lnTo>
                    <a:pt x="3774" y="49433"/>
                  </a:lnTo>
                  <a:lnTo>
                    <a:pt x="3962" y="49528"/>
                  </a:lnTo>
                  <a:lnTo>
                    <a:pt x="4057" y="49905"/>
                  </a:lnTo>
                  <a:lnTo>
                    <a:pt x="3868" y="48962"/>
                  </a:lnTo>
                  <a:lnTo>
                    <a:pt x="3491" y="47924"/>
                  </a:lnTo>
                  <a:lnTo>
                    <a:pt x="2641" y="45565"/>
                  </a:lnTo>
                  <a:lnTo>
                    <a:pt x="2170" y="43867"/>
                  </a:lnTo>
                  <a:lnTo>
                    <a:pt x="1698" y="41886"/>
                  </a:lnTo>
                  <a:lnTo>
                    <a:pt x="1698" y="41886"/>
                  </a:lnTo>
                  <a:lnTo>
                    <a:pt x="1887" y="42075"/>
                  </a:lnTo>
                  <a:lnTo>
                    <a:pt x="1981" y="41981"/>
                  </a:lnTo>
                  <a:lnTo>
                    <a:pt x="2075" y="42075"/>
                  </a:lnTo>
                  <a:lnTo>
                    <a:pt x="2264" y="42169"/>
                  </a:lnTo>
                  <a:lnTo>
                    <a:pt x="2170" y="40283"/>
                  </a:lnTo>
                  <a:lnTo>
                    <a:pt x="2075" y="38301"/>
                  </a:lnTo>
                  <a:lnTo>
                    <a:pt x="2170" y="36415"/>
                  </a:lnTo>
                  <a:lnTo>
                    <a:pt x="2358" y="35566"/>
                  </a:lnTo>
                  <a:lnTo>
                    <a:pt x="2453" y="34811"/>
                  </a:lnTo>
                  <a:lnTo>
                    <a:pt x="2830" y="32830"/>
                  </a:lnTo>
                  <a:lnTo>
                    <a:pt x="2830" y="33207"/>
                  </a:lnTo>
                  <a:lnTo>
                    <a:pt x="2924" y="33490"/>
                  </a:lnTo>
                  <a:lnTo>
                    <a:pt x="2924" y="32453"/>
                  </a:lnTo>
                  <a:lnTo>
                    <a:pt x="3019" y="31415"/>
                  </a:lnTo>
                  <a:lnTo>
                    <a:pt x="3396" y="29245"/>
                  </a:lnTo>
                  <a:lnTo>
                    <a:pt x="3868" y="27075"/>
                  </a:lnTo>
                  <a:lnTo>
                    <a:pt x="4623" y="25000"/>
                  </a:lnTo>
                  <a:lnTo>
                    <a:pt x="5566" y="22830"/>
                  </a:lnTo>
                  <a:lnTo>
                    <a:pt x="6604" y="20849"/>
                  </a:lnTo>
                  <a:lnTo>
                    <a:pt x="7830" y="18868"/>
                  </a:lnTo>
                  <a:lnTo>
                    <a:pt x="9151" y="16887"/>
                  </a:lnTo>
                  <a:lnTo>
                    <a:pt x="10566" y="15094"/>
                  </a:lnTo>
                  <a:lnTo>
                    <a:pt x="12075" y="13302"/>
                  </a:lnTo>
                  <a:lnTo>
                    <a:pt x="13773" y="11698"/>
                  </a:lnTo>
                  <a:lnTo>
                    <a:pt x="15377" y="10095"/>
                  </a:lnTo>
                  <a:lnTo>
                    <a:pt x="17170" y="8679"/>
                  </a:lnTo>
                  <a:lnTo>
                    <a:pt x="18962" y="7453"/>
                  </a:lnTo>
                  <a:lnTo>
                    <a:pt x="20754" y="6321"/>
                  </a:lnTo>
                  <a:lnTo>
                    <a:pt x="22547" y="5378"/>
                  </a:lnTo>
                  <a:lnTo>
                    <a:pt x="21603" y="6227"/>
                  </a:lnTo>
                  <a:lnTo>
                    <a:pt x="22641" y="5472"/>
                  </a:lnTo>
                  <a:lnTo>
                    <a:pt x="23302" y="5095"/>
                  </a:lnTo>
                  <a:lnTo>
                    <a:pt x="25377" y="4151"/>
                  </a:lnTo>
                  <a:lnTo>
                    <a:pt x="24811" y="4151"/>
                  </a:lnTo>
                  <a:lnTo>
                    <a:pt x="25660" y="3774"/>
                  </a:lnTo>
                  <a:lnTo>
                    <a:pt x="26886" y="3208"/>
                  </a:lnTo>
                  <a:lnTo>
                    <a:pt x="26603" y="3585"/>
                  </a:lnTo>
                  <a:lnTo>
                    <a:pt x="26886" y="3585"/>
                  </a:lnTo>
                  <a:lnTo>
                    <a:pt x="26886" y="3680"/>
                  </a:lnTo>
                  <a:lnTo>
                    <a:pt x="26792" y="3774"/>
                  </a:lnTo>
                  <a:lnTo>
                    <a:pt x="28301" y="3302"/>
                  </a:lnTo>
                  <a:lnTo>
                    <a:pt x="29622" y="2736"/>
                  </a:lnTo>
                  <a:lnTo>
                    <a:pt x="31037" y="2264"/>
                  </a:lnTo>
                  <a:lnTo>
                    <a:pt x="31792" y="2076"/>
                  </a:lnTo>
                  <a:lnTo>
                    <a:pt x="32641" y="1981"/>
                  </a:lnTo>
                  <a:lnTo>
                    <a:pt x="32547" y="2076"/>
                  </a:lnTo>
                  <a:lnTo>
                    <a:pt x="32924" y="1981"/>
                  </a:lnTo>
                  <a:lnTo>
                    <a:pt x="34245" y="1793"/>
                  </a:lnTo>
                  <a:lnTo>
                    <a:pt x="35848" y="1415"/>
                  </a:lnTo>
                  <a:lnTo>
                    <a:pt x="36981" y="1132"/>
                  </a:lnTo>
                  <a:lnTo>
                    <a:pt x="36981" y="1415"/>
                  </a:lnTo>
                  <a:lnTo>
                    <a:pt x="40943" y="1227"/>
                  </a:lnTo>
                  <a:lnTo>
                    <a:pt x="41509" y="1038"/>
                  </a:lnTo>
                  <a:lnTo>
                    <a:pt x="41697" y="1132"/>
                  </a:lnTo>
                  <a:lnTo>
                    <a:pt x="41509" y="1227"/>
                  </a:lnTo>
                  <a:lnTo>
                    <a:pt x="41320" y="1321"/>
                  </a:lnTo>
                  <a:lnTo>
                    <a:pt x="42263" y="1321"/>
                  </a:lnTo>
                  <a:lnTo>
                    <a:pt x="43113" y="1227"/>
                  </a:lnTo>
                  <a:lnTo>
                    <a:pt x="43396" y="1415"/>
                  </a:lnTo>
                  <a:lnTo>
                    <a:pt x="44056" y="1604"/>
                  </a:lnTo>
                  <a:lnTo>
                    <a:pt x="45943" y="2076"/>
                  </a:lnTo>
                  <a:lnTo>
                    <a:pt x="48018" y="2359"/>
                  </a:lnTo>
                  <a:lnTo>
                    <a:pt x="49622" y="2736"/>
                  </a:lnTo>
                  <a:lnTo>
                    <a:pt x="47641" y="1981"/>
                  </a:lnTo>
                  <a:lnTo>
                    <a:pt x="45282" y="1321"/>
                  </a:lnTo>
                  <a:lnTo>
                    <a:pt x="42735" y="755"/>
                  </a:lnTo>
                  <a:lnTo>
                    <a:pt x="40188" y="283"/>
                  </a:lnTo>
                  <a:lnTo>
                    <a:pt x="37735" y="95"/>
                  </a:lnTo>
                  <a:lnTo>
                    <a:pt x="35471" y="0"/>
                  </a:lnTo>
                  <a:close/>
                </a:path>
              </a:pathLst>
            </a:custGeom>
            <a:solidFill>
              <a:schemeClr val="bg1">
                <a:lumMod val="95000"/>
              </a:schemeClr>
            </a:solidFill>
            <a:ln w="0">
              <a:solidFill>
                <a:srgbClr val="0079D1"/>
              </a:solidFill>
            </a:ln>
          </p:spPr>
          <p:txBody>
            <a:bodyPr spcFirstLastPara="1" wrap="square" lIns="91425" tIns="91425" rIns="91425" bIns="91425" anchor="ctr" anchorCtr="0">
              <a:noAutofit/>
            </a:bodyPr>
            <a:lstStyle/>
            <a:p>
              <a:pPr marL="0" lvl="0" indent="0">
                <a:spcBef>
                  <a:spcPts val="0"/>
                </a:spcBef>
                <a:spcAft>
                  <a:spcPts val="0"/>
                </a:spcAft>
                <a:buNone/>
              </a:pPr>
              <a:endParaRPr sz="1400"/>
            </a:p>
          </p:txBody>
        </p:sp>
        <p:sp>
          <p:nvSpPr>
            <p:cNvPr id="631" name="TextBox 630">
              <a:extLst>
                <a:ext uri="{FF2B5EF4-FFF2-40B4-BE49-F238E27FC236}">
                  <a16:creationId xmlns:a16="http://schemas.microsoft.com/office/drawing/2014/main" id="{060885DE-3387-724E-929E-D6DD1BD57850}"/>
                </a:ext>
              </a:extLst>
            </p:cNvPr>
            <p:cNvSpPr txBox="1"/>
            <p:nvPr/>
          </p:nvSpPr>
          <p:spPr>
            <a:xfrm>
              <a:off x="8676898" y="4619460"/>
              <a:ext cx="229951" cy="215444"/>
            </a:xfrm>
            <a:prstGeom prst="rect">
              <a:avLst/>
            </a:prstGeom>
            <a:noFill/>
          </p:spPr>
          <p:txBody>
            <a:bodyPr wrap="square" rtlCol="0">
              <a:spAutoFit/>
            </a:bodyPr>
            <a:lstStyle/>
            <a:p>
              <a:r>
                <a:rPr lang="en-US" sz="800" b="1" dirty="0">
                  <a:solidFill>
                    <a:srgbClr val="0079D1"/>
                  </a:solidFill>
                </a:rPr>
                <a:t>A</a:t>
              </a:r>
            </a:p>
          </p:txBody>
        </p:sp>
      </p:grpSp>
      <p:sp>
        <p:nvSpPr>
          <p:cNvPr id="632" name="TextBox 631">
            <a:extLst>
              <a:ext uri="{FF2B5EF4-FFF2-40B4-BE49-F238E27FC236}">
                <a16:creationId xmlns:a16="http://schemas.microsoft.com/office/drawing/2014/main" id="{7D2CC6F8-B1FA-C94C-868A-B82E27EEAA36}"/>
              </a:ext>
            </a:extLst>
          </p:cNvPr>
          <p:cNvSpPr txBox="1"/>
          <p:nvPr/>
        </p:nvSpPr>
        <p:spPr>
          <a:xfrm>
            <a:off x="358470" y="4238068"/>
            <a:ext cx="1776287" cy="304868"/>
          </a:xfrm>
          <a:prstGeom prst="rect">
            <a:avLst/>
          </a:prstGeom>
          <a:noFill/>
        </p:spPr>
        <p:txBody>
          <a:bodyPr wrap="square" tIns="90000" bIns="90000" rtlCol="0" anchor="t">
            <a:spAutoFit/>
          </a:bodyPr>
          <a:lstStyle>
            <a:defPPr>
              <a:defRPr lang="en-US"/>
            </a:defPPr>
            <a:lvl1pPr>
              <a:defRPr sz="700" b="1">
                <a:solidFill>
                  <a:srgbClr val="0079D1"/>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defRPr>
            </a:lvl1pPr>
          </a:lstStyle>
          <a:p>
            <a:r>
              <a:rPr lang="en-US" dirty="0"/>
              <a:t>Kafka Custom API Sink</a:t>
            </a:r>
          </a:p>
        </p:txBody>
      </p:sp>
      <p:grpSp>
        <p:nvGrpSpPr>
          <p:cNvPr id="633" name="Group 632">
            <a:extLst>
              <a:ext uri="{FF2B5EF4-FFF2-40B4-BE49-F238E27FC236}">
                <a16:creationId xmlns:a16="http://schemas.microsoft.com/office/drawing/2014/main" id="{ED20599A-1D17-A64B-AEA5-BAE2A6EB104D}"/>
              </a:ext>
            </a:extLst>
          </p:cNvPr>
          <p:cNvGrpSpPr/>
          <p:nvPr/>
        </p:nvGrpSpPr>
        <p:grpSpPr>
          <a:xfrm>
            <a:off x="154844" y="4306011"/>
            <a:ext cx="229951" cy="215444"/>
            <a:chOff x="8676898" y="4619460"/>
            <a:chExt cx="229951" cy="215444"/>
          </a:xfrm>
        </p:grpSpPr>
        <p:sp>
          <p:nvSpPr>
            <p:cNvPr id="634" name="Google Shape;431;p39">
              <a:extLst>
                <a:ext uri="{FF2B5EF4-FFF2-40B4-BE49-F238E27FC236}">
                  <a16:creationId xmlns:a16="http://schemas.microsoft.com/office/drawing/2014/main" id="{1C27599E-998F-5B47-85D5-4FA6FDC3964B}"/>
                </a:ext>
              </a:extLst>
            </p:cNvPr>
            <p:cNvSpPr/>
            <p:nvPr/>
          </p:nvSpPr>
          <p:spPr>
            <a:xfrm>
              <a:off x="8709950" y="4635551"/>
              <a:ext cx="179407" cy="167874"/>
            </a:xfrm>
            <a:custGeom>
              <a:avLst/>
              <a:gdLst/>
              <a:ahLst/>
              <a:cxnLst/>
              <a:rect l="0" t="0" r="0" b="0"/>
              <a:pathLst>
                <a:path w="67641" h="69056" extrusionOk="0">
                  <a:moveTo>
                    <a:pt x="49622" y="2736"/>
                  </a:moveTo>
                  <a:lnTo>
                    <a:pt x="49622" y="2736"/>
                  </a:lnTo>
                  <a:lnTo>
                    <a:pt x="49622" y="2736"/>
                  </a:lnTo>
                  <a:close/>
                  <a:moveTo>
                    <a:pt x="59622" y="55565"/>
                  </a:moveTo>
                  <a:lnTo>
                    <a:pt x="59622" y="55565"/>
                  </a:lnTo>
                  <a:lnTo>
                    <a:pt x="59622" y="55565"/>
                  </a:lnTo>
                  <a:close/>
                  <a:moveTo>
                    <a:pt x="35471" y="0"/>
                  </a:moveTo>
                  <a:lnTo>
                    <a:pt x="34433" y="95"/>
                  </a:lnTo>
                  <a:lnTo>
                    <a:pt x="33584" y="189"/>
                  </a:lnTo>
                  <a:lnTo>
                    <a:pt x="32735" y="378"/>
                  </a:lnTo>
                  <a:lnTo>
                    <a:pt x="32169" y="566"/>
                  </a:lnTo>
                  <a:lnTo>
                    <a:pt x="31509" y="472"/>
                  </a:lnTo>
                  <a:lnTo>
                    <a:pt x="30754" y="472"/>
                  </a:lnTo>
                  <a:lnTo>
                    <a:pt x="29339" y="566"/>
                  </a:lnTo>
                  <a:lnTo>
                    <a:pt x="27830" y="849"/>
                  </a:lnTo>
                  <a:lnTo>
                    <a:pt x="26320" y="1321"/>
                  </a:lnTo>
                  <a:lnTo>
                    <a:pt x="24811" y="1981"/>
                  </a:lnTo>
                  <a:lnTo>
                    <a:pt x="23207" y="2736"/>
                  </a:lnTo>
                  <a:lnTo>
                    <a:pt x="21698" y="3585"/>
                  </a:lnTo>
                  <a:lnTo>
                    <a:pt x="20188" y="4623"/>
                  </a:lnTo>
                  <a:lnTo>
                    <a:pt x="18679" y="5661"/>
                  </a:lnTo>
                  <a:lnTo>
                    <a:pt x="17170" y="6793"/>
                  </a:lnTo>
                  <a:lnTo>
                    <a:pt x="15754" y="8019"/>
                  </a:lnTo>
                  <a:lnTo>
                    <a:pt x="14434" y="9151"/>
                  </a:lnTo>
                  <a:lnTo>
                    <a:pt x="11981" y="11510"/>
                  </a:lnTo>
                  <a:lnTo>
                    <a:pt x="10000" y="13774"/>
                  </a:lnTo>
                  <a:lnTo>
                    <a:pt x="7736" y="16981"/>
                  </a:lnTo>
                  <a:lnTo>
                    <a:pt x="8019" y="16321"/>
                  </a:lnTo>
                  <a:lnTo>
                    <a:pt x="8302" y="15660"/>
                  </a:lnTo>
                  <a:lnTo>
                    <a:pt x="7736" y="16604"/>
                  </a:lnTo>
                  <a:lnTo>
                    <a:pt x="7075" y="17642"/>
                  </a:lnTo>
                  <a:lnTo>
                    <a:pt x="7170" y="17830"/>
                  </a:lnTo>
                  <a:lnTo>
                    <a:pt x="6509" y="18868"/>
                  </a:lnTo>
                  <a:lnTo>
                    <a:pt x="7075" y="17359"/>
                  </a:lnTo>
                  <a:lnTo>
                    <a:pt x="6132" y="19057"/>
                  </a:lnTo>
                  <a:lnTo>
                    <a:pt x="5189" y="20849"/>
                  </a:lnTo>
                  <a:lnTo>
                    <a:pt x="4434" y="22736"/>
                  </a:lnTo>
                  <a:lnTo>
                    <a:pt x="3679" y="24622"/>
                  </a:lnTo>
                  <a:lnTo>
                    <a:pt x="2453" y="28490"/>
                  </a:lnTo>
                  <a:lnTo>
                    <a:pt x="1321" y="32169"/>
                  </a:lnTo>
                  <a:lnTo>
                    <a:pt x="1509" y="32264"/>
                  </a:lnTo>
                  <a:lnTo>
                    <a:pt x="1604" y="32453"/>
                  </a:lnTo>
                  <a:lnTo>
                    <a:pt x="1604" y="32641"/>
                  </a:lnTo>
                  <a:lnTo>
                    <a:pt x="1509" y="32924"/>
                  </a:lnTo>
                  <a:lnTo>
                    <a:pt x="1226" y="33396"/>
                  </a:lnTo>
                  <a:lnTo>
                    <a:pt x="1038" y="33585"/>
                  </a:lnTo>
                  <a:lnTo>
                    <a:pt x="1038" y="33773"/>
                  </a:lnTo>
                  <a:lnTo>
                    <a:pt x="1038" y="35000"/>
                  </a:lnTo>
                  <a:lnTo>
                    <a:pt x="849" y="36132"/>
                  </a:lnTo>
                  <a:lnTo>
                    <a:pt x="660" y="37358"/>
                  </a:lnTo>
                  <a:lnTo>
                    <a:pt x="472" y="38867"/>
                  </a:lnTo>
                  <a:lnTo>
                    <a:pt x="283" y="38301"/>
                  </a:lnTo>
                  <a:lnTo>
                    <a:pt x="94" y="39811"/>
                  </a:lnTo>
                  <a:lnTo>
                    <a:pt x="0" y="41509"/>
                  </a:lnTo>
                  <a:lnTo>
                    <a:pt x="94" y="43301"/>
                  </a:lnTo>
                  <a:lnTo>
                    <a:pt x="283" y="44056"/>
                  </a:lnTo>
                  <a:lnTo>
                    <a:pt x="472" y="44622"/>
                  </a:lnTo>
                  <a:lnTo>
                    <a:pt x="566" y="45660"/>
                  </a:lnTo>
                  <a:lnTo>
                    <a:pt x="755" y="46792"/>
                  </a:lnTo>
                  <a:lnTo>
                    <a:pt x="1226" y="48962"/>
                  </a:lnTo>
                  <a:lnTo>
                    <a:pt x="1981" y="51037"/>
                  </a:lnTo>
                  <a:lnTo>
                    <a:pt x="2924" y="53112"/>
                  </a:lnTo>
                  <a:lnTo>
                    <a:pt x="4057" y="55094"/>
                  </a:lnTo>
                  <a:lnTo>
                    <a:pt x="5283" y="56980"/>
                  </a:lnTo>
                  <a:lnTo>
                    <a:pt x="6698" y="58678"/>
                  </a:lnTo>
                  <a:lnTo>
                    <a:pt x="8113" y="60282"/>
                  </a:lnTo>
                  <a:lnTo>
                    <a:pt x="9056" y="61131"/>
                  </a:lnTo>
                  <a:lnTo>
                    <a:pt x="10000" y="61980"/>
                  </a:lnTo>
                  <a:lnTo>
                    <a:pt x="11038" y="62829"/>
                  </a:lnTo>
                  <a:lnTo>
                    <a:pt x="12075" y="63584"/>
                  </a:lnTo>
                  <a:lnTo>
                    <a:pt x="14339" y="64905"/>
                  </a:lnTo>
                  <a:lnTo>
                    <a:pt x="16604" y="66131"/>
                  </a:lnTo>
                  <a:lnTo>
                    <a:pt x="19056" y="67169"/>
                  </a:lnTo>
                  <a:lnTo>
                    <a:pt x="21509" y="67923"/>
                  </a:lnTo>
                  <a:lnTo>
                    <a:pt x="24056" y="68584"/>
                  </a:lnTo>
                  <a:lnTo>
                    <a:pt x="26603" y="69055"/>
                  </a:lnTo>
                  <a:lnTo>
                    <a:pt x="27830" y="69055"/>
                  </a:lnTo>
                  <a:lnTo>
                    <a:pt x="30188" y="68867"/>
                  </a:lnTo>
                  <a:lnTo>
                    <a:pt x="33113" y="68678"/>
                  </a:lnTo>
                  <a:lnTo>
                    <a:pt x="36509" y="68301"/>
                  </a:lnTo>
                  <a:lnTo>
                    <a:pt x="39811" y="67923"/>
                  </a:lnTo>
                  <a:lnTo>
                    <a:pt x="42735" y="67452"/>
                  </a:lnTo>
                  <a:lnTo>
                    <a:pt x="44905" y="66980"/>
                  </a:lnTo>
                  <a:lnTo>
                    <a:pt x="45565" y="66791"/>
                  </a:lnTo>
                  <a:lnTo>
                    <a:pt x="45943" y="66508"/>
                  </a:lnTo>
                  <a:lnTo>
                    <a:pt x="47358" y="65942"/>
                  </a:lnTo>
                  <a:lnTo>
                    <a:pt x="48018" y="65565"/>
                  </a:lnTo>
                  <a:lnTo>
                    <a:pt x="48678" y="65188"/>
                  </a:lnTo>
                  <a:lnTo>
                    <a:pt x="47924" y="65471"/>
                  </a:lnTo>
                  <a:lnTo>
                    <a:pt x="51509" y="62924"/>
                  </a:lnTo>
                  <a:lnTo>
                    <a:pt x="53301" y="61508"/>
                  </a:lnTo>
                  <a:lnTo>
                    <a:pt x="55093" y="59905"/>
                  </a:lnTo>
                  <a:lnTo>
                    <a:pt x="55093" y="59905"/>
                  </a:lnTo>
                  <a:lnTo>
                    <a:pt x="54810" y="60376"/>
                  </a:lnTo>
                  <a:lnTo>
                    <a:pt x="54339" y="60754"/>
                  </a:lnTo>
                  <a:lnTo>
                    <a:pt x="55376" y="59999"/>
                  </a:lnTo>
                  <a:lnTo>
                    <a:pt x="56320" y="59056"/>
                  </a:lnTo>
                  <a:lnTo>
                    <a:pt x="57075" y="58395"/>
                  </a:lnTo>
                  <a:lnTo>
                    <a:pt x="57169" y="58207"/>
                  </a:lnTo>
                  <a:lnTo>
                    <a:pt x="57075" y="58207"/>
                  </a:lnTo>
                  <a:lnTo>
                    <a:pt x="57924" y="57546"/>
                  </a:lnTo>
                  <a:lnTo>
                    <a:pt x="58678" y="56697"/>
                  </a:lnTo>
                  <a:lnTo>
                    <a:pt x="59339" y="55754"/>
                  </a:lnTo>
                  <a:lnTo>
                    <a:pt x="59905" y="54905"/>
                  </a:lnTo>
                  <a:lnTo>
                    <a:pt x="59716" y="54999"/>
                  </a:lnTo>
                  <a:lnTo>
                    <a:pt x="59622" y="54999"/>
                  </a:lnTo>
                  <a:lnTo>
                    <a:pt x="59810" y="54622"/>
                  </a:lnTo>
                  <a:lnTo>
                    <a:pt x="59150" y="55565"/>
                  </a:lnTo>
                  <a:lnTo>
                    <a:pt x="59527" y="55094"/>
                  </a:lnTo>
                  <a:lnTo>
                    <a:pt x="59433" y="55377"/>
                  </a:lnTo>
                  <a:lnTo>
                    <a:pt x="58867" y="56037"/>
                  </a:lnTo>
                  <a:lnTo>
                    <a:pt x="59056" y="55660"/>
                  </a:lnTo>
                  <a:lnTo>
                    <a:pt x="59056" y="55660"/>
                  </a:lnTo>
                  <a:lnTo>
                    <a:pt x="58678" y="56037"/>
                  </a:lnTo>
                  <a:lnTo>
                    <a:pt x="59810" y="54339"/>
                  </a:lnTo>
                  <a:lnTo>
                    <a:pt x="60282" y="53490"/>
                  </a:lnTo>
                  <a:lnTo>
                    <a:pt x="60282" y="53301"/>
                  </a:lnTo>
                  <a:lnTo>
                    <a:pt x="60188" y="53395"/>
                  </a:lnTo>
                  <a:lnTo>
                    <a:pt x="60188" y="53395"/>
                  </a:lnTo>
                  <a:lnTo>
                    <a:pt x="60565" y="52924"/>
                  </a:lnTo>
                  <a:lnTo>
                    <a:pt x="61037" y="52452"/>
                  </a:lnTo>
                  <a:lnTo>
                    <a:pt x="61886" y="51509"/>
                  </a:lnTo>
                  <a:lnTo>
                    <a:pt x="61508" y="52452"/>
                  </a:lnTo>
                  <a:lnTo>
                    <a:pt x="60848" y="53584"/>
                  </a:lnTo>
                  <a:lnTo>
                    <a:pt x="59622" y="55565"/>
                  </a:lnTo>
                  <a:lnTo>
                    <a:pt x="60376" y="54528"/>
                  </a:lnTo>
                  <a:lnTo>
                    <a:pt x="60942" y="53678"/>
                  </a:lnTo>
                  <a:lnTo>
                    <a:pt x="61980" y="51792"/>
                  </a:lnTo>
                  <a:lnTo>
                    <a:pt x="61886" y="51886"/>
                  </a:lnTo>
                  <a:lnTo>
                    <a:pt x="61886" y="51697"/>
                  </a:lnTo>
                  <a:lnTo>
                    <a:pt x="62169" y="51037"/>
                  </a:lnTo>
                  <a:lnTo>
                    <a:pt x="62735" y="49999"/>
                  </a:lnTo>
                  <a:lnTo>
                    <a:pt x="61508" y="51603"/>
                  </a:lnTo>
                  <a:lnTo>
                    <a:pt x="61603" y="51037"/>
                  </a:lnTo>
                  <a:lnTo>
                    <a:pt x="61697" y="50377"/>
                  </a:lnTo>
                  <a:lnTo>
                    <a:pt x="62169" y="48962"/>
                  </a:lnTo>
                  <a:lnTo>
                    <a:pt x="62829" y="47358"/>
                  </a:lnTo>
                  <a:lnTo>
                    <a:pt x="63678" y="45565"/>
                  </a:lnTo>
                  <a:lnTo>
                    <a:pt x="65376" y="42169"/>
                  </a:lnTo>
                  <a:lnTo>
                    <a:pt x="66131" y="40660"/>
                  </a:lnTo>
                  <a:lnTo>
                    <a:pt x="66697" y="39339"/>
                  </a:lnTo>
                  <a:lnTo>
                    <a:pt x="66603" y="39528"/>
                  </a:lnTo>
                  <a:lnTo>
                    <a:pt x="66697" y="39056"/>
                  </a:lnTo>
                  <a:lnTo>
                    <a:pt x="66791" y="38962"/>
                  </a:lnTo>
                  <a:lnTo>
                    <a:pt x="66791" y="39056"/>
                  </a:lnTo>
                  <a:lnTo>
                    <a:pt x="66886" y="38584"/>
                  </a:lnTo>
                  <a:lnTo>
                    <a:pt x="66791" y="38867"/>
                  </a:lnTo>
                  <a:lnTo>
                    <a:pt x="66980" y="38207"/>
                  </a:lnTo>
                  <a:lnTo>
                    <a:pt x="67169" y="37264"/>
                  </a:lnTo>
                  <a:lnTo>
                    <a:pt x="67263" y="36415"/>
                  </a:lnTo>
                  <a:lnTo>
                    <a:pt x="67357" y="36509"/>
                  </a:lnTo>
                  <a:lnTo>
                    <a:pt x="67452" y="36509"/>
                  </a:lnTo>
                  <a:lnTo>
                    <a:pt x="67546" y="35943"/>
                  </a:lnTo>
                  <a:lnTo>
                    <a:pt x="67546" y="34811"/>
                  </a:lnTo>
                  <a:lnTo>
                    <a:pt x="67640" y="31037"/>
                  </a:lnTo>
                  <a:lnTo>
                    <a:pt x="67640" y="28490"/>
                  </a:lnTo>
                  <a:lnTo>
                    <a:pt x="67546" y="27736"/>
                  </a:lnTo>
                  <a:lnTo>
                    <a:pt x="67546" y="27547"/>
                  </a:lnTo>
                  <a:lnTo>
                    <a:pt x="67452" y="27547"/>
                  </a:lnTo>
                  <a:lnTo>
                    <a:pt x="67074" y="26792"/>
                  </a:lnTo>
                  <a:lnTo>
                    <a:pt x="66791" y="25660"/>
                  </a:lnTo>
                  <a:lnTo>
                    <a:pt x="66508" y="24528"/>
                  </a:lnTo>
                  <a:lnTo>
                    <a:pt x="66414" y="23585"/>
                  </a:lnTo>
                  <a:lnTo>
                    <a:pt x="66320" y="23679"/>
                  </a:lnTo>
                  <a:lnTo>
                    <a:pt x="66320" y="23490"/>
                  </a:lnTo>
                  <a:lnTo>
                    <a:pt x="65942" y="22924"/>
                  </a:lnTo>
                  <a:lnTo>
                    <a:pt x="65565" y="22358"/>
                  </a:lnTo>
                  <a:lnTo>
                    <a:pt x="64527" y="21132"/>
                  </a:lnTo>
                  <a:lnTo>
                    <a:pt x="63584" y="19906"/>
                  </a:lnTo>
                  <a:lnTo>
                    <a:pt x="63207" y="19340"/>
                  </a:lnTo>
                  <a:lnTo>
                    <a:pt x="63018" y="18774"/>
                  </a:lnTo>
                  <a:lnTo>
                    <a:pt x="63112" y="18962"/>
                  </a:lnTo>
                  <a:lnTo>
                    <a:pt x="63301" y="19057"/>
                  </a:lnTo>
                  <a:lnTo>
                    <a:pt x="63301" y="19057"/>
                  </a:lnTo>
                  <a:lnTo>
                    <a:pt x="63207" y="18868"/>
                  </a:lnTo>
                  <a:lnTo>
                    <a:pt x="62923" y="18491"/>
                  </a:lnTo>
                  <a:lnTo>
                    <a:pt x="61980" y="17453"/>
                  </a:lnTo>
                  <a:lnTo>
                    <a:pt x="61037" y="16509"/>
                  </a:lnTo>
                  <a:lnTo>
                    <a:pt x="61037" y="16698"/>
                  </a:lnTo>
                  <a:lnTo>
                    <a:pt x="61037" y="16887"/>
                  </a:lnTo>
                  <a:lnTo>
                    <a:pt x="60093" y="15943"/>
                  </a:lnTo>
                  <a:lnTo>
                    <a:pt x="60376" y="16321"/>
                  </a:lnTo>
                  <a:lnTo>
                    <a:pt x="59527" y="15377"/>
                  </a:lnTo>
                  <a:lnTo>
                    <a:pt x="59056" y="14906"/>
                  </a:lnTo>
                  <a:lnTo>
                    <a:pt x="59244" y="14906"/>
                  </a:lnTo>
                  <a:lnTo>
                    <a:pt x="59905" y="15472"/>
                  </a:lnTo>
                  <a:lnTo>
                    <a:pt x="59905" y="15472"/>
                  </a:lnTo>
                  <a:lnTo>
                    <a:pt x="57641" y="13396"/>
                  </a:lnTo>
                  <a:lnTo>
                    <a:pt x="58112" y="13868"/>
                  </a:lnTo>
                  <a:lnTo>
                    <a:pt x="56886" y="13019"/>
                  </a:lnTo>
                  <a:lnTo>
                    <a:pt x="55754" y="12453"/>
                  </a:lnTo>
                  <a:lnTo>
                    <a:pt x="56603" y="13113"/>
                  </a:lnTo>
                  <a:lnTo>
                    <a:pt x="57452" y="13774"/>
                  </a:lnTo>
                  <a:lnTo>
                    <a:pt x="58961" y="15283"/>
                  </a:lnTo>
                  <a:lnTo>
                    <a:pt x="60376" y="16604"/>
                  </a:lnTo>
                  <a:lnTo>
                    <a:pt x="61225" y="17264"/>
                  </a:lnTo>
                  <a:lnTo>
                    <a:pt x="62074" y="17925"/>
                  </a:lnTo>
                  <a:lnTo>
                    <a:pt x="62074" y="17925"/>
                  </a:lnTo>
                  <a:lnTo>
                    <a:pt x="61414" y="17547"/>
                  </a:lnTo>
                  <a:lnTo>
                    <a:pt x="60659" y="16981"/>
                  </a:lnTo>
                  <a:lnTo>
                    <a:pt x="60754" y="17264"/>
                  </a:lnTo>
                  <a:lnTo>
                    <a:pt x="60942" y="17642"/>
                  </a:lnTo>
                  <a:lnTo>
                    <a:pt x="61980" y="19151"/>
                  </a:lnTo>
                  <a:lnTo>
                    <a:pt x="63301" y="20943"/>
                  </a:lnTo>
                  <a:lnTo>
                    <a:pt x="63207" y="20943"/>
                  </a:lnTo>
                  <a:lnTo>
                    <a:pt x="63395" y="21038"/>
                  </a:lnTo>
                  <a:lnTo>
                    <a:pt x="63490" y="21321"/>
                  </a:lnTo>
                  <a:lnTo>
                    <a:pt x="63678" y="21604"/>
                  </a:lnTo>
                  <a:lnTo>
                    <a:pt x="63773" y="21698"/>
                  </a:lnTo>
                  <a:lnTo>
                    <a:pt x="63584" y="21321"/>
                  </a:lnTo>
                  <a:lnTo>
                    <a:pt x="63584" y="21321"/>
                  </a:lnTo>
                  <a:lnTo>
                    <a:pt x="64244" y="22170"/>
                  </a:lnTo>
                  <a:lnTo>
                    <a:pt x="64716" y="22641"/>
                  </a:lnTo>
                  <a:lnTo>
                    <a:pt x="64905" y="22830"/>
                  </a:lnTo>
                  <a:lnTo>
                    <a:pt x="64999" y="22830"/>
                  </a:lnTo>
                  <a:lnTo>
                    <a:pt x="64999" y="22641"/>
                  </a:lnTo>
                  <a:lnTo>
                    <a:pt x="64905" y="22358"/>
                  </a:lnTo>
                  <a:lnTo>
                    <a:pt x="65282" y="23207"/>
                  </a:lnTo>
                  <a:lnTo>
                    <a:pt x="65565" y="24056"/>
                  </a:lnTo>
                  <a:lnTo>
                    <a:pt x="66225" y="25943"/>
                  </a:lnTo>
                  <a:lnTo>
                    <a:pt x="66697" y="27830"/>
                  </a:lnTo>
                  <a:lnTo>
                    <a:pt x="66886" y="28490"/>
                  </a:lnTo>
                  <a:lnTo>
                    <a:pt x="66980" y="28868"/>
                  </a:lnTo>
                  <a:lnTo>
                    <a:pt x="66886" y="28962"/>
                  </a:lnTo>
                  <a:lnTo>
                    <a:pt x="66697" y="28679"/>
                  </a:lnTo>
                  <a:lnTo>
                    <a:pt x="66697" y="29245"/>
                  </a:lnTo>
                  <a:lnTo>
                    <a:pt x="66791" y="29905"/>
                  </a:lnTo>
                  <a:lnTo>
                    <a:pt x="66886" y="29905"/>
                  </a:lnTo>
                  <a:lnTo>
                    <a:pt x="66886" y="30094"/>
                  </a:lnTo>
                  <a:lnTo>
                    <a:pt x="66886" y="30566"/>
                  </a:lnTo>
                  <a:lnTo>
                    <a:pt x="66697" y="30377"/>
                  </a:lnTo>
                  <a:lnTo>
                    <a:pt x="66603" y="30188"/>
                  </a:lnTo>
                  <a:lnTo>
                    <a:pt x="66603" y="30094"/>
                  </a:lnTo>
                  <a:lnTo>
                    <a:pt x="66697" y="29905"/>
                  </a:lnTo>
                  <a:lnTo>
                    <a:pt x="66508" y="28679"/>
                  </a:lnTo>
                  <a:lnTo>
                    <a:pt x="66225" y="27358"/>
                  </a:lnTo>
                  <a:lnTo>
                    <a:pt x="66603" y="30283"/>
                  </a:lnTo>
                  <a:lnTo>
                    <a:pt x="66697" y="31792"/>
                  </a:lnTo>
                  <a:lnTo>
                    <a:pt x="66697" y="33302"/>
                  </a:lnTo>
                  <a:lnTo>
                    <a:pt x="66603" y="34717"/>
                  </a:lnTo>
                  <a:lnTo>
                    <a:pt x="66414" y="36226"/>
                  </a:lnTo>
                  <a:lnTo>
                    <a:pt x="66131" y="37547"/>
                  </a:lnTo>
                  <a:lnTo>
                    <a:pt x="65659" y="38962"/>
                  </a:lnTo>
                  <a:lnTo>
                    <a:pt x="65848" y="38584"/>
                  </a:lnTo>
                  <a:lnTo>
                    <a:pt x="65942" y="38584"/>
                  </a:lnTo>
                  <a:lnTo>
                    <a:pt x="65848" y="39245"/>
                  </a:lnTo>
                  <a:lnTo>
                    <a:pt x="65565" y="40188"/>
                  </a:lnTo>
                  <a:lnTo>
                    <a:pt x="65471" y="40471"/>
                  </a:lnTo>
                  <a:lnTo>
                    <a:pt x="65282" y="40660"/>
                  </a:lnTo>
                  <a:lnTo>
                    <a:pt x="65282" y="40566"/>
                  </a:lnTo>
                  <a:lnTo>
                    <a:pt x="65093" y="41132"/>
                  </a:lnTo>
                  <a:lnTo>
                    <a:pt x="64433" y="43018"/>
                  </a:lnTo>
                  <a:lnTo>
                    <a:pt x="63678" y="45282"/>
                  </a:lnTo>
                  <a:lnTo>
                    <a:pt x="62735" y="47264"/>
                  </a:lnTo>
                  <a:lnTo>
                    <a:pt x="61697" y="49056"/>
                  </a:lnTo>
                  <a:lnTo>
                    <a:pt x="60659" y="50943"/>
                  </a:lnTo>
                  <a:lnTo>
                    <a:pt x="59433" y="52735"/>
                  </a:lnTo>
                  <a:lnTo>
                    <a:pt x="58207" y="54433"/>
                  </a:lnTo>
                  <a:lnTo>
                    <a:pt x="56886" y="56037"/>
                  </a:lnTo>
                  <a:lnTo>
                    <a:pt x="55376" y="57641"/>
                  </a:lnTo>
                  <a:lnTo>
                    <a:pt x="53867" y="59150"/>
                  </a:lnTo>
                  <a:lnTo>
                    <a:pt x="52169" y="60376"/>
                  </a:lnTo>
                  <a:lnTo>
                    <a:pt x="48961" y="62452"/>
                  </a:lnTo>
                  <a:lnTo>
                    <a:pt x="44528" y="65282"/>
                  </a:lnTo>
                  <a:lnTo>
                    <a:pt x="44622" y="65188"/>
                  </a:lnTo>
                  <a:lnTo>
                    <a:pt x="44716" y="65093"/>
                  </a:lnTo>
                  <a:lnTo>
                    <a:pt x="45094" y="64810"/>
                  </a:lnTo>
                  <a:lnTo>
                    <a:pt x="45660" y="64527"/>
                  </a:lnTo>
                  <a:lnTo>
                    <a:pt x="43867" y="65376"/>
                  </a:lnTo>
                  <a:lnTo>
                    <a:pt x="43113" y="65754"/>
                  </a:lnTo>
                  <a:lnTo>
                    <a:pt x="42924" y="65754"/>
                  </a:lnTo>
                  <a:lnTo>
                    <a:pt x="43113" y="65659"/>
                  </a:lnTo>
                  <a:lnTo>
                    <a:pt x="41603" y="66037"/>
                  </a:lnTo>
                  <a:lnTo>
                    <a:pt x="39999" y="66320"/>
                  </a:lnTo>
                  <a:lnTo>
                    <a:pt x="38396" y="66508"/>
                  </a:lnTo>
                  <a:lnTo>
                    <a:pt x="36792" y="66697"/>
                  </a:lnTo>
                  <a:lnTo>
                    <a:pt x="33584" y="66980"/>
                  </a:lnTo>
                  <a:lnTo>
                    <a:pt x="32169" y="67169"/>
                  </a:lnTo>
                  <a:lnTo>
                    <a:pt x="30754" y="67357"/>
                  </a:lnTo>
                  <a:lnTo>
                    <a:pt x="30094" y="67357"/>
                  </a:lnTo>
                  <a:lnTo>
                    <a:pt x="29339" y="67263"/>
                  </a:lnTo>
                  <a:lnTo>
                    <a:pt x="27830" y="66886"/>
                  </a:lnTo>
                  <a:lnTo>
                    <a:pt x="26415" y="66508"/>
                  </a:lnTo>
                  <a:lnTo>
                    <a:pt x="25754" y="66414"/>
                  </a:lnTo>
                  <a:lnTo>
                    <a:pt x="25094" y="66414"/>
                  </a:lnTo>
                  <a:lnTo>
                    <a:pt x="25566" y="66980"/>
                  </a:lnTo>
                  <a:lnTo>
                    <a:pt x="25471" y="67074"/>
                  </a:lnTo>
                  <a:lnTo>
                    <a:pt x="25188" y="66980"/>
                  </a:lnTo>
                  <a:lnTo>
                    <a:pt x="24339" y="66791"/>
                  </a:lnTo>
                  <a:lnTo>
                    <a:pt x="23773" y="66508"/>
                  </a:lnTo>
                  <a:lnTo>
                    <a:pt x="24245" y="66414"/>
                  </a:lnTo>
                  <a:lnTo>
                    <a:pt x="24717" y="66603"/>
                  </a:lnTo>
                  <a:lnTo>
                    <a:pt x="24811" y="66414"/>
                  </a:lnTo>
                  <a:lnTo>
                    <a:pt x="24811" y="66320"/>
                  </a:lnTo>
                  <a:lnTo>
                    <a:pt x="24717" y="66225"/>
                  </a:lnTo>
                  <a:lnTo>
                    <a:pt x="24528" y="66131"/>
                  </a:lnTo>
                  <a:lnTo>
                    <a:pt x="24151" y="66225"/>
                  </a:lnTo>
                  <a:lnTo>
                    <a:pt x="23679" y="66320"/>
                  </a:lnTo>
                  <a:lnTo>
                    <a:pt x="23018" y="66414"/>
                  </a:lnTo>
                  <a:lnTo>
                    <a:pt x="23490" y="66225"/>
                  </a:lnTo>
                  <a:lnTo>
                    <a:pt x="22075" y="65942"/>
                  </a:lnTo>
                  <a:lnTo>
                    <a:pt x="20943" y="65659"/>
                  </a:lnTo>
                  <a:lnTo>
                    <a:pt x="20000" y="65282"/>
                  </a:lnTo>
                  <a:lnTo>
                    <a:pt x="19056" y="64810"/>
                  </a:lnTo>
                  <a:lnTo>
                    <a:pt x="19056" y="64810"/>
                  </a:lnTo>
                  <a:lnTo>
                    <a:pt x="19717" y="64999"/>
                  </a:lnTo>
                  <a:lnTo>
                    <a:pt x="19151" y="64716"/>
                  </a:lnTo>
                  <a:lnTo>
                    <a:pt x="18962" y="64810"/>
                  </a:lnTo>
                  <a:lnTo>
                    <a:pt x="19151" y="64905"/>
                  </a:lnTo>
                  <a:lnTo>
                    <a:pt x="18490" y="64905"/>
                  </a:lnTo>
                  <a:lnTo>
                    <a:pt x="17830" y="64716"/>
                  </a:lnTo>
                  <a:lnTo>
                    <a:pt x="17264" y="64527"/>
                  </a:lnTo>
                  <a:lnTo>
                    <a:pt x="16698" y="64150"/>
                  </a:lnTo>
                  <a:lnTo>
                    <a:pt x="16981" y="64056"/>
                  </a:lnTo>
                  <a:lnTo>
                    <a:pt x="17264" y="64150"/>
                  </a:lnTo>
                  <a:lnTo>
                    <a:pt x="17264" y="64150"/>
                  </a:lnTo>
                  <a:lnTo>
                    <a:pt x="15188" y="63207"/>
                  </a:lnTo>
                  <a:lnTo>
                    <a:pt x="14622" y="62829"/>
                  </a:lnTo>
                  <a:lnTo>
                    <a:pt x="14717" y="62924"/>
                  </a:lnTo>
                  <a:lnTo>
                    <a:pt x="13773" y="62546"/>
                  </a:lnTo>
                  <a:lnTo>
                    <a:pt x="12924" y="62075"/>
                  </a:lnTo>
                  <a:lnTo>
                    <a:pt x="12358" y="61697"/>
                  </a:lnTo>
                  <a:lnTo>
                    <a:pt x="12264" y="61508"/>
                  </a:lnTo>
                  <a:lnTo>
                    <a:pt x="12170" y="61320"/>
                  </a:lnTo>
                  <a:lnTo>
                    <a:pt x="11698" y="60942"/>
                  </a:lnTo>
                  <a:lnTo>
                    <a:pt x="11132" y="60471"/>
                  </a:lnTo>
                  <a:lnTo>
                    <a:pt x="9906" y="59244"/>
                  </a:lnTo>
                  <a:lnTo>
                    <a:pt x="9906" y="59244"/>
                  </a:lnTo>
                  <a:lnTo>
                    <a:pt x="10566" y="59527"/>
                  </a:lnTo>
                  <a:lnTo>
                    <a:pt x="9434" y="58584"/>
                  </a:lnTo>
                  <a:lnTo>
                    <a:pt x="8207" y="57546"/>
                  </a:lnTo>
                  <a:lnTo>
                    <a:pt x="7547" y="56886"/>
                  </a:lnTo>
                  <a:lnTo>
                    <a:pt x="6981" y="56131"/>
                  </a:lnTo>
                  <a:lnTo>
                    <a:pt x="6226" y="55094"/>
                  </a:lnTo>
                  <a:lnTo>
                    <a:pt x="6415" y="55377"/>
                  </a:lnTo>
                  <a:lnTo>
                    <a:pt x="6038" y="54905"/>
                  </a:lnTo>
                  <a:lnTo>
                    <a:pt x="5472" y="54244"/>
                  </a:lnTo>
                  <a:lnTo>
                    <a:pt x="5283" y="53961"/>
                  </a:lnTo>
                  <a:lnTo>
                    <a:pt x="5094" y="53867"/>
                  </a:lnTo>
                  <a:lnTo>
                    <a:pt x="5377" y="54622"/>
                  </a:lnTo>
                  <a:lnTo>
                    <a:pt x="5849" y="55282"/>
                  </a:lnTo>
                  <a:lnTo>
                    <a:pt x="6321" y="55943"/>
                  </a:lnTo>
                  <a:lnTo>
                    <a:pt x="6698" y="56603"/>
                  </a:lnTo>
                  <a:lnTo>
                    <a:pt x="6226" y="56226"/>
                  </a:lnTo>
                  <a:lnTo>
                    <a:pt x="5943" y="55848"/>
                  </a:lnTo>
                  <a:lnTo>
                    <a:pt x="6038" y="56037"/>
                  </a:lnTo>
                  <a:lnTo>
                    <a:pt x="5943" y="55943"/>
                  </a:lnTo>
                  <a:lnTo>
                    <a:pt x="5377" y="55188"/>
                  </a:lnTo>
                  <a:lnTo>
                    <a:pt x="5000" y="54716"/>
                  </a:lnTo>
                  <a:lnTo>
                    <a:pt x="4717" y="54150"/>
                  </a:lnTo>
                  <a:lnTo>
                    <a:pt x="4528" y="53678"/>
                  </a:lnTo>
                  <a:lnTo>
                    <a:pt x="4528" y="53584"/>
                  </a:lnTo>
                  <a:lnTo>
                    <a:pt x="4623" y="53395"/>
                  </a:lnTo>
                  <a:lnTo>
                    <a:pt x="5094" y="54244"/>
                  </a:lnTo>
                  <a:lnTo>
                    <a:pt x="4717" y="53301"/>
                  </a:lnTo>
                  <a:lnTo>
                    <a:pt x="4528" y="53018"/>
                  </a:lnTo>
                  <a:lnTo>
                    <a:pt x="4151" y="52263"/>
                  </a:lnTo>
                  <a:lnTo>
                    <a:pt x="4151" y="52169"/>
                  </a:lnTo>
                  <a:lnTo>
                    <a:pt x="3774" y="51509"/>
                  </a:lnTo>
                  <a:lnTo>
                    <a:pt x="3396" y="50660"/>
                  </a:lnTo>
                  <a:lnTo>
                    <a:pt x="3585" y="51603"/>
                  </a:lnTo>
                  <a:lnTo>
                    <a:pt x="3396" y="51226"/>
                  </a:lnTo>
                  <a:lnTo>
                    <a:pt x="3208" y="50848"/>
                  </a:lnTo>
                  <a:lnTo>
                    <a:pt x="3208" y="50471"/>
                  </a:lnTo>
                  <a:lnTo>
                    <a:pt x="3208" y="50094"/>
                  </a:lnTo>
                  <a:lnTo>
                    <a:pt x="3585" y="50754"/>
                  </a:lnTo>
                  <a:lnTo>
                    <a:pt x="3868" y="51509"/>
                  </a:lnTo>
                  <a:lnTo>
                    <a:pt x="3868" y="51509"/>
                  </a:lnTo>
                  <a:lnTo>
                    <a:pt x="3208" y="49528"/>
                  </a:lnTo>
                  <a:lnTo>
                    <a:pt x="3208" y="49528"/>
                  </a:lnTo>
                  <a:lnTo>
                    <a:pt x="3868" y="50754"/>
                  </a:lnTo>
                  <a:lnTo>
                    <a:pt x="3208" y="48962"/>
                  </a:lnTo>
                  <a:lnTo>
                    <a:pt x="3585" y="49339"/>
                  </a:lnTo>
                  <a:lnTo>
                    <a:pt x="3774" y="49433"/>
                  </a:lnTo>
                  <a:lnTo>
                    <a:pt x="3962" y="49528"/>
                  </a:lnTo>
                  <a:lnTo>
                    <a:pt x="4057" y="49905"/>
                  </a:lnTo>
                  <a:lnTo>
                    <a:pt x="3868" y="48962"/>
                  </a:lnTo>
                  <a:lnTo>
                    <a:pt x="3491" y="47924"/>
                  </a:lnTo>
                  <a:lnTo>
                    <a:pt x="2641" y="45565"/>
                  </a:lnTo>
                  <a:lnTo>
                    <a:pt x="2170" y="43867"/>
                  </a:lnTo>
                  <a:lnTo>
                    <a:pt x="1698" y="41886"/>
                  </a:lnTo>
                  <a:lnTo>
                    <a:pt x="1698" y="41886"/>
                  </a:lnTo>
                  <a:lnTo>
                    <a:pt x="1887" y="42075"/>
                  </a:lnTo>
                  <a:lnTo>
                    <a:pt x="1981" y="41981"/>
                  </a:lnTo>
                  <a:lnTo>
                    <a:pt x="2075" y="42075"/>
                  </a:lnTo>
                  <a:lnTo>
                    <a:pt x="2264" y="42169"/>
                  </a:lnTo>
                  <a:lnTo>
                    <a:pt x="2170" y="40283"/>
                  </a:lnTo>
                  <a:lnTo>
                    <a:pt x="2075" y="38301"/>
                  </a:lnTo>
                  <a:lnTo>
                    <a:pt x="2170" y="36415"/>
                  </a:lnTo>
                  <a:lnTo>
                    <a:pt x="2358" y="35566"/>
                  </a:lnTo>
                  <a:lnTo>
                    <a:pt x="2453" y="34811"/>
                  </a:lnTo>
                  <a:lnTo>
                    <a:pt x="2830" y="32830"/>
                  </a:lnTo>
                  <a:lnTo>
                    <a:pt x="2830" y="33207"/>
                  </a:lnTo>
                  <a:lnTo>
                    <a:pt x="2924" y="33490"/>
                  </a:lnTo>
                  <a:lnTo>
                    <a:pt x="2924" y="32453"/>
                  </a:lnTo>
                  <a:lnTo>
                    <a:pt x="3019" y="31415"/>
                  </a:lnTo>
                  <a:lnTo>
                    <a:pt x="3396" y="29245"/>
                  </a:lnTo>
                  <a:lnTo>
                    <a:pt x="3868" y="27075"/>
                  </a:lnTo>
                  <a:lnTo>
                    <a:pt x="4623" y="25000"/>
                  </a:lnTo>
                  <a:lnTo>
                    <a:pt x="5566" y="22830"/>
                  </a:lnTo>
                  <a:lnTo>
                    <a:pt x="6604" y="20849"/>
                  </a:lnTo>
                  <a:lnTo>
                    <a:pt x="7830" y="18868"/>
                  </a:lnTo>
                  <a:lnTo>
                    <a:pt x="9151" y="16887"/>
                  </a:lnTo>
                  <a:lnTo>
                    <a:pt x="10566" y="15094"/>
                  </a:lnTo>
                  <a:lnTo>
                    <a:pt x="12075" y="13302"/>
                  </a:lnTo>
                  <a:lnTo>
                    <a:pt x="13773" y="11698"/>
                  </a:lnTo>
                  <a:lnTo>
                    <a:pt x="15377" y="10095"/>
                  </a:lnTo>
                  <a:lnTo>
                    <a:pt x="17170" y="8679"/>
                  </a:lnTo>
                  <a:lnTo>
                    <a:pt x="18962" y="7453"/>
                  </a:lnTo>
                  <a:lnTo>
                    <a:pt x="20754" y="6321"/>
                  </a:lnTo>
                  <a:lnTo>
                    <a:pt x="22547" y="5378"/>
                  </a:lnTo>
                  <a:lnTo>
                    <a:pt x="21603" y="6227"/>
                  </a:lnTo>
                  <a:lnTo>
                    <a:pt x="22641" y="5472"/>
                  </a:lnTo>
                  <a:lnTo>
                    <a:pt x="23302" y="5095"/>
                  </a:lnTo>
                  <a:lnTo>
                    <a:pt x="25377" y="4151"/>
                  </a:lnTo>
                  <a:lnTo>
                    <a:pt x="24811" y="4151"/>
                  </a:lnTo>
                  <a:lnTo>
                    <a:pt x="25660" y="3774"/>
                  </a:lnTo>
                  <a:lnTo>
                    <a:pt x="26886" y="3208"/>
                  </a:lnTo>
                  <a:lnTo>
                    <a:pt x="26603" y="3585"/>
                  </a:lnTo>
                  <a:lnTo>
                    <a:pt x="26886" y="3585"/>
                  </a:lnTo>
                  <a:lnTo>
                    <a:pt x="26886" y="3680"/>
                  </a:lnTo>
                  <a:lnTo>
                    <a:pt x="26792" y="3774"/>
                  </a:lnTo>
                  <a:lnTo>
                    <a:pt x="28301" y="3302"/>
                  </a:lnTo>
                  <a:lnTo>
                    <a:pt x="29622" y="2736"/>
                  </a:lnTo>
                  <a:lnTo>
                    <a:pt x="31037" y="2264"/>
                  </a:lnTo>
                  <a:lnTo>
                    <a:pt x="31792" y="2076"/>
                  </a:lnTo>
                  <a:lnTo>
                    <a:pt x="32641" y="1981"/>
                  </a:lnTo>
                  <a:lnTo>
                    <a:pt x="32547" y="2076"/>
                  </a:lnTo>
                  <a:lnTo>
                    <a:pt x="32924" y="1981"/>
                  </a:lnTo>
                  <a:lnTo>
                    <a:pt x="34245" y="1793"/>
                  </a:lnTo>
                  <a:lnTo>
                    <a:pt x="35848" y="1415"/>
                  </a:lnTo>
                  <a:lnTo>
                    <a:pt x="36981" y="1132"/>
                  </a:lnTo>
                  <a:lnTo>
                    <a:pt x="36981" y="1415"/>
                  </a:lnTo>
                  <a:lnTo>
                    <a:pt x="40943" y="1227"/>
                  </a:lnTo>
                  <a:lnTo>
                    <a:pt x="41509" y="1038"/>
                  </a:lnTo>
                  <a:lnTo>
                    <a:pt x="41697" y="1132"/>
                  </a:lnTo>
                  <a:lnTo>
                    <a:pt x="41509" y="1227"/>
                  </a:lnTo>
                  <a:lnTo>
                    <a:pt x="41320" y="1321"/>
                  </a:lnTo>
                  <a:lnTo>
                    <a:pt x="42263" y="1321"/>
                  </a:lnTo>
                  <a:lnTo>
                    <a:pt x="43113" y="1227"/>
                  </a:lnTo>
                  <a:lnTo>
                    <a:pt x="43396" y="1415"/>
                  </a:lnTo>
                  <a:lnTo>
                    <a:pt x="44056" y="1604"/>
                  </a:lnTo>
                  <a:lnTo>
                    <a:pt x="45943" y="2076"/>
                  </a:lnTo>
                  <a:lnTo>
                    <a:pt x="48018" y="2359"/>
                  </a:lnTo>
                  <a:lnTo>
                    <a:pt x="49622" y="2736"/>
                  </a:lnTo>
                  <a:lnTo>
                    <a:pt x="47641" y="1981"/>
                  </a:lnTo>
                  <a:lnTo>
                    <a:pt x="45282" y="1321"/>
                  </a:lnTo>
                  <a:lnTo>
                    <a:pt x="42735" y="755"/>
                  </a:lnTo>
                  <a:lnTo>
                    <a:pt x="40188" y="283"/>
                  </a:lnTo>
                  <a:lnTo>
                    <a:pt x="37735" y="95"/>
                  </a:lnTo>
                  <a:lnTo>
                    <a:pt x="35471" y="0"/>
                  </a:lnTo>
                  <a:close/>
                </a:path>
              </a:pathLst>
            </a:custGeom>
            <a:solidFill>
              <a:schemeClr val="bg1">
                <a:lumMod val="95000"/>
              </a:schemeClr>
            </a:solidFill>
            <a:ln w="0">
              <a:solidFill>
                <a:srgbClr val="0079D1"/>
              </a:solidFill>
            </a:ln>
          </p:spPr>
          <p:txBody>
            <a:bodyPr spcFirstLastPara="1" wrap="square" lIns="91425" tIns="91425" rIns="91425" bIns="91425" anchor="ctr" anchorCtr="0">
              <a:noAutofit/>
            </a:bodyPr>
            <a:lstStyle/>
            <a:p>
              <a:pPr marL="0" lvl="0" indent="0">
                <a:spcBef>
                  <a:spcPts val="0"/>
                </a:spcBef>
                <a:spcAft>
                  <a:spcPts val="0"/>
                </a:spcAft>
                <a:buNone/>
              </a:pPr>
              <a:endParaRPr sz="1400"/>
            </a:p>
          </p:txBody>
        </p:sp>
        <p:sp>
          <p:nvSpPr>
            <p:cNvPr id="635" name="TextBox 634">
              <a:extLst>
                <a:ext uri="{FF2B5EF4-FFF2-40B4-BE49-F238E27FC236}">
                  <a16:creationId xmlns:a16="http://schemas.microsoft.com/office/drawing/2014/main" id="{C2AEBA27-21BD-0042-BB98-F9797646284A}"/>
                </a:ext>
              </a:extLst>
            </p:cNvPr>
            <p:cNvSpPr txBox="1"/>
            <p:nvPr/>
          </p:nvSpPr>
          <p:spPr>
            <a:xfrm>
              <a:off x="8676898" y="4619460"/>
              <a:ext cx="229951" cy="215444"/>
            </a:xfrm>
            <a:prstGeom prst="rect">
              <a:avLst/>
            </a:prstGeom>
            <a:noFill/>
          </p:spPr>
          <p:txBody>
            <a:bodyPr wrap="square" rtlCol="0">
              <a:spAutoFit/>
            </a:bodyPr>
            <a:lstStyle/>
            <a:p>
              <a:r>
                <a:rPr lang="en-US" sz="800" b="1" dirty="0">
                  <a:solidFill>
                    <a:srgbClr val="0079D1"/>
                  </a:solidFill>
                </a:rPr>
                <a:t>B</a:t>
              </a:r>
            </a:p>
          </p:txBody>
        </p:sp>
      </p:grpSp>
      <p:sp>
        <p:nvSpPr>
          <p:cNvPr id="636" name="TextBox 635">
            <a:extLst>
              <a:ext uri="{FF2B5EF4-FFF2-40B4-BE49-F238E27FC236}">
                <a16:creationId xmlns:a16="http://schemas.microsoft.com/office/drawing/2014/main" id="{56254755-12F3-4646-9DA8-37F85E709393}"/>
              </a:ext>
            </a:extLst>
          </p:cNvPr>
          <p:cNvSpPr txBox="1"/>
          <p:nvPr/>
        </p:nvSpPr>
        <p:spPr>
          <a:xfrm>
            <a:off x="340182" y="4575322"/>
            <a:ext cx="1933796" cy="304868"/>
          </a:xfrm>
          <a:prstGeom prst="rect">
            <a:avLst/>
          </a:prstGeom>
          <a:noFill/>
        </p:spPr>
        <p:txBody>
          <a:bodyPr wrap="square" tIns="90000" bIns="90000" rtlCol="0" anchor="t">
            <a:spAutoFit/>
          </a:bodyPr>
          <a:lstStyle>
            <a:defPPr>
              <a:defRPr lang="en-US"/>
            </a:defPPr>
            <a:lvl1pPr>
              <a:defRPr sz="700" b="1">
                <a:solidFill>
                  <a:srgbClr val="0079D1"/>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defRPr>
            </a:lvl1pPr>
          </a:lstStyle>
          <a:p>
            <a:r>
              <a:rPr lang="en-US" dirty="0"/>
              <a:t>HDFS/Hive/Kafka Custom API Sink</a:t>
            </a:r>
          </a:p>
        </p:txBody>
      </p:sp>
      <p:grpSp>
        <p:nvGrpSpPr>
          <p:cNvPr id="655" name="Group 654">
            <a:extLst>
              <a:ext uri="{FF2B5EF4-FFF2-40B4-BE49-F238E27FC236}">
                <a16:creationId xmlns:a16="http://schemas.microsoft.com/office/drawing/2014/main" id="{EEBD2342-46F2-F743-85A8-C1F260E77E24}"/>
              </a:ext>
            </a:extLst>
          </p:cNvPr>
          <p:cNvGrpSpPr/>
          <p:nvPr/>
        </p:nvGrpSpPr>
        <p:grpSpPr>
          <a:xfrm>
            <a:off x="154844" y="4634121"/>
            <a:ext cx="229951" cy="215444"/>
            <a:chOff x="8676898" y="4619460"/>
            <a:chExt cx="229951" cy="215444"/>
          </a:xfrm>
        </p:grpSpPr>
        <p:sp>
          <p:nvSpPr>
            <p:cNvPr id="656" name="Google Shape;431;p39">
              <a:extLst>
                <a:ext uri="{FF2B5EF4-FFF2-40B4-BE49-F238E27FC236}">
                  <a16:creationId xmlns:a16="http://schemas.microsoft.com/office/drawing/2014/main" id="{73D3EC28-703C-5E4F-B9E3-CBD4F5B1F5BC}"/>
                </a:ext>
              </a:extLst>
            </p:cNvPr>
            <p:cNvSpPr/>
            <p:nvPr/>
          </p:nvSpPr>
          <p:spPr>
            <a:xfrm>
              <a:off x="8709950" y="4635551"/>
              <a:ext cx="179407" cy="167874"/>
            </a:xfrm>
            <a:custGeom>
              <a:avLst/>
              <a:gdLst/>
              <a:ahLst/>
              <a:cxnLst/>
              <a:rect l="0" t="0" r="0" b="0"/>
              <a:pathLst>
                <a:path w="67641" h="69056" extrusionOk="0">
                  <a:moveTo>
                    <a:pt x="49622" y="2736"/>
                  </a:moveTo>
                  <a:lnTo>
                    <a:pt x="49622" y="2736"/>
                  </a:lnTo>
                  <a:lnTo>
                    <a:pt x="49622" y="2736"/>
                  </a:lnTo>
                  <a:close/>
                  <a:moveTo>
                    <a:pt x="59622" y="55565"/>
                  </a:moveTo>
                  <a:lnTo>
                    <a:pt x="59622" y="55565"/>
                  </a:lnTo>
                  <a:lnTo>
                    <a:pt x="59622" y="55565"/>
                  </a:lnTo>
                  <a:close/>
                  <a:moveTo>
                    <a:pt x="35471" y="0"/>
                  </a:moveTo>
                  <a:lnTo>
                    <a:pt x="34433" y="95"/>
                  </a:lnTo>
                  <a:lnTo>
                    <a:pt x="33584" y="189"/>
                  </a:lnTo>
                  <a:lnTo>
                    <a:pt x="32735" y="378"/>
                  </a:lnTo>
                  <a:lnTo>
                    <a:pt x="32169" y="566"/>
                  </a:lnTo>
                  <a:lnTo>
                    <a:pt x="31509" y="472"/>
                  </a:lnTo>
                  <a:lnTo>
                    <a:pt x="30754" y="472"/>
                  </a:lnTo>
                  <a:lnTo>
                    <a:pt x="29339" y="566"/>
                  </a:lnTo>
                  <a:lnTo>
                    <a:pt x="27830" y="849"/>
                  </a:lnTo>
                  <a:lnTo>
                    <a:pt x="26320" y="1321"/>
                  </a:lnTo>
                  <a:lnTo>
                    <a:pt x="24811" y="1981"/>
                  </a:lnTo>
                  <a:lnTo>
                    <a:pt x="23207" y="2736"/>
                  </a:lnTo>
                  <a:lnTo>
                    <a:pt x="21698" y="3585"/>
                  </a:lnTo>
                  <a:lnTo>
                    <a:pt x="20188" y="4623"/>
                  </a:lnTo>
                  <a:lnTo>
                    <a:pt x="18679" y="5661"/>
                  </a:lnTo>
                  <a:lnTo>
                    <a:pt x="17170" y="6793"/>
                  </a:lnTo>
                  <a:lnTo>
                    <a:pt x="15754" y="8019"/>
                  </a:lnTo>
                  <a:lnTo>
                    <a:pt x="14434" y="9151"/>
                  </a:lnTo>
                  <a:lnTo>
                    <a:pt x="11981" y="11510"/>
                  </a:lnTo>
                  <a:lnTo>
                    <a:pt x="10000" y="13774"/>
                  </a:lnTo>
                  <a:lnTo>
                    <a:pt x="7736" y="16981"/>
                  </a:lnTo>
                  <a:lnTo>
                    <a:pt x="8019" y="16321"/>
                  </a:lnTo>
                  <a:lnTo>
                    <a:pt x="8302" y="15660"/>
                  </a:lnTo>
                  <a:lnTo>
                    <a:pt x="7736" y="16604"/>
                  </a:lnTo>
                  <a:lnTo>
                    <a:pt x="7075" y="17642"/>
                  </a:lnTo>
                  <a:lnTo>
                    <a:pt x="7170" y="17830"/>
                  </a:lnTo>
                  <a:lnTo>
                    <a:pt x="6509" y="18868"/>
                  </a:lnTo>
                  <a:lnTo>
                    <a:pt x="7075" y="17359"/>
                  </a:lnTo>
                  <a:lnTo>
                    <a:pt x="6132" y="19057"/>
                  </a:lnTo>
                  <a:lnTo>
                    <a:pt x="5189" y="20849"/>
                  </a:lnTo>
                  <a:lnTo>
                    <a:pt x="4434" y="22736"/>
                  </a:lnTo>
                  <a:lnTo>
                    <a:pt x="3679" y="24622"/>
                  </a:lnTo>
                  <a:lnTo>
                    <a:pt x="2453" y="28490"/>
                  </a:lnTo>
                  <a:lnTo>
                    <a:pt x="1321" y="32169"/>
                  </a:lnTo>
                  <a:lnTo>
                    <a:pt x="1509" y="32264"/>
                  </a:lnTo>
                  <a:lnTo>
                    <a:pt x="1604" y="32453"/>
                  </a:lnTo>
                  <a:lnTo>
                    <a:pt x="1604" y="32641"/>
                  </a:lnTo>
                  <a:lnTo>
                    <a:pt x="1509" y="32924"/>
                  </a:lnTo>
                  <a:lnTo>
                    <a:pt x="1226" y="33396"/>
                  </a:lnTo>
                  <a:lnTo>
                    <a:pt x="1038" y="33585"/>
                  </a:lnTo>
                  <a:lnTo>
                    <a:pt x="1038" y="33773"/>
                  </a:lnTo>
                  <a:lnTo>
                    <a:pt x="1038" y="35000"/>
                  </a:lnTo>
                  <a:lnTo>
                    <a:pt x="849" y="36132"/>
                  </a:lnTo>
                  <a:lnTo>
                    <a:pt x="660" y="37358"/>
                  </a:lnTo>
                  <a:lnTo>
                    <a:pt x="472" y="38867"/>
                  </a:lnTo>
                  <a:lnTo>
                    <a:pt x="283" y="38301"/>
                  </a:lnTo>
                  <a:lnTo>
                    <a:pt x="94" y="39811"/>
                  </a:lnTo>
                  <a:lnTo>
                    <a:pt x="0" y="41509"/>
                  </a:lnTo>
                  <a:lnTo>
                    <a:pt x="94" y="43301"/>
                  </a:lnTo>
                  <a:lnTo>
                    <a:pt x="283" y="44056"/>
                  </a:lnTo>
                  <a:lnTo>
                    <a:pt x="472" y="44622"/>
                  </a:lnTo>
                  <a:lnTo>
                    <a:pt x="566" y="45660"/>
                  </a:lnTo>
                  <a:lnTo>
                    <a:pt x="755" y="46792"/>
                  </a:lnTo>
                  <a:lnTo>
                    <a:pt x="1226" y="48962"/>
                  </a:lnTo>
                  <a:lnTo>
                    <a:pt x="1981" y="51037"/>
                  </a:lnTo>
                  <a:lnTo>
                    <a:pt x="2924" y="53112"/>
                  </a:lnTo>
                  <a:lnTo>
                    <a:pt x="4057" y="55094"/>
                  </a:lnTo>
                  <a:lnTo>
                    <a:pt x="5283" y="56980"/>
                  </a:lnTo>
                  <a:lnTo>
                    <a:pt x="6698" y="58678"/>
                  </a:lnTo>
                  <a:lnTo>
                    <a:pt x="8113" y="60282"/>
                  </a:lnTo>
                  <a:lnTo>
                    <a:pt x="9056" y="61131"/>
                  </a:lnTo>
                  <a:lnTo>
                    <a:pt x="10000" y="61980"/>
                  </a:lnTo>
                  <a:lnTo>
                    <a:pt x="11038" y="62829"/>
                  </a:lnTo>
                  <a:lnTo>
                    <a:pt x="12075" y="63584"/>
                  </a:lnTo>
                  <a:lnTo>
                    <a:pt x="14339" y="64905"/>
                  </a:lnTo>
                  <a:lnTo>
                    <a:pt x="16604" y="66131"/>
                  </a:lnTo>
                  <a:lnTo>
                    <a:pt x="19056" y="67169"/>
                  </a:lnTo>
                  <a:lnTo>
                    <a:pt x="21509" y="67923"/>
                  </a:lnTo>
                  <a:lnTo>
                    <a:pt x="24056" y="68584"/>
                  </a:lnTo>
                  <a:lnTo>
                    <a:pt x="26603" y="69055"/>
                  </a:lnTo>
                  <a:lnTo>
                    <a:pt x="27830" y="69055"/>
                  </a:lnTo>
                  <a:lnTo>
                    <a:pt x="30188" y="68867"/>
                  </a:lnTo>
                  <a:lnTo>
                    <a:pt x="33113" y="68678"/>
                  </a:lnTo>
                  <a:lnTo>
                    <a:pt x="36509" y="68301"/>
                  </a:lnTo>
                  <a:lnTo>
                    <a:pt x="39811" y="67923"/>
                  </a:lnTo>
                  <a:lnTo>
                    <a:pt x="42735" y="67452"/>
                  </a:lnTo>
                  <a:lnTo>
                    <a:pt x="44905" y="66980"/>
                  </a:lnTo>
                  <a:lnTo>
                    <a:pt x="45565" y="66791"/>
                  </a:lnTo>
                  <a:lnTo>
                    <a:pt x="45943" y="66508"/>
                  </a:lnTo>
                  <a:lnTo>
                    <a:pt x="47358" y="65942"/>
                  </a:lnTo>
                  <a:lnTo>
                    <a:pt x="48018" y="65565"/>
                  </a:lnTo>
                  <a:lnTo>
                    <a:pt x="48678" y="65188"/>
                  </a:lnTo>
                  <a:lnTo>
                    <a:pt x="47924" y="65471"/>
                  </a:lnTo>
                  <a:lnTo>
                    <a:pt x="51509" y="62924"/>
                  </a:lnTo>
                  <a:lnTo>
                    <a:pt x="53301" y="61508"/>
                  </a:lnTo>
                  <a:lnTo>
                    <a:pt x="55093" y="59905"/>
                  </a:lnTo>
                  <a:lnTo>
                    <a:pt x="55093" y="59905"/>
                  </a:lnTo>
                  <a:lnTo>
                    <a:pt x="54810" y="60376"/>
                  </a:lnTo>
                  <a:lnTo>
                    <a:pt x="54339" y="60754"/>
                  </a:lnTo>
                  <a:lnTo>
                    <a:pt x="55376" y="59999"/>
                  </a:lnTo>
                  <a:lnTo>
                    <a:pt x="56320" y="59056"/>
                  </a:lnTo>
                  <a:lnTo>
                    <a:pt x="57075" y="58395"/>
                  </a:lnTo>
                  <a:lnTo>
                    <a:pt x="57169" y="58207"/>
                  </a:lnTo>
                  <a:lnTo>
                    <a:pt x="57075" y="58207"/>
                  </a:lnTo>
                  <a:lnTo>
                    <a:pt x="57924" y="57546"/>
                  </a:lnTo>
                  <a:lnTo>
                    <a:pt x="58678" y="56697"/>
                  </a:lnTo>
                  <a:lnTo>
                    <a:pt x="59339" y="55754"/>
                  </a:lnTo>
                  <a:lnTo>
                    <a:pt x="59905" y="54905"/>
                  </a:lnTo>
                  <a:lnTo>
                    <a:pt x="59716" y="54999"/>
                  </a:lnTo>
                  <a:lnTo>
                    <a:pt x="59622" y="54999"/>
                  </a:lnTo>
                  <a:lnTo>
                    <a:pt x="59810" y="54622"/>
                  </a:lnTo>
                  <a:lnTo>
                    <a:pt x="59150" y="55565"/>
                  </a:lnTo>
                  <a:lnTo>
                    <a:pt x="59527" y="55094"/>
                  </a:lnTo>
                  <a:lnTo>
                    <a:pt x="59433" y="55377"/>
                  </a:lnTo>
                  <a:lnTo>
                    <a:pt x="58867" y="56037"/>
                  </a:lnTo>
                  <a:lnTo>
                    <a:pt x="59056" y="55660"/>
                  </a:lnTo>
                  <a:lnTo>
                    <a:pt x="59056" y="55660"/>
                  </a:lnTo>
                  <a:lnTo>
                    <a:pt x="58678" y="56037"/>
                  </a:lnTo>
                  <a:lnTo>
                    <a:pt x="59810" y="54339"/>
                  </a:lnTo>
                  <a:lnTo>
                    <a:pt x="60282" y="53490"/>
                  </a:lnTo>
                  <a:lnTo>
                    <a:pt x="60282" y="53301"/>
                  </a:lnTo>
                  <a:lnTo>
                    <a:pt x="60188" y="53395"/>
                  </a:lnTo>
                  <a:lnTo>
                    <a:pt x="60188" y="53395"/>
                  </a:lnTo>
                  <a:lnTo>
                    <a:pt x="60565" y="52924"/>
                  </a:lnTo>
                  <a:lnTo>
                    <a:pt x="61037" y="52452"/>
                  </a:lnTo>
                  <a:lnTo>
                    <a:pt x="61886" y="51509"/>
                  </a:lnTo>
                  <a:lnTo>
                    <a:pt x="61508" y="52452"/>
                  </a:lnTo>
                  <a:lnTo>
                    <a:pt x="60848" y="53584"/>
                  </a:lnTo>
                  <a:lnTo>
                    <a:pt x="59622" y="55565"/>
                  </a:lnTo>
                  <a:lnTo>
                    <a:pt x="60376" y="54528"/>
                  </a:lnTo>
                  <a:lnTo>
                    <a:pt x="60942" y="53678"/>
                  </a:lnTo>
                  <a:lnTo>
                    <a:pt x="61980" y="51792"/>
                  </a:lnTo>
                  <a:lnTo>
                    <a:pt x="61886" y="51886"/>
                  </a:lnTo>
                  <a:lnTo>
                    <a:pt x="61886" y="51697"/>
                  </a:lnTo>
                  <a:lnTo>
                    <a:pt x="62169" y="51037"/>
                  </a:lnTo>
                  <a:lnTo>
                    <a:pt x="62735" y="49999"/>
                  </a:lnTo>
                  <a:lnTo>
                    <a:pt x="61508" y="51603"/>
                  </a:lnTo>
                  <a:lnTo>
                    <a:pt x="61603" y="51037"/>
                  </a:lnTo>
                  <a:lnTo>
                    <a:pt x="61697" y="50377"/>
                  </a:lnTo>
                  <a:lnTo>
                    <a:pt x="62169" y="48962"/>
                  </a:lnTo>
                  <a:lnTo>
                    <a:pt x="62829" y="47358"/>
                  </a:lnTo>
                  <a:lnTo>
                    <a:pt x="63678" y="45565"/>
                  </a:lnTo>
                  <a:lnTo>
                    <a:pt x="65376" y="42169"/>
                  </a:lnTo>
                  <a:lnTo>
                    <a:pt x="66131" y="40660"/>
                  </a:lnTo>
                  <a:lnTo>
                    <a:pt x="66697" y="39339"/>
                  </a:lnTo>
                  <a:lnTo>
                    <a:pt x="66603" y="39528"/>
                  </a:lnTo>
                  <a:lnTo>
                    <a:pt x="66697" y="39056"/>
                  </a:lnTo>
                  <a:lnTo>
                    <a:pt x="66791" y="38962"/>
                  </a:lnTo>
                  <a:lnTo>
                    <a:pt x="66791" y="39056"/>
                  </a:lnTo>
                  <a:lnTo>
                    <a:pt x="66886" y="38584"/>
                  </a:lnTo>
                  <a:lnTo>
                    <a:pt x="66791" y="38867"/>
                  </a:lnTo>
                  <a:lnTo>
                    <a:pt x="66980" y="38207"/>
                  </a:lnTo>
                  <a:lnTo>
                    <a:pt x="67169" y="37264"/>
                  </a:lnTo>
                  <a:lnTo>
                    <a:pt x="67263" y="36415"/>
                  </a:lnTo>
                  <a:lnTo>
                    <a:pt x="67357" y="36509"/>
                  </a:lnTo>
                  <a:lnTo>
                    <a:pt x="67452" y="36509"/>
                  </a:lnTo>
                  <a:lnTo>
                    <a:pt x="67546" y="35943"/>
                  </a:lnTo>
                  <a:lnTo>
                    <a:pt x="67546" y="34811"/>
                  </a:lnTo>
                  <a:lnTo>
                    <a:pt x="67640" y="31037"/>
                  </a:lnTo>
                  <a:lnTo>
                    <a:pt x="67640" y="28490"/>
                  </a:lnTo>
                  <a:lnTo>
                    <a:pt x="67546" y="27736"/>
                  </a:lnTo>
                  <a:lnTo>
                    <a:pt x="67546" y="27547"/>
                  </a:lnTo>
                  <a:lnTo>
                    <a:pt x="67452" y="27547"/>
                  </a:lnTo>
                  <a:lnTo>
                    <a:pt x="67074" y="26792"/>
                  </a:lnTo>
                  <a:lnTo>
                    <a:pt x="66791" y="25660"/>
                  </a:lnTo>
                  <a:lnTo>
                    <a:pt x="66508" y="24528"/>
                  </a:lnTo>
                  <a:lnTo>
                    <a:pt x="66414" y="23585"/>
                  </a:lnTo>
                  <a:lnTo>
                    <a:pt x="66320" y="23679"/>
                  </a:lnTo>
                  <a:lnTo>
                    <a:pt x="66320" y="23490"/>
                  </a:lnTo>
                  <a:lnTo>
                    <a:pt x="65942" y="22924"/>
                  </a:lnTo>
                  <a:lnTo>
                    <a:pt x="65565" y="22358"/>
                  </a:lnTo>
                  <a:lnTo>
                    <a:pt x="64527" y="21132"/>
                  </a:lnTo>
                  <a:lnTo>
                    <a:pt x="63584" y="19906"/>
                  </a:lnTo>
                  <a:lnTo>
                    <a:pt x="63207" y="19340"/>
                  </a:lnTo>
                  <a:lnTo>
                    <a:pt x="63018" y="18774"/>
                  </a:lnTo>
                  <a:lnTo>
                    <a:pt x="63112" y="18962"/>
                  </a:lnTo>
                  <a:lnTo>
                    <a:pt x="63301" y="19057"/>
                  </a:lnTo>
                  <a:lnTo>
                    <a:pt x="63301" y="19057"/>
                  </a:lnTo>
                  <a:lnTo>
                    <a:pt x="63207" y="18868"/>
                  </a:lnTo>
                  <a:lnTo>
                    <a:pt x="62923" y="18491"/>
                  </a:lnTo>
                  <a:lnTo>
                    <a:pt x="61980" y="17453"/>
                  </a:lnTo>
                  <a:lnTo>
                    <a:pt x="61037" y="16509"/>
                  </a:lnTo>
                  <a:lnTo>
                    <a:pt x="61037" y="16698"/>
                  </a:lnTo>
                  <a:lnTo>
                    <a:pt x="61037" y="16887"/>
                  </a:lnTo>
                  <a:lnTo>
                    <a:pt x="60093" y="15943"/>
                  </a:lnTo>
                  <a:lnTo>
                    <a:pt x="60376" y="16321"/>
                  </a:lnTo>
                  <a:lnTo>
                    <a:pt x="59527" y="15377"/>
                  </a:lnTo>
                  <a:lnTo>
                    <a:pt x="59056" y="14906"/>
                  </a:lnTo>
                  <a:lnTo>
                    <a:pt x="59244" y="14906"/>
                  </a:lnTo>
                  <a:lnTo>
                    <a:pt x="59905" y="15472"/>
                  </a:lnTo>
                  <a:lnTo>
                    <a:pt x="59905" y="15472"/>
                  </a:lnTo>
                  <a:lnTo>
                    <a:pt x="57641" y="13396"/>
                  </a:lnTo>
                  <a:lnTo>
                    <a:pt x="58112" y="13868"/>
                  </a:lnTo>
                  <a:lnTo>
                    <a:pt x="56886" y="13019"/>
                  </a:lnTo>
                  <a:lnTo>
                    <a:pt x="55754" y="12453"/>
                  </a:lnTo>
                  <a:lnTo>
                    <a:pt x="56603" y="13113"/>
                  </a:lnTo>
                  <a:lnTo>
                    <a:pt x="57452" y="13774"/>
                  </a:lnTo>
                  <a:lnTo>
                    <a:pt x="58961" y="15283"/>
                  </a:lnTo>
                  <a:lnTo>
                    <a:pt x="60376" y="16604"/>
                  </a:lnTo>
                  <a:lnTo>
                    <a:pt x="61225" y="17264"/>
                  </a:lnTo>
                  <a:lnTo>
                    <a:pt x="62074" y="17925"/>
                  </a:lnTo>
                  <a:lnTo>
                    <a:pt x="62074" y="17925"/>
                  </a:lnTo>
                  <a:lnTo>
                    <a:pt x="61414" y="17547"/>
                  </a:lnTo>
                  <a:lnTo>
                    <a:pt x="60659" y="16981"/>
                  </a:lnTo>
                  <a:lnTo>
                    <a:pt x="60754" y="17264"/>
                  </a:lnTo>
                  <a:lnTo>
                    <a:pt x="60942" y="17642"/>
                  </a:lnTo>
                  <a:lnTo>
                    <a:pt x="61980" y="19151"/>
                  </a:lnTo>
                  <a:lnTo>
                    <a:pt x="63301" y="20943"/>
                  </a:lnTo>
                  <a:lnTo>
                    <a:pt x="63207" y="20943"/>
                  </a:lnTo>
                  <a:lnTo>
                    <a:pt x="63395" y="21038"/>
                  </a:lnTo>
                  <a:lnTo>
                    <a:pt x="63490" y="21321"/>
                  </a:lnTo>
                  <a:lnTo>
                    <a:pt x="63678" y="21604"/>
                  </a:lnTo>
                  <a:lnTo>
                    <a:pt x="63773" y="21698"/>
                  </a:lnTo>
                  <a:lnTo>
                    <a:pt x="63584" y="21321"/>
                  </a:lnTo>
                  <a:lnTo>
                    <a:pt x="63584" y="21321"/>
                  </a:lnTo>
                  <a:lnTo>
                    <a:pt x="64244" y="22170"/>
                  </a:lnTo>
                  <a:lnTo>
                    <a:pt x="64716" y="22641"/>
                  </a:lnTo>
                  <a:lnTo>
                    <a:pt x="64905" y="22830"/>
                  </a:lnTo>
                  <a:lnTo>
                    <a:pt x="64999" y="22830"/>
                  </a:lnTo>
                  <a:lnTo>
                    <a:pt x="64999" y="22641"/>
                  </a:lnTo>
                  <a:lnTo>
                    <a:pt x="64905" y="22358"/>
                  </a:lnTo>
                  <a:lnTo>
                    <a:pt x="65282" y="23207"/>
                  </a:lnTo>
                  <a:lnTo>
                    <a:pt x="65565" y="24056"/>
                  </a:lnTo>
                  <a:lnTo>
                    <a:pt x="66225" y="25943"/>
                  </a:lnTo>
                  <a:lnTo>
                    <a:pt x="66697" y="27830"/>
                  </a:lnTo>
                  <a:lnTo>
                    <a:pt x="66886" y="28490"/>
                  </a:lnTo>
                  <a:lnTo>
                    <a:pt x="66980" y="28868"/>
                  </a:lnTo>
                  <a:lnTo>
                    <a:pt x="66886" y="28962"/>
                  </a:lnTo>
                  <a:lnTo>
                    <a:pt x="66697" y="28679"/>
                  </a:lnTo>
                  <a:lnTo>
                    <a:pt x="66697" y="29245"/>
                  </a:lnTo>
                  <a:lnTo>
                    <a:pt x="66791" y="29905"/>
                  </a:lnTo>
                  <a:lnTo>
                    <a:pt x="66886" y="29905"/>
                  </a:lnTo>
                  <a:lnTo>
                    <a:pt x="66886" y="30094"/>
                  </a:lnTo>
                  <a:lnTo>
                    <a:pt x="66886" y="30566"/>
                  </a:lnTo>
                  <a:lnTo>
                    <a:pt x="66697" y="30377"/>
                  </a:lnTo>
                  <a:lnTo>
                    <a:pt x="66603" y="30188"/>
                  </a:lnTo>
                  <a:lnTo>
                    <a:pt x="66603" y="30094"/>
                  </a:lnTo>
                  <a:lnTo>
                    <a:pt x="66697" y="29905"/>
                  </a:lnTo>
                  <a:lnTo>
                    <a:pt x="66508" y="28679"/>
                  </a:lnTo>
                  <a:lnTo>
                    <a:pt x="66225" y="27358"/>
                  </a:lnTo>
                  <a:lnTo>
                    <a:pt x="66603" y="30283"/>
                  </a:lnTo>
                  <a:lnTo>
                    <a:pt x="66697" y="31792"/>
                  </a:lnTo>
                  <a:lnTo>
                    <a:pt x="66697" y="33302"/>
                  </a:lnTo>
                  <a:lnTo>
                    <a:pt x="66603" y="34717"/>
                  </a:lnTo>
                  <a:lnTo>
                    <a:pt x="66414" y="36226"/>
                  </a:lnTo>
                  <a:lnTo>
                    <a:pt x="66131" y="37547"/>
                  </a:lnTo>
                  <a:lnTo>
                    <a:pt x="65659" y="38962"/>
                  </a:lnTo>
                  <a:lnTo>
                    <a:pt x="65848" y="38584"/>
                  </a:lnTo>
                  <a:lnTo>
                    <a:pt x="65942" y="38584"/>
                  </a:lnTo>
                  <a:lnTo>
                    <a:pt x="65848" y="39245"/>
                  </a:lnTo>
                  <a:lnTo>
                    <a:pt x="65565" y="40188"/>
                  </a:lnTo>
                  <a:lnTo>
                    <a:pt x="65471" y="40471"/>
                  </a:lnTo>
                  <a:lnTo>
                    <a:pt x="65282" y="40660"/>
                  </a:lnTo>
                  <a:lnTo>
                    <a:pt x="65282" y="40566"/>
                  </a:lnTo>
                  <a:lnTo>
                    <a:pt x="65093" y="41132"/>
                  </a:lnTo>
                  <a:lnTo>
                    <a:pt x="64433" y="43018"/>
                  </a:lnTo>
                  <a:lnTo>
                    <a:pt x="63678" y="45282"/>
                  </a:lnTo>
                  <a:lnTo>
                    <a:pt x="62735" y="47264"/>
                  </a:lnTo>
                  <a:lnTo>
                    <a:pt x="61697" y="49056"/>
                  </a:lnTo>
                  <a:lnTo>
                    <a:pt x="60659" y="50943"/>
                  </a:lnTo>
                  <a:lnTo>
                    <a:pt x="59433" y="52735"/>
                  </a:lnTo>
                  <a:lnTo>
                    <a:pt x="58207" y="54433"/>
                  </a:lnTo>
                  <a:lnTo>
                    <a:pt x="56886" y="56037"/>
                  </a:lnTo>
                  <a:lnTo>
                    <a:pt x="55376" y="57641"/>
                  </a:lnTo>
                  <a:lnTo>
                    <a:pt x="53867" y="59150"/>
                  </a:lnTo>
                  <a:lnTo>
                    <a:pt x="52169" y="60376"/>
                  </a:lnTo>
                  <a:lnTo>
                    <a:pt x="48961" y="62452"/>
                  </a:lnTo>
                  <a:lnTo>
                    <a:pt x="44528" y="65282"/>
                  </a:lnTo>
                  <a:lnTo>
                    <a:pt x="44622" y="65188"/>
                  </a:lnTo>
                  <a:lnTo>
                    <a:pt x="44716" y="65093"/>
                  </a:lnTo>
                  <a:lnTo>
                    <a:pt x="45094" y="64810"/>
                  </a:lnTo>
                  <a:lnTo>
                    <a:pt x="45660" y="64527"/>
                  </a:lnTo>
                  <a:lnTo>
                    <a:pt x="43867" y="65376"/>
                  </a:lnTo>
                  <a:lnTo>
                    <a:pt x="43113" y="65754"/>
                  </a:lnTo>
                  <a:lnTo>
                    <a:pt x="42924" y="65754"/>
                  </a:lnTo>
                  <a:lnTo>
                    <a:pt x="43113" y="65659"/>
                  </a:lnTo>
                  <a:lnTo>
                    <a:pt x="41603" y="66037"/>
                  </a:lnTo>
                  <a:lnTo>
                    <a:pt x="39999" y="66320"/>
                  </a:lnTo>
                  <a:lnTo>
                    <a:pt x="38396" y="66508"/>
                  </a:lnTo>
                  <a:lnTo>
                    <a:pt x="36792" y="66697"/>
                  </a:lnTo>
                  <a:lnTo>
                    <a:pt x="33584" y="66980"/>
                  </a:lnTo>
                  <a:lnTo>
                    <a:pt x="32169" y="67169"/>
                  </a:lnTo>
                  <a:lnTo>
                    <a:pt x="30754" y="67357"/>
                  </a:lnTo>
                  <a:lnTo>
                    <a:pt x="30094" y="67357"/>
                  </a:lnTo>
                  <a:lnTo>
                    <a:pt x="29339" y="67263"/>
                  </a:lnTo>
                  <a:lnTo>
                    <a:pt x="27830" y="66886"/>
                  </a:lnTo>
                  <a:lnTo>
                    <a:pt x="26415" y="66508"/>
                  </a:lnTo>
                  <a:lnTo>
                    <a:pt x="25754" y="66414"/>
                  </a:lnTo>
                  <a:lnTo>
                    <a:pt x="25094" y="66414"/>
                  </a:lnTo>
                  <a:lnTo>
                    <a:pt x="25566" y="66980"/>
                  </a:lnTo>
                  <a:lnTo>
                    <a:pt x="25471" y="67074"/>
                  </a:lnTo>
                  <a:lnTo>
                    <a:pt x="25188" y="66980"/>
                  </a:lnTo>
                  <a:lnTo>
                    <a:pt x="24339" y="66791"/>
                  </a:lnTo>
                  <a:lnTo>
                    <a:pt x="23773" y="66508"/>
                  </a:lnTo>
                  <a:lnTo>
                    <a:pt x="24245" y="66414"/>
                  </a:lnTo>
                  <a:lnTo>
                    <a:pt x="24717" y="66603"/>
                  </a:lnTo>
                  <a:lnTo>
                    <a:pt x="24811" y="66414"/>
                  </a:lnTo>
                  <a:lnTo>
                    <a:pt x="24811" y="66320"/>
                  </a:lnTo>
                  <a:lnTo>
                    <a:pt x="24717" y="66225"/>
                  </a:lnTo>
                  <a:lnTo>
                    <a:pt x="24528" y="66131"/>
                  </a:lnTo>
                  <a:lnTo>
                    <a:pt x="24151" y="66225"/>
                  </a:lnTo>
                  <a:lnTo>
                    <a:pt x="23679" y="66320"/>
                  </a:lnTo>
                  <a:lnTo>
                    <a:pt x="23018" y="66414"/>
                  </a:lnTo>
                  <a:lnTo>
                    <a:pt x="23490" y="66225"/>
                  </a:lnTo>
                  <a:lnTo>
                    <a:pt x="22075" y="65942"/>
                  </a:lnTo>
                  <a:lnTo>
                    <a:pt x="20943" y="65659"/>
                  </a:lnTo>
                  <a:lnTo>
                    <a:pt x="20000" y="65282"/>
                  </a:lnTo>
                  <a:lnTo>
                    <a:pt x="19056" y="64810"/>
                  </a:lnTo>
                  <a:lnTo>
                    <a:pt x="19056" y="64810"/>
                  </a:lnTo>
                  <a:lnTo>
                    <a:pt x="19717" y="64999"/>
                  </a:lnTo>
                  <a:lnTo>
                    <a:pt x="19151" y="64716"/>
                  </a:lnTo>
                  <a:lnTo>
                    <a:pt x="18962" y="64810"/>
                  </a:lnTo>
                  <a:lnTo>
                    <a:pt x="19151" y="64905"/>
                  </a:lnTo>
                  <a:lnTo>
                    <a:pt x="18490" y="64905"/>
                  </a:lnTo>
                  <a:lnTo>
                    <a:pt x="17830" y="64716"/>
                  </a:lnTo>
                  <a:lnTo>
                    <a:pt x="17264" y="64527"/>
                  </a:lnTo>
                  <a:lnTo>
                    <a:pt x="16698" y="64150"/>
                  </a:lnTo>
                  <a:lnTo>
                    <a:pt x="16981" y="64056"/>
                  </a:lnTo>
                  <a:lnTo>
                    <a:pt x="17264" y="64150"/>
                  </a:lnTo>
                  <a:lnTo>
                    <a:pt x="17264" y="64150"/>
                  </a:lnTo>
                  <a:lnTo>
                    <a:pt x="15188" y="63207"/>
                  </a:lnTo>
                  <a:lnTo>
                    <a:pt x="14622" y="62829"/>
                  </a:lnTo>
                  <a:lnTo>
                    <a:pt x="14717" y="62924"/>
                  </a:lnTo>
                  <a:lnTo>
                    <a:pt x="13773" y="62546"/>
                  </a:lnTo>
                  <a:lnTo>
                    <a:pt x="12924" y="62075"/>
                  </a:lnTo>
                  <a:lnTo>
                    <a:pt x="12358" y="61697"/>
                  </a:lnTo>
                  <a:lnTo>
                    <a:pt x="12264" y="61508"/>
                  </a:lnTo>
                  <a:lnTo>
                    <a:pt x="12170" y="61320"/>
                  </a:lnTo>
                  <a:lnTo>
                    <a:pt x="11698" y="60942"/>
                  </a:lnTo>
                  <a:lnTo>
                    <a:pt x="11132" y="60471"/>
                  </a:lnTo>
                  <a:lnTo>
                    <a:pt x="9906" y="59244"/>
                  </a:lnTo>
                  <a:lnTo>
                    <a:pt x="9906" y="59244"/>
                  </a:lnTo>
                  <a:lnTo>
                    <a:pt x="10566" y="59527"/>
                  </a:lnTo>
                  <a:lnTo>
                    <a:pt x="9434" y="58584"/>
                  </a:lnTo>
                  <a:lnTo>
                    <a:pt x="8207" y="57546"/>
                  </a:lnTo>
                  <a:lnTo>
                    <a:pt x="7547" y="56886"/>
                  </a:lnTo>
                  <a:lnTo>
                    <a:pt x="6981" y="56131"/>
                  </a:lnTo>
                  <a:lnTo>
                    <a:pt x="6226" y="55094"/>
                  </a:lnTo>
                  <a:lnTo>
                    <a:pt x="6415" y="55377"/>
                  </a:lnTo>
                  <a:lnTo>
                    <a:pt x="6038" y="54905"/>
                  </a:lnTo>
                  <a:lnTo>
                    <a:pt x="5472" y="54244"/>
                  </a:lnTo>
                  <a:lnTo>
                    <a:pt x="5283" y="53961"/>
                  </a:lnTo>
                  <a:lnTo>
                    <a:pt x="5094" y="53867"/>
                  </a:lnTo>
                  <a:lnTo>
                    <a:pt x="5377" y="54622"/>
                  </a:lnTo>
                  <a:lnTo>
                    <a:pt x="5849" y="55282"/>
                  </a:lnTo>
                  <a:lnTo>
                    <a:pt x="6321" y="55943"/>
                  </a:lnTo>
                  <a:lnTo>
                    <a:pt x="6698" y="56603"/>
                  </a:lnTo>
                  <a:lnTo>
                    <a:pt x="6226" y="56226"/>
                  </a:lnTo>
                  <a:lnTo>
                    <a:pt x="5943" y="55848"/>
                  </a:lnTo>
                  <a:lnTo>
                    <a:pt x="6038" y="56037"/>
                  </a:lnTo>
                  <a:lnTo>
                    <a:pt x="5943" y="55943"/>
                  </a:lnTo>
                  <a:lnTo>
                    <a:pt x="5377" y="55188"/>
                  </a:lnTo>
                  <a:lnTo>
                    <a:pt x="5000" y="54716"/>
                  </a:lnTo>
                  <a:lnTo>
                    <a:pt x="4717" y="54150"/>
                  </a:lnTo>
                  <a:lnTo>
                    <a:pt x="4528" y="53678"/>
                  </a:lnTo>
                  <a:lnTo>
                    <a:pt x="4528" y="53584"/>
                  </a:lnTo>
                  <a:lnTo>
                    <a:pt x="4623" y="53395"/>
                  </a:lnTo>
                  <a:lnTo>
                    <a:pt x="5094" y="54244"/>
                  </a:lnTo>
                  <a:lnTo>
                    <a:pt x="4717" y="53301"/>
                  </a:lnTo>
                  <a:lnTo>
                    <a:pt x="4528" y="53018"/>
                  </a:lnTo>
                  <a:lnTo>
                    <a:pt x="4151" y="52263"/>
                  </a:lnTo>
                  <a:lnTo>
                    <a:pt x="4151" y="52169"/>
                  </a:lnTo>
                  <a:lnTo>
                    <a:pt x="3774" y="51509"/>
                  </a:lnTo>
                  <a:lnTo>
                    <a:pt x="3396" y="50660"/>
                  </a:lnTo>
                  <a:lnTo>
                    <a:pt x="3585" y="51603"/>
                  </a:lnTo>
                  <a:lnTo>
                    <a:pt x="3396" y="51226"/>
                  </a:lnTo>
                  <a:lnTo>
                    <a:pt x="3208" y="50848"/>
                  </a:lnTo>
                  <a:lnTo>
                    <a:pt x="3208" y="50471"/>
                  </a:lnTo>
                  <a:lnTo>
                    <a:pt x="3208" y="50094"/>
                  </a:lnTo>
                  <a:lnTo>
                    <a:pt x="3585" y="50754"/>
                  </a:lnTo>
                  <a:lnTo>
                    <a:pt x="3868" y="51509"/>
                  </a:lnTo>
                  <a:lnTo>
                    <a:pt x="3868" y="51509"/>
                  </a:lnTo>
                  <a:lnTo>
                    <a:pt x="3208" y="49528"/>
                  </a:lnTo>
                  <a:lnTo>
                    <a:pt x="3208" y="49528"/>
                  </a:lnTo>
                  <a:lnTo>
                    <a:pt x="3868" y="50754"/>
                  </a:lnTo>
                  <a:lnTo>
                    <a:pt x="3208" y="48962"/>
                  </a:lnTo>
                  <a:lnTo>
                    <a:pt x="3585" y="49339"/>
                  </a:lnTo>
                  <a:lnTo>
                    <a:pt x="3774" y="49433"/>
                  </a:lnTo>
                  <a:lnTo>
                    <a:pt x="3962" y="49528"/>
                  </a:lnTo>
                  <a:lnTo>
                    <a:pt x="4057" y="49905"/>
                  </a:lnTo>
                  <a:lnTo>
                    <a:pt x="3868" y="48962"/>
                  </a:lnTo>
                  <a:lnTo>
                    <a:pt x="3491" y="47924"/>
                  </a:lnTo>
                  <a:lnTo>
                    <a:pt x="2641" y="45565"/>
                  </a:lnTo>
                  <a:lnTo>
                    <a:pt x="2170" y="43867"/>
                  </a:lnTo>
                  <a:lnTo>
                    <a:pt x="1698" y="41886"/>
                  </a:lnTo>
                  <a:lnTo>
                    <a:pt x="1698" y="41886"/>
                  </a:lnTo>
                  <a:lnTo>
                    <a:pt x="1887" y="42075"/>
                  </a:lnTo>
                  <a:lnTo>
                    <a:pt x="1981" y="41981"/>
                  </a:lnTo>
                  <a:lnTo>
                    <a:pt x="2075" y="42075"/>
                  </a:lnTo>
                  <a:lnTo>
                    <a:pt x="2264" y="42169"/>
                  </a:lnTo>
                  <a:lnTo>
                    <a:pt x="2170" y="40283"/>
                  </a:lnTo>
                  <a:lnTo>
                    <a:pt x="2075" y="38301"/>
                  </a:lnTo>
                  <a:lnTo>
                    <a:pt x="2170" y="36415"/>
                  </a:lnTo>
                  <a:lnTo>
                    <a:pt x="2358" y="35566"/>
                  </a:lnTo>
                  <a:lnTo>
                    <a:pt x="2453" y="34811"/>
                  </a:lnTo>
                  <a:lnTo>
                    <a:pt x="2830" y="32830"/>
                  </a:lnTo>
                  <a:lnTo>
                    <a:pt x="2830" y="33207"/>
                  </a:lnTo>
                  <a:lnTo>
                    <a:pt x="2924" y="33490"/>
                  </a:lnTo>
                  <a:lnTo>
                    <a:pt x="2924" y="32453"/>
                  </a:lnTo>
                  <a:lnTo>
                    <a:pt x="3019" y="31415"/>
                  </a:lnTo>
                  <a:lnTo>
                    <a:pt x="3396" y="29245"/>
                  </a:lnTo>
                  <a:lnTo>
                    <a:pt x="3868" y="27075"/>
                  </a:lnTo>
                  <a:lnTo>
                    <a:pt x="4623" y="25000"/>
                  </a:lnTo>
                  <a:lnTo>
                    <a:pt x="5566" y="22830"/>
                  </a:lnTo>
                  <a:lnTo>
                    <a:pt x="6604" y="20849"/>
                  </a:lnTo>
                  <a:lnTo>
                    <a:pt x="7830" y="18868"/>
                  </a:lnTo>
                  <a:lnTo>
                    <a:pt x="9151" y="16887"/>
                  </a:lnTo>
                  <a:lnTo>
                    <a:pt x="10566" y="15094"/>
                  </a:lnTo>
                  <a:lnTo>
                    <a:pt x="12075" y="13302"/>
                  </a:lnTo>
                  <a:lnTo>
                    <a:pt x="13773" y="11698"/>
                  </a:lnTo>
                  <a:lnTo>
                    <a:pt x="15377" y="10095"/>
                  </a:lnTo>
                  <a:lnTo>
                    <a:pt x="17170" y="8679"/>
                  </a:lnTo>
                  <a:lnTo>
                    <a:pt x="18962" y="7453"/>
                  </a:lnTo>
                  <a:lnTo>
                    <a:pt x="20754" y="6321"/>
                  </a:lnTo>
                  <a:lnTo>
                    <a:pt x="22547" y="5378"/>
                  </a:lnTo>
                  <a:lnTo>
                    <a:pt x="21603" y="6227"/>
                  </a:lnTo>
                  <a:lnTo>
                    <a:pt x="22641" y="5472"/>
                  </a:lnTo>
                  <a:lnTo>
                    <a:pt x="23302" y="5095"/>
                  </a:lnTo>
                  <a:lnTo>
                    <a:pt x="25377" y="4151"/>
                  </a:lnTo>
                  <a:lnTo>
                    <a:pt x="24811" y="4151"/>
                  </a:lnTo>
                  <a:lnTo>
                    <a:pt x="25660" y="3774"/>
                  </a:lnTo>
                  <a:lnTo>
                    <a:pt x="26886" y="3208"/>
                  </a:lnTo>
                  <a:lnTo>
                    <a:pt x="26603" y="3585"/>
                  </a:lnTo>
                  <a:lnTo>
                    <a:pt x="26886" y="3585"/>
                  </a:lnTo>
                  <a:lnTo>
                    <a:pt x="26886" y="3680"/>
                  </a:lnTo>
                  <a:lnTo>
                    <a:pt x="26792" y="3774"/>
                  </a:lnTo>
                  <a:lnTo>
                    <a:pt x="28301" y="3302"/>
                  </a:lnTo>
                  <a:lnTo>
                    <a:pt x="29622" y="2736"/>
                  </a:lnTo>
                  <a:lnTo>
                    <a:pt x="31037" y="2264"/>
                  </a:lnTo>
                  <a:lnTo>
                    <a:pt x="31792" y="2076"/>
                  </a:lnTo>
                  <a:lnTo>
                    <a:pt x="32641" y="1981"/>
                  </a:lnTo>
                  <a:lnTo>
                    <a:pt x="32547" y="2076"/>
                  </a:lnTo>
                  <a:lnTo>
                    <a:pt x="32924" y="1981"/>
                  </a:lnTo>
                  <a:lnTo>
                    <a:pt x="34245" y="1793"/>
                  </a:lnTo>
                  <a:lnTo>
                    <a:pt x="35848" y="1415"/>
                  </a:lnTo>
                  <a:lnTo>
                    <a:pt x="36981" y="1132"/>
                  </a:lnTo>
                  <a:lnTo>
                    <a:pt x="36981" y="1415"/>
                  </a:lnTo>
                  <a:lnTo>
                    <a:pt x="40943" y="1227"/>
                  </a:lnTo>
                  <a:lnTo>
                    <a:pt x="41509" y="1038"/>
                  </a:lnTo>
                  <a:lnTo>
                    <a:pt x="41697" y="1132"/>
                  </a:lnTo>
                  <a:lnTo>
                    <a:pt x="41509" y="1227"/>
                  </a:lnTo>
                  <a:lnTo>
                    <a:pt x="41320" y="1321"/>
                  </a:lnTo>
                  <a:lnTo>
                    <a:pt x="42263" y="1321"/>
                  </a:lnTo>
                  <a:lnTo>
                    <a:pt x="43113" y="1227"/>
                  </a:lnTo>
                  <a:lnTo>
                    <a:pt x="43396" y="1415"/>
                  </a:lnTo>
                  <a:lnTo>
                    <a:pt x="44056" y="1604"/>
                  </a:lnTo>
                  <a:lnTo>
                    <a:pt x="45943" y="2076"/>
                  </a:lnTo>
                  <a:lnTo>
                    <a:pt x="48018" y="2359"/>
                  </a:lnTo>
                  <a:lnTo>
                    <a:pt x="49622" y="2736"/>
                  </a:lnTo>
                  <a:lnTo>
                    <a:pt x="47641" y="1981"/>
                  </a:lnTo>
                  <a:lnTo>
                    <a:pt x="45282" y="1321"/>
                  </a:lnTo>
                  <a:lnTo>
                    <a:pt x="42735" y="755"/>
                  </a:lnTo>
                  <a:lnTo>
                    <a:pt x="40188" y="283"/>
                  </a:lnTo>
                  <a:lnTo>
                    <a:pt x="37735" y="95"/>
                  </a:lnTo>
                  <a:lnTo>
                    <a:pt x="35471" y="0"/>
                  </a:lnTo>
                  <a:close/>
                </a:path>
              </a:pathLst>
            </a:custGeom>
            <a:solidFill>
              <a:schemeClr val="bg1">
                <a:lumMod val="95000"/>
              </a:schemeClr>
            </a:solidFill>
            <a:ln w="0">
              <a:solidFill>
                <a:srgbClr val="0079D1"/>
              </a:solidFill>
            </a:ln>
          </p:spPr>
          <p:txBody>
            <a:bodyPr spcFirstLastPara="1" wrap="square" lIns="91425" tIns="91425" rIns="91425" bIns="91425" anchor="ctr" anchorCtr="0">
              <a:noAutofit/>
            </a:bodyPr>
            <a:lstStyle/>
            <a:p>
              <a:pPr marL="0" lvl="0" indent="0">
                <a:spcBef>
                  <a:spcPts val="0"/>
                </a:spcBef>
                <a:spcAft>
                  <a:spcPts val="0"/>
                </a:spcAft>
                <a:buNone/>
              </a:pPr>
              <a:endParaRPr sz="1400"/>
            </a:p>
          </p:txBody>
        </p:sp>
        <p:sp>
          <p:nvSpPr>
            <p:cNvPr id="657" name="TextBox 656">
              <a:extLst>
                <a:ext uri="{FF2B5EF4-FFF2-40B4-BE49-F238E27FC236}">
                  <a16:creationId xmlns:a16="http://schemas.microsoft.com/office/drawing/2014/main" id="{891EA7FE-6FE7-A244-B5EE-611E1BA3311E}"/>
                </a:ext>
              </a:extLst>
            </p:cNvPr>
            <p:cNvSpPr txBox="1"/>
            <p:nvPr/>
          </p:nvSpPr>
          <p:spPr>
            <a:xfrm>
              <a:off x="8676898" y="4619460"/>
              <a:ext cx="229951" cy="215444"/>
            </a:xfrm>
            <a:prstGeom prst="rect">
              <a:avLst/>
            </a:prstGeom>
            <a:noFill/>
          </p:spPr>
          <p:txBody>
            <a:bodyPr wrap="square" rtlCol="0">
              <a:spAutoFit/>
            </a:bodyPr>
            <a:lstStyle/>
            <a:p>
              <a:r>
                <a:rPr lang="en-US" sz="800" b="1" dirty="0">
                  <a:solidFill>
                    <a:srgbClr val="0079D1"/>
                  </a:solidFill>
                </a:rPr>
                <a:t>C</a:t>
              </a:r>
            </a:p>
          </p:txBody>
        </p:sp>
      </p:grpSp>
      <p:sp>
        <p:nvSpPr>
          <p:cNvPr id="658" name="TextBox 657">
            <a:extLst>
              <a:ext uri="{FF2B5EF4-FFF2-40B4-BE49-F238E27FC236}">
                <a16:creationId xmlns:a16="http://schemas.microsoft.com/office/drawing/2014/main" id="{A096649E-75AF-8540-AA4D-0BDD02ED7FD0}"/>
              </a:ext>
            </a:extLst>
          </p:cNvPr>
          <p:cNvSpPr txBox="1"/>
          <p:nvPr/>
        </p:nvSpPr>
        <p:spPr>
          <a:xfrm>
            <a:off x="358470" y="4871274"/>
            <a:ext cx="1776287" cy="304868"/>
          </a:xfrm>
          <a:prstGeom prst="rect">
            <a:avLst/>
          </a:prstGeom>
          <a:noFill/>
        </p:spPr>
        <p:txBody>
          <a:bodyPr wrap="square" tIns="90000" bIns="90000" rtlCol="0" anchor="t">
            <a:spAutoFit/>
          </a:bodyPr>
          <a:lstStyle>
            <a:defPPr>
              <a:defRPr lang="en-US"/>
            </a:defPPr>
            <a:lvl1pPr>
              <a:defRPr sz="700" b="1">
                <a:solidFill>
                  <a:srgbClr val="0079D1"/>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defRPr>
            </a:lvl1pPr>
          </a:lstStyle>
          <a:p>
            <a:r>
              <a:rPr lang="en-US" dirty="0" err="1"/>
              <a:t>Abinitio</a:t>
            </a:r>
            <a:r>
              <a:rPr lang="en-US" dirty="0"/>
              <a:t> ETL</a:t>
            </a:r>
          </a:p>
        </p:txBody>
      </p:sp>
      <p:grpSp>
        <p:nvGrpSpPr>
          <p:cNvPr id="659" name="Group 658">
            <a:extLst>
              <a:ext uri="{FF2B5EF4-FFF2-40B4-BE49-F238E27FC236}">
                <a16:creationId xmlns:a16="http://schemas.microsoft.com/office/drawing/2014/main" id="{7A1BCD83-23B7-BF42-9943-A3CF5BB635C4}"/>
              </a:ext>
            </a:extLst>
          </p:cNvPr>
          <p:cNvGrpSpPr/>
          <p:nvPr/>
        </p:nvGrpSpPr>
        <p:grpSpPr>
          <a:xfrm>
            <a:off x="154844" y="4939217"/>
            <a:ext cx="229951" cy="215444"/>
            <a:chOff x="8676898" y="4619460"/>
            <a:chExt cx="229951" cy="215444"/>
          </a:xfrm>
        </p:grpSpPr>
        <p:sp>
          <p:nvSpPr>
            <p:cNvPr id="660" name="Google Shape;431;p39">
              <a:extLst>
                <a:ext uri="{FF2B5EF4-FFF2-40B4-BE49-F238E27FC236}">
                  <a16:creationId xmlns:a16="http://schemas.microsoft.com/office/drawing/2014/main" id="{47CD167A-477B-4F41-BA3F-EE9F90CD27D8}"/>
                </a:ext>
              </a:extLst>
            </p:cNvPr>
            <p:cNvSpPr/>
            <p:nvPr/>
          </p:nvSpPr>
          <p:spPr>
            <a:xfrm>
              <a:off x="8709950" y="4635551"/>
              <a:ext cx="179407" cy="167874"/>
            </a:xfrm>
            <a:custGeom>
              <a:avLst/>
              <a:gdLst/>
              <a:ahLst/>
              <a:cxnLst/>
              <a:rect l="0" t="0" r="0" b="0"/>
              <a:pathLst>
                <a:path w="67641" h="69056" extrusionOk="0">
                  <a:moveTo>
                    <a:pt x="49622" y="2736"/>
                  </a:moveTo>
                  <a:lnTo>
                    <a:pt x="49622" y="2736"/>
                  </a:lnTo>
                  <a:lnTo>
                    <a:pt x="49622" y="2736"/>
                  </a:lnTo>
                  <a:close/>
                  <a:moveTo>
                    <a:pt x="59622" y="55565"/>
                  </a:moveTo>
                  <a:lnTo>
                    <a:pt x="59622" y="55565"/>
                  </a:lnTo>
                  <a:lnTo>
                    <a:pt x="59622" y="55565"/>
                  </a:lnTo>
                  <a:close/>
                  <a:moveTo>
                    <a:pt x="35471" y="0"/>
                  </a:moveTo>
                  <a:lnTo>
                    <a:pt x="34433" y="95"/>
                  </a:lnTo>
                  <a:lnTo>
                    <a:pt x="33584" y="189"/>
                  </a:lnTo>
                  <a:lnTo>
                    <a:pt x="32735" y="378"/>
                  </a:lnTo>
                  <a:lnTo>
                    <a:pt x="32169" y="566"/>
                  </a:lnTo>
                  <a:lnTo>
                    <a:pt x="31509" y="472"/>
                  </a:lnTo>
                  <a:lnTo>
                    <a:pt x="30754" y="472"/>
                  </a:lnTo>
                  <a:lnTo>
                    <a:pt x="29339" y="566"/>
                  </a:lnTo>
                  <a:lnTo>
                    <a:pt x="27830" y="849"/>
                  </a:lnTo>
                  <a:lnTo>
                    <a:pt x="26320" y="1321"/>
                  </a:lnTo>
                  <a:lnTo>
                    <a:pt x="24811" y="1981"/>
                  </a:lnTo>
                  <a:lnTo>
                    <a:pt x="23207" y="2736"/>
                  </a:lnTo>
                  <a:lnTo>
                    <a:pt x="21698" y="3585"/>
                  </a:lnTo>
                  <a:lnTo>
                    <a:pt x="20188" y="4623"/>
                  </a:lnTo>
                  <a:lnTo>
                    <a:pt x="18679" y="5661"/>
                  </a:lnTo>
                  <a:lnTo>
                    <a:pt x="17170" y="6793"/>
                  </a:lnTo>
                  <a:lnTo>
                    <a:pt x="15754" y="8019"/>
                  </a:lnTo>
                  <a:lnTo>
                    <a:pt x="14434" y="9151"/>
                  </a:lnTo>
                  <a:lnTo>
                    <a:pt x="11981" y="11510"/>
                  </a:lnTo>
                  <a:lnTo>
                    <a:pt x="10000" y="13774"/>
                  </a:lnTo>
                  <a:lnTo>
                    <a:pt x="7736" y="16981"/>
                  </a:lnTo>
                  <a:lnTo>
                    <a:pt x="8019" y="16321"/>
                  </a:lnTo>
                  <a:lnTo>
                    <a:pt x="8302" y="15660"/>
                  </a:lnTo>
                  <a:lnTo>
                    <a:pt x="7736" y="16604"/>
                  </a:lnTo>
                  <a:lnTo>
                    <a:pt x="7075" y="17642"/>
                  </a:lnTo>
                  <a:lnTo>
                    <a:pt x="7170" y="17830"/>
                  </a:lnTo>
                  <a:lnTo>
                    <a:pt x="6509" y="18868"/>
                  </a:lnTo>
                  <a:lnTo>
                    <a:pt x="7075" y="17359"/>
                  </a:lnTo>
                  <a:lnTo>
                    <a:pt x="6132" y="19057"/>
                  </a:lnTo>
                  <a:lnTo>
                    <a:pt x="5189" y="20849"/>
                  </a:lnTo>
                  <a:lnTo>
                    <a:pt x="4434" y="22736"/>
                  </a:lnTo>
                  <a:lnTo>
                    <a:pt x="3679" y="24622"/>
                  </a:lnTo>
                  <a:lnTo>
                    <a:pt x="2453" y="28490"/>
                  </a:lnTo>
                  <a:lnTo>
                    <a:pt x="1321" y="32169"/>
                  </a:lnTo>
                  <a:lnTo>
                    <a:pt x="1509" y="32264"/>
                  </a:lnTo>
                  <a:lnTo>
                    <a:pt x="1604" y="32453"/>
                  </a:lnTo>
                  <a:lnTo>
                    <a:pt x="1604" y="32641"/>
                  </a:lnTo>
                  <a:lnTo>
                    <a:pt x="1509" y="32924"/>
                  </a:lnTo>
                  <a:lnTo>
                    <a:pt x="1226" y="33396"/>
                  </a:lnTo>
                  <a:lnTo>
                    <a:pt x="1038" y="33585"/>
                  </a:lnTo>
                  <a:lnTo>
                    <a:pt x="1038" y="33773"/>
                  </a:lnTo>
                  <a:lnTo>
                    <a:pt x="1038" y="35000"/>
                  </a:lnTo>
                  <a:lnTo>
                    <a:pt x="849" y="36132"/>
                  </a:lnTo>
                  <a:lnTo>
                    <a:pt x="660" y="37358"/>
                  </a:lnTo>
                  <a:lnTo>
                    <a:pt x="472" y="38867"/>
                  </a:lnTo>
                  <a:lnTo>
                    <a:pt x="283" y="38301"/>
                  </a:lnTo>
                  <a:lnTo>
                    <a:pt x="94" y="39811"/>
                  </a:lnTo>
                  <a:lnTo>
                    <a:pt x="0" y="41509"/>
                  </a:lnTo>
                  <a:lnTo>
                    <a:pt x="94" y="43301"/>
                  </a:lnTo>
                  <a:lnTo>
                    <a:pt x="283" y="44056"/>
                  </a:lnTo>
                  <a:lnTo>
                    <a:pt x="472" y="44622"/>
                  </a:lnTo>
                  <a:lnTo>
                    <a:pt x="566" y="45660"/>
                  </a:lnTo>
                  <a:lnTo>
                    <a:pt x="755" y="46792"/>
                  </a:lnTo>
                  <a:lnTo>
                    <a:pt x="1226" y="48962"/>
                  </a:lnTo>
                  <a:lnTo>
                    <a:pt x="1981" y="51037"/>
                  </a:lnTo>
                  <a:lnTo>
                    <a:pt x="2924" y="53112"/>
                  </a:lnTo>
                  <a:lnTo>
                    <a:pt x="4057" y="55094"/>
                  </a:lnTo>
                  <a:lnTo>
                    <a:pt x="5283" y="56980"/>
                  </a:lnTo>
                  <a:lnTo>
                    <a:pt x="6698" y="58678"/>
                  </a:lnTo>
                  <a:lnTo>
                    <a:pt x="8113" y="60282"/>
                  </a:lnTo>
                  <a:lnTo>
                    <a:pt x="9056" y="61131"/>
                  </a:lnTo>
                  <a:lnTo>
                    <a:pt x="10000" y="61980"/>
                  </a:lnTo>
                  <a:lnTo>
                    <a:pt x="11038" y="62829"/>
                  </a:lnTo>
                  <a:lnTo>
                    <a:pt x="12075" y="63584"/>
                  </a:lnTo>
                  <a:lnTo>
                    <a:pt x="14339" y="64905"/>
                  </a:lnTo>
                  <a:lnTo>
                    <a:pt x="16604" y="66131"/>
                  </a:lnTo>
                  <a:lnTo>
                    <a:pt x="19056" y="67169"/>
                  </a:lnTo>
                  <a:lnTo>
                    <a:pt x="21509" y="67923"/>
                  </a:lnTo>
                  <a:lnTo>
                    <a:pt x="24056" y="68584"/>
                  </a:lnTo>
                  <a:lnTo>
                    <a:pt x="26603" y="69055"/>
                  </a:lnTo>
                  <a:lnTo>
                    <a:pt x="27830" y="69055"/>
                  </a:lnTo>
                  <a:lnTo>
                    <a:pt x="30188" y="68867"/>
                  </a:lnTo>
                  <a:lnTo>
                    <a:pt x="33113" y="68678"/>
                  </a:lnTo>
                  <a:lnTo>
                    <a:pt x="36509" y="68301"/>
                  </a:lnTo>
                  <a:lnTo>
                    <a:pt x="39811" y="67923"/>
                  </a:lnTo>
                  <a:lnTo>
                    <a:pt x="42735" y="67452"/>
                  </a:lnTo>
                  <a:lnTo>
                    <a:pt x="44905" y="66980"/>
                  </a:lnTo>
                  <a:lnTo>
                    <a:pt x="45565" y="66791"/>
                  </a:lnTo>
                  <a:lnTo>
                    <a:pt x="45943" y="66508"/>
                  </a:lnTo>
                  <a:lnTo>
                    <a:pt x="47358" y="65942"/>
                  </a:lnTo>
                  <a:lnTo>
                    <a:pt x="48018" y="65565"/>
                  </a:lnTo>
                  <a:lnTo>
                    <a:pt x="48678" y="65188"/>
                  </a:lnTo>
                  <a:lnTo>
                    <a:pt x="47924" y="65471"/>
                  </a:lnTo>
                  <a:lnTo>
                    <a:pt x="51509" y="62924"/>
                  </a:lnTo>
                  <a:lnTo>
                    <a:pt x="53301" y="61508"/>
                  </a:lnTo>
                  <a:lnTo>
                    <a:pt x="55093" y="59905"/>
                  </a:lnTo>
                  <a:lnTo>
                    <a:pt x="55093" y="59905"/>
                  </a:lnTo>
                  <a:lnTo>
                    <a:pt x="54810" y="60376"/>
                  </a:lnTo>
                  <a:lnTo>
                    <a:pt x="54339" y="60754"/>
                  </a:lnTo>
                  <a:lnTo>
                    <a:pt x="55376" y="59999"/>
                  </a:lnTo>
                  <a:lnTo>
                    <a:pt x="56320" y="59056"/>
                  </a:lnTo>
                  <a:lnTo>
                    <a:pt x="57075" y="58395"/>
                  </a:lnTo>
                  <a:lnTo>
                    <a:pt x="57169" y="58207"/>
                  </a:lnTo>
                  <a:lnTo>
                    <a:pt x="57075" y="58207"/>
                  </a:lnTo>
                  <a:lnTo>
                    <a:pt x="57924" y="57546"/>
                  </a:lnTo>
                  <a:lnTo>
                    <a:pt x="58678" y="56697"/>
                  </a:lnTo>
                  <a:lnTo>
                    <a:pt x="59339" y="55754"/>
                  </a:lnTo>
                  <a:lnTo>
                    <a:pt x="59905" y="54905"/>
                  </a:lnTo>
                  <a:lnTo>
                    <a:pt x="59716" y="54999"/>
                  </a:lnTo>
                  <a:lnTo>
                    <a:pt x="59622" y="54999"/>
                  </a:lnTo>
                  <a:lnTo>
                    <a:pt x="59810" y="54622"/>
                  </a:lnTo>
                  <a:lnTo>
                    <a:pt x="59150" y="55565"/>
                  </a:lnTo>
                  <a:lnTo>
                    <a:pt x="59527" y="55094"/>
                  </a:lnTo>
                  <a:lnTo>
                    <a:pt x="59433" y="55377"/>
                  </a:lnTo>
                  <a:lnTo>
                    <a:pt x="58867" y="56037"/>
                  </a:lnTo>
                  <a:lnTo>
                    <a:pt x="59056" y="55660"/>
                  </a:lnTo>
                  <a:lnTo>
                    <a:pt x="59056" y="55660"/>
                  </a:lnTo>
                  <a:lnTo>
                    <a:pt x="58678" y="56037"/>
                  </a:lnTo>
                  <a:lnTo>
                    <a:pt x="59810" y="54339"/>
                  </a:lnTo>
                  <a:lnTo>
                    <a:pt x="60282" y="53490"/>
                  </a:lnTo>
                  <a:lnTo>
                    <a:pt x="60282" y="53301"/>
                  </a:lnTo>
                  <a:lnTo>
                    <a:pt x="60188" y="53395"/>
                  </a:lnTo>
                  <a:lnTo>
                    <a:pt x="60188" y="53395"/>
                  </a:lnTo>
                  <a:lnTo>
                    <a:pt x="60565" y="52924"/>
                  </a:lnTo>
                  <a:lnTo>
                    <a:pt x="61037" y="52452"/>
                  </a:lnTo>
                  <a:lnTo>
                    <a:pt x="61886" y="51509"/>
                  </a:lnTo>
                  <a:lnTo>
                    <a:pt x="61508" y="52452"/>
                  </a:lnTo>
                  <a:lnTo>
                    <a:pt x="60848" y="53584"/>
                  </a:lnTo>
                  <a:lnTo>
                    <a:pt x="59622" y="55565"/>
                  </a:lnTo>
                  <a:lnTo>
                    <a:pt x="60376" y="54528"/>
                  </a:lnTo>
                  <a:lnTo>
                    <a:pt x="60942" y="53678"/>
                  </a:lnTo>
                  <a:lnTo>
                    <a:pt x="61980" y="51792"/>
                  </a:lnTo>
                  <a:lnTo>
                    <a:pt x="61886" y="51886"/>
                  </a:lnTo>
                  <a:lnTo>
                    <a:pt x="61886" y="51697"/>
                  </a:lnTo>
                  <a:lnTo>
                    <a:pt x="62169" y="51037"/>
                  </a:lnTo>
                  <a:lnTo>
                    <a:pt x="62735" y="49999"/>
                  </a:lnTo>
                  <a:lnTo>
                    <a:pt x="61508" y="51603"/>
                  </a:lnTo>
                  <a:lnTo>
                    <a:pt x="61603" y="51037"/>
                  </a:lnTo>
                  <a:lnTo>
                    <a:pt x="61697" y="50377"/>
                  </a:lnTo>
                  <a:lnTo>
                    <a:pt x="62169" y="48962"/>
                  </a:lnTo>
                  <a:lnTo>
                    <a:pt x="62829" y="47358"/>
                  </a:lnTo>
                  <a:lnTo>
                    <a:pt x="63678" y="45565"/>
                  </a:lnTo>
                  <a:lnTo>
                    <a:pt x="65376" y="42169"/>
                  </a:lnTo>
                  <a:lnTo>
                    <a:pt x="66131" y="40660"/>
                  </a:lnTo>
                  <a:lnTo>
                    <a:pt x="66697" y="39339"/>
                  </a:lnTo>
                  <a:lnTo>
                    <a:pt x="66603" y="39528"/>
                  </a:lnTo>
                  <a:lnTo>
                    <a:pt x="66697" y="39056"/>
                  </a:lnTo>
                  <a:lnTo>
                    <a:pt x="66791" y="38962"/>
                  </a:lnTo>
                  <a:lnTo>
                    <a:pt x="66791" y="39056"/>
                  </a:lnTo>
                  <a:lnTo>
                    <a:pt x="66886" y="38584"/>
                  </a:lnTo>
                  <a:lnTo>
                    <a:pt x="66791" y="38867"/>
                  </a:lnTo>
                  <a:lnTo>
                    <a:pt x="66980" y="38207"/>
                  </a:lnTo>
                  <a:lnTo>
                    <a:pt x="67169" y="37264"/>
                  </a:lnTo>
                  <a:lnTo>
                    <a:pt x="67263" y="36415"/>
                  </a:lnTo>
                  <a:lnTo>
                    <a:pt x="67357" y="36509"/>
                  </a:lnTo>
                  <a:lnTo>
                    <a:pt x="67452" y="36509"/>
                  </a:lnTo>
                  <a:lnTo>
                    <a:pt x="67546" y="35943"/>
                  </a:lnTo>
                  <a:lnTo>
                    <a:pt x="67546" y="34811"/>
                  </a:lnTo>
                  <a:lnTo>
                    <a:pt x="67640" y="31037"/>
                  </a:lnTo>
                  <a:lnTo>
                    <a:pt x="67640" y="28490"/>
                  </a:lnTo>
                  <a:lnTo>
                    <a:pt x="67546" y="27736"/>
                  </a:lnTo>
                  <a:lnTo>
                    <a:pt x="67546" y="27547"/>
                  </a:lnTo>
                  <a:lnTo>
                    <a:pt x="67452" y="27547"/>
                  </a:lnTo>
                  <a:lnTo>
                    <a:pt x="67074" y="26792"/>
                  </a:lnTo>
                  <a:lnTo>
                    <a:pt x="66791" y="25660"/>
                  </a:lnTo>
                  <a:lnTo>
                    <a:pt x="66508" y="24528"/>
                  </a:lnTo>
                  <a:lnTo>
                    <a:pt x="66414" y="23585"/>
                  </a:lnTo>
                  <a:lnTo>
                    <a:pt x="66320" y="23679"/>
                  </a:lnTo>
                  <a:lnTo>
                    <a:pt x="66320" y="23490"/>
                  </a:lnTo>
                  <a:lnTo>
                    <a:pt x="65942" y="22924"/>
                  </a:lnTo>
                  <a:lnTo>
                    <a:pt x="65565" y="22358"/>
                  </a:lnTo>
                  <a:lnTo>
                    <a:pt x="64527" y="21132"/>
                  </a:lnTo>
                  <a:lnTo>
                    <a:pt x="63584" y="19906"/>
                  </a:lnTo>
                  <a:lnTo>
                    <a:pt x="63207" y="19340"/>
                  </a:lnTo>
                  <a:lnTo>
                    <a:pt x="63018" y="18774"/>
                  </a:lnTo>
                  <a:lnTo>
                    <a:pt x="63112" y="18962"/>
                  </a:lnTo>
                  <a:lnTo>
                    <a:pt x="63301" y="19057"/>
                  </a:lnTo>
                  <a:lnTo>
                    <a:pt x="63301" y="19057"/>
                  </a:lnTo>
                  <a:lnTo>
                    <a:pt x="63207" y="18868"/>
                  </a:lnTo>
                  <a:lnTo>
                    <a:pt x="62923" y="18491"/>
                  </a:lnTo>
                  <a:lnTo>
                    <a:pt x="61980" y="17453"/>
                  </a:lnTo>
                  <a:lnTo>
                    <a:pt x="61037" y="16509"/>
                  </a:lnTo>
                  <a:lnTo>
                    <a:pt x="61037" y="16698"/>
                  </a:lnTo>
                  <a:lnTo>
                    <a:pt x="61037" y="16887"/>
                  </a:lnTo>
                  <a:lnTo>
                    <a:pt x="60093" y="15943"/>
                  </a:lnTo>
                  <a:lnTo>
                    <a:pt x="60376" y="16321"/>
                  </a:lnTo>
                  <a:lnTo>
                    <a:pt x="59527" y="15377"/>
                  </a:lnTo>
                  <a:lnTo>
                    <a:pt x="59056" y="14906"/>
                  </a:lnTo>
                  <a:lnTo>
                    <a:pt x="59244" y="14906"/>
                  </a:lnTo>
                  <a:lnTo>
                    <a:pt x="59905" y="15472"/>
                  </a:lnTo>
                  <a:lnTo>
                    <a:pt x="59905" y="15472"/>
                  </a:lnTo>
                  <a:lnTo>
                    <a:pt x="57641" y="13396"/>
                  </a:lnTo>
                  <a:lnTo>
                    <a:pt x="58112" y="13868"/>
                  </a:lnTo>
                  <a:lnTo>
                    <a:pt x="56886" y="13019"/>
                  </a:lnTo>
                  <a:lnTo>
                    <a:pt x="55754" y="12453"/>
                  </a:lnTo>
                  <a:lnTo>
                    <a:pt x="56603" y="13113"/>
                  </a:lnTo>
                  <a:lnTo>
                    <a:pt x="57452" y="13774"/>
                  </a:lnTo>
                  <a:lnTo>
                    <a:pt x="58961" y="15283"/>
                  </a:lnTo>
                  <a:lnTo>
                    <a:pt x="60376" y="16604"/>
                  </a:lnTo>
                  <a:lnTo>
                    <a:pt x="61225" y="17264"/>
                  </a:lnTo>
                  <a:lnTo>
                    <a:pt x="62074" y="17925"/>
                  </a:lnTo>
                  <a:lnTo>
                    <a:pt x="62074" y="17925"/>
                  </a:lnTo>
                  <a:lnTo>
                    <a:pt x="61414" y="17547"/>
                  </a:lnTo>
                  <a:lnTo>
                    <a:pt x="60659" y="16981"/>
                  </a:lnTo>
                  <a:lnTo>
                    <a:pt x="60754" y="17264"/>
                  </a:lnTo>
                  <a:lnTo>
                    <a:pt x="60942" y="17642"/>
                  </a:lnTo>
                  <a:lnTo>
                    <a:pt x="61980" y="19151"/>
                  </a:lnTo>
                  <a:lnTo>
                    <a:pt x="63301" y="20943"/>
                  </a:lnTo>
                  <a:lnTo>
                    <a:pt x="63207" y="20943"/>
                  </a:lnTo>
                  <a:lnTo>
                    <a:pt x="63395" y="21038"/>
                  </a:lnTo>
                  <a:lnTo>
                    <a:pt x="63490" y="21321"/>
                  </a:lnTo>
                  <a:lnTo>
                    <a:pt x="63678" y="21604"/>
                  </a:lnTo>
                  <a:lnTo>
                    <a:pt x="63773" y="21698"/>
                  </a:lnTo>
                  <a:lnTo>
                    <a:pt x="63584" y="21321"/>
                  </a:lnTo>
                  <a:lnTo>
                    <a:pt x="63584" y="21321"/>
                  </a:lnTo>
                  <a:lnTo>
                    <a:pt x="64244" y="22170"/>
                  </a:lnTo>
                  <a:lnTo>
                    <a:pt x="64716" y="22641"/>
                  </a:lnTo>
                  <a:lnTo>
                    <a:pt x="64905" y="22830"/>
                  </a:lnTo>
                  <a:lnTo>
                    <a:pt x="64999" y="22830"/>
                  </a:lnTo>
                  <a:lnTo>
                    <a:pt x="64999" y="22641"/>
                  </a:lnTo>
                  <a:lnTo>
                    <a:pt x="64905" y="22358"/>
                  </a:lnTo>
                  <a:lnTo>
                    <a:pt x="65282" y="23207"/>
                  </a:lnTo>
                  <a:lnTo>
                    <a:pt x="65565" y="24056"/>
                  </a:lnTo>
                  <a:lnTo>
                    <a:pt x="66225" y="25943"/>
                  </a:lnTo>
                  <a:lnTo>
                    <a:pt x="66697" y="27830"/>
                  </a:lnTo>
                  <a:lnTo>
                    <a:pt x="66886" y="28490"/>
                  </a:lnTo>
                  <a:lnTo>
                    <a:pt x="66980" y="28868"/>
                  </a:lnTo>
                  <a:lnTo>
                    <a:pt x="66886" y="28962"/>
                  </a:lnTo>
                  <a:lnTo>
                    <a:pt x="66697" y="28679"/>
                  </a:lnTo>
                  <a:lnTo>
                    <a:pt x="66697" y="29245"/>
                  </a:lnTo>
                  <a:lnTo>
                    <a:pt x="66791" y="29905"/>
                  </a:lnTo>
                  <a:lnTo>
                    <a:pt x="66886" y="29905"/>
                  </a:lnTo>
                  <a:lnTo>
                    <a:pt x="66886" y="30094"/>
                  </a:lnTo>
                  <a:lnTo>
                    <a:pt x="66886" y="30566"/>
                  </a:lnTo>
                  <a:lnTo>
                    <a:pt x="66697" y="30377"/>
                  </a:lnTo>
                  <a:lnTo>
                    <a:pt x="66603" y="30188"/>
                  </a:lnTo>
                  <a:lnTo>
                    <a:pt x="66603" y="30094"/>
                  </a:lnTo>
                  <a:lnTo>
                    <a:pt x="66697" y="29905"/>
                  </a:lnTo>
                  <a:lnTo>
                    <a:pt x="66508" y="28679"/>
                  </a:lnTo>
                  <a:lnTo>
                    <a:pt x="66225" y="27358"/>
                  </a:lnTo>
                  <a:lnTo>
                    <a:pt x="66603" y="30283"/>
                  </a:lnTo>
                  <a:lnTo>
                    <a:pt x="66697" y="31792"/>
                  </a:lnTo>
                  <a:lnTo>
                    <a:pt x="66697" y="33302"/>
                  </a:lnTo>
                  <a:lnTo>
                    <a:pt x="66603" y="34717"/>
                  </a:lnTo>
                  <a:lnTo>
                    <a:pt x="66414" y="36226"/>
                  </a:lnTo>
                  <a:lnTo>
                    <a:pt x="66131" y="37547"/>
                  </a:lnTo>
                  <a:lnTo>
                    <a:pt x="65659" y="38962"/>
                  </a:lnTo>
                  <a:lnTo>
                    <a:pt x="65848" y="38584"/>
                  </a:lnTo>
                  <a:lnTo>
                    <a:pt x="65942" y="38584"/>
                  </a:lnTo>
                  <a:lnTo>
                    <a:pt x="65848" y="39245"/>
                  </a:lnTo>
                  <a:lnTo>
                    <a:pt x="65565" y="40188"/>
                  </a:lnTo>
                  <a:lnTo>
                    <a:pt x="65471" y="40471"/>
                  </a:lnTo>
                  <a:lnTo>
                    <a:pt x="65282" y="40660"/>
                  </a:lnTo>
                  <a:lnTo>
                    <a:pt x="65282" y="40566"/>
                  </a:lnTo>
                  <a:lnTo>
                    <a:pt x="65093" y="41132"/>
                  </a:lnTo>
                  <a:lnTo>
                    <a:pt x="64433" y="43018"/>
                  </a:lnTo>
                  <a:lnTo>
                    <a:pt x="63678" y="45282"/>
                  </a:lnTo>
                  <a:lnTo>
                    <a:pt x="62735" y="47264"/>
                  </a:lnTo>
                  <a:lnTo>
                    <a:pt x="61697" y="49056"/>
                  </a:lnTo>
                  <a:lnTo>
                    <a:pt x="60659" y="50943"/>
                  </a:lnTo>
                  <a:lnTo>
                    <a:pt x="59433" y="52735"/>
                  </a:lnTo>
                  <a:lnTo>
                    <a:pt x="58207" y="54433"/>
                  </a:lnTo>
                  <a:lnTo>
                    <a:pt x="56886" y="56037"/>
                  </a:lnTo>
                  <a:lnTo>
                    <a:pt x="55376" y="57641"/>
                  </a:lnTo>
                  <a:lnTo>
                    <a:pt x="53867" y="59150"/>
                  </a:lnTo>
                  <a:lnTo>
                    <a:pt x="52169" y="60376"/>
                  </a:lnTo>
                  <a:lnTo>
                    <a:pt x="48961" y="62452"/>
                  </a:lnTo>
                  <a:lnTo>
                    <a:pt x="44528" y="65282"/>
                  </a:lnTo>
                  <a:lnTo>
                    <a:pt x="44622" y="65188"/>
                  </a:lnTo>
                  <a:lnTo>
                    <a:pt x="44716" y="65093"/>
                  </a:lnTo>
                  <a:lnTo>
                    <a:pt x="45094" y="64810"/>
                  </a:lnTo>
                  <a:lnTo>
                    <a:pt x="45660" y="64527"/>
                  </a:lnTo>
                  <a:lnTo>
                    <a:pt x="43867" y="65376"/>
                  </a:lnTo>
                  <a:lnTo>
                    <a:pt x="43113" y="65754"/>
                  </a:lnTo>
                  <a:lnTo>
                    <a:pt x="42924" y="65754"/>
                  </a:lnTo>
                  <a:lnTo>
                    <a:pt x="43113" y="65659"/>
                  </a:lnTo>
                  <a:lnTo>
                    <a:pt x="41603" y="66037"/>
                  </a:lnTo>
                  <a:lnTo>
                    <a:pt x="39999" y="66320"/>
                  </a:lnTo>
                  <a:lnTo>
                    <a:pt x="38396" y="66508"/>
                  </a:lnTo>
                  <a:lnTo>
                    <a:pt x="36792" y="66697"/>
                  </a:lnTo>
                  <a:lnTo>
                    <a:pt x="33584" y="66980"/>
                  </a:lnTo>
                  <a:lnTo>
                    <a:pt x="32169" y="67169"/>
                  </a:lnTo>
                  <a:lnTo>
                    <a:pt x="30754" y="67357"/>
                  </a:lnTo>
                  <a:lnTo>
                    <a:pt x="30094" y="67357"/>
                  </a:lnTo>
                  <a:lnTo>
                    <a:pt x="29339" y="67263"/>
                  </a:lnTo>
                  <a:lnTo>
                    <a:pt x="27830" y="66886"/>
                  </a:lnTo>
                  <a:lnTo>
                    <a:pt x="26415" y="66508"/>
                  </a:lnTo>
                  <a:lnTo>
                    <a:pt x="25754" y="66414"/>
                  </a:lnTo>
                  <a:lnTo>
                    <a:pt x="25094" y="66414"/>
                  </a:lnTo>
                  <a:lnTo>
                    <a:pt x="25566" y="66980"/>
                  </a:lnTo>
                  <a:lnTo>
                    <a:pt x="25471" y="67074"/>
                  </a:lnTo>
                  <a:lnTo>
                    <a:pt x="25188" y="66980"/>
                  </a:lnTo>
                  <a:lnTo>
                    <a:pt x="24339" y="66791"/>
                  </a:lnTo>
                  <a:lnTo>
                    <a:pt x="23773" y="66508"/>
                  </a:lnTo>
                  <a:lnTo>
                    <a:pt x="24245" y="66414"/>
                  </a:lnTo>
                  <a:lnTo>
                    <a:pt x="24717" y="66603"/>
                  </a:lnTo>
                  <a:lnTo>
                    <a:pt x="24811" y="66414"/>
                  </a:lnTo>
                  <a:lnTo>
                    <a:pt x="24811" y="66320"/>
                  </a:lnTo>
                  <a:lnTo>
                    <a:pt x="24717" y="66225"/>
                  </a:lnTo>
                  <a:lnTo>
                    <a:pt x="24528" y="66131"/>
                  </a:lnTo>
                  <a:lnTo>
                    <a:pt x="24151" y="66225"/>
                  </a:lnTo>
                  <a:lnTo>
                    <a:pt x="23679" y="66320"/>
                  </a:lnTo>
                  <a:lnTo>
                    <a:pt x="23018" y="66414"/>
                  </a:lnTo>
                  <a:lnTo>
                    <a:pt x="23490" y="66225"/>
                  </a:lnTo>
                  <a:lnTo>
                    <a:pt x="22075" y="65942"/>
                  </a:lnTo>
                  <a:lnTo>
                    <a:pt x="20943" y="65659"/>
                  </a:lnTo>
                  <a:lnTo>
                    <a:pt x="20000" y="65282"/>
                  </a:lnTo>
                  <a:lnTo>
                    <a:pt x="19056" y="64810"/>
                  </a:lnTo>
                  <a:lnTo>
                    <a:pt x="19056" y="64810"/>
                  </a:lnTo>
                  <a:lnTo>
                    <a:pt x="19717" y="64999"/>
                  </a:lnTo>
                  <a:lnTo>
                    <a:pt x="19151" y="64716"/>
                  </a:lnTo>
                  <a:lnTo>
                    <a:pt x="18962" y="64810"/>
                  </a:lnTo>
                  <a:lnTo>
                    <a:pt x="19151" y="64905"/>
                  </a:lnTo>
                  <a:lnTo>
                    <a:pt x="18490" y="64905"/>
                  </a:lnTo>
                  <a:lnTo>
                    <a:pt x="17830" y="64716"/>
                  </a:lnTo>
                  <a:lnTo>
                    <a:pt x="17264" y="64527"/>
                  </a:lnTo>
                  <a:lnTo>
                    <a:pt x="16698" y="64150"/>
                  </a:lnTo>
                  <a:lnTo>
                    <a:pt x="16981" y="64056"/>
                  </a:lnTo>
                  <a:lnTo>
                    <a:pt x="17264" y="64150"/>
                  </a:lnTo>
                  <a:lnTo>
                    <a:pt x="17264" y="64150"/>
                  </a:lnTo>
                  <a:lnTo>
                    <a:pt x="15188" y="63207"/>
                  </a:lnTo>
                  <a:lnTo>
                    <a:pt x="14622" y="62829"/>
                  </a:lnTo>
                  <a:lnTo>
                    <a:pt x="14717" y="62924"/>
                  </a:lnTo>
                  <a:lnTo>
                    <a:pt x="13773" y="62546"/>
                  </a:lnTo>
                  <a:lnTo>
                    <a:pt x="12924" y="62075"/>
                  </a:lnTo>
                  <a:lnTo>
                    <a:pt x="12358" y="61697"/>
                  </a:lnTo>
                  <a:lnTo>
                    <a:pt x="12264" y="61508"/>
                  </a:lnTo>
                  <a:lnTo>
                    <a:pt x="12170" y="61320"/>
                  </a:lnTo>
                  <a:lnTo>
                    <a:pt x="11698" y="60942"/>
                  </a:lnTo>
                  <a:lnTo>
                    <a:pt x="11132" y="60471"/>
                  </a:lnTo>
                  <a:lnTo>
                    <a:pt x="9906" y="59244"/>
                  </a:lnTo>
                  <a:lnTo>
                    <a:pt x="9906" y="59244"/>
                  </a:lnTo>
                  <a:lnTo>
                    <a:pt x="10566" y="59527"/>
                  </a:lnTo>
                  <a:lnTo>
                    <a:pt x="9434" y="58584"/>
                  </a:lnTo>
                  <a:lnTo>
                    <a:pt x="8207" y="57546"/>
                  </a:lnTo>
                  <a:lnTo>
                    <a:pt x="7547" y="56886"/>
                  </a:lnTo>
                  <a:lnTo>
                    <a:pt x="6981" y="56131"/>
                  </a:lnTo>
                  <a:lnTo>
                    <a:pt x="6226" y="55094"/>
                  </a:lnTo>
                  <a:lnTo>
                    <a:pt x="6415" y="55377"/>
                  </a:lnTo>
                  <a:lnTo>
                    <a:pt x="6038" y="54905"/>
                  </a:lnTo>
                  <a:lnTo>
                    <a:pt x="5472" y="54244"/>
                  </a:lnTo>
                  <a:lnTo>
                    <a:pt x="5283" y="53961"/>
                  </a:lnTo>
                  <a:lnTo>
                    <a:pt x="5094" y="53867"/>
                  </a:lnTo>
                  <a:lnTo>
                    <a:pt x="5377" y="54622"/>
                  </a:lnTo>
                  <a:lnTo>
                    <a:pt x="5849" y="55282"/>
                  </a:lnTo>
                  <a:lnTo>
                    <a:pt x="6321" y="55943"/>
                  </a:lnTo>
                  <a:lnTo>
                    <a:pt x="6698" y="56603"/>
                  </a:lnTo>
                  <a:lnTo>
                    <a:pt x="6226" y="56226"/>
                  </a:lnTo>
                  <a:lnTo>
                    <a:pt x="5943" y="55848"/>
                  </a:lnTo>
                  <a:lnTo>
                    <a:pt x="6038" y="56037"/>
                  </a:lnTo>
                  <a:lnTo>
                    <a:pt x="5943" y="55943"/>
                  </a:lnTo>
                  <a:lnTo>
                    <a:pt x="5377" y="55188"/>
                  </a:lnTo>
                  <a:lnTo>
                    <a:pt x="5000" y="54716"/>
                  </a:lnTo>
                  <a:lnTo>
                    <a:pt x="4717" y="54150"/>
                  </a:lnTo>
                  <a:lnTo>
                    <a:pt x="4528" y="53678"/>
                  </a:lnTo>
                  <a:lnTo>
                    <a:pt x="4528" y="53584"/>
                  </a:lnTo>
                  <a:lnTo>
                    <a:pt x="4623" y="53395"/>
                  </a:lnTo>
                  <a:lnTo>
                    <a:pt x="5094" y="54244"/>
                  </a:lnTo>
                  <a:lnTo>
                    <a:pt x="4717" y="53301"/>
                  </a:lnTo>
                  <a:lnTo>
                    <a:pt x="4528" y="53018"/>
                  </a:lnTo>
                  <a:lnTo>
                    <a:pt x="4151" y="52263"/>
                  </a:lnTo>
                  <a:lnTo>
                    <a:pt x="4151" y="52169"/>
                  </a:lnTo>
                  <a:lnTo>
                    <a:pt x="3774" y="51509"/>
                  </a:lnTo>
                  <a:lnTo>
                    <a:pt x="3396" y="50660"/>
                  </a:lnTo>
                  <a:lnTo>
                    <a:pt x="3585" y="51603"/>
                  </a:lnTo>
                  <a:lnTo>
                    <a:pt x="3396" y="51226"/>
                  </a:lnTo>
                  <a:lnTo>
                    <a:pt x="3208" y="50848"/>
                  </a:lnTo>
                  <a:lnTo>
                    <a:pt x="3208" y="50471"/>
                  </a:lnTo>
                  <a:lnTo>
                    <a:pt x="3208" y="50094"/>
                  </a:lnTo>
                  <a:lnTo>
                    <a:pt x="3585" y="50754"/>
                  </a:lnTo>
                  <a:lnTo>
                    <a:pt x="3868" y="51509"/>
                  </a:lnTo>
                  <a:lnTo>
                    <a:pt x="3868" y="51509"/>
                  </a:lnTo>
                  <a:lnTo>
                    <a:pt x="3208" y="49528"/>
                  </a:lnTo>
                  <a:lnTo>
                    <a:pt x="3208" y="49528"/>
                  </a:lnTo>
                  <a:lnTo>
                    <a:pt x="3868" y="50754"/>
                  </a:lnTo>
                  <a:lnTo>
                    <a:pt x="3208" y="48962"/>
                  </a:lnTo>
                  <a:lnTo>
                    <a:pt x="3585" y="49339"/>
                  </a:lnTo>
                  <a:lnTo>
                    <a:pt x="3774" y="49433"/>
                  </a:lnTo>
                  <a:lnTo>
                    <a:pt x="3962" y="49528"/>
                  </a:lnTo>
                  <a:lnTo>
                    <a:pt x="4057" y="49905"/>
                  </a:lnTo>
                  <a:lnTo>
                    <a:pt x="3868" y="48962"/>
                  </a:lnTo>
                  <a:lnTo>
                    <a:pt x="3491" y="47924"/>
                  </a:lnTo>
                  <a:lnTo>
                    <a:pt x="2641" y="45565"/>
                  </a:lnTo>
                  <a:lnTo>
                    <a:pt x="2170" y="43867"/>
                  </a:lnTo>
                  <a:lnTo>
                    <a:pt x="1698" y="41886"/>
                  </a:lnTo>
                  <a:lnTo>
                    <a:pt x="1698" y="41886"/>
                  </a:lnTo>
                  <a:lnTo>
                    <a:pt x="1887" y="42075"/>
                  </a:lnTo>
                  <a:lnTo>
                    <a:pt x="1981" y="41981"/>
                  </a:lnTo>
                  <a:lnTo>
                    <a:pt x="2075" y="42075"/>
                  </a:lnTo>
                  <a:lnTo>
                    <a:pt x="2264" y="42169"/>
                  </a:lnTo>
                  <a:lnTo>
                    <a:pt x="2170" y="40283"/>
                  </a:lnTo>
                  <a:lnTo>
                    <a:pt x="2075" y="38301"/>
                  </a:lnTo>
                  <a:lnTo>
                    <a:pt x="2170" y="36415"/>
                  </a:lnTo>
                  <a:lnTo>
                    <a:pt x="2358" y="35566"/>
                  </a:lnTo>
                  <a:lnTo>
                    <a:pt x="2453" y="34811"/>
                  </a:lnTo>
                  <a:lnTo>
                    <a:pt x="2830" y="32830"/>
                  </a:lnTo>
                  <a:lnTo>
                    <a:pt x="2830" y="33207"/>
                  </a:lnTo>
                  <a:lnTo>
                    <a:pt x="2924" y="33490"/>
                  </a:lnTo>
                  <a:lnTo>
                    <a:pt x="2924" y="32453"/>
                  </a:lnTo>
                  <a:lnTo>
                    <a:pt x="3019" y="31415"/>
                  </a:lnTo>
                  <a:lnTo>
                    <a:pt x="3396" y="29245"/>
                  </a:lnTo>
                  <a:lnTo>
                    <a:pt x="3868" y="27075"/>
                  </a:lnTo>
                  <a:lnTo>
                    <a:pt x="4623" y="25000"/>
                  </a:lnTo>
                  <a:lnTo>
                    <a:pt x="5566" y="22830"/>
                  </a:lnTo>
                  <a:lnTo>
                    <a:pt x="6604" y="20849"/>
                  </a:lnTo>
                  <a:lnTo>
                    <a:pt x="7830" y="18868"/>
                  </a:lnTo>
                  <a:lnTo>
                    <a:pt x="9151" y="16887"/>
                  </a:lnTo>
                  <a:lnTo>
                    <a:pt x="10566" y="15094"/>
                  </a:lnTo>
                  <a:lnTo>
                    <a:pt x="12075" y="13302"/>
                  </a:lnTo>
                  <a:lnTo>
                    <a:pt x="13773" y="11698"/>
                  </a:lnTo>
                  <a:lnTo>
                    <a:pt x="15377" y="10095"/>
                  </a:lnTo>
                  <a:lnTo>
                    <a:pt x="17170" y="8679"/>
                  </a:lnTo>
                  <a:lnTo>
                    <a:pt x="18962" y="7453"/>
                  </a:lnTo>
                  <a:lnTo>
                    <a:pt x="20754" y="6321"/>
                  </a:lnTo>
                  <a:lnTo>
                    <a:pt x="22547" y="5378"/>
                  </a:lnTo>
                  <a:lnTo>
                    <a:pt x="21603" y="6227"/>
                  </a:lnTo>
                  <a:lnTo>
                    <a:pt x="22641" y="5472"/>
                  </a:lnTo>
                  <a:lnTo>
                    <a:pt x="23302" y="5095"/>
                  </a:lnTo>
                  <a:lnTo>
                    <a:pt x="25377" y="4151"/>
                  </a:lnTo>
                  <a:lnTo>
                    <a:pt x="24811" y="4151"/>
                  </a:lnTo>
                  <a:lnTo>
                    <a:pt x="25660" y="3774"/>
                  </a:lnTo>
                  <a:lnTo>
                    <a:pt x="26886" y="3208"/>
                  </a:lnTo>
                  <a:lnTo>
                    <a:pt x="26603" y="3585"/>
                  </a:lnTo>
                  <a:lnTo>
                    <a:pt x="26886" y="3585"/>
                  </a:lnTo>
                  <a:lnTo>
                    <a:pt x="26886" y="3680"/>
                  </a:lnTo>
                  <a:lnTo>
                    <a:pt x="26792" y="3774"/>
                  </a:lnTo>
                  <a:lnTo>
                    <a:pt x="28301" y="3302"/>
                  </a:lnTo>
                  <a:lnTo>
                    <a:pt x="29622" y="2736"/>
                  </a:lnTo>
                  <a:lnTo>
                    <a:pt x="31037" y="2264"/>
                  </a:lnTo>
                  <a:lnTo>
                    <a:pt x="31792" y="2076"/>
                  </a:lnTo>
                  <a:lnTo>
                    <a:pt x="32641" y="1981"/>
                  </a:lnTo>
                  <a:lnTo>
                    <a:pt x="32547" y="2076"/>
                  </a:lnTo>
                  <a:lnTo>
                    <a:pt x="32924" y="1981"/>
                  </a:lnTo>
                  <a:lnTo>
                    <a:pt x="34245" y="1793"/>
                  </a:lnTo>
                  <a:lnTo>
                    <a:pt x="35848" y="1415"/>
                  </a:lnTo>
                  <a:lnTo>
                    <a:pt x="36981" y="1132"/>
                  </a:lnTo>
                  <a:lnTo>
                    <a:pt x="36981" y="1415"/>
                  </a:lnTo>
                  <a:lnTo>
                    <a:pt x="40943" y="1227"/>
                  </a:lnTo>
                  <a:lnTo>
                    <a:pt x="41509" y="1038"/>
                  </a:lnTo>
                  <a:lnTo>
                    <a:pt x="41697" y="1132"/>
                  </a:lnTo>
                  <a:lnTo>
                    <a:pt x="41509" y="1227"/>
                  </a:lnTo>
                  <a:lnTo>
                    <a:pt x="41320" y="1321"/>
                  </a:lnTo>
                  <a:lnTo>
                    <a:pt x="42263" y="1321"/>
                  </a:lnTo>
                  <a:lnTo>
                    <a:pt x="43113" y="1227"/>
                  </a:lnTo>
                  <a:lnTo>
                    <a:pt x="43396" y="1415"/>
                  </a:lnTo>
                  <a:lnTo>
                    <a:pt x="44056" y="1604"/>
                  </a:lnTo>
                  <a:lnTo>
                    <a:pt x="45943" y="2076"/>
                  </a:lnTo>
                  <a:lnTo>
                    <a:pt x="48018" y="2359"/>
                  </a:lnTo>
                  <a:lnTo>
                    <a:pt x="49622" y="2736"/>
                  </a:lnTo>
                  <a:lnTo>
                    <a:pt x="47641" y="1981"/>
                  </a:lnTo>
                  <a:lnTo>
                    <a:pt x="45282" y="1321"/>
                  </a:lnTo>
                  <a:lnTo>
                    <a:pt x="42735" y="755"/>
                  </a:lnTo>
                  <a:lnTo>
                    <a:pt x="40188" y="283"/>
                  </a:lnTo>
                  <a:lnTo>
                    <a:pt x="37735" y="95"/>
                  </a:lnTo>
                  <a:lnTo>
                    <a:pt x="35471" y="0"/>
                  </a:lnTo>
                  <a:close/>
                </a:path>
              </a:pathLst>
            </a:custGeom>
            <a:solidFill>
              <a:schemeClr val="bg1">
                <a:lumMod val="95000"/>
              </a:schemeClr>
            </a:solidFill>
            <a:ln w="0">
              <a:solidFill>
                <a:srgbClr val="0079D1"/>
              </a:solidFill>
            </a:ln>
          </p:spPr>
          <p:txBody>
            <a:bodyPr spcFirstLastPara="1" wrap="square" lIns="91425" tIns="91425" rIns="91425" bIns="91425" anchor="ctr" anchorCtr="0">
              <a:noAutofit/>
            </a:bodyPr>
            <a:lstStyle/>
            <a:p>
              <a:pPr marL="0" lvl="0" indent="0">
                <a:spcBef>
                  <a:spcPts val="0"/>
                </a:spcBef>
                <a:spcAft>
                  <a:spcPts val="0"/>
                </a:spcAft>
                <a:buNone/>
              </a:pPr>
              <a:endParaRPr sz="1400"/>
            </a:p>
          </p:txBody>
        </p:sp>
        <p:sp>
          <p:nvSpPr>
            <p:cNvPr id="661" name="TextBox 660">
              <a:extLst>
                <a:ext uri="{FF2B5EF4-FFF2-40B4-BE49-F238E27FC236}">
                  <a16:creationId xmlns:a16="http://schemas.microsoft.com/office/drawing/2014/main" id="{F6E37A92-5A7E-7148-9DC8-1424E03151DF}"/>
                </a:ext>
              </a:extLst>
            </p:cNvPr>
            <p:cNvSpPr txBox="1"/>
            <p:nvPr/>
          </p:nvSpPr>
          <p:spPr>
            <a:xfrm>
              <a:off x="8676898" y="4619460"/>
              <a:ext cx="229951" cy="215444"/>
            </a:xfrm>
            <a:prstGeom prst="rect">
              <a:avLst/>
            </a:prstGeom>
            <a:noFill/>
          </p:spPr>
          <p:txBody>
            <a:bodyPr wrap="square" rtlCol="0">
              <a:spAutoFit/>
            </a:bodyPr>
            <a:lstStyle/>
            <a:p>
              <a:r>
                <a:rPr lang="en-US" sz="800" b="1" dirty="0">
                  <a:solidFill>
                    <a:srgbClr val="0079D1"/>
                  </a:solidFill>
                </a:rPr>
                <a:t>D</a:t>
              </a:r>
            </a:p>
          </p:txBody>
        </p:sp>
      </p:grpSp>
      <p:sp>
        <p:nvSpPr>
          <p:cNvPr id="672" name="TextBox 671">
            <a:extLst>
              <a:ext uri="{FF2B5EF4-FFF2-40B4-BE49-F238E27FC236}">
                <a16:creationId xmlns:a16="http://schemas.microsoft.com/office/drawing/2014/main" id="{9139B61A-3B65-3F49-B1C7-A93615AF8BF4}"/>
              </a:ext>
            </a:extLst>
          </p:cNvPr>
          <p:cNvSpPr txBox="1"/>
          <p:nvPr/>
        </p:nvSpPr>
        <p:spPr>
          <a:xfrm>
            <a:off x="320069" y="3601563"/>
            <a:ext cx="926544" cy="289480"/>
          </a:xfrm>
          <a:prstGeom prst="rect">
            <a:avLst/>
          </a:prstGeom>
          <a:noFill/>
        </p:spPr>
        <p:txBody>
          <a:bodyPr wrap="square" tIns="90000" bIns="90000" rtlCol="0" anchor="t">
            <a:spAutoFit/>
          </a:bodyPr>
          <a:lstStyle/>
          <a:p>
            <a:r>
              <a:rPr lang="en-US" sz="700" b="1" dirty="0">
                <a:solidFill>
                  <a:srgbClr val="C5277F"/>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rPr>
              <a:t>Event Consumer</a:t>
            </a:r>
          </a:p>
        </p:txBody>
      </p:sp>
      <p:sp>
        <p:nvSpPr>
          <p:cNvPr id="673" name="Rounded Rectangle 672">
            <a:extLst>
              <a:ext uri="{FF2B5EF4-FFF2-40B4-BE49-F238E27FC236}">
                <a16:creationId xmlns:a16="http://schemas.microsoft.com/office/drawing/2014/main" id="{7B01CA00-AC8A-1942-8598-A9EFAD1736D9}"/>
              </a:ext>
            </a:extLst>
          </p:cNvPr>
          <p:cNvSpPr/>
          <p:nvPr/>
        </p:nvSpPr>
        <p:spPr>
          <a:xfrm>
            <a:off x="10936542" y="4594728"/>
            <a:ext cx="861873" cy="372555"/>
          </a:xfrm>
          <a:prstGeom prst="roundRect">
            <a:avLst/>
          </a:prstGeom>
          <a:solidFill>
            <a:schemeClr val="bg1">
              <a:lumMod val="85000"/>
            </a:schemeClr>
          </a:solidFill>
          <a:ln w="3175">
            <a:solidFill>
              <a:schemeClr val="bg1">
                <a:lumMod val="50000"/>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b="1" dirty="0">
              <a:solidFill>
                <a:schemeClr val="bg1">
                  <a:lumMod val="50000"/>
                </a:schemeClr>
              </a:solidFill>
              <a:latin typeface="+mj-lt"/>
              <a:ea typeface="Nanum Pen Script" panose="03040600000000000000" pitchFamily="66" charset="-127"/>
            </a:endParaRPr>
          </a:p>
          <a:p>
            <a:pPr algn="ctr"/>
            <a:endParaRPr lang="en-US" sz="900" b="1" dirty="0">
              <a:solidFill>
                <a:schemeClr val="bg1">
                  <a:lumMod val="50000"/>
                </a:schemeClr>
              </a:solidFill>
              <a:latin typeface="+mj-lt"/>
              <a:ea typeface="Nanum Pen Script" panose="03040600000000000000" pitchFamily="66" charset="-127"/>
            </a:endParaRPr>
          </a:p>
          <a:p>
            <a:pPr algn="ctr"/>
            <a:endParaRPr lang="en-US" sz="900" b="1" dirty="0">
              <a:solidFill>
                <a:schemeClr val="bg1">
                  <a:lumMod val="50000"/>
                </a:schemeClr>
              </a:solidFill>
              <a:latin typeface="+mj-lt"/>
              <a:ea typeface="Nanum Pen Script" panose="03040600000000000000" pitchFamily="66" charset="-127"/>
            </a:endParaRPr>
          </a:p>
          <a:p>
            <a:pPr algn="ctr"/>
            <a:endParaRPr lang="en-US" sz="900" b="1" dirty="0">
              <a:solidFill>
                <a:schemeClr val="bg1">
                  <a:lumMod val="50000"/>
                </a:schemeClr>
              </a:solidFill>
              <a:latin typeface="+mj-lt"/>
              <a:ea typeface="Nanum Pen Script" panose="03040600000000000000" pitchFamily="66" charset="-127"/>
            </a:endParaRPr>
          </a:p>
          <a:p>
            <a:pPr algn="ctr"/>
            <a:endParaRPr lang="en-US" sz="800" b="1" dirty="0">
              <a:solidFill>
                <a:schemeClr val="bg1">
                  <a:lumMod val="50000"/>
                </a:schemeClr>
              </a:solidFill>
              <a:latin typeface="+mj-lt"/>
              <a:ea typeface="Nanum Pen Script" panose="03040600000000000000" pitchFamily="66" charset="-127"/>
            </a:endParaRPr>
          </a:p>
          <a:p>
            <a:pPr algn="ctr"/>
            <a:endParaRPr lang="en-US" sz="800" b="1" dirty="0">
              <a:solidFill>
                <a:schemeClr val="bg1">
                  <a:lumMod val="50000"/>
                </a:schemeClr>
              </a:solidFill>
              <a:latin typeface="+mj-lt"/>
              <a:ea typeface="Nanum Pen Script" panose="03040600000000000000" pitchFamily="66" charset="-127"/>
            </a:endParaRPr>
          </a:p>
          <a:p>
            <a:pPr algn="ctr">
              <a:spcBef>
                <a:spcPts val="0"/>
              </a:spcBef>
            </a:pPr>
            <a:endParaRPr lang="en-US" sz="8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endParaRPr>
          </a:p>
          <a:p>
            <a:pPr algn="ctr">
              <a:spcBef>
                <a:spcPts val="0"/>
              </a:spcBef>
            </a:pPr>
            <a:r>
              <a:rPr lang="en-US" sz="8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Engine Evaluator</a:t>
            </a:r>
          </a:p>
          <a:p>
            <a:pPr algn="ctr">
              <a:spcBef>
                <a:spcPts val="0"/>
              </a:spcBef>
            </a:pPr>
            <a:endParaRPr lang="en-US" sz="8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endParaRPr>
          </a:p>
          <a:p>
            <a:pPr algn="ctr">
              <a:spcBef>
                <a:spcPts val="0"/>
              </a:spcBef>
            </a:pPr>
            <a:endParaRPr lang="en-US" sz="8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endParaRPr>
          </a:p>
          <a:p>
            <a:pPr algn="ctr">
              <a:spcBef>
                <a:spcPts val="0"/>
              </a:spcBef>
            </a:pPr>
            <a:endParaRPr lang="en-US" sz="8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endParaRPr>
          </a:p>
          <a:p>
            <a:pPr algn="ctr">
              <a:spcBef>
                <a:spcPts val="0"/>
              </a:spcBef>
            </a:pPr>
            <a:endParaRPr lang="en-US" dirty="0">
              <a:solidFill>
                <a:schemeClr val="tx1"/>
              </a:solidFill>
              <a:latin typeface="+mj-lt"/>
              <a:ea typeface="Nanum Pen Script" panose="03040600000000000000" pitchFamily="66" charset="-127"/>
            </a:endParaRPr>
          </a:p>
          <a:p>
            <a:pPr algn="ctr"/>
            <a:endParaRPr lang="en-US" dirty="0">
              <a:solidFill>
                <a:schemeClr val="tx1"/>
              </a:solidFill>
              <a:latin typeface="+mj-lt"/>
              <a:ea typeface="Nanum Pen Script" panose="03040600000000000000" pitchFamily="66" charset="-127"/>
            </a:endParaRPr>
          </a:p>
        </p:txBody>
      </p:sp>
      <p:cxnSp>
        <p:nvCxnSpPr>
          <p:cNvPr id="675" name="Elbow Connector 674">
            <a:extLst>
              <a:ext uri="{FF2B5EF4-FFF2-40B4-BE49-F238E27FC236}">
                <a16:creationId xmlns:a16="http://schemas.microsoft.com/office/drawing/2014/main" id="{B49CA13D-4CFE-824E-9B1F-ED0999901D7E}"/>
              </a:ext>
            </a:extLst>
          </p:cNvPr>
          <p:cNvCxnSpPr>
            <a:cxnSpLocks/>
            <a:stCxn id="439" idx="3"/>
            <a:endCxn id="673" idx="1"/>
          </p:cNvCxnSpPr>
          <p:nvPr/>
        </p:nvCxnSpPr>
        <p:spPr>
          <a:xfrm flipV="1">
            <a:off x="10353751" y="4781006"/>
            <a:ext cx="582791" cy="87789"/>
          </a:xfrm>
          <a:prstGeom prst="bentConnector3">
            <a:avLst>
              <a:gd name="adj1" fmla="val 50000"/>
            </a:avLst>
          </a:prstGeom>
          <a:ln>
            <a:solidFill>
              <a:schemeClr val="accent2">
                <a:lumMod val="50000"/>
              </a:schemeClr>
            </a:solidFill>
            <a:headEnd type="oval"/>
            <a:tailEnd type="triangle"/>
          </a:ln>
        </p:spPr>
        <p:style>
          <a:lnRef idx="1">
            <a:schemeClr val="accent1"/>
          </a:lnRef>
          <a:fillRef idx="0">
            <a:schemeClr val="accent1"/>
          </a:fillRef>
          <a:effectRef idx="0">
            <a:schemeClr val="accent1"/>
          </a:effectRef>
          <a:fontRef idx="minor">
            <a:schemeClr val="tx1"/>
          </a:fontRef>
        </p:style>
      </p:cxnSp>
      <p:grpSp>
        <p:nvGrpSpPr>
          <p:cNvPr id="678" name="Group 677">
            <a:extLst>
              <a:ext uri="{FF2B5EF4-FFF2-40B4-BE49-F238E27FC236}">
                <a16:creationId xmlns:a16="http://schemas.microsoft.com/office/drawing/2014/main" id="{BA86CBC4-435D-4241-9B33-32F09153C2A9}"/>
              </a:ext>
            </a:extLst>
          </p:cNvPr>
          <p:cNvGrpSpPr/>
          <p:nvPr/>
        </p:nvGrpSpPr>
        <p:grpSpPr>
          <a:xfrm>
            <a:off x="10353751" y="3017437"/>
            <a:ext cx="229951" cy="200055"/>
            <a:chOff x="8676898" y="4619460"/>
            <a:chExt cx="229951" cy="200055"/>
          </a:xfrm>
        </p:grpSpPr>
        <p:sp>
          <p:nvSpPr>
            <p:cNvPr id="679" name="Google Shape;431;p39">
              <a:extLst>
                <a:ext uri="{FF2B5EF4-FFF2-40B4-BE49-F238E27FC236}">
                  <a16:creationId xmlns:a16="http://schemas.microsoft.com/office/drawing/2014/main" id="{6EB6393C-9EB7-E644-82E7-EE21D8850CBB}"/>
                </a:ext>
              </a:extLst>
            </p:cNvPr>
            <p:cNvSpPr/>
            <p:nvPr/>
          </p:nvSpPr>
          <p:spPr>
            <a:xfrm>
              <a:off x="8709950" y="4635551"/>
              <a:ext cx="179407" cy="167874"/>
            </a:xfrm>
            <a:custGeom>
              <a:avLst/>
              <a:gdLst/>
              <a:ahLst/>
              <a:cxnLst/>
              <a:rect l="0" t="0" r="0" b="0"/>
              <a:pathLst>
                <a:path w="67641" h="69056" extrusionOk="0">
                  <a:moveTo>
                    <a:pt x="49622" y="2736"/>
                  </a:moveTo>
                  <a:lnTo>
                    <a:pt x="49622" y="2736"/>
                  </a:lnTo>
                  <a:lnTo>
                    <a:pt x="49622" y="2736"/>
                  </a:lnTo>
                  <a:close/>
                  <a:moveTo>
                    <a:pt x="59622" y="55565"/>
                  </a:moveTo>
                  <a:lnTo>
                    <a:pt x="59622" y="55565"/>
                  </a:lnTo>
                  <a:lnTo>
                    <a:pt x="59622" y="55565"/>
                  </a:lnTo>
                  <a:close/>
                  <a:moveTo>
                    <a:pt x="35471" y="0"/>
                  </a:moveTo>
                  <a:lnTo>
                    <a:pt x="34433" y="95"/>
                  </a:lnTo>
                  <a:lnTo>
                    <a:pt x="33584" y="189"/>
                  </a:lnTo>
                  <a:lnTo>
                    <a:pt x="32735" y="378"/>
                  </a:lnTo>
                  <a:lnTo>
                    <a:pt x="32169" y="566"/>
                  </a:lnTo>
                  <a:lnTo>
                    <a:pt x="31509" y="472"/>
                  </a:lnTo>
                  <a:lnTo>
                    <a:pt x="30754" y="472"/>
                  </a:lnTo>
                  <a:lnTo>
                    <a:pt x="29339" y="566"/>
                  </a:lnTo>
                  <a:lnTo>
                    <a:pt x="27830" y="849"/>
                  </a:lnTo>
                  <a:lnTo>
                    <a:pt x="26320" y="1321"/>
                  </a:lnTo>
                  <a:lnTo>
                    <a:pt x="24811" y="1981"/>
                  </a:lnTo>
                  <a:lnTo>
                    <a:pt x="23207" y="2736"/>
                  </a:lnTo>
                  <a:lnTo>
                    <a:pt x="21698" y="3585"/>
                  </a:lnTo>
                  <a:lnTo>
                    <a:pt x="20188" y="4623"/>
                  </a:lnTo>
                  <a:lnTo>
                    <a:pt x="18679" y="5661"/>
                  </a:lnTo>
                  <a:lnTo>
                    <a:pt x="17170" y="6793"/>
                  </a:lnTo>
                  <a:lnTo>
                    <a:pt x="15754" y="8019"/>
                  </a:lnTo>
                  <a:lnTo>
                    <a:pt x="14434" y="9151"/>
                  </a:lnTo>
                  <a:lnTo>
                    <a:pt x="11981" y="11510"/>
                  </a:lnTo>
                  <a:lnTo>
                    <a:pt x="10000" y="13774"/>
                  </a:lnTo>
                  <a:lnTo>
                    <a:pt x="7736" y="16981"/>
                  </a:lnTo>
                  <a:lnTo>
                    <a:pt x="8019" y="16321"/>
                  </a:lnTo>
                  <a:lnTo>
                    <a:pt x="8302" y="15660"/>
                  </a:lnTo>
                  <a:lnTo>
                    <a:pt x="7736" y="16604"/>
                  </a:lnTo>
                  <a:lnTo>
                    <a:pt x="7075" y="17642"/>
                  </a:lnTo>
                  <a:lnTo>
                    <a:pt x="7170" y="17830"/>
                  </a:lnTo>
                  <a:lnTo>
                    <a:pt x="6509" y="18868"/>
                  </a:lnTo>
                  <a:lnTo>
                    <a:pt x="7075" y="17359"/>
                  </a:lnTo>
                  <a:lnTo>
                    <a:pt x="6132" y="19057"/>
                  </a:lnTo>
                  <a:lnTo>
                    <a:pt x="5189" y="20849"/>
                  </a:lnTo>
                  <a:lnTo>
                    <a:pt x="4434" y="22736"/>
                  </a:lnTo>
                  <a:lnTo>
                    <a:pt x="3679" y="24622"/>
                  </a:lnTo>
                  <a:lnTo>
                    <a:pt x="2453" y="28490"/>
                  </a:lnTo>
                  <a:lnTo>
                    <a:pt x="1321" y="32169"/>
                  </a:lnTo>
                  <a:lnTo>
                    <a:pt x="1509" y="32264"/>
                  </a:lnTo>
                  <a:lnTo>
                    <a:pt x="1604" y="32453"/>
                  </a:lnTo>
                  <a:lnTo>
                    <a:pt x="1604" y="32641"/>
                  </a:lnTo>
                  <a:lnTo>
                    <a:pt x="1509" y="32924"/>
                  </a:lnTo>
                  <a:lnTo>
                    <a:pt x="1226" y="33396"/>
                  </a:lnTo>
                  <a:lnTo>
                    <a:pt x="1038" y="33585"/>
                  </a:lnTo>
                  <a:lnTo>
                    <a:pt x="1038" y="33773"/>
                  </a:lnTo>
                  <a:lnTo>
                    <a:pt x="1038" y="35000"/>
                  </a:lnTo>
                  <a:lnTo>
                    <a:pt x="849" y="36132"/>
                  </a:lnTo>
                  <a:lnTo>
                    <a:pt x="660" y="37358"/>
                  </a:lnTo>
                  <a:lnTo>
                    <a:pt x="472" y="38867"/>
                  </a:lnTo>
                  <a:lnTo>
                    <a:pt x="283" y="38301"/>
                  </a:lnTo>
                  <a:lnTo>
                    <a:pt x="94" y="39811"/>
                  </a:lnTo>
                  <a:lnTo>
                    <a:pt x="0" y="41509"/>
                  </a:lnTo>
                  <a:lnTo>
                    <a:pt x="94" y="43301"/>
                  </a:lnTo>
                  <a:lnTo>
                    <a:pt x="283" y="44056"/>
                  </a:lnTo>
                  <a:lnTo>
                    <a:pt x="472" y="44622"/>
                  </a:lnTo>
                  <a:lnTo>
                    <a:pt x="566" y="45660"/>
                  </a:lnTo>
                  <a:lnTo>
                    <a:pt x="755" y="46792"/>
                  </a:lnTo>
                  <a:lnTo>
                    <a:pt x="1226" y="48962"/>
                  </a:lnTo>
                  <a:lnTo>
                    <a:pt x="1981" y="51037"/>
                  </a:lnTo>
                  <a:lnTo>
                    <a:pt x="2924" y="53112"/>
                  </a:lnTo>
                  <a:lnTo>
                    <a:pt x="4057" y="55094"/>
                  </a:lnTo>
                  <a:lnTo>
                    <a:pt x="5283" y="56980"/>
                  </a:lnTo>
                  <a:lnTo>
                    <a:pt x="6698" y="58678"/>
                  </a:lnTo>
                  <a:lnTo>
                    <a:pt x="8113" y="60282"/>
                  </a:lnTo>
                  <a:lnTo>
                    <a:pt x="9056" y="61131"/>
                  </a:lnTo>
                  <a:lnTo>
                    <a:pt x="10000" y="61980"/>
                  </a:lnTo>
                  <a:lnTo>
                    <a:pt x="11038" y="62829"/>
                  </a:lnTo>
                  <a:lnTo>
                    <a:pt x="12075" y="63584"/>
                  </a:lnTo>
                  <a:lnTo>
                    <a:pt x="14339" y="64905"/>
                  </a:lnTo>
                  <a:lnTo>
                    <a:pt x="16604" y="66131"/>
                  </a:lnTo>
                  <a:lnTo>
                    <a:pt x="19056" y="67169"/>
                  </a:lnTo>
                  <a:lnTo>
                    <a:pt x="21509" y="67923"/>
                  </a:lnTo>
                  <a:lnTo>
                    <a:pt x="24056" y="68584"/>
                  </a:lnTo>
                  <a:lnTo>
                    <a:pt x="26603" y="69055"/>
                  </a:lnTo>
                  <a:lnTo>
                    <a:pt x="27830" y="69055"/>
                  </a:lnTo>
                  <a:lnTo>
                    <a:pt x="30188" y="68867"/>
                  </a:lnTo>
                  <a:lnTo>
                    <a:pt x="33113" y="68678"/>
                  </a:lnTo>
                  <a:lnTo>
                    <a:pt x="36509" y="68301"/>
                  </a:lnTo>
                  <a:lnTo>
                    <a:pt x="39811" y="67923"/>
                  </a:lnTo>
                  <a:lnTo>
                    <a:pt x="42735" y="67452"/>
                  </a:lnTo>
                  <a:lnTo>
                    <a:pt x="44905" y="66980"/>
                  </a:lnTo>
                  <a:lnTo>
                    <a:pt x="45565" y="66791"/>
                  </a:lnTo>
                  <a:lnTo>
                    <a:pt x="45943" y="66508"/>
                  </a:lnTo>
                  <a:lnTo>
                    <a:pt x="47358" y="65942"/>
                  </a:lnTo>
                  <a:lnTo>
                    <a:pt x="48018" y="65565"/>
                  </a:lnTo>
                  <a:lnTo>
                    <a:pt x="48678" y="65188"/>
                  </a:lnTo>
                  <a:lnTo>
                    <a:pt x="47924" y="65471"/>
                  </a:lnTo>
                  <a:lnTo>
                    <a:pt x="51509" y="62924"/>
                  </a:lnTo>
                  <a:lnTo>
                    <a:pt x="53301" y="61508"/>
                  </a:lnTo>
                  <a:lnTo>
                    <a:pt x="55093" y="59905"/>
                  </a:lnTo>
                  <a:lnTo>
                    <a:pt x="55093" y="59905"/>
                  </a:lnTo>
                  <a:lnTo>
                    <a:pt x="54810" y="60376"/>
                  </a:lnTo>
                  <a:lnTo>
                    <a:pt x="54339" y="60754"/>
                  </a:lnTo>
                  <a:lnTo>
                    <a:pt x="55376" y="59999"/>
                  </a:lnTo>
                  <a:lnTo>
                    <a:pt x="56320" y="59056"/>
                  </a:lnTo>
                  <a:lnTo>
                    <a:pt x="57075" y="58395"/>
                  </a:lnTo>
                  <a:lnTo>
                    <a:pt x="57169" y="58207"/>
                  </a:lnTo>
                  <a:lnTo>
                    <a:pt x="57075" y="58207"/>
                  </a:lnTo>
                  <a:lnTo>
                    <a:pt x="57924" y="57546"/>
                  </a:lnTo>
                  <a:lnTo>
                    <a:pt x="58678" y="56697"/>
                  </a:lnTo>
                  <a:lnTo>
                    <a:pt x="59339" y="55754"/>
                  </a:lnTo>
                  <a:lnTo>
                    <a:pt x="59905" y="54905"/>
                  </a:lnTo>
                  <a:lnTo>
                    <a:pt x="59716" y="54999"/>
                  </a:lnTo>
                  <a:lnTo>
                    <a:pt x="59622" y="54999"/>
                  </a:lnTo>
                  <a:lnTo>
                    <a:pt x="59810" y="54622"/>
                  </a:lnTo>
                  <a:lnTo>
                    <a:pt x="59150" y="55565"/>
                  </a:lnTo>
                  <a:lnTo>
                    <a:pt x="59527" y="55094"/>
                  </a:lnTo>
                  <a:lnTo>
                    <a:pt x="59433" y="55377"/>
                  </a:lnTo>
                  <a:lnTo>
                    <a:pt x="58867" y="56037"/>
                  </a:lnTo>
                  <a:lnTo>
                    <a:pt x="59056" y="55660"/>
                  </a:lnTo>
                  <a:lnTo>
                    <a:pt x="59056" y="55660"/>
                  </a:lnTo>
                  <a:lnTo>
                    <a:pt x="58678" y="56037"/>
                  </a:lnTo>
                  <a:lnTo>
                    <a:pt x="59810" y="54339"/>
                  </a:lnTo>
                  <a:lnTo>
                    <a:pt x="60282" y="53490"/>
                  </a:lnTo>
                  <a:lnTo>
                    <a:pt x="60282" y="53301"/>
                  </a:lnTo>
                  <a:lnTo>
                    <a:pt x="60188" y="53395"/>
                  </a:lnTo>
                  <a:lnTo>
                    <a:pt x="60188" y="53395"/>
                  </a:lnTo>
                  <a:lnTo>
                    <a:pt x="60565" y="52924"/>
                  </a:lnTo>
                  <a:lnTo>
                    <a:pt x="61037" y="52452"/>
                  </a:lnTo>
                  <a:lnTo>
                    <a:pt x="61886" y="51509"/>
                  </a:lnTo>
                  <a:lnTo>
                    <a:pt x="61508" y="52452"/>
                  </a:lnTo>
                  <a:lnTo>
                    <a:pt x="60848" y="53584"/>
                  </a:lnTo>
                  <a:lnTo>
                    <a:pt x="59622" y="55565"/>
                  </a:lnTo>
                  <a:lnTo>
                    <a:pt x="60376" y="54528"/>
                  </a:lnTo>
                  <a:lnTo>
                    <a:pt x="60942" y="53678"/>
                  </a:lnTo>
                  <a:lnTo>
                    <a:pt x="61980" y="51792"/>
                  </a:lnTo>
                  <a:lnTo>
                    <a:pt x="61886" y="51886"/>
                  </a:lnTo>
                  <a:lnTo>
                    <a:pt x="61886" y="51697"/>
                  </a:lnTo>
                  <a:lnTo>
                    <a:pt x="62169" y="51037"/>
                  </a:lnTo>
                  <a:lnTo>
                    <a:pt x="62735" y="49999"/>
                  </a:lnTo>
                  <a:lnTo>
                    <a:pt x="61508" y="51603"/>
                  </a:lnTo>
                  <a:lnTo>
                    <a:pt x="61603" y="51037"/>
                  </a:lnTo>
                  <a:lnTo>
                    <a:pt x="61697" y="50377"/>
                  </a:lnTo>
                  <a:lnTo>
                    <a:pt x="62169" y="48962"/>
                  </a:lnTo>
                  <a:lnTo>
                    <a:pt x="62829" y="47358"/>
                  </a:lnTo>
                  <a:lnTo>
                    <a:pt x="63678" y="45565"/>
                  </a:lnTo>
                  <a:lnTo>
                    <a:pt x="65376" y="42169"/>
                  </a:lnTo>
                  <a:lnTo>
                    <a:pt x="66131" y="40660"/>
                  </a:lnTo>
                  <a:lnTo>
                    <a:pt x="66697" y="39339"/>
                  </a:lnTo>
                  <a:lnTo>
                    <a:pt x="66603" y="39528"/>
                  </a:lnTo>
                  <a:lnTo>
                    <a:pt x="66697" y="39056"/>
                  </a:lnTo>
                  <a:lnTo>
                    <a:pt x="66791" y="38962"/>
                  </a:lnTo>
                  <a:lnTo>
                    <a:pt x="66791" y="39056"/>
                  </a:lnTo>
                  <a:lnTo>
                    <a:pt x="66886" y="38584"/>
                  </a:lnTo>
                  <a:lnTo>
                    <a:pt x="66791" y="38867"/>
                  </a:lnTo>
                  <a:lnTo>
                    <a:pt x="66980" y="38207"/>
                  </a:lnTo>
                  <a:lnTo>
                    <a:pt x="67169" y="37264"/>
                  </a:lnTo>
                  <a:lnTo>
                    <a:pt x="67263" y="36415"/>
                  </a:lnTo>
                  <a:lnTo>
                    <a:pt x="67357" y="36509"/>
                  </a:lnTo>
                  <a:lnTo>
                    <a:pt x="67452" y="36509"/>
                  </a:lnTo>
                  <a:lnTo>
                    <a:pt x="67546" y="35943"/>
                  </a:lnTo>
                  <a:lnTo>
                    <a:pt x="67546" y="34811"/>
                  </a:lnTo>
                  <a:lnTo>
                    <a:pt x="67640" y="31037"/>
                  </a:lnTo>
                  <a:lnTo>
                    <a:pt x="67640" y="28490"/>
                  </a:lnTo>
                  <a:lnTo>
                    <a:pt x="67546" y="27736"/>
                  </a:lnTo>
                  <a:lnTo>
                    <a:pt x="67546" y="27547"/>
                  </a:lnTo>
                  <a:lnTo>
                    <a:pt x="67452" y="27547"/>
                  </a:lnTo>
                  <a:lnTo>
                    <a:pt x="67074" y="26792"/>
                  </a:lnTo>
                  <a:lnTo>
                    <a:pt x="66791" y="25660"/>
                  </a:lnTo>
                  <a:lnTo>
                    <a:pt x="66508" y="24528"/>
                  </a:lnTo>
                  <a:lnTo>
                    <a:pt x="66414" y="23585"/>
                  </a:lnTo>
                  <a:lnTo>
                    <a:pt x="66320" y="23679"/>
                  </a:lnTo>
                  <a:lnTo>
                    <a:pt x="66320" y="23490"/>
                  </a:lnTo>
                  <a:lnTo>
                    <a:pt x="65942" y="22924"/>
                  </a:lnTo>
                  <a:lnTo>
                    <a:pt x="65565" y="22358"/>
                  </a:lnTo>
                  <a:lnTo>
                    <a:pt x="64527" y="21132"/>
                  </a:lnTo>
                  <a:lnTo>
                    <a:pt x="63584" y="19906"/>
                  </a:lnTo>
                  <a:lnTo>
                    <a:pt x="63207" y="19340"/>
                  </a:lnTo>
                  <a:lnTo>
                    <a:pt x="63018" y="18774"/>
                  </a:lnTo>
                  <a:lnTo>
                    <a:pt x="63112" y="18962"/>
                  </a:lnTo>
                  <a:lnTo>
                    <a:pt x="63301" y="19057"/>
                  </a:lnTo>
                  <a:lnTo>
                    <a:pt x="63301" y="19057"/>
                  </a:lnTo>
                  <a:lnTo>
                    <a:pt x="63207" y="18868"/>
                  </a:lnTo>
                  <a:lnTo>
                    <a:pt x="62923" y="18491"/>
                  </a:lnTo>
                  <a:lnTo>
                    <a:pt x="61980" y="17453"/>
                  </a:lnTo>
                  <a:lnTo>
                    <a:pt x="61037" y="16509"/>
                  </a:lnTo>
                  <a:lnTo>
                    <a:pt x="61037" y="16698"/>
                  </a:lnTo>
                  <a:lnTo>
                    <a:pt x="61037" y="16887"/>
                  </a:lnTo>
                  <a:lnTo>
                    <a:pt x="60093" y="15943"/>
                  </a:lnTo>
                  <a:lnTo>
                    <a:pt x="60376" y="16321"/>
                  </a:lnTo>
                  <a:lnTo>
                    <a:pt x="59527" y="15377"/>
                  </a:lnTo>
                  <a:lnTo>
                    <a:pt x="59056" y="14906"/>
                  </a:lnTo>
                  <a:lnTo>
                    <a:pt x="59244" y="14906"/>
                  </a:lnTo>
                  <a:lnTo>
                    <a:pt x="59905" y="15472"/>
                  </a:lnTo>
                  <a:lnTo>
                    <a:pt x="59905" y="15472"/>
                  </a:lnTo>
                  <a:lnTo>
                    <a:pt x="57641" y="13396"/>
                  </a:lnTo>
                  <a:lnTo>
                    <a:pt x="58112" y="13868"/>
                  </a:lnTo>
                  <a:lnTo>
                    <a:pt x="56886" y="13019"/>
                  </a:lnTo>
                  <a:lnTo>
                    <a:pt x="55754" y="12453"/>
                  </a:lnTo>
                  <a:lnTo>
                    <a:pt x="56603" y="13113"/>
                  </a:lnTo>
                  <a:lnTo>
                    <a:pt x="57452" y="13774"/>
                  </a:lnTo>
                  <a:lnTo>
                    <a:pt x="58961" y="15283"/>
                  </a:lnTo>
                  <a:lnTo>
                    <a:pt x="60376" y="16604"/>
                  </a:lnTo>
                  <a:lnTo>
                    <a:pt x="61225" y="17264"/>
                  </a:lnTo>
                  <a:lnTo>
                    <a:pt x="62074" y="17925"/>
                  </a:lnTo>
                  <a:lnTo>
                    <a:pt x="62074" y="17925"/>
                  </a:lnTo>
                  <a:lnTo>
                    <a:pt x="61414" y="17547"/>
                  </a:lnTo>
                  <a:lnTo>
                    <a:pt x="60659" y="16981"/>
                  </a:lnTo>
                  <a:lnTo>
                    <a:pt x="60754" y="17264"/>
                  </a:lnTo>
                  <a:lnTo>
                    <a:pt x="60942" y="17642"/>
                  </a:lnTo>
                  <a:lnTo>
                    <a:pt x="61980" y="19151"/>
                  </a:lnTo>
                  <a:lnTo>
                    <a:pt x="63301" y="20943"/>
                  </a:lnTo>
                  <a:lnTo>
                    <a:pt x="63207" y="20943"/>
                  </a:lnTo>
                  <a:lnTo>
                    <a:pt x="63395" y="21038"/>
                  </a:lnTo>
                  <a:lnTo>
                    <a:pt x="63490" y="21321"/>
                  </a:lnTo>
                  <a:lnTo>
                    <a:pt x="63678" y="21604"/>
                  </a:lnTo>
                  <a:lnTo>
                    <a:pt x="63773" y="21698"/>
                  </a:lnTo>
                  <a:lnTo>
                    <a:pt x="63584" y="21321"/>
                  </a:lnTo>
                  <a:lnTo>
                    <a:pt x="63584" y="21321"/>
                  </a:lnTo>
                  <a:lnTo>
                    <a:pt x="64244" y="22170"/>
                  </a:lnTo>
                  <a:lnTo>
                    <a:pt x="64716" y="22641"/>
                  </a:lnTo>
                  <a:lnTo>
                    <a:pt x="64905" y="22830"/>
                  </a:lnTo>
                  <a:lnTo>
                    <a:pt x="64999" y="22830"/>
                  </a:lnTo>
                  <a:lnTo>
                    <a:pt x="64999" y="22641"/>
                  </a:lnTo>
                  <a:lnTo>
                    <a:pt x="64905" y="22358"/>
                  </a:lnTo>
                  <a:lnTo>
                    <a:pt x="65282" y="23207"/>
                  </a:lnTo>
                  <a:lnTo>
                    <a:pt x="65565" y="24056"/>
                  </a:lnTo>
                  <a:lnTo>
                    <a:pt x="66225" y="25943"/>
                  </a:lnTo>
                  <a:lnTo>
                    <a:pt x="66697" y="27830"/>
                  </a:lnTo>
                  <a:lnTo>
                    <a:pt x="66886" y="28490"/>
                  </a:lnTo>
                  <a:lnTo>
                    <a:pt x="66980" y="28868"/>
                  </a:lnTo>
                  <a:lnTo>
                    <a:pt x="66886" y="28962"/>
                  </a:lnTo>
                  <a:lnTo>
                    <a:pt x="66697" y="28679"/>
                  </a:lnTo>
                  <a:lnTo>
                    <a:pt x="66697" y="29245"/>
                  </a:lnTo>
                  <a:lnTo>
                    <a:pt x="66791" y="29905"/>
                  </a:lnTo>
                  <a:lnTo>
                    <a:pt x="66886" y="29905"/>
                  </a:lnTo>
                  <a:lnTo>
                    <a:pt x="66886" y="30094"/>
                  </a:lnTo>
                  <a:lnTo>
                    <a:pt x="66886" y="30566"/>
                  </a:lnTo>
                  <a:lnTo>
                    <a:pt x="66697" y="30377"/>
                  </a:lnTo>
                  <a:lnTo>
                    <a:pt x="66603" y="30188"/>
                  </a:lnTo>
                  <a:lnTo>
                    <a:pt x="66603" y="30094"/>
                  </a:lnTo>
                  <a:lnTo>
                    <a:pt x="66697" y="29905"/>
                  </a:lnTo>
                  <a:lnTo>
                    <a:pt x="66508" y="28679"/>
                  </a:lnTo>
                  <a:lnTo>
                    <a:pt x="66225" y="27358"/>
                  </a:lnTo>
                  <a:lnTo>
                    <a:pt x="66603" y="30283"/>
                  </a:lnTo>
                  <a:lnTo>
                    <a:pt x="66697" y="31792"/>
                  </a:lnTo>
                  <a:lnTo>
                    <a:pt x="66697" y="33302"/>
                  </a:lnTo>
                  <a:lnTo>
                    <a:pt x="66603" y="34717"/>
                  </a:lnTo>
                  <a:lnTo>
                    <a:pt x="66414" y="36226"/>
                  </a:lnTo>
                  <a:lnTo>
                    <a:pt x="66131" y="37547"/>
                  </a:lnTo>
                  <a:lnTo>
                    <a:pt x="65659" y="38962"/>
                  </a:lnTo>
                  <a:lnTo>
                    <a:pt x="65848" y="38584"/>
                  </a:lnTo>
                  <a:lnTo>
                    <a:pt x="65942" y="38584"/>
                  </a:lnTo>
                  <a:lnTo>
                    <a:pt x="65848" y="39245"/>
                  </a:lnTo>
                  <a:lnTo>
                    <a:pt x="65565" y="40188"/>
                  </a:lnTo>
                  <a:lnTo>
                    <a:pt x="65471" y="40471"/>
                  </a:lnTo>
                  <a:lnTo>
                    <a:pt x="65282" y="40660"/>
                  </a:lnTo>
                  <a:lnTo>
                    <a:pt x="65282" y="40566"/>
                  </a:lnTo>
                  <a:lnTo>
                    <a:pt x="65093" y="41132"/>
                  </a:lnTo>
                  <a:lnTo>
                    <a:pt x="64433" y="43018"/>
                  </a:lnTo>
                  <a:lnTo>
                    <a:pt x="63678" y="45282"/>
                  </a:lnTo>
                  <a:lnTo>
                    <a:pt x="62735" y="47264"/>
                  </a:lnTo>
                  <a:lnTo>
                    <a:pt x="61697" y="49056"/>
                  </a:lnTo>
                  <a:lnTo>
                    <a:pt x="60659" y="50943"/>
                  </a:lnTo>
                  <a:lnTo>
                    <a:pt x="59433" y="52735"/>
                  </a:lnTo>
                  <a:lnTo>
                    <a:pt x="58207" y="54433"/>
                  </a:lnTo>
                  <a:lnTo>
                    <a:pt x="56886" y="56037"/>
                  </a:lnTo>
                  <a:lnTo>
                    <a:pt x="55376" y="57641"/>
                  </a:lnTo>
                  <a:lnTo>
                    <a:pt x="53867" y="59150"/>
                  </a:lnTo>
                  <a:lnTo>
                    <a:pt x="52169" y="60376"/>
                  </a:lnTo>
                  <a:lnTo>
                    <a:pt x="48961" y="62452"/>
                  </a:lnTo>
                  <a:lnTo>
                    <a:pt x="44528" y="65282"/>
                  </a:lnTo>
                  <a:lnTo>
                    <a:pt x="44622" y="65188"/>
                  </a:lnTo>
                  <a:lnTo>
                    <a:pt x="44716" y="65093"/>
                  </a:lnTo>
                  <a:lnTo>
                    <a:pt x="45094" y="64810"/>
                  </a:lnTo>
                  <a:lnTo>
                    <a:pt x="45660" y="64527"/>
                  </a:lnTo>
                  <a:lnTo>
                    <a:pt x="43867" y="65376"/>
                  </a:lnTo>
                  <a:lnTo>
                    <a:pt x="43113" y="65754"/>
                  </a:lnTo>
                  <a:lnTo>
                    <a:pt x="42924" y="65754"/>
                  </a:lnTo>
                  <a:lnTo>
                    <a:pt x="43113" y="65659"/>
                  </a:lnTo>
                  <a:lnTo>
                    <a:pt x="41603" y="66037"/>
                  </a:lnTo>
                  <a:lnTo>
                    <a:pt x="39999" y="66320"/>
                  </a:lnTo>
                  <a:lnTo>
                    <a:pt x="38396" y="66508"/>
                  </a:lnTo>
                  <a:lnTo>
                    <a:pt x="36792" y="66697"/>
                  </a:lnTo>
                  <a:lnTo>
                    <a:pt x="33584" y="66980"/>
                  </a:lnTo>
                  <a:lnTo>
                    <a:pt x="32169" y="67169"/>
                  </a:lnTo>
                  <a:lnTo>
                    <a:pt x="30754" y="67357"/>
                  </a:lnTo>
                  <a:lnTo>
                    <a:pt x="30094" y="67357"/>
                  </a:lnTo>
                  <a:lnTo>
                    <a:pt x="29339" y="67263"/>
                  </a:lnTo>
                  <a:lnTo>
                    <a:pt x="27830" y="66886"/>
                  </a:lnTo>
                  <a:lnTo>
                    <a:pt x="26415" y="66508"/>
                  </a:lnTo>
                  <a:lnTo>
                    <a:pt x="25754" y="66414"/>
                  </a:lnTo>
                  <a:lnTo>
                    <a:pt x="25094" y="66414"/>
                  </a:lnTo>
                  <a:lnTo>
                    <a:pt x="25566" y="66980"/>
                  </a:lnTo>
                  <a:lnTo>
                    <a:pt x="25471" y="67074"/>
                  </a:lnTo>
                  <a:lnTo>
                    <a:pt x="25188" y="66980"/>
                  </a:lnTo>
                  <a:lnTo>
                    <a:pt x="24339" y="66791"/>
                  </a:lnTo>
                  <a:lnTo>
                    <a:pt x="23773" y="66508"/>
                  </a:lnTo>
                  <a:lnTo>
                    <a:pt x="24245" y="66414"/>
                  </a:lnTo>
                  <a:lnTo>
                    <a:pt x="24717" y="66603"/>
                  </a:lnTo>
                  <a:lnTo>
                    <a:pt x="24811" y="66414"/>
                  </a:lnTo>
                  <a:lnTo>
                    <a:pt x="24811" y="66320"/>
                  </a:lnTo>
                  <a:lnTo>
                    <a:pt x="24717" y="66225"/>
                  </a:lnTo>
                  <a:lnTo>
                    <a:pt x="24528" y="66131"/>
                  </a:lnTo>
                  <a:lnTo>
                    <a:pt x="24151" y="66225"/>
                  </a:lnTo>
                  <a:lnTo>
                    <a:pt x="23679" y="66320"/>
                  </a:lnTo>
                  <a:lnTo>
                    <a:pt x="23018" y="66414"/>
                  </a:lnTo>
                  <a:lnTo>
                    <a:pt x="23490" y="66225"/>
                  </a:lnTo>
                  <a:lnTo>
                    <a:pt x="22075" y="65942"/>
                  </a:lnTo>
                  <a:lnTo>
                    <a:pt x="20943" y="65659"/>
                  </a:lnTo>
                  <a:lnTo>
                    <a:pt x="20000" y="65282"/>
                  </a:lnTo>
                  <a:lnTo>
                    <a:pt x="19056" y="64810"/>
                  </a:lnTo>
                  <a:lnTo>
                    <a:pt x="19056" y="64810"/>
                  </a:lnTo>
                  <a:lnTo>
                    <a:pt x="19717" y="64999"/>
                  </a:lnTo>
                  <a:lnTo>
                    <a:pt x="19151" y="64716"/>
                  </a:lnTo>
                  <a:lnTo>
                    <a:pt x="18962" y="64810"/>
                  </a:lnTo>
                  <a:lnTo>
                    <a:pt x="19151" y="64905"/>
                  </a:lnTo>
                  <a:lnTo>
                    <a:pt x="18490" y="64905"/>
                  </a:lnTo>
                  <a:lnTo>
                    <a:pt x="17830" y="64716"/>
                  </a:lnTo>
                  <a:lnTo>
                    <a:pt x="17264" y="64527"/>
                  </a:lnTo>
                  <a:lnTo>
                    <a:pt x="16698" y="64150"/>
                  </a:lnTo>
                  <a:lnTo>
                    <a:pt x="16981" y="64056"/>
                  </a:lnTo>
                  <a:lnTo>
                    <a:pt x="17264" y="64150"/>
                  </a:lnTo>
                  <a:lnTo>
                    <a:pt x="17264" y="64150"/>
                  </a:lnTo>
                  <a:lnTo>
                    <a:pt x="15188" y="63207"/>
                  </a:lnTo>
                  <a:lnTo>
                    <a:pt x="14622" y="62829"/>
                  </a:lnTo>
                  <a:lnTo>
                    <a:pt x="14717" y="62924"/>
                  </a:lnTo>
                  <a:lnTo>
                    <a:pt x="13773" y="62546"/>
                  </a:lnTo>
                  <a:lnTo>
                    <a:pt x="12924" y="62075"/>
                  </a:lnTo>
                  <a:lnTo>
                    <a:pt x="12358" y="61697"/>
                  </a:lnTo>
                  <a:lnTo>
                    <a:pt x="12264" y="61508"/>
                  </a:lnTo>
                  <a:lnTo>
                    <a:pt x="12170" y="61320"/>
                  </a:lnTo>
                  <a:lnTo>
                    <a:pt x="11698" y="60942"/>
                  </a:lnTo>
                  <a:lnTo>
                    <a:pt x="11132" y="60471"/>
                  </a:lnTo>
                  <a:lnTo>
                    <a:pt x="9906" y="59244"/>
                  </a:lnTo>
                  <a:lnTo>
                    <a:pt x="9906" y="59244"/>
                  </a:lnTo>
                  <a:lnTo>
                    <a:pt x="10566" y="59527"/>
                  </a:lnTo>
                  <a:lnTo>
                    <a:pt x="9434" y="58584"/>
                  </a:lnTo>
                  <a:lnTo>
                    <a:pt x="8207" y="57546"/>
                  </a:lnTo>
                  <a:lnTo>
                    <a:pt x="7547" y="56886"/>
                  </a:lnTo>
                  <a:lnTo>
                    <a:pt x="6981" y="56131"/>
                  </a:lnTo>
                  <a:lnTo>
                    <a:pt x="6226" y="55094"/>
                  </a:lnTo>
                  <a:lnTo>
                    <a:pt x="6415" y="55377"/>
                  </a:lnTo>
                  <a:lnTo>
                    <a:pt x="6038" y="54905"/>
                  </a:lnTo>
                  <a:lnTo>
                    <a:pt x="5472" y="54244"/>
                  </a:lnTo>
                  <a:lnTo>
                    <a:pt x="5283" y="53961"/>
                  </a:lnTo>
                  <a:lnTo>
                    <a:pt x="5094" y="53867"/>
                  </a:lnTo>
                  <a:lnTo>
                    <a:pt x="5377" y="54622"/>
                  </a:lnTo>
                  <a:lnTo>
                    <a:pt x="5849" y="55282"/>
                  </a:lnTo>
                  <a:lnTo>
                    <a:pt x="6321" y="55943"/>
                  </a:lnTo>
                  <a:lnTo>
                    <a:pt x="6698" y="56603"/>
                  </a:lnTo>
                  <a:lnTo>
                    <a:pt x="6226" y="56226"/>
                  </a:lnTo>
                  <a:lnTo>
                    <a:pt x="5943" y="55848"/>
                  </a:lnTo>
                  <a:lnTo>
                    <a:pt x="6038" y="56037"/>
                  </a:lnTo>
                  <a:lnTo>
                    <a:pt x="5943" y="55943"/>
                  </a:lnTo>
                  <a:lnTo>
                    <a:pt x="5377" y="55188"/>
                  </a:lnTo>
                  <a:lnTo>
                    <a:pt x="5000" y="54716"/>
                  </a:lnTo>
                  <a:lnTo>
                    <a:pt x="4717" y="54150"/>
                  </a:lnTo>
                  <a:lnTo>
                    <a:pt x="4528" y="53678"/>
                  </a:lnTo>
                  <a:lnTo>
                    <a:pt x="4528" y="53584"/>
                  </a:lnTo>
                  <a:lnTo>
                    <a:pt x="4623" y="53395"/>
                  </a:lnTo>
                  <a:lnTo>
                    <a:pt x="5094" y="54244"/>
                  </a:lnTo>
                  <a:lnTo>
                    <a:pt x="4717" y="53301"/>
                  </a:lnTo>
                  <a:lnTo>
                    <a:pt x="4528" y="53018"/>
                  </a:lnTo>
                  <a:lnTo>
                    <a:pt x="4151" y="52263"/>
                  </a:lnTo>
                  <a:lnTo>
                    <a:pt x="4151" y="52169"/>
                  </a:lnTo>
                  <a:lnTo>
                    <a:pt x="3774" y="51509"/>
                  </a:lnTo>
                  <a:lnTo>
                    <a:pt x="3396" y="50660"/>
                  </a:lnTo>
                  <a:lnTo>
                    <a:pt x="3585" y="51603"/>
                  </a:lnTo>
                  <a:lnTo>
                    <a:pt x="3396" y="51226"/>
                  </a:lnTo>
                  <a:lnTo>
                    <a:pt x="3208" y="50848"/>
                  </a:lnTo>
                  <a:lnTo>
                    <a:pt x="3208" y="50471"/>
                  </a:lnTo>
                  <a:lnTo>
                    <a:pt x="3208" y="50094"/>
                  </a:lnTo>
                  <a:lnTo>
                    <a:pt x="3585" y="50754"/>
                  </a:lnTo>
                  <a:lnTo>
                    <a:pt x="3868" y="51509"/>
                  </a:lnTo>
                  <a:lnTo>
                    <a:pt x="3868" y="51509"/>
                  </a:lnTo>
                  <a:lnTo>
                    <a:pt x="3208" y="49528"/>
                  </a:lnTo>
                  <a:lnTo>
                    <a:pt x="3208" y="49528"/>
                  </a:lnTo>
                  <a:lnTo>
                    <a:pt x="3868" y="50754"/>
                  </a:lnTo>
                  <a:lnTo>
                    <a:pt x="3208" y="48962"/>
                  </a:lnTo>
                  <a:lnTo>
                    <a:pt x="3585" y="49339"/>
                  </a:lnTo>
                  <a:lnTo>
                    <a:pt x="3774" y="49433"/>
                  </a:lnTo>
                  <a:lnTo>
                    <a:pt x="3962" y="49528"/>
                  </a:lnTo>
                  <a:lnTo>
                    <a:pt x="4057" y="49905"/>
                  </a:lnTo>
                  <a:lnTo>
                    <a:pt x="3868" y="48962"/>
                  </a:lnTo>
                  <a:lnTo>
                    <a:pt x="3491" y="47924"/>
                  </a:lnTo>
                  <a:lnTo>
                    <a:pt x="2641" y="45565"/>
                  </a:lnTo>
                  <a:lnTo>
                    <a:pt x="2170" y="43867"/>
                  </a:lnTo>
                  <a:lnTo>
                    <a:pt x="1698" y="41886"/>
                  </a:lnTo>
                  <a:lnTo>
                    <a:pt x="1698" y="41886"/>
                  </a:lnTo>
                  <a:lnTo>
                    <a:pt x="1887" y="42075"/>
                  </a:lnTo>
                  <a:lnTo>
                    <a:pt x="1981" y="41981"/>
                  </a:lnTo>
                  <a:lnTo>
                    <a:pt x="2075" y="42075"/>
                  </a:lnTo>
                  <a:lnTo>
                    <a:pt x="2264" y="42169"/>
                  </a:lnTo>
                  <a:lnTo>
                    <a:pt x="2170" y="40283"/>
                  </a:lnTo>
                  <a:lnTo>
                    <a:pt x="2075" y="38301"/>
                  </a:lnTo>
                  <a:lnTo>
                    <a:pt x="2170" y="36415"/>
                  </a:lnTo>
                  <a:lnTo>
                    <a:pt x="2358" y="35566"/>
                  </a:lnTo>
                  <a:lnTo>
                    <a:pt x="2453" y="34811"/>
                  </a:lnTo>
                  <a:lnTo>
                    <a:pt x="2830" y="32830"/>
                  </a:lnTo>
                  <a:lnTo>
                    <a:pt x="2830" y="33207"/>
                  </a:lnTo>
                  <a:lnTo>
                    <a:pt x="2924" y="33490"/>
                  </a:lnTo>
                  <a:lnTo>
                    <a:pt x="2924" y="32453"/>
                  </a:lnTo>
                  <a:lnTo>
                    <a:pt x="3019" y="31415"/>
                  </a:lnTo>
                  <a:lnTo>
                    <a:pt x="3396" y="29245"/>
                  </a:lnTo>
                  <a:lnTo>
                    <a:pt x="3868" y="27075"/>
                  </a:lnTo>
                  <a:lnTo>
                    <a:pt x="4623" y="25000"/>
                  </a:lnTo>
                  <a:lnTo>
                    <a:pt x="5566" y="22830"/>
                  </a:lnTo>
                  <a:lnTo>
                    <a:pt x="6604" y="20849"/>
                  </a:lnTo>
                  <a:lnTo>
                    <a:pt x="7830" y="18868"/>
                  </a:lnTo>
                  <a:lnTo>
                    <a:pt x="9151" y="16887"/>
                  </a:lnTo>
                  <a:lnTo>
                    <a:pt x="10566" y="15094"/>
                  </a:lnTo>
                  <a:lnTo>
                    <a:pt x="12075" y="13302"/>
                  </a:lnTo>
                  <a:lnTo>
                    <a:pt x="13773" y="11698"/>
                  </a:lnTo>
                  <a:lnTo>
                    <a:pt x="15377" y="10095"/>
                  </a:lnTo>
                  <a:lnTo>
                    <a:pt x="17170" y="8679"/>
                  </a:lnTo>
                  <a:lnTo>
                    <a:pt x="18962" y="7453"/>
                  </a:lnTo>
                  <a:lnTo>
                    <a:pt x="20754" y="6321"/>
                  </a:lnTo>
                  <a:lnTo>
                    <a:pt x="22547" y="5378"/>
                  </a:lnTo>
                  <a:lnTo>
                    <a:pt x="21603" y="6227"/>
                  </a:lnTo>
                  <a:lnTo>
                    <a:pt x="22641" y="5472"/>
                  </a:lnTo>
                  <a:lnTo>
                    <a:pt x="23302" y="5095"/>
                  </a:lnTo>
                  <a:lnTo>
                    <a:pt x="25377" y="4151"/>
                  </a:lnTo>
                  <a:lnTo>
                    <a:pt x="24811" y="4151"/>
                  </a:lnTo>
                  <a:lnTo>
                    <a:pt x="25660" y="3774"/>
                  </a:lnTo>
                  <a:lnTo>
                    <a:pt x="26886" y="3208"/>
                  </a:lnTo>
                  <a:lnTo>
                    <a:pt x="26603" y="3585"/>
                  </a:lnTo>
                  <a:lnTo>
                    <a:pt x="26886" y="3585"/>
                  </a:lnTo>
                  <a:lnTo>
                    <a:pt x="26886" y="3680"/>
                  </a:lnTo>
                  <a:lnTo>
                    <a:pt x="26792" y="3774"/>
                  </a:lnTo>
                  <a:lnTo>
                    <a:pt x="28301" y="3302"/>
                  </a:lnTo>
                  <a:lnTo>
                    <a:pt x="29622" y="2736"/>
                  </a:lnTo>
                  <a:lnTo>
                    <a:pt x="31037" y="2264"/>
                  </a:lnTo>
                  <a:lnTo>
                    <a:pt x="31792" y="2076"/>
                  </a:lnTo>
                  <a:lnTo>
                    <a:pt x="32641" y="1981"/>
                  </a:lnTo>
                  <a:lnTo>
                    <a:pt x="32547" y="2076"/>
                  </a:lnTo>
                  <a:lnTo>
                    <a:pt x="32924" y="1981"/>
                  </a:lnTo>
                  <a:lnTo>
                    <a:pt x="34245" y="1793"/>
                  </a:lnTo>
                  <a:lnTo>
                    <a:pt x="35848" y="1415"/>
                  </a:lnTo>
                  <a:lnTo>
                    <a:pt x="36981" y="1132"/>
                  </a:lnTo>
                  <a:lnTo>
                    <a:pt x="36981" y="1415"/>
                  </a:lnTo>
                  <a:lnTo>
                    <a:pt x="40943" y="1227"/>
                  </a:lnTo>
                  <a:lnTo>
                    <a:pt x="41509" y="1038"/>
                  </a:lnTo>
                  <a:lnTo>
                    <a:pt x="41697" y="1132"/>
                  </a:lnTo>
                  <a:lnTo>
                    <a:pt x="41509" y="1227"/>
                  </a:lnTo>
                  <a:lnTo>
                    <a:pt x="41320" y="1321"/>
                  </a:lnTo>
                  <a:lnTo>
                    <a:pt x="42263" y="1321"/>
                  </a:lnTo>
                  <a:lnTo>
                    <a:pt x="43113" y="1227"/>
                  </a:lnTo>
                  <a:lnTo>
                    <a:pt x="43396" y="1415"/>
                  </a:lnTo>
                  <a:lnTo>
                    <a:pt x="44056" y="1604"/>
                  </a:lnTo>
                  <a:lnTo>
                    <a:pt x="45943" y="2076"/>
                  </a:lnTo>
                  <a:lnTo>
                    <a:pt x="48018" y="2359"/>
                  </a:lnTo>
                  <a:lnTo>
                    <a:pt x="49622" y="2736"/>
                  </a:lnTo>
                  <a:lnTo>
                    <a:pt x="47641" y="1981"/>
                  </a:lnTo>
                  <a:lnTo>
                    <a:pt x="45282" y="1321"/>
                  </a:lnTo>
                  <a:lnTo>
                    <a:pt x="42735" y="755"/>
                  </a:lnTo>
                  <a:lnTo>
                    <a:pt x="40188" y="283"/>
                  </a:lnTo>
                  <a:lnTo>
                    <a:pt x="37735" y="95"/>
                  </a:lnTo>
                  <a:lnTo>
                    <a:pt x="35471" y="0"/>
                  </a:lnTo>
                  <a:close/>
                </a:path>
              </a:pathLst>
            </a:custGeom>
            <a:solidFill>
              <a:schemeClr val="bg1">
                <a:lumMod val="95000"/>
              </a:schemeClr>
            </a:solidFill>
            <a:ln w="0">
              <a:solidFill>
                <a:srgbClr val="0079D1"/>
              </a:solidFill>
            </a:ln>
          </p:spPr>
          <p:txBody>
            <a:bodyPr spcFirstLastPara="1" wrap="square" lIns="91425" tIns="91425" rIns="91425" bIns="91425" anchor="ctr" anchorCtr="0">
              <a:noAutofit/>
            </a:bodyPr>
            <a:lstStyle/>
            <a:p>
              <a:pPr marL="0" lvl="0" indent="0">
                <a:spcBef>
                  <a:spcPts val="0"/>
                </a:spcBef>
                <a:spcAft>
                  <a:spcPts val="0"/>
                </a:spcAft>
                <a:buNone/>
              </a:pPr>
              <a:endParaRPr sz="1200"/>
            </a:p>
          </p:txBody>
        </p:sp>
        <p:sp>
          <p:nvSpPr>
            <p:cNvPr id="680" name="TextBox 679">
              <a:extLst>
                <a:ext uri="{FF2B5EF4-FFF2-40B4-BE49-F238E27FC236}">
                  <a16:creationId xmlns:a16="http://schemas.microsoft.com/office/drawing/2014/main" id="{2DC23895-B103-284C-B851-5EE20AA0C349}"/>
                </a:ext>
              </a:extLst>
            </p:cNvPr>
            <p:cNvSpPr txBox="1"/>
            <p:nvPr/>
          </p:nvSpPr>
          <p:spPr>
            <a:xfrm>
              <a:off x="8676898" y="4619460"/>
              <a:ext cx="229951" cy="200055"/>
            </a:xfrm>
            <a:prstGeom prst="rect">
              <a:avLst/>
            </a:prstGeom>
            <a:noFill/>
          </p:spPr>
          <p:txBody>
            <a:bodyPr wrap="square" rtlCol="0">
              <a:spAutoFit/>
            </a:bodyPr>
            <a:lstStyle/>
            <a:p>
              <a:r>
                <a:rPr lang="en-US" sz="700" b="1" dirty="0">
                  <a:solidFill>
                    <a:srgbClr val="0079D1"/>
                  </a:solidFill>
                </a:rPr>
                <a:t>B</a:t>
              </a:r>
            </a:p>
          </p:txBody>
        </p:sp>
      </p:grpSp>
      <p:grpSp>
        <p:nvGrpSpPr>
          <p:cNvPr id="681" name="Group 680">
            <a:extLst>
              <a:ext uri="{FF2B5EF4-FFF2-40B4-BE49-F238E27FC236}">
                <a16:creationId xmlns:a16="http://schemas.microsoft.com/office/drawing/2014/main" id="{D1388D14-DE97-3740-B6DE-B576F004294F}"/>
              </a:ext>
            </a:extLst>
          </p:cNvPr>
          <p:cNvGrpSpPr/>
          <p:nvPr/>
        </p:nvGrpSpPr>
        <p:grpSpPr>
          <a:xfrm>
            <a:off x="10347952" y="3501345"/>
            <a:ext cx="229951" cy="200055"/>
            <a:chOff x="8676898" y="4619460"/>
            <a:chExt cx="229951" cy="200055"/>
          </a:xfrm>
        </p:grpSpPr>
        <p:sp>
          <p:nvSpPr>
            <p:cNvPr id="682" name="Google Shape;431;p39">
              <a:extLst>
                <a:ext uri="{FF2B5EF4-FFF2-40B4-BE49-F238E27FC236}">
                  <a16:creationId xmlns:a16="http://schemas.microsoft.com/office/drawing/2014/main" id="{6AF600E1-D472-C34E-B92B-455B7A02749D}"/>
                </a:ext>
              </a:extLst>
            </p:cNvPr>
            <p:cNvSpPr/>
            <p:nvPr/>
          </p:nvSpPr>
          <p:spPr>
            <a:xfrm>
              <a:off x="8709950" y="4635551"/>
              <a:ext cx="179407" cy="167874"/>
            </a:xfrm>
            <a:custGeom>
              <a:avLst/>
              <a:gdLst/>
              <a:ahLst/>
              <a:cxnLst/>
              <a:rect l="0" t="0" r="0" b="0"/>
              <a:pathLst>
                <a:path w="67641" h="69056" extrusionOk="0">
                  <a:moveTo>
                    <a:pt x="49622" y="2736"/>
                  </a:moveTo>
                  <a:lnTo>
                    <a:pt x="49622" y="2736"/>
                  </a:lnTo>
                  <a:lnTo>
                    <a:pt x="49622" y="2736"/>
                  </a:lnTo>
                  <a:close/>
                  <a:moveTo>
                    <a:pt x="59622" y="55565"/>
                  </a:moveTo>
                  <a:lnTo>
                    <a:pt x="59622" y="55565"/>
                  </a:lnTo>
                  <a:lnTo>
                    <a:pt x="59622" y="55565"/>
                  </a:lnTo>
                  <a:close/>
                  <a:moveTo>
                    <a:pt x="35471" y="0"/>
                  </a:moveTo>
                  <a:lnTo>
                    <a:pt x="34433" y="95"/>
                  </a:lnTo>
                  <a:lnTo>
                    <a:pt x="33584" y="189"/>
                  </a:lnTo>
                  <a:lnTo>
                    <a:pt x="32735" y="378"/>
                  </a:lnTo>
                  <a:lnTo>
                    <a:pt x="32169" y="566"/>
                  </a:lnTo>
                  <a:lnTo>
                    <a:pt x="31509" y="472"/>
                  </a:lnTo>
                  <a:lnTo>
                    <a:pt x="30754" y="472"/>
                  </a:lnTo>
                  <a:lnTo>
                    <a:pt x="29339" y="566"/>
                  </a:lnTo>
                  <a:lnTo>
                    <a:pt x="27830" y="849"/>
                  </a:lnTo>
                  <a:lnTo>
                    <a:pt x="26320" y="1321"/>
                  </a:lnTo>
                  <a:lnTo>
                    <a:pt x="24811" y="1981"/>
                  </a:lnTo>
                  <a:lnTo>
                    <a:pt x="23207" y="2736"/>
                  </a:lnTo>
                  <a:lnTo>
                    <a:pt x="21698" y="3585"/>
                  </a:lnTo>
                  <a:lnTo>
                    <a:pt x="20188" y="4623"/>
                  </a:lnTo>
                  <a:lnTo>
                    <a:pt x="18679" y="5661"/>
                  </a:lnTo>
                  <a:lnTo>
                    <a:pt x="17170" y="6793"/>
                  </a:lnTo>
                  <a:lnTo>
                    <a:pt x="15754" y="8019"/>
                  </a:lnTo>
                  <a:lnTo>
                    <a:pt x="14434" y="9151"/>
                  </a:lnTo>
                  <a:lnTo>
                    <a:pt x="11981" y="11510"/>
                  </a:lnTo>
                  <a:lnTo>
                    <a:pt x="10000" y="13774"/>
                  </a:lnTo>
                  <a:lnTo>
                    <a:pt x="7736" y="16981"/>
                  </a:lnTo>
                  <a:lnTo>
                    <a:pt x="8019" y="16321"/>
                  </a:lnTo>
                  <a:lnTo>
                    <a:pt x="8302" y="15660"/>
                  </a:lnTo>
                  <a:lnTo>
                    <a:pt x="7736" y="16604"/>
                  </a:lnTo>
                  <a:lnTo>
                    <a:pt x="7075" y="17642"/>
                  </a:lnTo>
                  <a:lnTo>
                    <a:pt x="7170" y="17830"/>
                  </a:lnTo>
                  <a:lnTo>
                    <a:pt x="6509" y="18868"/>
                  </a:lnTo>
                  <a:lnTo>
                    <a:pt x="7075" y="17359"/>
                  </a:lnTo>
                  <a:lnTo>
                    <a:pt x="6132" y="19057"/>
                  </a:lnTo>
                  <a:lnTo>
                    <a:pt x="5189" y="20849"/>
                  </a:lnTo>
                  <a:lnTo>
                    <a:pt x="4434" y="22736"/>
                  </a:lnTo>
                  <a:lnTo>
                    <a:pt x="3679" y="24622"/>
                  </a:lnTo>
                  <a:lnTo>
                    <a:pt x="2453" y="28490"/>
                  </a:lnTo>
                  <a:lnTo>
                    <a:pt x="1321" y="32169"/>
                  </a:lnTo>
                  <a:lnTo>
                    <a:pt x="1509" y="32264"/>
                  </a:lnTo>
                  <a:lnTo>
                    <a:pt x="1604" y="32453"/>
                  </a:lnTo>
                  <a:lnTo>
                    <a:pt x="1604" y="32641"/>
                  </a:lnTo>
                  <a:lnTo>
                    <a:pt x="1509" y="32924"/>
                  </a:lnTo>
                  <a:lnTo>
                    <a:pt x="1226" y="33396"/>
                  </a:lnTo>
                  <a:lnTo>
                    <a:pt x="1038" y="33585"/>
                  </a:lnTo>
                  <a:lnTo>
                    <a:pt x="1038" y="33773"/>
                  </a:lnTo>
                  <a:lnTo>
                    <a:pt x="1038" y="35000"/>
                  </a:lnTo>
                  <a:lnTo>
                    <a:pt x="849" y="36132"/>
                  </a:lnTo>
                  <a:lnTo>
                    <a:pt x="660" y="37358"/>
                  </a:lnTo>
                  <a:lnTo>
                    <a:pt x="472" y="38867"/>
                  </a:lnTo>
                  <a:lnTo>
                    <a:pt x="283" y="38301"/>
                  </a:lnTo>
                  <a:lnTo>
                    <a:pt x="94" y="39811"/>
                  </a:lnTo>
                  <a:lnTo>
                    <a:pt x="0" y="41509"/>
                  </a:lnTo>
                  <a:lnTo>
                    <a:pt x="94" y="43301"/>
                  </a:lnTo>
                  <a:lnTo>
                    <a:pt x="283" y="44056"/>
                  </a:lnTo>
                  <a:lnTo>
                    <a:pt x="472" y="44622"/>
                  </a:lnTo>
                  <a:lnTo>
                    <a:pt x="566" y="45660"/>
                  </a:lnTo>
                  <a:lnTo>
                    <a:pt x="755" y="46792"/>
                  </a:lnTo>
                  <a:lnTo>
                    <a:pt x="1226" y="48962"/>
                  </a:lnTo>
                  <a:lnTo>
                    <a:pt x="1981" y="51037"/>
                  </a:lnTo>
                  <a:lnTo>
                    <a:pt x="2924" y="53112"/>
                  </a:lnTo>
                  <a:lnTo>
                    <a:pt x="4057" y="55094"/>
                  </a:lnTo>
                  <a:lnTo>
                    <a:pt x="5283" y="56980"/>
                  </a:lnTo>
                  <a:lnTo>
                    <a:pt x="6698" y="58678"/>
                  </a:lnTo>
                  <a:lnTo>
                    <a:pt x="8113" y="60282"/>
                  </a:lnTo>
                  <a:lnTo>
                    <a:pt x="9056" y="61131"/>
                  </a:lnTo>
                  <a:lnTo>
                    <a:pt x="10000" y="61980"/>
                  </a:lnTo>
                  <a:lnTo>
                    <a:pt x="11038" y="62829"/>
                  </a:lnTo>
                  <a:lnTo>
                    <a:pt x="12075" y="63584"/>
                  </a:lnTo>
                  <a:lnTo>
                    <a:pt x="14339" y="64905"/>
                  </a:lnTo>
                  <a:lnTo>
                    <a:pt x="16604" y="66131"/>
                  </a:lnTo>
                  <a:lnTo>
                    <a:pt x="19056" y="67169"/>
                  </a:lnTo>
                  <a:lnTo>
                    <a:pt x="21509" y="67923"/>
                  </a:lnTo>
                  <a:lnTo>
                    <a:pt x="24056" y="68584"/>
                  </a:lnTo>
                  <a:lnTo>
                    <a:pt x="26603" y="69055"/>
                  </a:lnTo>
                  <a:lnTo>
                    <a:pt x="27830" y="69055"/>
                  </a:lnTo>
                  <a:lnTo>
                    <a:pt x="30188" y="68867"/>
                  </a:lnTo>
                  <a:lnTo>
                    <a:pt x="33113" y="68678"/>
                  </a:lnTo>
                  <a:lnTo>
                    <a:pt x="36509" y="68301"/>
                  </a:lnTo>
                  <a:lnTo>
                    <a:pt x="39811" y="67923"/>
                  </a:lnTo>
                  <a:lnTo>
                    <a:pt x="42735" y="67452"/>
                  </a:lnTo>
                  <a:lnTo>
                    <a:pt x="44905" y="66980"/>
                  </a:lnTo>
                  <a:lnTo>
                    <a:pt x="45565" y="66791"/>
                  </a:lnTo>
                  <a:lnTo>
                    <a:pt x="45943" y="66508"/>
                  </a:lnTo>
                  <a:lnTo>
                    <a:pt x="47358" y="65942"/>
                  </a:lnTo>
                  <a:lnTo>
                    <a:pt x="48018" y="65565"/>
                  </a:lnTo>
                  <a:lnTo>
                    <a:pt x="48678" y="65188"/>
                  </a:lnTo>
                  <a:lnTo>
                    <a:pt x="47924" y="65471"/>
                  </a:lnTo>
                  <a:lnTo>
                    <a:pt x="51509" y="62924"/>
                  </a:lnTo>
                  <a:lnTo>
                    <a:pt x="53301" y="61508"/>
                  </a:lnTo>
                  <a:lnTo>
                    <a:pt x="55093" y="59905"/>
                  </a:lnTo>
                  <a:lnTo>
                    <a:pt x="55093" y="59905"/>
                  </a:lnTo>
                  <a:lnTo>
                    <a:pt x="54810" y="60376"/>
                  </a:lnTo>
                  <a:lnTo>
                    <a:pt x="54339" y="60754"/>
                  </a:lnTo>
                  <a:lnTo>
                    <a:pt x="55376" y="59999"/>
                  </a:lnTo>
                  <a:lnTo>
                    <a:pt x="56320" y="59056"/>
                  </a:lnTo>
                  <a:lnTo>
                    <a:pt x="57075" y="58395"/>
                  </a:lnTo>
                  <a:lnTo>
                    <a:pt x="57169" y="58207"/>
                  </a:lnTo>
                  <a:lnTo>
                    <a:pt x="57075" y="58207"/>
                  </a:lnTo>
                  <a:lnTo>
                    <a:pt x="57924" y="57546"/>
                  </a:lnTo>
                  <a:lnTo>
                    <a:pt x="58678" y="56697"/>
                  </a:lnTo>
                  <a:lnTo>
                    <a:pt x="59339" y="55754"/>
                  </a:lnTo>
                  <a:lnTo>
                    <a:pt x="59905" y="54905"/>
                  </a:lnTo>
                  <a:lnTo>
                    <a:pt x="59716" y="54999"/>
                  </a:lnTo>
                  <a:lnTo>
                    <a:pt x="59622" y="54999"/>
                  </a:lnTo>
                  <a:lnTo>
                    <a:pt x="59810" y="54622"/>
                  </a:lnTo>
                  <a:lnTo>
                    <a:pt x="59150" y="55565"/>
                  </a:lnTo>
                  <a:lnTo>
                    <a:pt x="59527" y="55094"/>
                  </a:lnTo>
                  <a:lnTo>
                    <a:pt x="59433" y="55377"/>
                  </a:lnTo>
                  <a:lnTo>
                    <a:pt x="58867" y="56037"/>
                  </a:lnTo>
                  <a:lnTo>
                    <a:pt x="59056" y="55660"/>
                  </a:lnTo>
                  <a:lnTo>
                    <a:pt x="59056" y="55660"/>
                  </a:lnTo>
                  <a:lnTo>
                    <a:pt x="58678" y="56037"/>
                  </a:lnTo>
                  <a:lnTo>
                    <a:pt x="59810" y="54339"/>
                  </a:lnTo>
                  <a:lnTo>
                    <a:pt x="60282" y="53490"/>
                  </a:lnTo>
                  <a:lnTo>
                    <a:pt x="60282" y="53301"/>
                  </a:lnTo>
                  <a:lnTo>
                    <a:pt x="60188" y="53395"/>
                  </a:lnTo>
                  <a:lnTo>
                    <a:pt x="60188" y="53395"/>
                  </a:lnTo>
                  <a:lnTo>
                    <a:pt x="60565" y="52924"/>
                  </a:lnTo>
                  <a:lnTo>
                    <a:pt x="61037" y="52452"/>
                  </a:lnTo>
                  <a:lnTo>
                    <a:pt x="61886" y="51509"/>
                  </a:lnTo>
                  <a:lnTo>
                    <a:pt x="61508" y="52452"/>
                  </a:lnTo>
                  <a:lnTo>
                    <a:pt x="60848" y="53584"/>
                  </a:lnTo>
                  <a:lnTo>
                    <a:pt x="59622" y="55565"/>
                  </a:lnTo>
                  <a:lnTo>
                    <a:pt x="60376" y="54528"/>
                  </a:lnTo>
                  <a:lnTo>
                    <a:pt x="60942" y="53678"/>
                  </a:lnTo>
                  <a:lnTo>
                    <a:pt x="61980" y="51792"/>
                  </a:lnTo>
                  <a:lnTo>
                    <a:pt x="61886" y="51886"/>
                  </a:lnTo>
                  <a:lnTo>
                    <a:pt x="61886" y="51697"/>
                  </a:lnTo>
                  <a:lnTo>
                    <a:pt x="62169" y="51037"/>
                  </a:lnTo>
                  <a:lnTo>
                    <a:pt x="62735" y="49999"/>
                  </a:lnTo>
                  <a:lnTo>
                    <a:pt x="61508" y="51603"/>
                  </a:lnTo>
                  <a:lnTo>
                    <a:pt x="61603" y="51037"/>
                  </a:lnTo>
                  <a:lnTo>
                    <a:pt x="61697" y="50377"/>
                  </a:lnTo>
                  <a:lnTo>
                    <a:pt x="62169" y="48962"/>
                  </a:lnTo>
                  <a:lnTo>
                    <a:pt x="62829" y="47358"/>
                  </a:lnTo>
                  <a:lnTo>
                    <a:pt x="63678" y="45565"/>
                  </a:lnTo>
                  <a:lnTo>
                    <a:pt x="65376" y="42169"/>
                  </a:lnTo>
                  <a:lnTo>
                    <a:pt x="66131" y="40660"/>
                  </a:lnTo>
                  <a:lnTo>
                    <a:pt x="66697" y="39339"/>
                  </a:lnTo>
                  <a:lnTo>
                    <a:pt x="66603" y="39528"/>
                  </a:lnTo>
                  <a:lnTo>
                    <a:pt x="66697" y="39056"/>
                  </a:lnTo>
                  <a:lnTo>
                    <a:pt x="66791" y="38962"/>
                  </a:lnTo>
                  <a:lnTo>
                    <a:pt x="66791" y="39056"/>
                  </a:lnTo>
                  <a:lnTo>
                    <a:pt x="66886" y="38584"/>
                  </a:lnTo>
                  <a:lnTo>
                    <a:pt x="66791" y="38867"/>
                  </a:lnTo>
                  <a:lnTo>
                    <a:pt x="66980" y="38207"/>
                  </a:lnTo>
                  <a:lnTo>
                    <a:pt x="67169" y="37264"/>
                  </a:lnTo>
                  <a:lnTo>
                    <a:pt x="67263" y="36415"/>
                  </a:lnTo>
                  <a:lnTo>
                    <a:pt x="67357" y="36509"/>
                  </a:lnTo>
                  <a:lnTo>
                    <a:pt x="67452" y="36509"/>
                  </a:lnTo>
                  <a:lnTo>
                    <a:pt x="67546" y="35943"/>
                  </a:lnTo>
                  <a:lnTo>
                    <a:pt x="67546" y="34811"/>
                  </a:lnTo>
                  <a:lnTo>
                    <a:pt x="67640" y="31037"/>
                  </a:lnTo>
                  <a:lnTo>
                    <a:pt x="67640" y="28490"/>
                  </a:lnTo>
                  <a:lnTo>
                    <a:pt x="67546" y="27736"/>
                  </a:lnTo>
                  <a:lnTo>
                    <a:pt x="67546" y="27547"/>
                  </a:lnTo>
                  <a:lnTo>
                    <a:pt x="67452" y="27547"/>
                  </a:lnTo>
                  <a:lnTo>
                    <a:pt x="67074" y="26792"/>
                  </a:lnTo>
                  <a:lnTo>
                    <a:pt x="66791" y="25660"/>
                  </a:lnTo>
                  <a:lnTo>
                    <a:pt x="66508" y="24528"/>
                  </a:lnTo>
                  <a:lnTo>
                    <a:pt x="66414" y="23585"/>
                  </a:lnTo>
                  <a:lnTo>
                    <a:pt x="66320" y="23679"/>
                  </a:lnTo>
                  <a:lnTo>
                    <a:pt x="66320" y="23490"/>
                  </a:lnTo>
                  <a:lnTo>
                    <a:pt x="65942" y="22924"/>
                  </a:lnTo>
                  <a:lnTo>
                    <a:pt x="65565" y="22358"/>
                  </a:lnTo>
                  <a:lnTo>
                    <a:pt x="64527" y="21132"/>
                  </a:lnTo>
                  <a:lnTo>
                    <a:pt x="63584" y="19906"/>
                  </a:lnTo>
                  <a:lnTo>
                    <a:pt x="63207" y="19340"/>
                  </a:lnTo>
                  <a:lnTo>
                    <a:pt x="63018" y="18774"/>
                  </a:lnTo>
                  <a:lnTo>
                    <a:pt x="63112" y="18962"/>
                  </a:lnTo>
                  <a:lnTo>
                    <a:pt x="63301" y="19057"/>
                  </a:lnTo>
                  <a:lnTo>
                    <a:pt x="63301" y="19057"/>
                  </a:lnTo>
                  <a:lnTo>
                    <a:pt x="63207" y="18868"/>
                  </a:lnTo>
                  <a:lnTo>
                    <a:pt x="62923" y="18491"/>
                  </a:lnTo>
                  <a:lnTo>
                    <a:pt x="61980" y="17453"/>
                  </a:lnTo>
                  <a:lnTo>
                    <a:pt x="61037" y="16509"/>
                  </a:lnTo>
                  <a:lnTo>
                    <a:pt x="61037" y="16698"/>
                  </a:lnTo>
                  <a:lnTo>
                    <a:pt x="61037" y="16887"/>
                  </a:lnTo>
                  <a:lnTo>
                    <a:pt x="60093" y="15943"/>
                  </a:lnTo>
                  <a:lnTo>
                    <a:pt x="60376" y="16321"/>
                  </a:lnTo>
                  <a:lnTo>
                    <a:pt x="59527" y="15377"/>
                  </a:lnTo>
                  <a:lnTo>
                    <a:pt x="59056" y="14906"/>
                  </a:lnTo>
                  <a:lnTo>
                    <a:pt x="59244" y="14906"/>
                  </a:lnTo>
                  <a:lnTo>
                    <a:pt x="59905" y="15472"/>
                  </a:lnTo>
                  <a:lnTo>
                    <a:pt x="59905" y="15472"/>
                  </a:lnTo>
                  <a:lnTo>
                    <a:pt x="57641" y="13396"/>
                  </a:lnTo>
                  <a:lnTo>
                    <a:pt x="58112" y="13868"/>
                  </a:lnTo>
                  <a:lnTo>
                    <a:pt x="56886" y="13019"/>
                  </a:lnTo>
                  <a:lnTo>
                    <a:pt x="55754" y="12453"/>
                  </a:lnTo>
                  <a:lnTo>
                    <a:pt x="56603" y="13113"/>
                  </a:lnTo>
                  <a:lnTo>
                    <a:pt x="57452" y="13774"/>
                  </a:lnTo>
                  <a:lnTo>
                    <a:pt x="58961" y="15283"/>
                  </a:lnTo>
                  <a:lnTo>
                    <a:pt x="60376" y="16604"/>
                  </a:lnTo>
                  <a:lnTo>
                    <a:pt x="61225" y="17264"/>
                  </a:lnTo>
                  <a:lnTo>
                    <a:pt x="62074" y="17925"/>
                  </a:lnTo>
                  <a:lnTo>
                    <a:pt x="62074" y="17925"/>
                  </a:lnTo>
                  <a:lnTo>
                    <a:pt x="61414" y="17547"/>
                  </a:lnTo>
                  <a:lnTo>
                    <a:pt x="60659" y="16981"/>
                  </a:lnTo>
                  <a:lnTo>
                    <a:pt x="60754" y="17264"/>
                  </a:lnTo>
                  <a:lnTo>
                    <a:pt x="60942" y="17642"/>
                  </a:lnTo>
                  <a:lnTo>
                    <a:pt x="61980" y="19151"/>
                  </a:lnTo>
                  <a:lnTo>
                    <a:pt x="63301" y="20943"/>
                  </a:lnTo>
                  <a:lnTo>
                    <a:pt x="63207" y="20943"/>
                  </a:lnTo>
                  <a:lnTo>
                    <a:pt x="63395" y="21038"/>
                  </a:lnTo>
                  <a:lnTo>
                    <a:pt x="63490" y="21321"/>
                  </a:lnTo>
                  <a:lnTo>
                    <a:pt x="63678" y="21604"/>
                  </a:lnTo>
                  <a:lnTo>
                    <a:pt x="63773" y="21698"/>
                  </a:lnTo>
                  <a:lnTo>
                    <a:pt x="63584" y="21321"/>
                  </a:lnTo>
                  <a:lnTo>
                    <a:pt x="63584" y="21321"/>
                  </a:lnTo>
                  <a:lnTo>
                    <a:pt x="64244" y="22170"/>
                  </a:lnTo>
                  <a:lnTo>
                    <a:pt x="64716" y="22641"/>
                  </a:lnTo>
                  <a:lnTo>
                    <a:pt x="64905" y="22830"/>
                  </a:lnTo>
                  <a:lnTo>
                    <a:pt x="64999" y="22830"/>
                  </a:lnTo>
                  <a:lnTo>
                    <a:pt x="64999" y="22641"/>
                  </a:lnTo>
                  <a:lnTo>
                    <a:pt x="64905" y="22358"/>
                  </a:lnTo>
                  <a:lnTo>
                    <a:pt x="65282" y="23207"/>
                  </a:lnTo>
                  <a:lnTo>
                    <a:pt x="65565" y="24056"/>
                  </a:lnTo>
                  <a:lnTo>
                    <a:pt x="66225" y="25943"/>
                  </a:lnTo>
                  <a:lnTo>
                    <a:pt x="66697" y="27830"/>
                  </a:lnTo>
                  <a:lnTo>
                    <a:pt x="66886" y="28490"/>
                  </a:lnTo>
                  <a:lnTo>
                    <a:pt x="66980" y="28868"/>
                  </a:lnTo>
                  <a:lnTo>
                    <a:pt x="66886" y="28962"/>
                  </a:lnTo>
                  <a:lnTo>
                    <a:pt x="66697" y="28679"/>
                  </a:lnTo>
                  <a:lnTo>
                    <a:pt x="66697" y="29245"/>
                  </a:lnTo>
                  <a:lnTo>
                    <a:pt x="66791" y="29905"/>
                  </a:lnTo>
                  <a:lnTo>
                    <a:pt x="66886" y="29905"/>
                  </a:lnTo>
                  <a:lnTo>
                    <a:pt x="66886" y="30094"/>
                  </a:lnTo>
                  <a:lnTo>
                    <a:pt x="66886" y="30566"/>
                  </a:lnTo>
                  <a:lnTo>
                    <a:pt x="66697" y="30377"/>
                  </a:lnTo>
                  <a:lnTo>
                    <a:pt x="66603" y="30188"/>
                  </a:lnTo>
                  <a:lnTo>
                    <a:pt x="66603" y="30094"/>
                  </a:lnTo>
                  <a:lnTo>
                    <a:pt x="66697" y="29905"/>
                  </a:lnTo>
                  <a:lnTo>
                    <a:pt x="66508" y="28679"/>
                  </a:lnTo>
                  <a:lnTo>
                    <a:pt x="66225" y="27358"/>
                  </a:lnTo>
                  <a:lnTo>
                    <a:pt x="66603" y="30283"/>
                  </a:lnTo>
                  <a:lnTo>
                    <a:pt x="66697" y="31792"/>
                  </a:lnTo>
                  <a:lnTo>
                    <a:pt x="66697" y="33302"/>
                  </a:lnTo>
                  <a:lnTo>
                    <a:pt x="66603" y="34717"/>
                  </a:lnTo>
                  <a:lnTo>
                    <a:pt x="66414" y="36226"/>
                  </a:lnTo>
                  <a:lnTo>
                    <a:pt x="66131" y="37547"/>
                  </a:lnTo>
                  <a:lnTo>
                    <a:pt x="65659" y="38962"/>
                  </a:lnTo>
                  <a:lnTo>
                    <a:pt x="65848" y="38584"/>
                  </a:lnTo>
                  <a:lnTo>
                    <a:pt x="65942" y="38584"/>
                  </a:lnTo>
                  <a:lnTo>
                    <a:pt x="65848" y="39245"/>
                  </a:lnTo>
                  <a:lnTo>
                    <a:pt x="65565" y="40188"/>
                  </a:lnTo>
                  <a:lnTo>
                    <a:pt x="65471" y="40471"/>
                  </a:lnTo>
                  <a:lnTo>
                    <a:pt x="65282" y="40660"/>
                  </a:lnTo>
                  <a:lnTo>
                    <a:pt x="65282" y="40566"/>
                  </a:lnTo>
                  <a:lnTo>
                    <a:pt x="65093" y="41132"/>
                  </a:lnTo>
                  <a:lnTo>
                    <a:pt x="64433" y="43018"/>
                  </a:lnTo>
                  <a:lnTo>
                    <a:pt x="63678" y="45282"/>
                  </a:lnTo>
                  <a:lnTo>
                    <a:pt x="62735" y="47264"/>
                  </a:lnTo>
                  <a:lnTo>
                    <a:pt x="61697" y="49056"/>
                  </a:lnTo>
                  <a:lnTo>
                    <a:pt x="60659" y="50943"/>
                  </a:lnTo>
                  <a:lnTo>
                    <a:pt x="59433" y="52735"/>
                  </a:lnTo>
                  <a:lnTo>
                    <a:pt x="58207" y="54433"/>
                  </a:lnTo>
                  <a:lnTo>
                    <a:pt x="56886" y="56037"/>
                  </a:lnTo>
                  <a:lnTo>
                    <a:pt x="55376" y="57641"/>
                  </a:lnTo>
                  <a:lnTo>
                    <a:pt x="53867" y="59150"/>
                  </a:lnTo>
                  <a:lnTo>
                    <a:pt x="52169" y="60376"/>
                  </a:lnTo>
                  <a:lnTo>
                    <a:pt x="48961" y="62452"/>
                  </a:lnTo>
                  <a:lnTo>
                    <a:pt x="44528" y="65282"/>
                  </a:lnTo>
                  <a:lnTo>
                    <a:pt x="44622" y="65188"/>
                  </a:lnTo>
                  <a:lnTo>
                    <a:pt x="44716" y="65093"/>
                  </a:lnTo>
                  <a:lnTo>
                    <a:pt x="45094" y="64810"/>
                  </a:lnTo>
                  <a:lnTo>
                    <a:pt x="45660" y="64527"/>
                  </a:lnTo>
                  <a:lnTo>
                    <a:pt x="43867" y="65376"/>
                  </a:lnTo>
                  <a:lnTo>
                    <a:pt x="43113" y="65754"/>
                  </a:lnTo>
                  <a:lnTo>
                    <a:pt x="42924" y="65754"/>
                  </a:lnTo>
                  <a:lnTo>
                    <a:pt x="43113" y="65659"/>
                  </a:lnTo>
                  <a:lnTo>
                    <a:pt x="41603" y="66037"/>
                  </a:lnTo>
                  <a:lnTo>
                    <a:pt x="39999" y="66320"/>
                  </a:lnTo>
                  <a:lnTo>
                    <a:pt x="38396" y="66508"/>
                  </a:lnTo>
                  <a:lnTo>
                    <a:pt x="36792" y="66697"/>
                  </a:lnTo>
                  <a:lnTo>
                    <a:pt x="33584" y="66980"/>
                  </a:lnTo>
                  <a:lnTo>
                    <a:pt x="32169" y="67169"/>
                  </a:lnTo>
                  <a:lnTo>
                    <a:pt x="30754" y="67357"/>
                  </a:lnTo>
                  <a:lnTo>
                    <a:pt x="30094" y="67357"/>
                  </a:lnTo>
                  <a:lnTo>
                    <a:pt x="29339" y="67263"/>
                  </a:lnTo>
                  <a:lnTo>
                    <a:pt x="27830" y="66886"/>
                  </a:lnTo>
                  <a:lnTo>
                    <a:pt x="26415" y="66508"/>
                  </a:lnTo>
                  <a:lnTo>
                    <a:pt x="25754" y="66414"/>
                  </a:lnTo>
                  <a:lnTo>
                    <a:pt x="25094" y="66414"/>
                  </a:lnTo>
                  <a:lnTo>
                    <a:pt x="25566" y="66980"/>
                  </a:lnTo>
                  <a:lnTo>
                    <a:pt x="25471" y="67074"/>
                  </a:lnTo>
                  <a:lnTo>
                    <a:pt x="25188" y="66980"/>
                  </a:lnTo>
                  <a:lnTo>
                    <a:pt x="24339" y="66791"/>
                  </a:lnTo>
                  <a:lnTo>
                    <a:pt x="23773" y="66508"/>
                  </a:lnTo>
                  <a:lnTo>
                    <a:pt x="24245" y="66414"/>
                  </a:lnTo>
                  <a:lnTo>
                    <a:pt x="24717" y="66603"/>
                  </a:lnTo>
                  <a:lnTo>
                    <a:pt x="24811" y="66414"/>
                  </a:lnTo>
                  <a:lnTo>
                    <a:pt x="24811" y="66320"/>
                  </a:lnTo>
                  <a:lnTo>
                    <a:pt x="24717" y="66225"/>
                  </a:lnTo>
                  <a:lnTo>
                    <a:pt x="24528" y="66131"/>
                  </a:lnTo>
                  <a:lnTo>
                    <a:pt x="24151" y="66225"/>
                  </a:lnTo>
                  <a:lnTo>
                    <a:pt x="23679" y="66320"/>
                  </a:lnTo>
                  <a:lnTo>
                    <a:pt x="23018" y="66414"/>
                  </a:lnTo>
                  <a:lnTo>
                    <a:pt x="23490" y="66225"/>
                  </a:lnTo>
                  <a:lnTo>
                    <a:pt x="22075" y="65942"/>
                  </a:lnTo>
                  <a:lnTo>
                    <a:pt x="20943" y="65659"/>
                  </a:lnTo>
                  <a:lnTo>
                    <a:pt x="20000" y="65282"/>
                  </a:lnTo>
                  <a:lnTo>
                    <a:pt x="19056" y="64810"/>
                  </a:lnTo>
                  <a:lnTo>
                    <a:pt x="19056" y="64810"/>
                  </a:lnTo>
                  <a:lnTo>
                    <a:pt x="19717" y="64999"/>
                  </a:lnTo>
                  <a:lnTo>
                    <a:pt x="19151" y="64716"/>
                  </a:lnTo>
                  <a:lnTo>
                    <a:pt x="18962" y="64810"/>
                  </a:lnTo>
                  <a:lnTo>
                    <a:pt x="19151" y="64905"/>
                  </a:lnTo>
                  <a:lnTo>
                    <a:pt x="18490" y="64905"/>
                  </a:lnTo>
                  <a:lnTo>
                    <a:pt x="17830" y="64716"/>
                  </a:lnTo>
                  <a:lnTo>
                    <a:pt x="17264" y="64527"/>
                  </a:lnTo>
                  <a:lnTo>
                    <a:pt x="16698" y="64150"/>
                  </a:lnTo>
                  <a:lnTo>
                    <a:pt x="16981" y="64056"/>
                  </a:lnTo>
                  <a:lnTo>
                    <a:pt x="17264" y="64150"/>
                  </a:lnTo>
                  <a:lnTo>
                    <a:pt x="17264" y="64150"/>
                  </a:lnTo>
                  <a:lnTo>
                    <a:pt x="15188" y="63207"/>
                  </a:lnTo>
                  <a:lnTo>
                    <a:pt x="14622" y="62829"/>
                  </a:lnTo>
                  <a:lnTo>
                    <a:pt x="14717" y="62924"/>
                  </a:lnTo>
                  <a:lnTo>
                    <a:pt x="13773" y="62546"/>
                  </a:lnTo>
                  <a:lnTo>
                    <a:pt x="12924" y="62075"/>
                  </a:lnTo>
                  <a:lnTo>
                    <a:pt x="12358" y="61697"/>
                  </a:lnTo>
                  <a:lnTo>
                    <a:pt x="12264" y="61508"/>
                  </a:lnTo>
                  <a:lnTo>
                    <a:pt x="12170" y="61320"/>
                  </a:lnTo>
                  <a:lnTo>
                    <a:pt x="11698" y="60942"/>
                  </a:lnTo>
                  <a:lnTo>
                    <a:pt x="11132" y="60471"/>
                  </a:lnTo>
                  <a:lnTo>
                    <a:pt x="9906" y="59244"/>
                  </a:lnTo>
                  <a:lnTo>
                    <a:pt x="9906" y="59244"/>
                  </a:lnTo>
                  <a:lnTo>
                    <a:pt x="10566" y="59527"/>
                  </a:lnTo>
                  <a:lnTo>
                    <a:pt x="9434" y="58584"/>
                  </a:lnTo>
                  <a:lnTo>
                    <a:pt x="8207" y="57546"/>
                  </a:lnTo>
                  <a:lnTo>
                    <a:pt x="7547" y="56886"/>
                  </a:lnTo>
                  <a:lnTo>
                    <a:pt x="6981" y="56131"/>
                  </a:lnTo>
                  <a:lnTo>
                    <a:pt x="6226" y="55094"/>
                  </a:lnTo>
                  <a:lnTo>
                    <a:pt x="6415" y="55377"/>
                  </a:lnTo>
                  <a:lnTo>
                    <a:pt x="6038" y="54905"/>
                  </a:lnTo>
                  <a:lnTo>
                    <a:pt x="5472" y="54244"/>
                  </a:lnTo>
                  <a:lnTo>
                    <a:pt x="5283" y="53961"/>
                  </a:lnTo>
                  <a:lnTo>
                    <a:pt x="5094" y="53867"/>
                  </a:lnTo>
                  <a:lnTo>
                    <a:pt x="5377" y="54622"/>
                  </a:lnTo>
                  <a:lnTo>
                    <a:pt x="5849" y="55282"/>
                  </a:lnTo>
                  <a:lnTo>
                    <a:pt x="6321" y="55943"/>
                  </a:lnTo>
                  <a:lnTo>
                    <a:pt x="6698" y="56603"/>
                  </a:lnTo>
                  <a:lnTo>
                    <a:pt x="6226" y="56226"/>
                  </a:lnTo>
                  <a:lnTo>
                    <a:pt x="5943" y="55848"/>
                  </a:lnTo>
                  <a:lnTo>
                    <a:pt x="6038" y="56037"/>
                  </a:lnTo>
                  <a:lnTo>
                    <a:pt x="5943" y="55943"/>
                  </a:lnTo>
                  <a:lnTo>
                    <a:pt x="5377" y="55188"/>
                  </a:lnTo>
                  <a:lnTo>
                    <a:pt x="5000" y="54716"/>
                  </a:lnTo>
                  <a:lnTo>
                    <a:pt x="4717" y="54150"/>
                  </a:lnTo>
                  <a:lnTo>
                    <a:pt x="4528" y="53678"/>
                  </a:lnTo>
                  <a:lnTo>
                    <a:pt x="4528" y="53584"/>
                  </a:lnTo>
                  <a:lnTo>
                    <a:pt x="4623" y="53395"/>
                  </a:lnTo>
                  <a:lnTo>
                    <a:pt x="5094" y="54244"/>
                  </a:lnTo>
                  <a:lnTo>
                    <a:pt x="4717" y="53301"/>
                  </a:lnTo>
                  <a:lnTo>
                    <a:pt x="4528" y="53018"/>
                  </a:lnTo>
                  <a:lnTo>
                    <a:pt x="4151" y="52263"/>
                  </a:lnTo>
                  <a:lnTo>
                    <a:pt x="4151" y="52169"/>
                  </a:lnTo>
                  <a:lnTo>
                    <a:pt x="3774" y="51509"/>
                  </a:lnTo>
                  <a:lnTo>
                    <a:pt x="3396" y="50660"/>
                  </a:lnTo>
                  <a:lnTo>
                    <a:pt x="3585" y="51603"/>
                  </a:lnTo>
                  <a:lnTo>
                    <a:pt x="3396" y="51226"/>
                  </a:lnTo>
                  <a:lnTo>
                    <a:pt x="3208" y="50848"/>
                  </a:lnTo>
                  <a:lnTo>
                    <a:pt x="3208" y="50471"/>
                  </a:lnTo>
                  <a:lnTo>
                    <a:pt x="3208" y="50094"/>
                  </a:lnTo>
                  <a:lnTo>
                    <a:pt x="3585" y="50754"/>
                  </a:lnTo>
                  <a:lnTo>
                    <a:pt x="3868" y="51509"/>
                  </a:lnTo>
                  <a:lnTo>
                    <a:pt x="3868" y="51509"/>
                  </a:lnTo>
                  <a:lnTo>
                    <a:pt x="3208" y="49528"/>
                  </a:lnTo>
                  <a:lnTo>
                    <a:pt x="3208" y="49528"/>
                  </a:lnTo>
                  <a:lnTo>
                    <a:pt x="3868" y="50754"/>
                  </a:lnTo>
                  <a:lnTo>
                    <a:pt x="3208" y="48962"/>
                  </a:lnTo>
                  <a:lnTo>
                    <a:pt x="3585" y="49339"/>
                  </a:lnTo>
                  <a:lnTo>
                    <a:pt x="3774" y="49433"/>
                  </a:lnTo>
                  <a:lnTo>
                    <a:pt x="3962" y="49528"/>
                  </a:lnTo>
                  <a:lnTo>
                    <a:pt x="4057" y="49905"/>
                  </a:lnTo>
                  <a:lnTo>
                    <a:pt x="3868" y="48962"/>
                  </a:lnTo>
                  <a:lnTo>
                    <a:pt x="3491" y="47924"/>
                  </a:lnTo>
                  <a:lnTo>
                    <a:pt x="2641" y="45565"/>
                  </a:lnTo>
                  <a:lnTo>
                    <a:pt x="2170" y="43867"/>
                  </a:lnTo>
                  <a:lnTo>
                    <a:pt x="1698" y="41886"/>
                  </a:lnTo>
                  <a:lnTo>
                    <a:pt x="1698" y="41886"/>
                  </a:lnTo>
                  <a:lnTo>
                    <a:pt x="1887" y="42075"/>
                  </a:lnTo>
                  <a:lnTo>
                    <a:pt x="1981" y="41981"/>
                  </a:lnTo>
                  <a:lnTo>
                    <a:pt x="2075" y="42075"/>
                  </a:lnTo>
                  <a:lnTo>
                    <a:pt x="2264" y="42169"/>
                  </a:lnTo>
                  <a:lnTo>
                    <a:pt x="2170" y="40283"/>
                  </a:lnTo>
                  <a:lnTo>
                    <a:pt x="2075" y="38301"/>
                  </a:lnTo>
                  <a:lnTo>
                    <a:pt x="2170" y="36415"/>
                  </a:lnTo>
                  <a:lnTo>
                    <a:pt x="2358" y="35566"/>
                  </a:lnTo>
                  <a:lnTo>
                    <a:pt x="2453" y="34811"/>
                  </a:lnTo>
                  <a:lnTo>
                    <a:pt x="2830" y="32830"/>
                  </a:lnTo>
                  <a:lnTo>
                    <a:pt x="2830" y="33207"/>
                  </a:lnTo>
                  <a:lnTo>
                    <a:pt x="2924" y="33490"/>
                  </a:lnTo>
                  <a:lnTo>
                    <a:pt x="2924" y="32453"/>
                  </a:lnTo>
                  <a:lnTo>
                    <a:pt x="3019" y="31415"/>
                  </a:lnTo>
                  <a:lnTo>
                    <a:pt x="3396" y="29245"/>
                  </a:lnTo>
                  <a:lnTo>
                    <a:pt x="3868" y="27075"/>
                  </a:lnTo>
                  <a:lnTo>
                    <a:pt x="4623" y="25000"/>
                  </a:lnTo>
                  <a:lnTo>
                    <a:pt x="5566" y="22830"/>
                  </a:lnTo>
                  <a:lnTo>
                    <a:pt x="6604" y="20849"/>
                  </a:lnTo>
                  <a:lnTo>
                    <a:pt x="7830" y="18868"/>
                  </a:lnTo>
                  <a:lnTo>
                    <a:pt x="9151" y="16887"/>
                  </a:lnTo>
                  <a:lnTo>
                    <a:pt x="10566" y="15094"/>
                  </a:lnTo>
                  <a:lnTo>
                    <a:pt x="12075" y="13302"/>
                  </a:lnTo>
                  <a:lnTo>
                    <a:pt x="13773" y="11698"/>
                  </a:lnTo>
                  <a:lnTo>
                    <a:pt x="15377" y="10095"/>
                  </a:lnTo>
                  <a:lnTo>
                    <a:pt x="17170" y="8679"/>
                  </a:lnTo>
                  <a:lnTo>
                    <a:pt x="18962" y="7453"/>
                  </a:lnTo>
                  <a:lnTo>
                    <a:pt x="20754" y="6321"/>
                  </a:lnTo>
                  <a:lnTo>
                    <a:pt x="22547" y="5378"/>
                  </a:lnTo>
                  <a:lnTo>
                    <a:pt x="21603" y="6227"/>
                  </a:lnTo>
                  <a:lnTo>
                    <a:pt x="22641" y="5472"/>
                  </a:lnTo>
                  <a:lnTo>
                    <a:pt x="23302" y="5095"/>
                  </a:lnTo>
                  <a:lnTo>
                    <a:pt x="25377" y="4151"/>
                  </a:lnTo>
                  <a:lnTo>
                    <a:pt x="24811" y="4151"/>
                  </a:lnTo>
                  <a:lnTo>
                    <a:pt x="25660" y="3774"/>
                  </a:lnTo>
                  <a:lnTo>
                    <a:pt x="26886" y="3208"/>
                  </a:lnTo>
                  <a:lnTo>
                    <a:pt x="26603" y="3585"/>
                  </a:lnTo>
                  <a:lnTo>
                    <a:pt x="26886" y="3585"/>
                  </a:lnTo>
                  <a:lnTo>
                    <a:pt x="26886" y="3680"/>
                  </a:lnTo>
                  <a:lnTo>
                    <a:pt x="26792" y="3774"/>
                  </a:lnTo>
                  <a:lnTo>
                    <a:pt x="28301" y="3302"/>
                  </a:lnTo>
                  <a:lnTo>
                    <a:pt x="29622" y="2736"/>
                  </a:lnTo>
                  <a:lnTo>
                    <a:pt x="31037" y="2264"/>
                  </a:lnTo>
                  <a:lnTo>
                    <a:pt x="31792" y="2076"/>
                  </a:lnTo>
                  <a:lnTo>
                    <a:pt x="32641" y="1981"/>
                  </a:lnTo>
                  <a:lnTo>
                    <a:pt x="32547" y="2076"/>
                  </a:lnTo>
                  <a:lnTo>
                    <a:pt x="32924" y="1981"/>
                  </a:lnTo>
                  <a:lnTo>
                    <a:pt x="34245" y="1793"/>
                  </a:lnTo>
                  <a:lnTo>
                    <a:pt x="35848" y="1415"/>
                  </a:lnTo>
                  <a:lnTo>
                    <a:pt x="36981" y="1132"/>
                  </a:lnTo>
                  <a:lnTo>
                    <a:pt x="36981" y="1415"/>
                  </a:lnTo>
                  <a:lnTo>
                    <a:pt x="40943" y="1227"/>
                  </a:lnTo>
                  <a:lnTo>
                    <a:pt x="41509" y="1038"/>
                  </a:lnTo>
                  <a:lnTo>
                    <a:pt x="41697" y="1132"/>
                  </a:lnTo>
                  <a:lnTo>
                    <a:pt x="41509" y="1227"/>
                  </a:lnTo>
                  <a:lnTo>
                    <a:pt x="41320" y="1321"/>
                  </a:lnTo>
                  <a:lnTo>
                    <a:pt x="42263" y="1321"/>
                  </a:lnTo>
                  <a:lnTo>
                    <a:pt x="43113" y="1227"/>
                  </a:lnTo>
                  <a:lnTo>
                    <a:pt x="43396" y="1415"/>
                  </a:lnTo>
                  <a:lnTo>
                    <a:pt x="44056" y="1604"/>
                  </a:lnTo>
                  <a:lnTo>
                    <a:pt x="45943" y="2076"/>
                  </a:lnTo>
                  <a:lnTo>
                    <a:pt x="48018" y="2359"/>
                  </a:lnTo>
                  <a:lnTo>
                    <a:pt x="49622" y="2736"/>
                  </a:lnTo>
                  <a:lnTo>
                    <a:pt x="47641" y="1981"/>
                  </a:lnTo>
                  <a:lnTo>
                    <a:pt x="45282" y="1321"/>
                  </a:lnTo>
                  <a:lnTo>
                    <a:pt x="42735" y="755"/>
                  </a:lnTo>
                  <a:lnTo>
                    <a:pt x="40188" y="283"/>
                  </a:lnTo>
                  <a:lnTo>
                    <a:pt x="37735" y="95"/>
                  </a:lnTo>
                  <a:lnTo>
                    <a:pt x="35471" y="0"/>
                  </a:lnTo>
                  <a:close/>
                </a:path>
              </a:pathLst>
            </a:custGeom>
            <a:solidFill>
              <a:schemeClr val="bg1">
                <a:lumMod val="95000"/>
              </a:schemeClr>
            </a:solidFill>
            <a:ln w="0">
              <a:solidFill>
                <a:srgbClr val="0079D1"/>
              </a:solidFill>
            </a:ln>
          </p:spPr>
          <p:txBody>
            <a:bodyPr spcFirstLastPara="1" wrap="square" lIns="91425" tIns="91425" rIns="91425" bIns="91425" anchor="ctr" anchorCtr="0">
              <a:noAutofit/>
            </a:bodyPr>
            <a:lstStyle/>
            <a:p>
              <a:pPr marL="0" lvl="0" indent="0">
                <a:spcBef>
                  <a:spcPts val="0"/>
                </a:spcBef>
                <a:spcAft>
                  <a:spcPts val="0"/>
                </a:spcAft>
                <a:buNone/>
              </a:pPr>
              <a:endParaRPr sz="1200"/>
            </a:p>
          </p:txBody>
        </p:sp>
        <p:sp>
          <p:nvSpPr>
            <p:cNvPr id="683" name="TextBox 682">
              <a:extLst>
                <a:ext uri="{FF2B5EF4-FFF2-40B4-BE49-F238E27FC236}">
                  <a16:creationId xmlns:a16="http://schemas.microsoft.com/office/drawing/2014/main" id="{0AB2E3CE-02B8-604E-AE38-B6EEA5F6E678}"/>
                </a:ext>
              </a:extLst>
            </p:cNvPr>
            <p:cNvSpPr txBox="1"/>
            <p:nvPr/>
          </p:nvSpPr>
          <p:spPr>
            <a:xfrm>
              <a:off x="8676898" y="4619460"/>
              <a:ext cx="229951" cy="200055"/>
            </a:xfrm>
            <a:prstGeom prst="rect">
              <a:avLst/>
            </a:prstGeom>
            <a:noFill/>
          </p:spPr>
          <p:txBody>
            <a:bodyPr wrap="square" rtlCol="0">
              <a:spAutoFit/>
            </a:bodyPr>
            <a:lstStyle/>
            <a:p>
              <a:r>
                <a:rPr lang="en-US" sz="700" b="1" dirty="0">
                  <a:solidFill>
                    <a:srgbClr val="0079D1"/>
                  </a:solidFill>
                </a:rPr>
                <a:t>C</a:t>
              </a:r>
            </a:p>
          </p:txBody>
        </p:sp>
      </p:grpSp>
      <p:grpSp>
        <p:nvGrpSpPr>
          <p:cNvPr id="684" name="Group 683">
            <a:extLst>
              <a:ext uri="{FF2B5EF4-FFF2-40B4-BE49-F238E27FC236}">
                <a16:creationId xmlns:a16="http://schemas.microsoft.com/office/drawing/2014/main" id="{1E789276-9299-B044-84D4-B0B74741F78D}"/>
              </a:ext>
            </a:extLst>
          </p:cNvPr>
          <p:cNvGrpSpPr/>
          <p:nvPr/>
        </p:nvGrpSpPr>
        <p:grpSpPr>
          <a:xfrm>
            <a:off x="10353750" y="3995361"/>
            <a:ext cx="229951" cy="200055"/>
            <a:chOff x="8676898" y="4619460"/>
            <a:chExt cx="229951" cy="200055"/>
          </a:xfrm>
        </p:grpSpPr>
        <p:sp>
          <p:nvSpPr>
            <p:cNvPr id="685" name="Google Shape;431;p39">
              <a:extLst>
                <a:ext uri="{FF2B5EF4-FFF2-40B4-BE49-F238E27FC236}">
                  <a16:creationId xmlns:a16="http://schemas.microsoft.com/office/drawing/2014/main" id="{7894A050-C7DA-2645-8E3C-C27B38EB6512}"/>
                </a:ext>
              </a:extLst>
            </p:cNvPr>
            <p:cNvSpPr/>
            <p:nvPr/>
          </p:nvSpPr>
          <p:spPr>
            <a:xfrm>
              <a:off x="8709950" y="4635551"/>
              <a:ext cx="179407" cy="167874"/>
            </a:xfrm>
            <a:custGeom>
              <a:avLst/>
              <a:gdLst/>
              <a:ahLst/>
              <a:cxnLst/>
              <a:rect l="0" t="0" r="0" b="0"/>
              <a:pathLst>
                <a:path w="67641" h="69056" extrusionOk="0">
                  <a:moveTo>
                    <a:pt x="49622" y="2736"/>
                  </a:moveTo>
                  <a:lnTo>
                    <a:pt x="49622" y="2736"/>
                  </a:lnTo>
                  <a:lnTo>
                    <a:pt x="49622" y="2736"/>
                  </a:lnTo>
                  <a:close/>
                  <a:moveTo>
                    <a:pt x="59622" y="55565"/>
                  </a:moveTo>
                  <a:lnTo>
                    <a:pt x="59622" y="55565"/>
                  </a:lnTo>
                  <a:lnTo>
                    <a:pt x="59622" y="55565"/>
                  </a:lnTo>
                  <a:close/>
                  <a:moveTo>
                    <a:pt x="35471" y="0"/>
                  </a:moveTo>
                  <a:lnTo>
                    <a:pt x="34433" y="95"/>
                  </a:lnTo>
                  <a:lnTo>
                    <a:pt x="33584" y="189"/>
                  </a:lnTo>
                  <a:lnTo>
                    <a:pt x="32735" y="378"/>
                  </a:lnTo>
                  <a:lnTo>
                    <a:pt x="32169" y="566"/>
                  </a:lnTo>
                  <a:lnTo>
                    <a:pt x="31509" y="472"/>
                  </a:lnTo>
                  <a:lnTo>
                    <a:pt x="30754" y="472"/>
                  </a:lnTo>
                  <a:lnTo>
                    <a:pt x="29339" y="566"/>
                  </a:lnTo>
                  <a:lnTo>
                    <a:pt x="27830" y="849"/>
                  </a:lnTo>
                  <a:lnTo>
                    <a:pt x="26320" y="1321"/>
                  </a:lnTo>
                  <a:lnTo>
                    <a:pt x="24811" y="1981"/>
                  </a:lnTo>
                  <a:lnTo>
                    <a:pt x="23207" y="2736"/>
                  </a:lnTo>
                  <a:lnTo>
                    <a:pt x="21698" y="3585"/>
                  </a:lnTo>
                  <a:lnTo>
                    <a:pt x="20188" y="4623"/>
                  </a:lnTo>
                  <a:lnTo>
                    <a:pt x="18679" y="5661"/>
                  </a:lnTo>
                  <a:lnTo>
                    <a:pt x="17170" y="6793"/>
                  </a:lnTo>
                  <a:lnTo>
                    <a:pt x="15754" y="8019"/>
                  </a:lnTo>
                  <a:lnTo>
                    <a:pt x="14434" y="9151"/>
                  </a:lnTo>
                  <a:lnTo>
                    <a:pt x="11981" y="11510"/>
                  </a:lnTo>
                  <a:lnTo>
                    <a:pt x="10000" y="13774"/>
                  </a:lnTo>
                  <a:lnTo>
                    <a:pt x="7736" y="16981"/>
                  </a:lnTo>
                  <a:lnTo>
                    <a:pt x="8019" y="16321"/>
                  </a:lnTo>
                  <a:lnTo>
                    <a:pt x="8302" y="15660"/>
                  </a:lnTo>
                  <a:lnTo>
                    <a:pt x="7736" y="16604"/>
                  </a:lnTo>
                  <a:lnTo>
                    <a:pt x="7075" y="17642"/>
                  </a:lnTo>
                  <a:lnTo>
                    <a:pt x="7170" y="17830"/>
                  </a:lnTo>
                  <a:lnTo>
                    <a:pt x="6509" y="18868"/>
                  </a:lnTo>
                  <a:lnTo>
                    <a:pt x="7075" y="17359"/>
                  </a:lnTo>
                  <a:lnTo>
                    <a:pt x="6132" y="19057"/>
                  </a:lnTo>
                  <a:lnTo>
                    <a:pt x="5189" y="20849"/>
                  </a:lnTo>
                  <a:lnTo>
                    <a:pt x="4434" y="22736"/>
                  </a:lnTo>
                  <a:lnTo>
                    <a:pt x="3679" y="24622"/>
                  </a:lnTo>
                  <a:lnTo>
                    <a:pt x="2453" y="28490"/>
                  </a:lnTo>
                  <a:lnTo>
                    <a:pt x="1321" y="32169"/>
                  </a:lnTo>
                  <a:lnTo>
                    <a:pt x="1509" y="32264"/>
                  </a:lnTo>
                  <a:lnTo>
                    <a:pt x="1604" y="32453"/>
                  </a:lnTo>
                  <a:lnTo>
                    <a:pt x="1604" y="32641"/>
                  </a:lnTo>
                  <a:lnTo>
                    <a:pt x="1509" y="32924"/>
                  </a:lnTo>
                  <a:lnTo>
                    <a:pt x="1226" y="33396"/>
                  </a:lnTo>
                  <a:lnTo>
                    <a:pt x="1038" y="33585"/>
                  </a:lnTo>
                  <a:lnTo>
                    <a:pt x="1038" y="33773"/>
                  </a:lnTo>
                  <a:lnTo>
                    <a:pt x="1038" y="35000"/>
                  </a:lnTo>
                  <a:lnTo>
                    <a:pt x="849" y="36132"/>
                  </a:lnTo>
                  <a:lnTo>
                    <a:pt x="660" y="37358"/>
                  </a:lnTo>
                  <a:lnTo>
                    <a:pt x="472" y="38867"/>
                  </a:lnTo>
                  <a:lnTo>
                    <a:pt x="283" y="38301"/>
                  </a:lnTo>
                  <a:lnTo>
                    <a:pt x="94" y="39811"/>
                  </a:lnTo>
                  <a:lnTo>
                    <a:pt x="0" y="41509"/>
                  </a:lnTo>
                  <a:lnTo>
                    <a:pt x="94" y="43301"/>
                  </a:lnTo>
                  <a:lnTo>
                    <a:pt x="283" y="44056"/>
                  </a:lnTo>
                  <a:lnTo>
                    <a:pt x="472" y="44622"/>
                  </a:lnTo>
                  <a:lnTo>
                    <a:pt x="566" y="45660"/>
                  </a:lnTo>
                  <a:lnTo>
                    <a:pt x="755" y="46792"/>
                  </a:lnTo>
                  <a:lnTo>
                    <a:pt x="1226" y="48962"/>
                  </a:lnTo>
                  <a:lnTo>
                    <a:pt x="1981" y="51037"/>
                  </a:lnTo>
                  <a:lnTo>
                    <a:pt x="2924" y="53112"/>
                  </a:lnTo>
                  <a:lnTo>
                    <a:pt x="4057" y="55094"/>
                  </a:lnTo>
                  <a:lnTo>
                    <a:pt x="5283" y="56980"/>
                  </a:lnTo>
                  <a:lnTo>
                    <a:pt x="6698" y="58678"/>
                  </a:lnTo>
                  <a:lnTo>
                    <a:pt x="8113" y="60282"/>
                  </a:lnTo>
                  <a:lnTo>
                    <a:pt x="9056" y="61131"/>
                  </a:lnTo>
                  <a:lnTo>
                    <a:pt x="10000" y="61980"/>
                  </a:lnTo>
                  <a:lnTo>
                    <a:pt x="11038" y="62829"/>
                  </a:lnTo>
                  <a:lnTo>
                    <a:pt x="12075" y="63584"/>
                  </a:lnTo>
                  <a:lnTo>
                    <a:pt x="14339" y="64905"/>
                  </a:lnTo>
                  <a:lnTo>
                    <a:pt x="16604" y="66131"/>
                  </a:lnTo>
                  <a:lnTo>
                    <a:pt x="19056" y="67169"/>
                  </a:lnTo>
                  <a:lnTo>
                    <a:pt x="21509" y="67923"/>
                  </a:lnTo>
                  <a:lnTo>
                    <a:pt x="24056" y="68584"/>
                  </a:lnTo>
                  <a:lnTo>
                    <a:pt x="26603" y="69055"/>
                  </a:lnTo>
                  <a:lnTo>
                    <a:pt x="27830" y="69055"/>
                  </a:lnTo>
                  <a:lnTo>
                    <a:pt x="30188" y="68867"/>
                  </a:lnTo>
                  <a:lnTo>
                    <a:pt x="33113" y="68678"/>
                  </a:lnTo>
                  <a:lnTo>
                    <a:pt x="36509" y="68301"/>
                  </a:lnTo>
                  <a:lnTo>
                    <a:pt x="39811" y="67923"/>
                  </a:lnTo>
                  <a:lnTo>
                    <a:pt x="42735" y="67452"/>
                  </a:lnTo>
                  <a:lnTo>
                    <a:pt x="44905" y="66980"/>
                  </a:lnTo>
                  <a:lnTo>
                    <a:pt x="45565" y="66791"/>
                  </a:lnTo>
                  <a:lnTo>
                    <a:pt x="45943" y="66508"/>
                  </a:lnTo>
                  <a:lnTo>
                    <a:pt x="47358" y="65942"/>
                  </a:lnTo>
                  <a:lnTo>
                    <a:pt x="48018" y="65565"/>
                  </a:lnTo>
                  <a:lnTo>
                    <a:pt x="48678" y="65188"/>
                  </a:lnTo>
                  <a:lnTo>
                    <a:pt x="47924" y="65471"/>
                  </a:lnTo>
                  <a:lnTo>
                    <a:pt x="51509" y="62924"/>
                  </a:lnTo>
                  <a:lnTo>
                    <a:pt x="53301" y="61508"/>
                  </a:lnTo>
                  <a:lnTo>
                    <a:pt x="55093" y="59905"/>
                  </a:lnTo>
                  <a:lnTo>
                    <a:pt x="55093" y="59905"/>
                  </a:lnTo>
                  <a:lnTo>
                    <a:pt x="54810" y="60376"/>
                  </a:lnTo>
                  <a:lnTo>
                    <a:pt x="54339" y="60754"/>
                  </a:lnTo>
                  <a:lnTo>
                    <a:pt x="55376" y="59999"/>
                  </a:lnTo>
                  <a:lnTo>
                    <a:pt x="56320" y="59056"/>
                  </a:lnTo>
                  <a:lnTo>
                    <a:pt x="57075" y="58395"/>
                  </a:lnTo>
                  <a:lnTo>
                    <a:pt x="57169" y="58207"/>
                  </a:lnTo>
                  <a:lnTo>
                    <a:pt x="57075" y="58207"/>
                  </a:lnTo>
                  <a:lnTo>
                    <a:pt x="57924" y="57546"/>
                  </a:lnTo>
                  <a:lnTo>
                    <a:pt x="58678" y="56697"/>
                  </a:lnTo>
                  <a:lnTo>
                    <a:pt x="59339" y="55754"/>
                  </a:lnTo>
                  <a:lnTo>
                    <a:pt x="59905" y="54905"/>
                  </a:lnTo>
                  <a:lnTo>
                    <a:pt x="59716" y="54999"/>
                  </a:lnTo>
                  <a:lnTo>
                    <a:pt x="59622" y="54999"/>
                  </a:lnTo>
                  <a:lnTo>
                    <a:pt x="59810" y="54622"/>
                  </a:lnTo>
                  <a:lnTo>
                    <a:pt x="59150" y="55565"/>
                  </a:lnTo>
                  <a:lnTo>
                    <a:pt x="59527" y="55094"/>
                  </a:lnTo>
                  <a:lnTo>
                    <a:pt x="59433" y="55377"/>
                  </a:lnTo>
                  <a:lnTo>
                    <a:pt x="58867" y="56037"/>
                  </a:lnTo>
                  <a:lnTo>
                    <a:pt x="59056" y="55660"/>
                  </a:lnTo>
                  <a:lnTo>
                    <a:pt x="59056" y="55660"/>
                  </a:lnTo>
                  <a:lnTo>
                    <a:pt x="58678" y="56037"/>
                  </a:lnTo>
                  <a:lnTo>
                    <a:pt x="59810" y="54339"/>
                  </a:lnTo>
                  <a:lnTo>
                    <a:pt x="60282" y="53490"/>
                  </a:lnTo>
                  <a:lnTo>
                    <a:pt x="60282" y="53301"/>
                  </a:lnTo>
                  <a:lnTo>
                    <a:pt x="60188" y="53395"/>
                  </a:lnTo>
                  <a:lnTo>
                    <a:pt x="60188" y="53395"/>
                  </a:lnTo>
                  <a:lnTo>
                    <a:pt x="60565" y="52924"/>
                  </a:lnTo>
                  <a:lnTo>
                    <a:pt x="61037" y="52452"/>
                  </a:lnTo>
                  <a:lnTo>
                    <a:pt x="61886" y="51509"/>
                  </a:lnTo>
                  <a:lnTo>
                    <a:pt x="61508" y="52452"/>
                  </a:lnTo>
                  <a:lnTo>
                    <a:pt x="60848" y="53584"/>
                  </a:lnTo>
                  <a:lnTo>
                    <a:pt x="59622" y="55565"/>
                  </a:lnTo>
                  <a:lnTo>
                    <a:pt x="60376" y="54528"/>
                  </a:lnTo>
                  <a:lnTo>
                    <a:pt x="60942" y="53678"/>
                  </a:lnTo>
                  <a:lnTo>
                    <a:pt x="61980" y="51792"/>
                  </a:lnTo>
                  <a:lnTo>
                    <a:pt x="61886" y="51886"/>
                  </a:lnTo>
                  <a:lnTo>
                    <a:pt x="61886" y="51697"/>
                  </a:lnTo>
                  <a:lnTo>
                    <a:pt x="62169" y="51037"/>
                  </a:lnTo>
                  <a:lnTo>
                    <a:pt x="62735" y="49999"/>
                  </a:lnTo>
                  <a:lnTo>
                    <a:pt x="61508" y="51603"/>
                  </a:lnTo>
                  <a:lnTo>
                    <a:pt x="61603" y="51037"/>
                  </a:lnTo>
                  <a:lnTo>
                    <a:pt x="61697" y="50377"/>
                  </a:lnTo>
                  <a:lnTo>
                    <a:pt x="62169" y="48962"/>
                  </a:lnTo>
                  <a:lnTo>
                    <a:pt x="62829" y="47358"/>
                  </a:lnTo>
                  <a:lnTo>
                    <a:pt x="63678" y="45565"/>
                  </a:lnTo>
                  <a:lnTo>
                    <a:pt x="65376" y="42169"/>
                  </a:lnTo>
                  <a:lnTo>
                    <a:pt x="66131" y="40660"/>
                  </a:lnTo>
                  <a:lnTo>
                    <a:pt x="66697" y="39339"/>
                  </a:lnTo>
                  <a:lnTo>
                    <a:pt x="66603" y="39528"/>
                  </a:lnTo>
                  <a:lnTo>
                    <a:pt x="66697" y="39056"/>
                  </a:lnTo>
                  <a:lnTo>
                    <a:pt x="66791" y="38962"/>
                  </a:lnTo>
                  <a:lnTo>
                    <a:pt x="66791" y="39056"/>
                  </a:lnTo>
                  <a:lnTo>
                    <a:pt x="66886" y="38584"/>
                  </a:lnTo>
                  <a:lnTo>
                    <a:pt x="66791" y="38867"/>
                  </a:lnTo>
                  <a:lnTo>
                    <a:pt x="66980" y="38207"/>
                  </a:lnTo>
                  <a:lnTo>
                    <a:pt x="67169" y="37264"/>
                  </a:lnTo>
                  <a:lnTo>
                    <a:pt x="67263" y="36415"/>
                  </a:lnTo>
                  <a:lnTo>
                    <a:pt x="67357" y="36509"/>
                  </a:lnTo>
                  <a:lnTo>
                    <a:pt x="67452" y="36509"/>
                  </a:lnTo>
                  <a:lnTo>
                    <a:pt x="67546" y="35943"/>
                  </a:lnTo>
                  <a:lnTo>
                    <a:pt x="67546" y="34811"/>
                  </a:lnTo>
                  <a:lnTo>
                    <a:pt x="67640" y="31037"/>
                  </a:lnTo>
                  <a:lnTo>
                    <a:pt x="67640" y="28490"/>
                  </a:lnTo>
                  <a:lnTo>
                    <a:pt x="67546" y="27736"/>
                  </a:lnTo>
                  <a:lnTo>
                    <a:pt x="67546" y="27547"/>
                  </a:lnTo>
                  <a:lnTo>
                    <a:pt x="67452" y="27547"/>
                  </a:lnTo>
                  <a:lnTo>
                    <a:pt x="67074" y="26792"/>
                  </a:lnTo>
                  <a:lnTo>
                    <a:pt x="66791" y="25660"/>
                  </a:lnTo>
                  <a:lnTo>
                    <a:pt x="66508" y="24528"/>
                  </a:lnTo>
                  <a:lnTo>
                    <a:pt x="66414" y="23585"/>
                  </a:lnTo>
                  <a:lnTo>
                    <a:pt x="66320" y="23679"/>
                  </a:lnTo>
                  <a:lnTo>
                    <a:pt x="66320" y="23490"/>
                  </a:lnTo>
                  <a:lnTo>
                    <a:pt x="65942" y="22924"/>
                  </a:lnTo>
                  <a:lnTo>
                    <a:pt x="65565" y="22358"/>
                  </a:lnTo>
                  <a:lnTo>
                    <a:pt x="64527" y="21132"/>
                  </a:lnTo>
                  <a:lnTo>
                    <a:pt x="63584" y="19906"/>
                  </a:lnTo>
                  <a:lnTo>
                    <a:pt x="63207" y="19340"/>
                  </a:lnTo>
                  <a:lnTo>
                    <a:pt x="63018" y="18774"/>
                  </a:lnTo>
                  <a:lnTo>
                    <a:pt x="63112" y="18962"/>
                  </a:lnTo>
                  <a:lnTo>
                    <a:pt x="63301" y="19057"/>
                  </a:lnTo>
                  <a:lnTo>
                    <a:pt x="63301" y="19057"/>
                  </a:lnTo>
                  <a:lnTo>
                    <a:pt x="63207" y="18868"/>
                  </a:lnTo>
                  <a:lnTo>
                    <a:pt x="62923" y="18491"/>
                  </a:lnTo>
                  <a:lnTo>
                    <a:pt x="61980" y="17453"/>
                  </a:lnTo>
                  <a:lnTo>
                    <a:pt x="61037" y="16509"/>
                  </a:lnTo>
                  <a:lnTo>
                    <a:pt x="61037" y="16698"/>
                  </a:lnTo>
                  <a:lnTo>
                    <a:pt x="61037" y="16887"/>
                  </a:lnTo>
                  <a:lnTo>
                    <a:pt x="60093" y="15943"/>
                  </a:lnTo>
                  <a:lnTo>
                    <a:pt x="60376" y="16321"/>
                  </a:lnTo>
                  <a:lnTo>
                    <a:pt x="59527" y="15377"/>
                  </a:lnTo>
                  <a:lnTo>
                    <a:pt x="59056" y="14906"/>
                  </a:lnTo>
                  <a:lnTo>
                    <a:pt x="59244" y="14906"/>
                  </a:lnTo>
                  <a:lnTo>
                    <a:pt x="59905" y="15472"/>
                  </a:lnTo>
                  <a:lnTo>
                    <a:pt x="59905" y="15472"/>
                  </a:lnTo>
                  <a:lnTo>
                    <a:pt x="57641" y="13396"/>
                  </a:lnTo>
                  <a:lnTo>
                    <a:pt x="58112" y="13868"/>
                  </a:lnTo>
                  <a:lnTo>
                    <a:pt x="56886" y="13019"/>
                  </a:lnTo>
                  <a:lnTo>
                    <a:pt x="55754" y="12453"/>
                  </a:lnTo>
                  <a:lnTo>
                    <a:pt x="56603" y="13113"/>
                  </a:lnTo>
                  <a:lnTo>
                    <a:pt x="57452" y="13774"/>
                  </a:lnTo>
                  <a:lnTo>
                    <a:pt x="58961" y="15283"/>
                  </a:lnTo>
                  <a:lnTo>
                    <a:pt x="60376" y="16604"/>
                  </a:lnTo>
                  <a:lnTo>
                    <a:pt x="61225" y="17264"/>
                  </a:lnTo>
                  <a:lnTo>
                    <a:pt x="62074" y="17925"/>
                  </a:lnTo>
                  <a:lnTo>
                    <a:pt x="62074" y="17925"/>
                  </a:lnTo>
                  <a:lnTo>
                    <a:pt x="61414" y="17547"/>
                  </a:lnTo>
                  <a:lnTo>
                    <a:pt x="60659" y="16981"/>
                  </a:lnTo>
                  <a:lnTo>
                    <a:pt x="60754" y="17264"/>
                  </a:lnTo>
                  <a:lnTo>
                    <a:pt x="60942" y="17642"/>
                  </a:lnTo>
                  <a:lnTo>
                    <a:pt x="61980" y="19151"/>
                  </a:lnTo>
                  <a:lnTo>
                    <a:pt x="63301" y="20943"/>
                  </a:lnTo>
                  <a:lnTo>
                    <a:pt x="63207" y="20943"/>
                  </a:lnTo>
                  <a:lnTo>
                    <a:pt x="63395" y="21038"/>
                  </a:lnTo>
                  <a:lnTo>
                    <a:pt x="63490" y="21321"/>
                  </a:lnTo>
                  <a:lnTo>
                    <a:pt x="63678" y="21604"/>
                  </a:lnTo>
                  <a:lnTo>
                    <a:pt x="63773" y="21698"/>
                  </a:lnTo>
                  <a:lnTo>
                    <a:pt x="63584" y="21321"/>
                  </a:lnTo>
                  <a:lnTo>
                    <a:pt x="63584" y="21321"/>
                  </a:lnTo>
                  <a:lnTo>
                    <a:pt x="64244" y="22170"/>
                  </a:lnTo>
                  <a:lnTo>
                    <a:pt x="64716" y="22641"/>
                  </a:lnTo>
                  <a:lnTo>
                    <a:pt x="64905" y="22830"/>
                  </a:lnTo>
                  <a:lnTo>
                    <a:pt x="64999" y="22830"/>
                  </a:lnTo>
                  <a:lnTo>
                    <a:pt x="64999" y="22641"/>
                  </a:lnTo>
                  <a:lnTo>
                    <a:pt x="64905" y="22358"/>
                  </a:lnTo>
                  <a:lnTo>
                    <a:pt x="65282" y="23207"/>
                  </a:lnTo>
                  <a:lnTo>
                    <a:pt x="65565" y="24056"/>
                  </a:lnTo>
                  <a:lnTo>
                    <a:pt x="66225" y="25943"/>
                  </a:lnTo>
                  <a:lnTo>
                    <a:pt x="66697" y="27830"/>
                  </a:lnTo>
                  <a:lnTo>
                    <a:pt x="66886" y="28490"/>
                  </a:lnTo>
                  <a:lnTo>
                    <a:pt x="66980" y="28868"/>
                  </a:lnTo>
                  <a:lnTo>
                    <a:pt x="66886" y="28962"/>
                  </a:lnTo>
                  <a:lnTo>
                    <a:pt x="66697" y="28679"/>
                  </a:lnTo>
                  <a:lnTo>
                    <a:pt x="66697" y="29245"/>
                  </a:lnTo>
                  <a:lnTo>
                    <a:pt x="66791" y="29905"/>
                  </a:lnTo>
                  <a:lnTo>
                    <a:pt x="66886" y="29905"/>
                  </a:lnTo>
                  <a:lnTo>
                    <a:pt x="66886" y="30094"/>
                  </a:lnTo>
                  <a:lnTo>
                    <a:pt x="66886" y="30566"/>
                  </a:lnTo>
                  <a:lnTo>
                    <a:pt x="66697" y="30377"/>
                  </a:lnTo>
                  <a:lnTo>
                    <a:pt x="66603" y="30188"/>
                  </a:lnTo>
                  <a:lnTo>
                    <a:pt x="66603" y="30094"/>
                  </a:lnTo>
                  <a:lnTo>
                    <a:pt x="66697" y="29905"/>
                  </a:lnTo>
                  <a:lnTo>
                    <a:pt x="66508" y="28679"/>
                  </a:lnTo>
                  <a:lnTo>
                    <a:pt x="66225" y="27358"/>
                  </a:lnTo>
                  <a:lnTo>
                    <a:pt x="66603" y="30283"/>
                  </a:lnTo>
                  <a:lnTo>
                    <a:pt x="66697" y="31792"/>
                  </a:lnTo>
                  <a:lnTo>
                    <a:pt x="66697" y="33302"/>
                  </a:lnTo>
                  <a:lnTo>
                    <a:pt x="66603" y="34717"/>
                  </a:lnTo>
                  <a:lnTo>
                    <a:pt x="66414" y="36226"/>
                  </a:lnTo>
                  <a:lnTo>
                    <a:pt x="66131" y="37547"/>
                  </a:lnTo>
                  <a:lnTo>
                    <a:pt x="65659" y="38962"/>
                  </a:lnTo>
                  <a:lnTo>
                    <a:pt x="65848" y="38584"/>
                  </a:lnTo>
                  <a:lnTo>
                    <a:pt x="65942" y="38584"/>
                  </a:lnTo>
                  <a:lnTo>
                    <a:pt x="65848" y="39245"/>
                  </a:lnTo>
                  <a:lnTo>
                    <a:pt x="65565" y="40188"/>
                  </a:lnTo>
                  <a:lnTo>
                    <a:pt x="65471" y="40471"/>
                  </a:lnTo>
                  <a:lnTo>
                    <a:pt x="65282" y="40660"/>
                  </a:lnTo>
                  <a:lnTo>
                    <a:pt x="65282" y="40566"/>
                  </a:lnTo>
                  <a:lnTo>
                    <a:pt x="65093" y="41132"/>
                  </a:lnTo>
                  <a:lnTo>
                    <a:pt x="64433" y="43018"/>
                  </a:lnTo>
                  <a:lnTo>
                    <a:pt x="63678" y="45282"/>
                  </a:lnTo>
                  <a:lnTo>
                    <a:pt x="62735" y="47264"/>
                  </a:lnTo>
                  <a:lnTo>
                    <a:pt x="61697" y="49056"/>
                  </a:lnTo>
                  <a:lnTo>
                    <a:pt x="60659" y="50943"/>
                  </a:lnTo>
                  <a:lnTo>
                    <a:pt x="59433" y="52735"/>
                  </a:lnTo>
                  <a:lnTo>
                    <a:pt x="58207" y="54433"/>
                  </a:lnTo>
                  <a:lnTo>
                    <a:pt x="56886" y="56037"/>
                  </a:lnTo>
                  <a:lnTo>
                    <a:pt x="55376" y="57641"/>
                  </a:lnTo>
                  <a:lnTo>
                    <a:pt x="53867" y="59150"/>
                  </a:lnTo>
                  <a:lnTo>
                    <a:pt x="52169" y="60376"/>
                  </a:lnTo>
                  <a:lnTo>
                    <a:pt x="48961" y="62452"/>
                  </a:lnTo>
                  <a:lnTo>
                    <a:pt x="44528" y="65282"/>
                  </a:lnTo>
                  <a:lnTo>
                    <a:pt x="44622" y="65188"/>
                  </a:lnTo>
                  <a:lnTo>
                    <a:pt x="44716" y="65093"/>
                  </a:lnTo>
                  <a:lnTo>
                    <a:pt x="45094" y="64810"/>
                  </a:lnTo>
                  <a:lnTo>
                    <a:pt x="45660" y="64527"/>
                  </a:lnTo>
                  <a:lnTo>
                    <a:pt x="43867" y="65376"/>
                  </a:lnTo>
                  <a:lnTo>
                    <a:pt x="43113" y="65754"/>
                  </a:lnTo>
                  <a:lnTo>
                    <a:pt x="42924" y="65754"/>
                  </a:lnTo>
                  <a:lnTo>
                    <a:pt x="43113" y="65659"/>
                  </a:lnTo>
                  <a:lnTo>
                    <a:pt x="41603" y="66037"/>
                  </a:lnTo>
                  <a:lnTo>
                    <a:pt x="39999" y="66320"/>
                  </a:lnTo>
                  <a:lnTo>
                    <a:pt x="38396" y="66508"/>
                  </a:lnTo>
                  <a:lnTo>
                    <a:pt x="36792" y="66697"/>
                  </a:lnTo>
                  <a:lnTo>
                    <a:pt x="33584" y="66980"/>
                  </a:lnTo>
                  <a:lnTo>
                    <a:pt x="32169" y="67169"/>
                  </a:lnTo>
                  <a:lnTo>
                    <a:pt x="30754" y="67357"/>
                  </a:lnTo>
                  <a:lnTo>
                    <a:pt x="30094" y="67357"/>
                  </a:lnTo>
                  <a:lnTo>
                    <a:pt x="29339" y="67263"/>
                  </a:lnTo>
                  <a:lnTo>
                    <a:pt x="27830" y="66886"/>
                  </a:lnTo>
                  <a:lnTo>
                    <a:pt x="26415" y="66508"/>
                  </a:lnTo>
                  <a:lnTo>
                    <a:pt x="25754" y="66414"/>
                  </a:lnTo>
                  <a:lnTo>
                    <a:pt x="25094" y="66414"/>
                  </a:lnTo>
                  <a:lnTo>
                    <a:pt x="25566" y="66980"/>
                  </a:lnTo>
                  <a:lnTo>
                    <a:pt x="25471" y="67074"/>
                  </a:lnTo>
                  <a:lnTo>
                    <a:pt x="25188" y="66980"/>
                  </a:lnTo>
                  <a:lnTo>
                    <a:pt x="24339" y="66791"/>
                  </a:lnTo>
                  <a:lnTo>
                    <a:pt x="23773" y="66508"/>
                  </a:lnTo>
                  <a:lnTo>
                    <a:pt x="24245" y="66414"/>
                  </a:lnTo>
                  <a:lnTo>
                    <a:pt x="24717" y="66603"/>
                  </a:lnTo>
                  <a:lnTo>
                    <a:pt x="24811" y="66414"/>
                  </a:lnTo>
                  <a:lnTo>
                    <a:pt x="24811" y="66320"/>
                  </a:lnTo>
                  <a:lnTo>
                    <a:pt x="24717" y="66225"/>
                  </a:lnTo>
                  <a:lnTo>
                    <a:pt x="24528" y="66131"/>
                  </a:lnTo>
                  <a:lnTo>
                    <a:pt x="24151" y="66225"/>
                  </a:lnTo>
                  <a:lnTo>
                    <a:pt x="23679" y="66320"/>
                  </a:lnTo>
                  <a:lnTo>
                    <a:pt x="23018" y="66414"/>
                  </a:lnTo>
                  <a:lnTo>
                    <a:pt x="23490" y="66225"/>
                  </a:lnTo>
                  <a:lnTo>
                    <a:pt x="22075" y="65942"/>
                  </a:lnTo>
                  <a:lnTo>
                    <a:pt x="20943" y="65659"/>
                  </a:lnTo>
                  <a:lnTo>
                    <a:pt x="20000" y="65282"/>
                  </a:lnTo>
                  <a:lnTo>
                    <a:pt x="19056" y="64810"/>
                  </a:lnTo>
                  <a:lnTo>
                    <a:pt x="19056" y="64810"/>
                  </a:lnTo>
                  <a:lnTo>
                    <a:pt x="19717" y="64999"/>
                  </a:lnTo>
                  <a:lnTo>
                    <a:pt x="19151" y="64716"/>
                  </a:lnTo>
                  <a:lnTo>
                    <a:pt x="18962" y="64810"/>
                  </a:lnTo>
                  <a:lnTo>
                    <a:pt x="19151" y="64905"/>
                  </a:lnTo>
                  <a:lnTo>
                    <a:pt x="18490" y="64905"/>
                  </a:lnTo>
                  <a:lnTo>
                    <a:pt x="17830" y="64716"/>
                  </a:lnTo>
                  <a:lnTo>
                    <a:pt x="17264" y="64527"/>
                  </a:lnTo>
                  <a:lnTo>
                    <a:pt x="16698" y="64150"/>
                  </a:lnTo>
                  <a:lnTo>
                    <a:pt x="16981" y="64056"/>
                  </a:lnTo>
                  <a:lnTo>
                    <a:pt x="17264" y="64150"/>
                  </a:lnTo>
                  <a:lnTo>
                    <a:pt x="17264" y="64150"/>
                  </a:lnTo>
                  <a:lnTo>
                    <a:pt x="15188" y="63207"/>
                  </a:lnTo>
                  <a:lnTo>
                    <a:pt x="14622" y="62829"/>
                  </a:lnTo>
                  <a:lnTo>
                    <a:pt x="14717" y="62924"/>
                  </a:lnTo>
                  <a:lnTo>
                    <a:pt x="13773" y="62546"/>
                  </a:lnTo>
                  <a:lnTo>
                    <a:pt x="12924" y="62075"/>
                  </a:lnTo>
                  <a:lnTo>
                    <a:pt x="12358" y="61697"/>
                  </a:lnTo>
                  <a:lnTo>
                    <a:pt x="12264" y="61508"/>
                  </a:lnTo>
                  <a:lnTo>
                    <a:pt x="12170" y="61320"/>
                  </a:lnTo>
                  <a:lnTo>
                    <a:pt x="11698" y="60942"/>
                  </a:lnTo>
                  <a:lnTo>
                    <a:pt x="11132" y="60471"/>
                  </a:lnTo>
                  <a:lnTo>
                    <a:pt x="9906" y="59244"/>
                  </a:lnTo>
                  <a:lnTo>
                    <a:pt x="9906" y="59244"/>
                  </a:lnTo>
                  <a:lnTo>
                    <a:pt x="10566" y="59527"/>
                  </a:lnTo>
                  <a:lnTo>
                    <a:pt x="9434" y="58584"/>
                  </a:lnTo>
                  <a:lnTo>
                    <a:pt x="8207" y="57546"/>
                  </a:lnTo>
                  <a:lnTo>
                    <a:pt x="7547" y="56886"/>
                  </a:lnTo>
                  <a:lnTo>
                    <a:pt x="6981" y="56131"/>
                  </a:lnTo>
                  <a:lnTo>
                    <a:pt x="6226" y="55094"/>
                  </a:lnTo>
                  <a:lnTo>
                    <a:pt x="6415" y="55377"/>
                  </a:lnTo>
                  <a:lnTo>
                    <a:pt x="6038" y="54905"/>
                  </a:lnTo>
                  <a:lnTo>
                    <a:pt x="5472" y="54244"/>
                  </a:lnTo>
                  <a:lnTo>
                    <a:pt x="5283" y="53961"/>
                  </a:lnTo>
                  <a:lnTo>
                    <a:pt x="5094" y="53867"/>
                  </a:lnTo>
                  <a:lnTo>
                    <a:pt x="5377" y="54622"/>
                  </a:lnTo>
                  <a:lnTo>
                    <a:pt x="5849" y="55282"/>
                  </a:lnTo>
                  <a:lnTo>
                    <a:pt x="6321" y="55943"/>
                  </a:lnTo>
                  <a:lnTo>
                    <a:pt x="6698" y="56603"/>
                  </a:lnTo>
                  <a:lnTo>
                    <a:pt x="6226" y="56226"/>
                  </a:lnTo>
                  <a:lnTo>
                    <a:pt x="5943" y="55848"/>
                  </a:lnTo>
                  <a:lnTo>
                    <a:pt x="6038" y="56037"/>
                  </a:lnTo>
                  <a:lnTo>
                    <a:pt x="5943" y="55943"/>
                  </a:lnTo>
                  <a:lnTo>
                    <a:pt x="5377" y="55188"/>
                  </a:lnTo>
                  <a:lnTo>
                    <a:pt x="5000" y="54716"/>
                  </a:lnTo>
                  <a:lnTo>
                    <a:pt x="4717" y="54150"/>
                  </a:lnTo>
                  <a:lnTo>
                    <a:pt x="4528" y="53678"/>
                  </a:lnTo>
                  <a:lnTo>
                    <a:pt x="4528" y="53584"/>
                  </a:lnTo>
                  <a:lnTo>
                    <a:pt x="4623" y="53395"/>
                  </a:lnTo>
                  <a:lnTo>
                    <a:pt x="5094" y="54244"/>
                  </a:lnTo>
                  <a:lnTo>
                    <a:pt x="4717" y="53301"/>
                  </a:lnTo>
                  <a:lnTo>
                    <a:pt x="4528" y="53018"/>
                  </a:lnTo>
                  <a:lnTo>
                    <a:pt x="4151" y="52263"/>
                  </a:lnTo>
                  <a:lnTo>
                    <a:pt x="4151" y="52169"/>
                  </a:lnTo>
                  <a:lnTo>
                    <a:pt x="3774" y="51509"/>
                  </a:lnTo>
                  <a:lnTo>
                    <a:pt x="3396" y="50660"/>
                  </a:lnTo>
                  <a:lnTo>
                    <a:pt x="3585" y="51603"/>
                  </a:lnTo>
                  <a:lnTo>
                    <a:pt x="3396" y="51226"/>
                  </a:lnTo>
                  <a:lnTo>
                    <a:pt x="3208" y="50848"/>
                  </a:lnTo>
                  <a:lnTo>
                    <a:pt x="3208" y="50471"/>
                  </a:lnTo>
                  <a:lnTo>
                    <a:pt x="3208" y="50094"/>
                  </a:lnTo>
                  <a:lnTo>
                    <a:pt x="3585" y="50754"/>
                  </a:lnTo>
                  <a:lnTo>
                    <a:pt x="3868" y="51509"/>
                  </a:lnTo>
                  <a:lnTo>
                    <a:pt x="3868" y="51509"/>
                  </a:lnTo>
                  <a:lnTo>
                    <a:pt x="3208" y="49528"/>
                  </a:lnTo>
                  <a:lnTo>
                    <a:pt x="3208" y="49528"/>
                  </a:lnTo>
                  <a:lnTo>
                    <a:pt x="3868" y="50754"/>
                  </a:lnTo>
                  <a:lnTo>
                    <a:pt x="3208" y="48962"/>
                  </a:lnTo>
                  <a:lnTo>
                    <a:pt x="3585" y="49339"/>
                  </a:lnTo>
                  <a:lnTo>
                    <a:pt x="3774" y="49433"/>
                  </a:lnTo>
                  <a:lnTo>
                    <a:pt x="3962" y="49528"/>
                  </a:lnTo>
                  <a:lnTo>
                    <a:pt x="4057" y="49905"/>
                  </a:lnTo>
                  <a:lnTo>
                    <a:pt x="3868" y="48962"/>
                  </a:lnTo>
                  <a:lnTo>
                    <a:pt x="3491" y="47924"/>
                  </a:lnTo>
                  <a:lnTo>
                    <a:pt x="2641" y="45565"/>
                  </a:lnTo>
                  <a:lnTo>
                    <a:pt x="2170" y="43867"/>
                  </a:lnTo>
                  <a:lnTo>
                    <a:pt x="1698" y="41886"/>
                  </a:lnTo>
                  <a:lnTo>
                    <a:pt x="1698" y="41886"/>
                  </a:lnTo>
                  <a:lnTo>
                    <a:pt x="1887" y="42075"/>
                  </a:lnTo>
                  <a:lnTo>
                    <a:pt x="1981" y="41981"/>
                  </a:lnTo>
                  <a:lnTo>
                    <a:pt x="2075" y="42075"/>
                  </a:lnTo>
                  <a:lnTo>
                    <a:pt x="2264" y="42169"/>
                  </a:lnTo>
                  <a:lnTo>
                    <a:pt x="2170" y="40283"/>
                  </a:lnTo>
                  <a:lnTo>
                    <a:pt x="2075" y="38301"/>
                  </a:lnTo>
                  <a:lnTo>
                    <a:pt x="2170" y="36415"/>
                  </a:lnTo>
                  <a:lnTo>
                    <a:pt x="2358" y="35566"/>
                  </a:lnTo>
                  <a:lnTo>
                    <a:pt x="2453" y="34811"/>
                  </a:lnTo>
                  <a:lnTo>
                    <a:pt x="2830" y="32830"/>
                  </a:lnTo>
                  <a:lnTo>
                    <a:pt x="2830" y="33207"/>
                  </a:lnTo>
                  <a:lnTo>
                    <a:pt x="2924" y="33490"/>
                  </a:lnTo>
                  <a:lnTo>
                    <a:pt x="2924" y="32453"/>
                  </a:lnTo>
                  <a:lnTo>
                    <a:pt x="3019" y="31415"/>
                  </a:lnTo>
                  <a:lnTo>
                    <a:pt x="3396" y="29245"/>
                  </a:lnTo>
                  <a:lnTo>
                    <a:pt x="3868" y="27075"/>
                  </a:lnTo>
                  <a:lnTo>
                    <a:pt x="4623" y="25000"/>
                  </a:lnTo>
                  <a:lnTo>
                    <a:pt x="5566" y="22830"/>
                  </a:lnTo>
                  <a:lnTo>
                    <a:pt x="6604" y="20849"/>
                  </a:lnTo>
                  <a:lnTo>
                    <a:pt x="7830" y="18868"/>
                  </a:lnTo>
                  <a:lnTo>
                    <a:pt x="9151" y="16887"/>
                  </a:lnTo>
                  <a:lnTo>
                    <a:pt x="10566" y="15094"/>
                  </a:lnTo>
                  <a:lnTo>
                    <a:pt x="12075" y="13302"/>
                  </a:lnTo>
                  <a:lnTo>
                    <a:pt x="13773" y="11698"/>
                  </a:lnTo>
                  <a:lnTo>
                    <a:pt x="15377" y="10095"/>
                  </a:lnTo>
                  <a:lnTo>
                    <a:pt x="17170" y="8679"/>
                  </a:lnTo>
                  <a:lnTo>
                    <a:pt x="18962" y="7453"/>
                  </a:lnTo>
                  <a:lnTo>
                    <a:pt x="20754" y="6321"/>
                  </a:lnTo>
                  <a:lnTo>
                    <a:pt x="22547" y="5378"/>
                  </a:lnTo>
                  <a:lnTo>
                    <a:pt x="21603" y="6227"/>
                  </a:lnTo>
                  <a:lnTo>
                    <a:pt x="22641" y="5472"/>
                  </a:lnTo>
                  <a:lnTo>
                    <a:pt x="23302" y="5095"/>
                  </a:lnTo>
                  <a:lnTo>
                    <a:pt x="25377" y="4151"/>
                  </a:lnTo>
                  <a:lnTo>
                    <a:pt x="24811" y="4151"/>
                  </a:lnTo>
                  <a:lnTo>
                    <a:pt x="25660" y="3774"/>
                  </a:lnTo>
                  <a:lnTo>
                    <a:pt x="26886" y="3208"/>
                  </a:lnTo>
                  <a:lnTo>
                    <a:pt x="26603" y="3585"/>
                  </a:lnTo>
                  <a:lnTo>
                    <a:pt x="26886" y="3585"/>
                  </a:lnTo>
                  <a:lnTo>
                    <a:pt x="26886" y="3680"/>
                  </a:lnTo>
                  <a:lnTo>
                    <a:pt x="26792" y="3774"/>
                  </a:lnTo>
                  <a:lnTo>
                    <a:pt x="28301" y="3302"/>
                  </a:lnTo>
                  <a:lnTo>
                    <a:pt x="29622" y="2736"/>
                  </a:lnTo>
                  <a:lnTo>
                    <a:pt x="31037" y="2264"/>
                  </a:lnTo>
                  <a:lnTo>
                    <a:pt x="31792" y="2076"/>
                  </a:lnTo>
                  <a:lnTo>
                    <a:pt x="32641" y="1981"/>
                  </a:lnTo>
                  <a:lnTo>
                    <a:pt x="32547" y="2076"/>
                  </a:lnTo>
                  <a:lnTo>
                    <a:pt x="32924" y="1981"/>
                  </a:lnTo>
                  <a:lnTo>
                    <a:pt x="34245" y="1793"/>
                  </a:lnTo>
                  <a:lnTo>
                    <a:pt x="35848" y="1415"/>
                  </a:lnTo>
                  <a:lnTo>
                    <a:pt x="36981" y="1132"/>
                  </a:lnTo>
                  <a:lnTo>
                    <a:pt x="36981" y="1415"/>
                  </a:lnTo>
                  <a:lnTo>
                    <a:pt x="40943" y="1227"/>
                  </a:lnTo>
                  <a:lnTo>
                    <a:pt x="41509" y="1038"/>
                  </a:lnTo>
                  <a:lnTo>
                    <a:pt x="41697" y="1132"/>
                  </a:lnTo>
                  <a:lnTo>
                    <a:pt x="41509" y="1227"/>
                  </a:lnTo>
                  <a:lnTo>
                    <a:pt x="41320" y="1321"/>
                  </a:lnTo>
                  <a:lnTo>
                    <a:pt x="42263" y="1321"/>
                  </a:lnTo>
                  <a:lnTo>
                    <a:pt x="43113" y="1227"/>
                  </a:lnTo>
                  <a:lnTo>
                    <a:pt x="43396" y="1415"/>
                  </a:lnTo>
                  <a:lnTo>
                    <a:pt x="44056" y="1604"/>
                  </a:lnTo>
                  <a:lnTo>
                    <a:pt x="45943" y="2076"/>
                  </a:lnTo>
                  <a:lnTo>
                    <a:pt x="48018" y="2359"/>
                  </a:lnTo>
                  <a:lnTo>
                    <a:pt x="49622" y="2736"/>
                  </a:lnTo>
                  <a:lnTo>
                    <a:pt x="47641" y="1981"/>
                  </a:lnTo>
                  <a:lnTo>
                    <a:pt x="45282" y="1321"/>
                  </a:lnTo>
                  <a:lnTo>
                    <a:pt x="42735" y="755"/>
                  </a:lnTo>
                  <a:lnTo>
                    <a:pt x="40188" y="283"/>
                  </a:lnTo>
                  <a:lnTo>
                    <a:pt x="37735" y="95"/>
                  </a:lnTo>
                  <a:lnTo>
                    <a:pt x="35471" y="0"/>
                  </a:lnTo>
                  <a:close/>
                </a:path>
              </a:pathLst>
            </a:custGeom>
            <a:solidFill>
              <a:schemeClr val="bg1">
                <a:lumMod val="95000"/>
              </a:schemeClr>
            </a:solidFill>
            <a:ln w="0">
              <a:solidFill>
                <a:srgbClr val="0079D1"/>
              </a:solidFill>
            </a:ln>
          </p:spPr>
          <p:txBody>
            <a:bodyPr spcFirstLastPara="1" wrap="square" lIns="91425" tIns="91425" rIns="91425" bIns="91425" anchor="ctr" anchorCtr="0">
              <a:noAutofit/>
            </a:bodyPr>
            <a:lstStyle/>
            <a:p>
              <a:pPr marL="0" lvl="0" indent="0">
                <a:spcBef>
                  <a:spcPts val="0"/>
                </a:spcBef>
                <a:spcAft>
                  <a:spcPts val="0"/>
                </a:spcAft>
                <a:buNone/>
              </a:pPr>
              <a:endParaRPr sz="1200"/>
            </a:p>
          </p:txBody>
        </p:sp>
        <p:sp>
          <p:nvSpPr>
            <p:cNvPr id="686" name="TextBox 685">
              <a:extLst>
                <a:ext uri="{FF2B5EF4-FFF2-40B4-BE49-F238E27FC236}">
                  <a16:creationId xmlns:a16="http://schemas.microsoft.com/office/drawing/2014/main" id="{EBE11EE2-F370-854F-9EC9-B00F495007D6}"/>
                </a:ext>
              </a:extLst>
            </p:cNvPr>
            <p:cNvSpPr txBox="1"/>
            <p:nvPr/>
          </p:nvSpPr>
          <p:spPr>
            <a:xfrm>
              <a:off x="8676898" y="4619460"/>
              <a:ext cx="229951" cy="200055"/>
            </a:xfrm>
            <a:prstGeom prst="rect">
              <a:avLst/>
            </a:prstGeom>
            <a:noFill/>
          </p:spPr>
          <p:txBody>
            <a:bodyPr wrap="square" rtlCol="0">
              <a:spAutoFit/>
            </a:bodyPr>
            <a:lstStyle/>
            <a:p>
              <a:r>
                <a:rPr lang="en-US" sz="700" b="1" dirty="0">
                  <a:solidFill>
                    <a:srgbClr val="0079D1"/>
                  </a:solidFill>
                </a:rPr>
                <a:t>D</a:t>
              </a:r>
            </a:p>
          </p:txBody>
        </p:sp>
      </p:grpSp>
      <p:grpSp>
        <p:nvGrpSpPr>
          <p:cNvPr id="692" name="Group 691">
            <a:extLst>
              <a:ext uri="{FF2B5EF4-FFF2-40B4-BE49-F238E27FC236}">
                <a16:creationId xmlns:a16="http://schemas.microsoft.com/office/drawing/2014/main" id="{02563A28-9196-5B4C-B699-2E230AC69E52}"/>
              </a:ext>
            </a:extLst>
          </p:cNvPr>
          <p:cNvGrpSpPr/>
          <p:nvPr/>
        </p:nvGrpSpPr>
        <p:grpSpPr>
          <a:xfrm>
            <a:off x="10364117" y="4601710"/>
            <a:ext cx="229951" cy="200055"/>
            <a:chOff x="8676898" y="4619460"/>
            <a:chExt cx="229951" cy="200055"/>
          </a:xfrm>
        </p:grpSpPr>
        <p:sp>
          <p:nvSpPr>
            <p:cNvPr id="693" name="Google Shape;431;p39">
              <a:extLst>
                <a:ext uri="{FF2B5EF4-FFF2-40B4-BE49-F238E27FC236}">
                  <a16:creationId xmlns:a16="http://schemas.microsoft.com/office/drawing/2014/main" id="{39F11B54-4178-7645-A65D-1921D5EA812E}"/>
                </a:ext>
              </a:extLst>
            </p:cNvPr>
            <p:cNvSpPr/>
            <p:nvPr/>
          </p:nvSpPr>
          <p:spPr>
            <a:xfrm>
              <a:off x="8709950" y="4635551"/>
              <a:ext cx="179407" cy="167874"/>
            </a:xfrm>
            <a:custGeom>
              <a:avLst/>
              <a:gdLst/>
              <a:ahLst/>
              <a:cxnLst/>
              <a:rect l="0" t="0" r="0" b="0"/>
              <a:pathLst>
                <a:path w="67641" h="69056" extrusionOk="0">
                  <a:moveTo>
                    <a:pt x="49622" y="2736"/>
                  </a:moveTo>
                  <a:lnTo>
                    <a:pt x="49622" y="2736"/>
                  </a:lnTo>
                  <a:lnTo>
                    <a:pt x="49622" y="2736"/>
                  </a:lnTo>
                  <a:close/>
                  <a:moveTo>
                    <a:pt x="59622" y="55565"/>
                  </a:moveTo>
                  <a:lnTo>
                    <a:pt x="59622" y="55565"/>
                  </a:lnTo>
                  <a:lnTo>
                    <a:pt x="59622" y="55565"/>
                  </a:lnTo>
                  <a:close/>
                  <a:moveTo>
                    <a:pt x="35471" y="0"/>
                  </a:moveTo>
                  <a:lnTo>
                    <a:pt x="34433" y="95"/>
                  </a:lnTo>
                  <a:lnTo>
                    <a:pt x="33584" y="189"/>
                  </a:lnTo>
                  <a:lnTo>
                    <a:pt x="32735" y="378"/>
                  </a:lnTo>
                  <a:lnTo>
                    <a:pt x="32169" y="566"/>
                  </a:lnTo>
                  <a:lnTo>
                    <a:pt x="31509" y="472"/>
                  </a:lnTo>
                  <a:lnTo>
                    <a:pt x="30754" y="472"/>
                  </a:lnTo>
                  <a:lnTo>
                    <a:pt x="29339" y="566"/>
                  </a:lnTo>
                  <a:lnTo>
                    <a:pt x="27830" y="849"/>
                  </a:lnTo>
                  <a:lnTo>
                    <a:pt x="26320" y="1321"/>
                  </a:lnTo>
                  <a:lnTo>
                    <a:pt x="24811" y="1981"/>
                  </a:lnTo>
                  <a:lnTo>
                    <a:pt x="23207" y="2736"/>
                  </a:lnTo>
                  <a:lnTo>
                    <a:pt x="21698" y="3585"/>
                  </a:lnTo>
                  <a:lnTo>
                    <a:pt x="20188" y="4623"/>
                  </a:lnTo>
                  <a:lnTo>
                    <a:pt x="18679" y="5661"/>
                  </a:lnTo>
                  <a:lnTo>
                    <a:pt x="17170" y="6793"/>
                  </a:lnTo>
                  <a:lnTo>
                    <a:pt x="15754" y="8019"/>
                  </a:lnTo>
                  <a:lnTo>
                    <a:pt x="14434" y="9151"/>
                  </a:lnTo>
                  <a:lnTo>
                    <a:pt x="11981" y="11510"/>
                  </a:lnTo>
                  <a:lnTo>
                    <a:pt x="10000" y="13774"/>
                  </a:lnTo>
                  <a:lnTo>
                    <a:pt x="7736" y="16981"/>
                  </a:lnTo>
                  <a:lnTo>
                    <a:pt x="8019" y="16321"/>
                  </a:lnTo>
                  <a:lnTo>
                    <a:pt x="8302" y="15660"/>
                  </a:lnTo>
                  <a:lnTo>
                    <a:pt x="7736" y="16604"/>
                  </a:lnTo>
                  <a:lnTo>
                    <a:pt x="7075" y="17642"/>
                  </a:lnTo>
                  <a:lnTo>
                    <a:pt x="7170" y="17830"/>
                  </a:lnTo>
                  <a:lnTo>
                    <a:pt x="6509" y="18868"/>
                  </a:lnTo>
                  <a:lnTo>
                    <a:pt x="7075" y="17359"/>
                  </a:lnTo>
                  <a:lnTo>
                    <a:pt x="6132" y="19057"/>
                  </a:lnTo>
                  <a:lnTo>
                    <a:pt x="5189" y="20849"/>
                  </a:lnTo>
                  <a:lnTo>
                    <a:pt x="4434" y="22736"/>
                  </a:lnTo>
                  <a:lnTo>
                    <a:pt x="3679" y="24622"/>
                  </a:lnTo>
                  <a:lnTo>
                    <a:pt x="2453" y="28490"/>
                  </a:lnTo>
                  <a:lnTo>
                    <a:pt x="1321" y="32169"/>
                  </a:lnTo>
                  <a:lnTo>
                    <a:pt x="1509" y="32264"/>
                  </a:lnTo>
                  <a:lnTo>
                    <a:pt x="1604" y="32453"/>
                  </a:lnTo>
                  <a:lnTo>
                    <a:pt x="1604" y="32641"/>
                  </a:lnTo>
                  <a:lnTo>
                    <a:pt x="1509" y="32924"/>
                  </a:lnTo>
                  <a:lnTo>
                    <a:pt x="1226" y="33396"/>
                  </a:lnTo>
                  <a:lnTo>
                    <a:pt x="1038" y="33585"/>
                  </a:lnTo>
                  <a:lnTo>
                    <a:pt x="1038" y="33773"/>
                  </a:lnTo>
                  <a:lnTo>
                    <a:pt x="1038" y="35000"/>
                  </a:lnTo>
                  <a:lnTo>
                    <a:pt x="849" y="36132"/>
                  </a:lnTo>
                  <a:lnTo>
                    <a:pt x="660" y="37358"/>
                  </a:lnTo>
                  <a:lnTo>
                    <a:pt x="472" y="38867"/>
                  </a:lnTo>
                  <a:lnTo>
                    <a:pt x="283" y="38301"/>
                  </a:lnTo>
                  <a:lnTo>
                    <a:pt x="94" y="39811"/>
                  </a:lnTo>
                  <a:lnTo>
                    <a:pt x="0" y="41509"/>
                  </a:lnTo>
                  <a:lnTo>
                    <a:pt x="94" y="43301"/>
                  </a:lnTo>
                  <a:lnTo>
                    <a:pt x="283" y="44056"/>
                  </a:lnTo>
                  <a:lnTo>
                    <a:pt x="472" y="44622"/>
                  </a:lnTo>
                  <a:lnTo>
                    <a:pt x="566" y="45660"/>
                  </a:lnTo>
                  <a:lnTo>
                    <a:pt x="755" y="46792"/>
                  </a:lnTo>
                  <a:lnTo>
                    <a:pt x="1226" y="48962"/>
                  </a:lnTo>
                  <a:lnTo>
                    <a:pt x="1981" y="51037"/>
                  </a:lnTo>
                  <a:lnTo>
                    <a:pt x="2924" y="53112"/>
                  </a:lnTo>
                  <a:lnTo>
                    <a:pt x="4057" y="55094"/>
                  </a:lnTo>
                  <a:lnTo>
                    <a:pt x="5283" y="56980"/>
                  </a:lnTo>
                  <a:lnTo>
                    <a:pt x="6698" y="58678"/>
                  </a:lnTo>
                  <a:lnTo>
                    <a:pt x="8113" y="60282"/>
                  </a:lnTo>
                  <a:lnTo>
                    <a:pt x="9056" y="61131"/>
                  </a:lnTo>
                  <a:lnTo>
                    <a:pt x="10000" y="61980"/>
                  </a:lnTo>
                  <a:lnTo>
                    <a:pt x="11038" y="62829"/>
                  </a:lnTo>
                  <a:lnTo>
                    <a:pt x="12075" y="63584"/>
                  </a:lnTo>
                  <a:lnTo>
                    <a:pt x="14339" y="64905"/>
                  </a:lnTo>
                  <a:lnTo>
                    <a:pt x="16604" y="66131"/>
                  </a:lnTo>
                  <a:lnTo>
                    <a:pt x="19056" y="67169"/>
                  </a:lnTo>
                  <a:lnTo>
                    <a:pt x="21509" y="67923"/>
                  </a:lnTo>
                  <a:lnTo>
                    <a:pt x="24056" y="68584"/>
                  </a:lnTo>
                  <a:lnTo>
                    <a:pt x="26603" y="69055"/>
                  </a:lnTo>
                  <a:lnTo>
                    <a:pt x="27830" y="69055"/>
                  </a:lnTo>
                  <a:lnTo>
                    <a:pt x="30188" y="68867"/>
                  </a:lnTo>
                  <a:lnTo>
                    <a:pt x="33113" y="68678"/>
                  </a:lnTo>
                  <a:lnTo>
                    <a:pt x="36509" y="68301"/>
                  </a:lnTo>
                  <a:lnTo>
                    <a:pt x="39811" y="67923"/>
                  </a:lnTo>
                  <a:lnTo>
                    <a:pt x="42735" y="67452"/>
                  </a:lnTo>
                  <a:lnTo>
                    <a:pt x="44905" y="66980"/>
                  </a:lnTo>
                  <a:lnTo>
                    <a:pt x="45565" y="66791"/>
                  </a:lnTo>
                  <a:lnTo>
                    <a:pt x="45943" y="66508"/>
                  </a:lnTo>
                  <a:lnTo>
                    <a:pt x="47358" y="65942"/>
                  </a:lnTo>
                  <a:lnTo>
                    <a:pt x="48018" y="65565"/>
                  </a:lnTo>
                  <a:lnTo>
                    <a:pt x="48678" y="65188"/>
                  </a:lnTo>
                  <a:lnTo>
                    <a:pt x="47924" y="65471"/>
                  </a:lnTo>
                  <a:lnTo>
                    <a:pt x="51509" y="62924"/>
                  </a:lnTo>
                  <a:lnTo>
                    <a:pt x="53301" y="61508"/>
                  </a:lnTo>
                  <a:lnTo>
                    <a:pt x="55093" y="59905"/>
                  </a:lnTo>
                  <a:lnTo>
                    <a:pt x="55093" y="59905"/>
                  </a:lnTo>
                  <a:lnTo>
                    <a:pt x="54810" y="60376"/>
                  </a:lnTo>
                  <a:lnTo>
                    <a:pt x="54339" y="60754"/>
                  </a:lnTo>
                  <a:lnTo>
                    <a:pt x="55376" y="59999"/>
                  </a:lnTo>
                  <a:lnTo>
                    <a:pt x="56320" y="59056"/>
                  </a:lnTo>
                  <a:lnTo>
                    <a:pt x="57075" y="58395"/>
                  </a:lnTo>
                  <a:lnTo>
                    <a:pt x="57169" y="58207"/>
                  </a:lnTo>
                  <a:lnTo>
                    <a:pt x="57075" y="58207"/>
                  </a:lnTo>
                  <a:lnTo>
                    <a:pt x="57924" y="57546"/>
                  </a:lnTo>
                  <a:lnTo>
                    <a:pt x="58678" y="56697"/>
                  </a:lnTo>
                  <a:lnTo>
                    <a:pt x="59339" y="55754"/>
                  </a:lnTo>
                  <a:lnTo>
                    <a:pt x="59905" y="54905"/>
                  </a:lnTo>
                  <a:lnTo>
                    <a:pt x="59716" y="54999"/>
                  </a:lnTo>
                  <a:lnTo>
                    <a:pt x="59622" y="54999"/>
                  </a:lnTo>
                  <a:lnTo>
                    <a:pt x="59810" y="54622"/>
                  </a:lnTo>
                  <a:lnTo>
                    <a:pt x="59150" y="55565"/>
                  </a:lnTo>
                  <a:lnTo>
                    <a:pt x="59527" y="55094"/>
                  </a:lnTo>
                  <a:lnTo>
                    <a:pt x="59433" y="55377"/>
                  </a:lnTo>
                  <a:lnTo>
                    <a:pt x="58867" y="56037"/>
                  </a:lnTo>
                  <a:lnTo>
                    <a:pt x="59056" y="55660"/>
                  </a:lnTo>
                  <a:lnTo>
                    <a:pt x="59056" y="55660"/>
                  </a:lnTo>
                  <a:lnTo>
                    <a:pt x="58678" y="56037"/>
                  </a:lnTo>
                  <a:lnTo>
                    <a:pt x="59810" y="54339"/>
                  </a:lnTo>
                  <a:lnTo>
                    <a:pt x="60282" y="53490"/>
                  </a:lnTo>
                  <a:lnTo>
                    <a:pt x="60282" y="53301"/>
                  </a:lnTo>
                  <a:lnTo>
                    <a:pt x="60188" y="53395"/>
                  </a:lnTo>
                  <a:lnTo>
                    <a:pt x="60188" y="53395"/>
                  </a:lnTo>
                  <a:lnTo>
                    <a:pt x="60565" y="52924"/>
                  </a:lnTo>
                  <a:lnTo>
                    <a:pt x="61037" y="52452"/>
                  </a:lnTo>
                  <a:lnTo>
                    <a:pt x="61886" y="51509"/>
                  </a:lnTo>
                  <a:lnTo>
                    <a:pt x="61508" y="52452"/>
                  </a:lnTo>
                  <a:lnTo>
                    <a:pt x="60848" y="53584"/>
                  </a:lnTo>
                  <a:lnTo>
                    <a:pt x="59622" y="55565"/>
                  </a:lnTo>
                  <a:lnTo>
                    <a:pt x="60376" y="54528"/>
                  </a:lnTo>
                  <a:lnTo>
                    <a:pt x="60942" y="53678"/>
                  </a:lnTo>
                  <a:lnTo>
                    <a:pt x="61980" y="51792"/>
                  </a:lnTo>
                  <a:lnTo>
                    <a:pt x="61886" y="51886"/>
                  </a:lnTo>
                  <a:lnTo>
                    <a:pt x="61886" y="51697"/>
                  </a:lnTo>
                  <a:lnTo>
                    <a:pt x="62169" y="51037"/>
                  </a:lnTo>
                  <a:lnTo>
                    <a:pt x="62735" y="49999"/>
                  </a:lnTo>
                  <a:lnTo>
                    <a:pt x="61508" y="51603"/>
                  </a:lnTo>
                  <a:lnTo>
                    <a:pt x="61603" y="51037"/>
                  </a:lnTo>
                  <a:lnTo>
                    <a:pt x="61697" y="50377"/>
                  </a:lnTo>
                  <a:lnTo>
                    <a:pt x="62169" y="48962"/>
                  </a:lnTo>
                  <a:lnTo>
                    <a:pt x="62829" y="47358"/>
                  </a:lnTo>
                  <a:lnTo>
                    <a:pt x="63678" y="45565"/>
                  </a:lnTo>
                  <a:lnTo>
                    <a:pt x="65376" y="42169"/>
                  </a:lnTo>
                  <a:lnTo>
                    <a:pt x="66131" y="40660"/>
                  </a:lnTo>
                  <a:lnTo>
                    <a:pt x="66697" y="39339"/>
                  </a:lnTo>
                  <a:lnTo>
                    <a:pt x="66603" y="39528"/>
                  </a:lnTo>
                  <a:lnTo>
                    <a:pt x="66697" y="39056"/>
                  </a:lnTo>
                  <a:lnTo>
                    <a:pt x="66791" y="38962"/>
                  </a:lnTo>
                  <a:lnTo>
                    <a:pt x="66791" y="39056"/>
                  </a:lnTo>
                  <a:lnTo>
                    <a:pt x="66886" y="38584"/>
                  </a:lnTo>
                  <a:lnTo>
                    <a:pt x="66791" y="38867"/>
                  </a:lnTo>
                  <a:lnTo>
                    <a:pt x="66980" y="38207"/>
                  </a:lnTo>
                  <a:lnTo>
                    <a:pt x="67169" y="37264"/>
                  </a:lnTo>
                  <a:lnTo>
                    <a:pt x="67263" y="36415"/>
                  </a:lnTo>
                  <a:lnTo>
                    <a:pt x="67357" y="36509"/>
                  </a:lnTo>
                  <a:lnTo>
                    <a:pt x="67452" y="36509"/>
                  </a:lnTo>
                  <a:lnTo>
                    <a:pt x="67546" y="35943"/>
                  </a:lnTo>
                  <a:lnTo>
                    <a:pt x="67546" y="34811"/>
                  </a:lnTo>
                  <a:lnTo>
                    <a:pt x="67640" y="31037"/>
                  </a:lnTo>
                  <a:lnTo>
                    <a:pt x="67640" y="28490"/>
                  </a:lnTo>
                  <a:lnTo>
                    <a:pt x="67546" y="27736"/>
                  </a:lnTo>
                  <a:lnTo>
                    <a:pt x="67546" y="27547"/>
                  </a:lnTo>
                  <a:lnTo>
                    <a:pt x="67452" y="27547"/>
                  </a:lnTo>
                  <a:lnTo>
                    <a:pt x="67074" y="26792"/>
                  </a:lnTo>
                  <a:lnTo>
                    <a:pt x="66791" y="25660"/>
                  </a:lnTo>
                  <a:lnTo>
                    <a:pt x="66508" y="24528"/>
                  </a:lnTo>
                  <a:lnTo>
                    <a:pt x="66414" y="23585"/>
                  </a:lnTo>
                  <a:lnTo>
                    <a:pt x="66320" y="23679"/>
                  </a:lnTo>
                  <a:lnTo>
                    <a:pt x="66320" y="23490"/>
                  </a:lnTo>
                  <a:lnTo>
                    <a:pt x="65942" y="22924"/>
                  </a:lnTo>
                  <a:lnTo>
                    <a:pt x="65565" y="22358"/>
                  </a:lnTo>
                  <a:lnTo>
                    <a:pt x="64527" y="21132"/>
                  </a:lnTo>
                  <a:lnTo>
                    <a:pt x="63584" y="19906"/>
                  </a:lnTo>
                  <a:lnTo>
                    <a:pt x="63207" y="19340"/>
                  </a:lnTo>
                  <a:lnTo>
                    <a:pt x="63018" y="18774"/>
                  </a:lnTo>
                  <a:lnTo>
                    <a:pt x="63112" y="18962"/>
                  </a:lnTo>
                  <a:lnTo>
                    <a:pt x="63301" y="19057"/>
                  </a:lnTo>
                  <a:lnTo>
                    <a:pt x="63301" y="19057"/>
                  </a:lnTo>
                  <a:lnTo>
                    <a:pt x="63207" y="18868"/>
                  </a:lnTo>
                  <a:lnTo>
                    <a:pt x="62923" y="18491"/>
                  </a:lnTo>
                  <a:lnTo>
                    <a:pt x="61980" y="17453"/>
                  </a:lnTo>
                  <a:lnTo>
                    <a:pt x="61037" y="16509"/>
                  </a:lnTo>
                  <a:lnTo>
                    <a:pt x="61037" y="16698"/>
                  </a:lnTo>
                  <a:lnTo>
                    <a:pt x="61037" y="16887"/>
                  </a:lnTo>
                  <a:lnTo>
                    <a:pt x="60093" y="15943"/>
                  </a:lnTo>
                  <a:lnTo>
                    <a:pt x="60376" y="16321"/>
                  </a:lnTo>
                  <a:lnTo>
                    <a:pt x="59527" y="15377"/>
                  </a:lnTo>
                  <a:lnTo>
                    <a:pt x="59056" y="14906"/>
                  </a:lnTo>
                  <a:lnTo>
                    <a:pt x="59244" y="14906"/>
                  </a:lnTo>
                  <a:lnTo>
                    <a:pt x="59905" y="15472"/>
                  </a:lnTo>
                  <a:lnTo>
                    <a:pt x="59905" y="15472"/>
                  </a:lnTo>
                  <a:lnTo>
                    <a:pt x="57641" y="13396"/>
                  </a:lnTo>
                  <a:lnTo>
                    <a:pt x="58112" y="13868"/>
                  </a:lnTo>
                  <a:lnTo>
                    <a:pt x="56886" y="13019"/>
                  </a:lnTo>
                  <a:lnTo>
                    <a:pt x="55754" y="12453"/>
                  </a:lnTo>
                  <a:lnTo>
                    <a:pt x="56603" y="13113"/>
                  </a:lnTo>
                  <a:lnTo>
                    <a:pt x="57452" y="13774"/>
                  </a:lnTo>
                  <a:lnTo>
                    <a:pt x="58961" y="15283"/>
                  </a:lnTo>
                  <a:lnTo>
                    <a:pt x="60376" y="16604"/>
                  </a:lnTo>
                  <a:lnTo>
                    <a:pt x="61225" y="17264"/>
                  </a:lnTo>
                  <a:lnTo>
                    <a:pt x="62074" y="17925"/>
                  </a:lnTo>
                  <a:lnTo>
                    <a:pt x="62074" y="17925"/>
                  </a:lnTo>
                  <a:lnTo>
                    <a:pt x="61414" y="17547"/>
                  </a:lnTo>
                  <a:lnTo>
                    <a:pt x="60659" y="16981"/>
                  </a:lnTo>
                  <a:lnTo>
                    <a:pt x="60754" y="17264"/>
                  </a:lnTo>
                  <a:lnTo>
                    <a:pt x="60942" y="17642"/>
                  </a:lnTo>
                  <a:lnTo>
                    <a:pt x="61980" y="19151"/>
                  </a:lnTo>
                  <a:lnTo>
                    <a:pt x="63301" y="20943"/>
                  </a:lnTo>
                  <a:lnTo>
                    <a:pt x="63207" y="20943"/>
                  </a:lnTo>
                  <a:lnTo>
                    <a:pt x="63395" y="21038"/>
                  </a:lnTo>
                  <a:lnTo>
                    <a:pt x="63490" y="21321"/>
                  </a:lnTo>
                  <a:lnTo>
                    <a:pt x="63678" y="21604"/>
                  </a:lnTo>
                  <a:lnTo>
                    <a:pt x="63773" y="21698"/>
                  </a:lnTo>
                  <a:lnTo>
                    <a:pt x="63584" y="21321"/>
                  </a:lnTo>
                  <a:lnTo>
                    <a:pt x="63584" y="21321"/>
                  </a:lnTo>
                  <a:lnTo>
                    <a:pt x="64244" y="22170"/>
                  </a:lnTo>
                  <a:lnTo>
                    <a:pt x="64716" y="22641"/>
                  </a:lnTo>
                  <a:lnTo>
                    <a:pt x="64905" y="22830"/>
                  </a:lnTo>
                  <a:lnTo>
                    <a:pt x="64999" y="22830"/>
                  </a:lnTo>
                  <a:lnTo>
                    <a:pt x="64999" y="22641"/>
                  </a:lnTo>
                  <a:lnTo>
                    <a:pt x="64905" y="22358"/>
                  </a:lnTo>
                  <a:lnTo>
                    <a:pt x="65282" y="23207"/>
                  </a:lnTo>
                  <a:lnTo>
                    <a:pt x="65565" y="24056"/>
                  </a:lnTo>
                  <a:lnTo>
                    <a:pt x="66225" y="25943"/>
                  </a:lnTo>
                  <a:lnTo>
                    <a:pt x="66697" y="27830"/>
                  </a:lnTo>
                  <a:lnTo>
                    <a:pt x="66886" y="28490"/>
                  </a:lnTo>
                  <a:lnTo>
                    <a:pt x="66980" y="28868"/>
                  </a:lnTo>
                  <a:lnTo>
                    <a:pt x="66886" y="28962"/>
                  </a:lnTo>
                  <a:lnTo>
                    <a:pt x="66697" y="28679"/>
                  </a:lnTo>
                  <a:lnTo>
                    <a:pt x="66697" y="29245"/>
                  </a:lnTo>
                  <a:lnTo>
                    <a:pt x="66791" y="29905"/>
                  </a:lnTo>
                  <a:lnTo>
                    <a:pt x="66886" y="29905"/>
                  </a:lnTo>
                  <a:lnTo>
                    <a:pt x="66886" y="30094"/>
                  </a:lnTo>
                  <a:lnTo>
                    <a:pt x="66886" y="30566"/>
                  </a:lnTo>
                  <a:lnTo>
                    <a:pt x="66697" y="30377"/>
                  </a:lnTo>
                  <a:lnTo>
                    <a:pt x="66603" y="30188"/>
                  </a:lnTo>
                  <a:lnTo>
                    <a:pt x="66603" y="30094"/>
                  </a:lnTo>
                  <a:lnTo>
                    <a:pt x="66697" y="29905"/>
                  </a:lnTo>
                  <a:lnTo>
                    <a:pt x="66508" y="28679"/>
                  </a:lnTo>
                  <a:lnTo>
                    <a:pt x="66225" y="27358"/>
                  </a:lnTo>
                  <a:lnTo>
                    <a:pt x="66603" y="30283"/>
                  </a:lnTo>
                  <a:lnTo>
                    <a:pt x="66697" y="31792"/>
                  </a:lnTo>
                  <a:lnTo>
                    <a:pt x="66697" y="33302"/>
                  </a:lnTo>
                  <a:lnTo>
                    <a:pt x="66603" y="34717"/>
                  </a:lnTo>
                  <a:lnTo>
                    <a:pt x="66414" y="36226"/>
                  </a:lnTo>
                  <a:lnTo>
                    <a:pt x="66131" y="37547"/>
                  </a:lnTo>
                  <a:lnTo>
                    <a:pt x="65659" y="38962"/>
                  </a:lnTo>
                  <a:lnTo>
                    <a:pt x="65848" y="38584"/>
                  </a:lnTo>
                  <a:lnTo>
                    <a:pt x="65942" y="38584"/>
                  </a:lnTo>
                  <a:lnTo>
                    <a:pt x="65848" y="39245"/>
                  </a:lnTo>
                  <a:lnTo>
                    <a:pt x="65565" y="40188"/>
                  </a:lnTo>
                  <a:lnTo>
                    <a:pt x="65471" y="40471"/>
                  </a:lnTo>
                  <a:lnTo>
                    <a:pt x="65282" y="40660"/>
                  </a:lnTo>
                  <a:lnTo>
                    <a:pt x="65282" y="40566"/>
                  </a:lnTo>
                  <a:lnTo>
                    <a:pt x="65093" y="41132"/>
                  </a:lnTo>
                  <a:lnTo>
                    <a:pt x="64433" y="43018"/>
                  </a:lnTo>
                  <a:lnTo>
                    <a:pt x="63678" y="45282"/>
                  </a:lnTo>
                  <a:lnTo>
                    <a:pt x="62735" y="47264"/>
                  </a:lnTo>
                  <a:lnTo>
                    <a:pt x="61697" y="49056"/>
                  </a:lnTo>
                  <a:lnTo>
                    <a:pt x="60659" y="50943"/>
                  </a:lnTo>
                  <a:lnTo>
                    <a:pt x="59433" y="52735"/>
                  </a:lnTo>
                  <a:lnTo>
                    <a:pt x="58207" y="54433"/>
                  </a:lnTo>
                  <a:lnTo>
                    <a:pt x="56886" y="56037"/>
                  </a:lnTo>
                  <a:lnTo>
                    <a:pt x="55376" y="57641"/>
                  </a:lnTo>
                  <a:lnTo>
                    <a:pt x="53867" y="59150"/>
                  </a:lnTo>
                  <a:lnTo>
                    <a:pt x="52169" y="60376"/>
                  </a:lnTo>
                  <a:lnTo>
                    <a:pt x="48961" y="62452"/>
                  </a:lnTo>
                  <a:lnTo>
                    <a:pt x="44528" y="65282"/>
                  </a:lnTo>
                  <a:lnTo>
                    <a:pt x="44622" y="65188"/>
                  </a:lnTo>
                  <a:lnTo>
                    <a:pt x="44716" y="65093"/>
                  </a:lnTo>
                  <a:lnTo>
                    <a:pt x="45094" y="64810"/>
                  </a:lnTo>
                  <a:lnTo>
                    <a:pt x="45660" y="64527"/>
                  </a:lnTo>
                  <a:lnTo>
                    <a:pt x="43867" y="65376"/>
                  </a:lnTo>
                  <a:lnTo>
                    <a:pt x="43113" y="65754"/>
                  </a:lnTo>
                  <a:lnTo>
                    <a:pt x="42924" y="65754"/>
                  </a:lnTo>
                  <a:lnTo>
                    <a:pt x="43113" y="65659"/>
                  </a:lnTo>
                  <a:lnTo>
                    <a:pt x="41603" y="66037"/>
                  </a:lnTo>
                  <a:lnTo>
                    <a:pt x="39999" y="66320"/>
                  </a:lnTo>
                  <a:lnTo>
                    <a:pt x="38396" y="66508"/>
                  </a:lnTo>
                  <a:lnTo>
                    <a:pt x="36792" y="66697"/>
                  </a:lnTo>
                  <a:lnTo>
                    <a:pt x="33584" y="66980"/>
                  </a:lnTo>
                  <a:lnTo>
                    <a:pt x="32169" y="67169"/>
                  </a:lnTo>
                  <a:lnTo>
                    <a:pt x="30754" y="67357"/>
                  </a:lnTo>
                  <a:lnTo>
                    <a:pt x="30094" y="67357"/>
                  </a:lnTo>
                  <a:lnTo>
                    <a:pt x="29339" y="67263"/>
                  </a:lnTo>
                  <a:lnTo>
                    <a:pt x="27830" y="66886"/>
                  </a:lnTo>
                  <a:lnTo>
                    <a:pt x="26415" y="66508"/>
                  </a:lnTo>
                  <a:lnTo>
                    <a:pt x="25754" y="66414"/>
                  </a:lnTo>
                  <a:lnTo>
                    <a:pt x="25094" y="66414"/>
                  </a:lnTo>
                  <a:lnTo>
                    <a:pt x="25566" y="66980"/>
                  </a:lnTo>
                  <a:lnTo>
                    <a:pt x="25471" y="67074"/>
                  </a:lnTo>
                  <a:lnTo>
                    <a:pt x="25188" y="66980"/>
                  </a:lnTo>
                  <a:lnTo>
                    <a:pt x="24339" y="66791"/>
                  </a:lnTo>
                  <a:lnTo>
                    <a:pt x="23773" y="66508"/>
                  </a:lnTo>
                  <a:lnTo>
                    <a:pt x="24245" y="66414"/>
                  </a:lnTo>
                  <a:lnTo>
                    <a:pt x="24717" y="66603"/>
                  </a:lnTo>
                  <a:lnTo>
                    <a:pt x="24811" y="66414"/>
                  </a:lnTo>
                  <a:lnTo>
                    <a:pt x="24811" y="66320"/>
                  </a:lnTo>
                  <a:lnTo>
                    <a:pt x="24717" y="66225"/>
                  </a:lnTo>
                  <a:lnTo>
                    <a:pt x="24528" y="66131"/>
                  </a:lnTo>
                  <a:lnTo>
                    <a:pt x="24151" y="66225"/>
                  </a:lnTo>
                  <a:lnTo>
                    <a:pt x="23679" y="66320"/>
                  </a:lnTo>
                  <a:lnTo>
                    <a:pt x="23018" y="66414"/>
                  </a:lnTo>
                  <a:lnTo>
                    <a:pt x="23490" y="66225"/>
                  </a:lnTo>
                  <a:lnTo>
                    <a:pt x="22075" y="65942"/>
                  </a:lnTo>
                  <a:lnTo>
                    <a:pt x="20943" y="65659"/>
                  </a:lnTo>
                  <a:lnTo>
                    <a:pt x="20000" y="65282"/>
                  </a:lnTo>
                  <a:lnTo>
                    <a:pt x="19056" y="64810"/>
                  </a:lnTo>
                  <a:lnTo>
                    <a:pt x="19056" y="64810"/>
                  </a:lnTo>
                  <a:lnTo>
                    <a:pt x="19717" y="64999"/>
                  </a:lnTo>
                  <a:lnTo>
                    <a:pt x="19151" y="64716"/>
                  </a:lnTo>
                  <a:lnTo>
                    <a:pt x="18962" y="64810"/>
                  </a:lnTo>
                  <a:lnTo>
                    <a:pt x="19151" y="64905"/>
                  </a:lnTo>
                  <a:lnTo>
                    <a:pt x="18490" y="64905"/>
                  </a:lnTo>
                  <a:lnTo>
                    <a:pt x="17830" y="64716"/>
                  </a:lnTo>
                  <a:lnTo>
                    <a:pt x="17264" y="64527"/>
                  </a:lnTo>
                  <a:lnTo>
                    <a:pt x="16698" y="64150"/>
                  </a:lnTo>
                  <a:lnTo>
                    <a:pt x="16981" y="64056"/>
                  </a:lnTo>
                  <a:lnTo>
                    <a:pt x="17264" y="64150"/>
                  </a:lnTo>
                  <a:lnTo>
                    <a:pt x="17264" y="64150"/>
                  </a:lnTo>
                  <a:lnTo>
                    <a:pt x="15188" y="63207"/>
                  </a:lnTo>
                  <a:lnTo>
                    <a:pt x="14622" y="62829"/>
                  </a:lnTo>
                  <a:lnTo>
                    <a:pt x="14717" y="62924"/>
                  </a:lnTo>
                  <a:lnTo>
                    <a:pt x="13773" y="62546"/>
                  </a:lnTo>
                  <a:lnTo>
                    <a:pt x="12924" y="62075"/>
                  </a:lnTo>
                  <a:lnTo>
                    <a:pt x="12358" y="61697"/>
                  </a:lnTo>
                  <a:lnTo>
                    <a:pt x="12264" y="61508"/>
                  </a:lnTo>
                  <a:lnTo>
                    <a:pt x="12170" y="61320"/>
                  </a:lnTo>
                  <a:lnTo>
                    <a:pt x="11698" y="60942"/>
                  </a:lnTo>
                  <a:lnTo>
                    <a:pt x="11132" y="60471"/>
                  </a:lnTo>
                  <a:lnTo>
                    <a:pt x="9906" y="59244"/>
                  </a:lnTo>
                  <a:lnTo>
                    <a:pt x="9906" y="59244"/>
                  </a:lnTo>
                  <a:lnTo>
                    <a:pt x="10566" y="59527"/>
                  </a:lnTo>
                  <a:lnTo>
                    <a:pt x="9434" y="58584"/>
                  </a:lnTo>
                  <a:lnTo>
                    <a:pt x="8207" y="57546"/>
                  </a:lnTo>
                  <a:lnTo>
                    <a:pt x="7547" y="56886"/>
                  </a:lnTo>
                  <a:lnTo>
                    <a:pt x="6981" y="56131"/>
                  </a:lnTo>
                  <a:lnTo>
                    <a:pt x="6226" y="55094"/>
                  </a:lnTo>
                  <a:lnTo>
                    <a:pt x="6415" y="55377"/>
                  </a:lnTo>
                  <a:lnTo>
                    <a:pt x="6038" y="54905"/>
                  </a:lnTo>
                  <a:lnTo>
                    <a:pt x="5472" y="54244"/>
                  </a:lnTo>
                  <a:lnTo>
                    <a:pt x="5283" y="53961"/>
                  </a:lnTo>
                  <a:lnTo>
                    <a:pt x="5094" y="53867"/>
                  </a:lnTo>
                  <a:lnTo>
                    <a:pt x="5377" y="54622"/>
                  </a:lnTo>
                  <a:lnTo>
                    <a:pt x="5849" y="55282"/>
                  </a:lnTo>
                  <a:lnTo>
                    <a:pt x="6321" y="55943"/>
                  </a:lnTo>
                  <a:lnTo>
                    <a:pt x="6698" y="56603"/>
                  </a:lnTo>
                  <a:lnTo>
                    <a:pt x="6226" y="56226"/>
                  </a:lnTo>
                  <a:lnTo>
                    <a:pt x="5943" y="55848"/>
                  </a:lnTo>
                  <a:lnTo>
                    <a:pt x="6038" y="56037"/>
                  </a:lnTo>
                  <a:lnTo>
                    <a:pt x="5943" y="55943"/>
                  </a:lnTo>
                  <a:lnTo>
                    <a:pt x="5377" y="55188"/>
                  </a:lnTo>
                  <a:lnTo>
                    <a:pt x="5000" y="54716"/>
                  </a:lnTo>
                  <a:lnTo>
                    <a:pt x="4717" y="54150"/>
                  </a:lnTo>
                  <a:lnTo>
                    <a:pt x="4528" y="53678"/>
                  </a:lnTo>
                  <a:lnTo>
                    <a:pt x="4528" y="53584"/>
                  </a:lnTo>
                  <a:lnTo>
                    <a:pt x="4623" y="53395"/>
                  </a:lnTo>
                  <a:lnTo>
                    <a:pt x="5094" y="54244"/>
                  </a:lnTo>
                  <a:lnTo>
                    <a:pt x="4717" y="53301"/>
                  </a:lnTo>
                  <a:lnTo>
                    <a:pt x="4528" y="53018"/>
                  </a:lnTo>
                  <a:lnTo>
                    <a:pt x="4151" y="52263"/>
                  </a:lnTo>
                  <a:lnTo>
                    <a:pt x="4151" y="52169"/>
                  </a:lnTo>
                  <a:lnTo>
                    <a:pt x="3774" y="51509"/>
                  </a:lnTo>
                  <a:lnTo>
                    <a:pt x="3396" y="50660"/>
                  </a:lnTo>
                  <a:lnTo>
                    <a:pt x="3585" y="51603"/>
                  </a:lnTo>
                  <a:lnTo>
                    <a:pt x="3396" y="51226"/>
                  </a:lnTo>
                  <a:lnTo>
                    <a:pt x="3208" y="50848"/>
                  </a:lnTo>
                  <a:lnTo>
                    <a:pt x="3208" y="50471"/>
                  </a:lnTo>
                  <a:lnTo>
                    <a:pt x="3208" y="50094"/>
                  </a:lnTo>
                  <a:lnTo>
                    <a:pt x="3585" y="50754"/>
                  </a:lnTo>
                  <a:lnTo>
                    <a:pt x="3868" y="51509"/>
                  </a:lnTo>
                  <a:lnTo>
                    <a:pt x="3868" y="51509"/>
                  </a:lnTo>
                  <a:lnTo>
                    <a:pt x="3208" y="49528"/>
                  </a:lnTo>
                  <a:lnTo>
                    <a:pt x="3208" y="49528"/>
                  </a:lnTo>
                  <a:lnTo>
                    <a:pt x="3868" y="50754"/>
                  </a:lnTo>
                  <a:lnTo>
                    <a:pt x="3208" y="48962"/>
                  </a:lnTo>
                  <a:lnTo>
                    <a:pt x="3585" y="49339"/>
                  </a:lnTo>
                  <a:lnTo>
                    <a:pt x="3774" y="49433"/>
                  </a:lnTo>
                  <a:lnTo>
                    <a:pt x="3962" y="49528"/>
                  </a:lnTo>
                  <a:lnTo>
                    <a:pt x="4057" y="49905"/>
                  </a:lnTo>
                  <a:lnTo>
                    <a:pt x="3868" y="48962"/>
                  </a:lnTo>
                  <a:lnTo>
                    <a:pt x="3491" y="47924"/>
                  </a:lnTo>
                  <a:lnTo>
                    <a:pt x="2641" y="45565"/>
                  </a:lnTo>
                  <a:lnTo>
                    <a:pt x="2170" y="43867"/>
                  </a:lnTo>
                  <a:lnTo>
                    <a:pt x="1698" y="41886"/>
                  </a:lnTo>
                  <a:lnTo>
                    <a:pt x="1698" y="41886"/>
                  </a:lnTo>
                  <a:lnTo>
                    <a:pt x="1887" y="42075"/>
                  </a:lnTo>
                  <a:lnTo>
                    <a:pt x="1981" y="41981"/>
                  </a:lnTo>
                  <a:lnTo>
                    <a:pt x="2075" y="42075"/>
                  </a:lnTo>
                  <a:lnTo>
                    <a:pt x="2264" y="42169"/>
                  </a:lnTo>
                  <a:lnTo>
                    <a:pt x="2170" y="40283"/>
                  </a:lnTo>
                  <a:lnTo>
                    <a:pt x="2075" y="38301"/>
                  </a:lnTo>
                  <a:lnTo>
                    <a:pt x="2170" y="36415"/>
                  </a:lnTo>
                  <a:lnTo>
                    <a:pt x="2358" y="35566"/>
                  </a:lnTo>
                  <a:lnTo>
                    <a:pt x="2453" y="34811"/>
                  </a:lnTo>
                  <a:lnTo>
                    <a:pt x="2830" y="32830"/>
                  </a:lnTo>
                  <a:lnTo>
                    <a:pt x="2830" y="33207"/>
                  </a:lnTo>
                  <a:lnTo>
                    <a:pt x="2924" y="33490"/>
                  </a:lnTo>
                  <a:lnTo>
                    <a:pt x="2924" y="32453"/>
                  </a:lnTo>
                  <a:lnTo>
                    <a:pt x="3019" y="31415"/>
                  </a:lnTo>
                  <a:lnTo>
                    <a:pt x="3396" y="29245"/>
                  </a:lnTo>
                  <a:lnTo>
                    <a:pt x="3868" y="27075"/>
                  </a:lnTo>
                  <a:lnTo>
                    <a:pt x="4623" y="25000"/>
                  </a:lnTo>
                  <a:lnTo>
                    <a:pt x="5566" y="22830"/>
                  </a:lnTo>
                  <a:lnTo>
                    <a:pt x="6604" y="20849"/>
                  </a:lnTo>
                  <a:lnTo>
                    <a:pt x="7830" y="18868"/>
                  </a:lnTo>
                  <a:lnTo>
                    <a:pt x="9151" y="16887"/>
                  </a:lnTo>
                  <a:lnTo>
                    <a:pt x="10566" y="15094"/>
                  </a:lnTo>
                  <a:lnTo>
                    <a:pt x="12075" y="13302"/>
                  </a:lnTo>
                  <a:lnTo>
                    <a:pt x="13773" y="11698"/>
                  </a:lnTo>
                  <a:lnTo>
                    <a:pt x="15377" y="10095"/>
                  </a:lnTo>
                  <a:lnTo>
                    <a:pt x="17170" y="8679"/>
                  </a:lnTo>
                  <a:lnTo>
                    <a:pt x="18962" y="7453"/>
                  </a:lnTo>
                  <a:lnTo>
                    <a:pt x="20754" y="6321"/>
                  </a:lnTo>
                  <a:lnTo>
                    <a:pt x="22547" y="5378"/>
                  </a:lnTo>
                  <a:lnTo>
                    <a:pt x="21603" y="6227"/>
                  </a:lnTo>
                  <a:lnTo>
                    <a:pt x="22641" y="5472"/>
                  </a:lnTo>
                  <a:lnTo>
                    <a:pt x="23302" y="5095"/>
                  </a:lnTo>
                  <a:lnTo>
                    <a:pt x="25377" y="4151"/>
                  </a:lnTo>
                  <a:lnTo>
                    <a:pt x="24811" y="4151"/>
                  </a:lnTo>
                  <a:lnTo>
                    <a:pt x="25660" y="3774"/>
                  </a:lnTo>
                  <a:lnTo>
                    <a:pt x="26886" y="3208"/>
                  </a:lnTo>
                  <a:lnTo>
                    <a:pt x="26603" y="3585"/>
                  </a:lnTo>
                  <a:lnTo>
                    <a:pt x="26886" y="3585"/>
                  </a:lnTo>
                  <a:lnTo>
                    <a:pt x="26886" y="3680"/>
                  </a:lnTo>
                  <a:lnTo>
                    <a:pt x="26792" y="3774"/>
                  </a:lnTo>
                  <a:lnTo>
                    <a:pt x="28301" y="3302"/>
                  </a:lnTo>
                  <a:lnTo>
                    <a:pt x="29622" y="2736"/>
                  </a:lnTo>
                  <a:lnTo>
                    <a:pt x="31037" y="2264"/>
                  </a:lnTo>
                  <a:lnTo>
                    <a:pt x="31792" y="2076"/>
                  </a:lnTo>
                  <a:lnTo>
                    <a:pt x="32641" y="1981"/>
                  </a:lnTo>
                  <a:lnTo>
                    <a:pt x="32547" y="2076"/>
                  </a:lnTo>
                  <a:lnTo>
                    <a:pt x="32924" y="1981"/>
                  </a:lnTo>
                  <a:lnTo>
                    <a:pt x="34245" y="1793"/>
                  </a:lnTo>
                  <a:lnTo>
                    <a:pt x="35848" y="1415"/>
                  </a:lnTo>
                  <a:lnTo>
                    <a:pt x="36981" y="1132"/>
                  </a:lnTo>
                  <a:lnTo>
                    <a:pt x="36981" y="1415"/>
                  </a:lnTo>
                  <a:lnTo>
                    <a:pt x="40943" y="1227"/>
                  </a:lnTo>
                  <a:lnTo>
                    <a:pt x="41509" y="1038"/>
                  </a:lnTo>
                  <a:lnTo>
                    <a:pt x="41697" y="1132"/>
                  </a:lnTo>
                  <a:lnTo>
                    <a:pt x="41509" y="1227"/>
                  </a:lnTo>
                  <a:lnTo>
                    <a:pt x="41320" y="1321"/>
                  </a:lnTo>
                  <a:lnTo>
                    <a:pt x="42263" y="1321"/>
                  </a:lnTo>
                  <a:lnTo>
                    <a:pt x="43113" y="1227"/>
                  </a:lnTo>
                  <a:lnTo>
                    <a:pt x="43396" y="1415"/>
                  </a:lnTo>
                  <a:lnTo>
                    <a:pt x="44056" y="1604"/>
                  </a:lnTo>
                  <a:lnTo>
                    <a:pt x="45943" y="2076"/>
                  </a:lnTo>
                  <a:lnTo>
                    <a:pt x="48018" y="2359"/>
                  </a:lnTo>
                  <a:lnTo>
                    <a:pt x="49622" y="2736"/>
                  </a:lnTo>
                  <a:lnTo>
                    <a:pt x="47641" y="1981"/>
                  </a:lnTo>
                  <a:lnTo>
                    <a:pt x="45282" y="1321"/>
                  </a:lnTo>
                  <a:lnTo>
                    <a:pt x="42735" y="755"/>
                  </a:lnTo>
                  <a:lnTo>
                    <a:pt x="40188" y="283"/>
                  </a:lnTo>
                  <a:lnTo>
                    <a:pt x="37735" y="95"/>
                  </a:lnTo>
                  <a:lnTo>
                    <a:pt x="35471" y="0"/>
                  </a:lnTo>
                  <a:close/>
                </a:path>
              </a:pathLst>
            </a:custGeom>
            <a:solidFill>
              <a:schemeClr val="bg1">
                <a:lumMod val="95000"/>
              </a:schemeClr>
            </a:solidFill>
            <a:ln w="0">
              <a:solidFill>
                <a:srgbClr val="0079D1"/>
              </a:solidFill>
            </a:ln>
          </p:spPr>
          <p:txBody>
            <a:bodyPr spcFirstLastPara="1" wrap="square" lIns="91425" tIns="91425" rIns="91425" bIns="91425" anchor="ctr" anchorCtr="0">
              <a:noAutofit/>
            </a:bodyPr>
            <a:lstStyle/>
            <a:p>
              <a:pPr marL="0" lvl="0" indent="0">
                <a:spcBef>
                  <a:spcPts val="0"/>
                </a:spcBef>
                <a:spcAft>
                  <a:spcPts val="0"/>
                </a:spcAft>
                <a:buNone/>
              </a:pPr>
              <a:endParaRPr sz="1200"/>
            </a:p>
          </p:txBody>
        </p:sp>
        <p:sp>
          <p:nvSpPr>
            <p:cNvPr id="694" name="TextBox 693">
              <a:extLst>
                <a:ext uri="{FF2B5EF4-FFF2-40B4-BE49-F238E27FC236}">
                  <a16:creationId xmlns:a16="http://schemas.microsoft.com/office/drawing/2014/main" id="{444F19F1-25AA-E048-B6CA-3E29574612D0}"/>
                </a:ext>
              </a:extLst>
            </p:cNvPr>
            <p:cNvSpPr txBox="1"/>
            <p:nvPr/>
          </p:nvSpPr>
          <p:spPr>
            <a:xfrm>
              <a:off x="8676898" y="4619460"/>
              <a:ext cx="229951" cy="200055"/>
            </a:xfrm>
            <a:prstGeom prst="rect">
              <a:avLst/>
            </a:prstGeom>
            <a:noFill/>
          </p:spPr>
          <p:txBody>
            <a:bodyPr wrap="square" rtlCol="0">
              <a:spAutoFit/>
            </a:bodyPr>
            <a:lstStyle/>
            <a:p>
              <a:r>
                <a:rPr lang="en-US" sz="700" b="1" dirty="0">
                  <a:solidFill>
                    <a:srgbClr val="0079D1"/>
                  </a:solidFill>
                </a:rPr>
                <a:t>E</a:t>
              </a:r>
            </a:p>
          </p:txBody>
        </p:sp>
      </p:grpSp>
      <p:grpSp>
        <p:nvGrpSpPr>
          <p:cNvPr id="695" name="Group 694">
            <a:extLst>
              <a:ext uri="{FF2B5EF4-FFF2-40B4-BE49-F238E27FC236}">
                <a16:creationId xmlns:a16="http://schemas.microsoft.com/office/drawing/2014/main" id="{6940083F-88BE-AF4B-985C-58CD8786C1AB}"/>
              </a:ext>
            </a:extLst>
          </p:cNvPr>
          <p:cNvGrpSpPr/>
          <p:nvPr/>
        </p:nvGrpSpPr>
        <p:grpSpPr>
          <a:xfrm>
            <a:off x="3202693" y="4564426"/>
            <a:ext cx="229951" cy="200055"/>
            <a:chOff x="8676898" y="4619460"/>
            <a:chExt cx="229951" cy="200055"/>
          </a:xfrm>
        </p:grpSpPr>
        <p:sp>
          <p:nvSpPr>
            <p:cNvPr id="696" name="Google Shape;431;p39">
              <a:extLst>
                <a:ext uri="{FF2B5EF4-FFF2-40B4-BE49-F238E27FC236}">
                  <a16:creationId xmlns:a16="http://schemas.microsoft.com/office/drawing/2014/main" id="{D397684D-66D7-2F48-9FED-4A048A48E777}"/>
                </a:ext>
              </a:extLst>
            </p:cNvPr>
            <p:cNvSpPr/>
            <p:nvPr/>
          </p:nvSpPr>
          <p:spPr>
            <a:xfrm>
              <a:off x="8709950" y="4635551"/>
              <a:ext cx="179407" cy="167874"/>
            </a:xfrm>
            <a:custGeom>
              <a:avLst/>
              <a:gdLst/>
              <a:ahLst/>
              <a:cxnLst/>
              <a:rect l="0" t="0" r="0" b="0"/>
              <a:pathLst>
                <a:path w="67641" h="69056" extrusionOk="0">
                  <a:moveTo>
                    <a:pt x="49622" y="2736"/>
                  </a:moveTo>
                  <a:lnTo>
                    <a:pt x="49622" y="2736"/>
                  </a:lnTo>
                  <a:lnTo>
                    <a:pt x="49622" y="2736"/>
                  </a:lnTo>
                  <a:close/>
                  <a:moveTo>
                    <a:pt x="59622" y="55565"/>
                  </a:moveTo>
                  <a:lnTo>
                    <a:pt x="59622" y="55565"/>
                  </a:lnTo>
                  <a:lnTo>
                    <a:pt x="59622" y="55565"/>
                  </a:lnTo>
                  <a:close/>
                  <a:moveTo>
                    <a:pt x="35471" y="0"/>
                  </a:moveTo>
                  <a:lnTo>
                    <a:pt x="34433" y="95"/>
                  </a:lnTo>
                  <a:lnTo>
                    <a:pt x="33584" y="189"/>
                  </a:lnTo>
                  <a:lnTo>
                    <a:pt x="32735" y="378"/>
                  </a:lnTo>
                  <a:lnTo>
                    <a:pt x="32169" y="566"/>
                  </a:lnTo>
                  <a:lnTo>
                    <a:pt x="31509" y="472"/>
                  </a:lnTo>
                  <a:lnTo>
                    <a:pt x="30754" y="472"/>
                  </a:lnTo>
                  <a:lnTo>
                    <a:pt x="29339" y="566"/>
                  </a:lnTo>
                  <a:lnTo>
                    <a:pt x="27830" y="849"/>
                  </a:lnTo>
                  <a:lnTo>
                    <a:pt x="26320" y="1321"/>
                  </a:lnTo>
                  <a:lnTo>
                    <a:pt x="24811" y="1981"/>
                  </a:lnTo>
                  <a:lnTo>
                    <a:pt x="23207" y="2736"/>
                  </a:lnTo>
                  <a:lnTo>
                    <a:pt x="21698" y="3585"/>
                  </a:lnTo>
                  <a:lnTo>
                    <a:pt x="20188" y="4623"/>
                  </a:lnTo>
                  <a:lnTo>
                    <a:pt x="18679" y="5661"/>
                  </a:lnTo>
                  <a:lnTo>
                    <a:pt x="17170" y="6793"/>
                  </a:lnTo>
                  <a:lnTo>
                    <a:pt x="15754" y="8019"/>
                  </a:lnTo>
                  <a:lnTo>
                    <a:pt x="14434" y="9151"/>
                  </a:lnTo>
                  <a:lnTo>
                    <a:pt x="11981" y="11510"/>
                  </a:lnTo>
                  <a:lnTo>
                    <a:pt x="10000" y="13774"/>
                  </a:lnTo>
                  <a:lnTo>
                    <a:pt x="7736" y="16981"/>
                  </a:lnTo>
                  <a:lnTo>
                    <a:pt x="8019" y="16321"/>
                  </a:lnTo>
                  <a:lnTo>
                    <a:pt x="8302" y="15660"/>
                  </a:lnTo>
                  <a:lnTo>
                    <a:pt x="7736" y="16604"/>
                  </a:lnTo>
                  <a:lnTo>
                    <a:pt x="7075" y="17642"/>
                  </a:lnTo>
                  <a:lnTo>
                    <a:pt x="7170" y="17830"/>
                  </a:lnTo>
                  <a:lnTo>
                    <a:pt x="6509" y="18868"/>
                  </a:lnTo>
                  <a:lnTo>
                    <a:pt x="7075" y="17359"/>
                  </a:lnTo>
                  <a:lnTo>
                    <a:pt x="6132" y="19057"/>
                  </a:lnTo>
                  <a:lnTo>
                    <a:pt x="5189" y="20849"/>
                  </a:lnTo>
                  <a:lnTo>
                    <a:pt x="4434" y="22736"/>
                  </a:lnTo>
                  <a:lnTo>
                    <a:pt x="3679" y="24622"/>
                  </a:lnTo>
                  <a:lnTo>
                    <a:pt x="2453" y="28490"/>
                  </a:lnTo>
                  <a:lnTo>
                    <a:pt x="1321" y="32169"/>
                  </a:lnTo>
                  <a:lnTo>
                    <a:pt x="1509" y="32264"/>
                  </a:lnTo>
                  <a:lnTo>
                    <a:pt x="1604" y="32453"/>
                  </a:lnTo>
                  <a:lnTo>
                    <a:pt x="1604" y="32641"/>
                  </a:lnTo>
                  <a:lnTo>
                    <a:pt x="1509" y="32924"/>
                  </a:lnTo>
                  <a:lnTo>
                    <a:pt x="1226" y="33396"/>
                  </a:lnTo>
                  <a:lnTo>
                    <a:pt x="1038" y="33585"/>
                  </a:lnTo>
                  <a:lnTo>
                    <a:pt x="1038" y="33773"/>
                  </a:lnTo>
                  <a:lnTo>
                    <a:pt x="1038" y="35000"/>
                  </a:lnTo>
                  <a:lnTo>
                    <a:pt x="849" y="36132"/>
                  </a:lnTo>
                  <a:lnTo>
                    <a:pt x="660" y="37358"/>
                  </a:lnTo>
                  <a:lnTo>
                    <a:pt x="472" y="38867"/>
                  </a:lnTo>
                  <a:lnTo>
                    <a:pt x="283" y="38301"/>
                  </a:lnTo>
                  <a:lnTo>
                    <a:pt x="94" y="39811"/>
                  </a:lnTo>
                  <a:lnTo>
                    <a:pt x="0" y="41509"/>
                  </a:lnTo>
                  <a:lnTo>
                    <a:pt x="94" y="43301"/>
                  </a:lnTo>
                  <a:lnTo>
                    <a:pt x="283" y="44056"/>
                  </a:lnTo>
                  <a:lnTo>
                    <a:pt x="472" y="44622"/>
                  </a:lnTo>
                  <a:lnTo>
                    <a:pt x="566" y="45660"/>
                  </a:lnTo>
                  <a:lnTo>
                    <a:pt x="755" y="46792"/>
                  </a:lnTo>
                  <a:lnTo>
                    <a:pt x="1226" y="48962"/>
                  </a:lnTo>
                  <a:lnTo>
                    <a:pt x="1981" y="51037"/>
                  </a:lnTo>
                  <a:lnTo>
                    <a:pt x="2924" y="53112"/>
                  </a:lnTo>
                  <a:lnTo>
                    <a:pt x="4057" y="55094"/>
                  </a:lnTo>
                  <a:lnTo>
                    <a:pt x="5283" y="56980"/>
                  </a:lnTo>
                  <a:lnTo>
                    <a:pt x="6698" y="58678"/>
                  </a:lnTo>
                  <a:lnTo>
                    <a:pt x="8113" y="60282"/>
                  </a:lnTo>
                  <a:lnTo>
                    <a:pt x="9056" y="61131"/>
                  </a:lnTo>
                  <a:lnTo>
                    <a:pt x="10000" y="61980"/>
                  </a:lnTo>
                  <a:lnTo>
                    <a:pt x="11038" y="62829"/>
                  </a:lnTo>
                  <a:lnTo>
                    <a:pt x="12075" y="63584"/>
                  </a:lnTo>
                  <a:lnTo>
                    <a:pt x="14339" y="64905"/>
                  </a:lnTo>
                  <a:lnTo>
                    <a:pt x="16604" y="66131"/>
                  </a:lnTo>
                  <a:lnTo>
                    <a:pt x="19056" y="67169"/>
                  </a:lnTo>
                  <a:lnTo>
                    <a:pt x="21509" y="67923"/>
                  </a:lnTo>
                  <a:lnTo>
                    <a:pt x="24056" y="68584"/>
                  </a:lnTo>
                  <a:lnTo>
                    <a:pt x="26603" y="69055"/>
                  </a:lnTo>
                  <a:lnTo>
                    <a:pt x="27830" y="69055"/>
                  </a:lnTo>
                  <a:lnTo>
                    <a:pt x="30188" y="68867"/>
                  </a:lnTo>
                  <a:lnTo>
                    <a:pt x="33113" y="68678"/>
                  </a:lnTo>
                  <a:lnTo>
                    <a:pt x="36509" y="68301"/>
                  </a:lnTo>
                  <a:lnTo>
                    <a:pt x="39811" y="67923"/>
                  </a:lnTo>
                  <a:lnTo>
                    <a:pt x="42735" y="67452"/>
                  </a:lnTo>
                  <a:lnTo>
                    <a:pt x="44905" y="66980"/>
                  </a:lnTo>
                  <a:lnTo>
                    <a:pt x="45565" y="66791"/>
                  </a:lnTo>
                  <a:lnTo>
                    <a:pt x="45943" y="66508"/>
                  </a:lnTo>
                  <a:lnTo>
                    <a:pt x="47358" y="65942"/>
                  </a:lnTo>
                  <a:lnTo>
                    <a:pt x="48018" y="65565"/>
                  </a:lnTo>
                  <a:lnTo>
                    <a:pt x="48678" y="65188"/>
                  </a:lnTo>
                  <a:lnTo>
                    <a:pt x="47924" y="65471"/>
                  </a:lnTo>
                  <a:lnTo>
                    <a:pt x="51509" y="62924"/>
                  </a:lnTo>
                  <a:lnTo>
                    <a:pt x="53301" y="61508"/>
                  </a:lnTo>
                  <a:lnTo>
                    <a:pt x="55093" y="59905"/>
                  </a:lnTo>
                  <a:lnTo>
                    <a:pt x="55093" y="59905"/>
                  </a:lnTo>
                  <a:lnTo>
                    <a:pt x="54810" y="60376"/>
                  </a:lnTo>
                  <a:lnTo>
                    <a:pt x="54339" y="60754"/>
                  </a:lnTo>
                  <a:lnTo>
                    <a:pt x="55376" y="59999"/>
                  </a:lnTo>
                  <a:lnTo>
                    <a:pt x="56320" y="59056"/>
                  </a:lnTo>
                  <a:lnTo>
                    <a:pt x="57075" y="58395"/>
                  </a:lnTo>
                  <a:lnTo>
                    <a:pt x="57169" y="58207"/>
                  </a:lnTo>
                  <a:lnTo>
                    <a:pt x="57075" y="58207"/>
                  </a:lnTo>
                  <a:lnTo>
                    <a:pt x="57924" y="57546"/>
                  </a:lnTo>
                  <a:lnTo>
                    <a:pt x="58678" y="56697"/>
                  </a:lnTo>
                  <a:lnTo>
                    <a:pt x="59339" y="55754"/>
                  </a:lnTo>
                  <a:lnTo>
                    <a:pt x="59905" y="54905"/>
                  </a:lnTo>
                  <a:lnTo>
                    <a:pt x="59716" y="54999"/>
                  </a:lnTo>
                  <a:lnTo>
                    <a:pt x="59622" y="54999"/>
                  </a:lnTo>
                  <a:lnTo>
                    <a:pt x="59810" y="54622"/>
                  </a:lnTo>
                  <a:lnTo>
                    <a:pt x="59150" y="55565"/>
                  </a:lnTo>
                  <a:lnTo>
                    <a:pt x="59527" y="55094"/>
                  </a:lnTo>
                  <a:lnTo>
                    <a:pt x="59433" y="55377"/>
                  </a:lnTo>
                  <a:lnTo>
                    <a:pt x="58867" y="56037"/>
                  </a:lnTo>
                  <a:lnTo>
                    <a:pt x="59056" y="55660"/>
                  </a:lnTo>
                  <a:lnTo>
                    <a:pt x="59056" y="55660"/>
                  </a:lnTo>
                  <a:lnTo>
                    <a:pt x="58678" y="56037"/>
                  </a:lnTo>
                  <a:lnTo>
                    <a:pt x="59810" y="54339"/>
                  </a:lnTo>
                  <a:lnTo>
                    <a:pt x="60282" y="53490"/>
                  </a:lnTo>
                  <a:lnTo>
                    <a:pt x="60282" y="53301"/>
                  </a:lnTo>
                  <a:lnTo>
                    <a:pt x="60188" y="53395"/>
                  </a:lnTo>
                  <a:lnTo>
                    <a:pt x="60188" y="53395"/>
                  </a:lnTo>
                  <a:lnTo>
                    <a:pt x="60565" y="52924"/>
                  </a:lnTo>
                  <a:lnTo>
                    <a:pt x="61037" y="52452"/>
                  </a:lnTo>
                  <a:lnTo>
                    <a:pt x="61886" y="51509"/>
                  </a:lnTo>
                  <a:lnTo>
                    <a:pt x="61508" y="52452"/>
                  </a:lnTo>
                  <a:lnTo>
                    <a:pt x="60848" y="53584"/>
                  </a:lnTo>
                  <a:lnTo>
                    <a:pt x="59622" y="55565"/>
                  </a:lnTo>
                  <a:lnTo>
                    <a:pt x="60376" y="54528"/>
                  </a:lnTo>
                  <a:lnTo>
                    <a:pt x="60942" y="53678"/>
                  </a:lnTo>
                  <a:lnTo>
                    <a:pt x="61980" y="51792"/>
                  </a:lnTo>
                  <a:lnTo>
                    <a:pt x="61886" y="51886"/>
                  </a:lnTo>
                  <a:lnTo>
                    <a:pt x="61886" y="51697"/>
                  </a:lnTo>
                  <a:lnTo>
                    <a:pt x="62169" y="51037"/>
                  </a:lnTo>
                  <a:lnTo>
                    <a:pt x="62735" y="49999"/>
                  </a:lnTo>
                  <a:lnTo>
                    <a:pt x="61508" y="51603"/>
                  </a:lnTo>
                  <a:lnTo>
                    <a:pt x="61603" y="51037"/>
                  </a:lnTo>
                  <a:lnTo>
                    <a:pt x="61697" y="50377"/>
                  </a:lnTo>
                  <a:lnTo>
                    <a:pt x="62169" y="48962"/>
                  </a:lnTo>
                  <a:lnTo>
                    <a:pt x="62829" y="47358"/>
                  </a:lnTo>
                  <a:lnTo>
                    <a:pt x="63678" y="45565"/>
                  </a:lnTo>
                  <a:lnTo>
                    <a:pt x="65376" y="42169"/>
                  </a:lnTo>
                  <a:lnTo>
                    <a:pt x="66131" y="40660"/>
                  </a:lnTo>
                  <a:lnTo>
                    <a:pt x="66697" y="39339"/>
                  </a:lnTo>
                  <a:lnTo>
                    <a:pt x="66603" y="39528"/>
                  </a:lnTo>
                  <a:lnTo>
                    <a:pt x="66697" y="39056"/>
                  </a:lnTo>
                  <a:lnTo>
                    <a:pt x="66791" y="38962"/>
                  </a:lnTo>
                  <a:lnTo>
                    <a:pt x="66791" y="39056"/>
                  </a:lnTo>
                  <a:lnTo>
                    <a:pt x="66886" y="38584"/>
                  </a:lnTo>
                  <a:lnTo>
                    <a:pt x="66791" y="38867"/>
                  </a:lnTo>
                  <a:lnTo>
                    <a:pt x="66980" y="38207"/>
                  </a:lnTo>
                  <a:lnTo>
                    <a:pt x="67169" y="37264"/>
                  </a:lnTo>
                  <a:lnTo>
                    <a:pt x="67263" y="36415"/>
                  </a:lnTo>
                  <a:lnTo>
                    <a:pt x="67357" y="36509"/>
                  </a:lnTo>
                  <a:lnTo>
                    <a:pt x="67452" y="36509"/>
                  </a:lnTo>
                  <a:lnTo>
                    <a:pt x="67546" y="35943"/>
                  </a:lnTo>
                  <a:lnTo>
                    <a:pt x="67546" y="34811"/>
                  </a:lnTo>
                  <a:lnTo>
                    <a:pt x="67640" y="31037"/>
                  </a:lnTo>
                  <a:lnTo>
                    <a:pt x="67640" y="28490"/>
                  </a:lnTo>
                  <a:lnTo>
                    <a:pt x="67546" y="27736"/>
                  </a:lnTo>
                  <a:lnTo>
                    <a:pt x="67546" y="27547"/>
                  </a:lnTo>
                  <a:lnTo>
                    <a:pt x="67452" y="27547"/>
                  </a:lnTo>
                  <a:lnTo>
                    <a:pt x="67074" y="26792"/>
                  </a:lnTo>
                  <a:lnTo>
                    <a:pt x="66791" y="25660"/>
                  </a:lnTo>
                  <a:lnTo>
                    <a:pt x="66508" y="24528"/>
                  </a:lnTo>
                  <a:lnTo>
                    <a:pt x="66414" y="23585"/>
                  </a:lnTo>
                  <a:lnTo>
                    <a:pt x="66320" y="23679"/>
                  </a:lnTo>
                  <a:lnTo>
                    <a:pt x="66320" y="23490"/>
                  </a:lnTo>
                  <a:lnTo>
                    <a:pt x="65942" y="22924"/>
                  </a:lnTo>
                  <a:lnTo>
                    <a:pt x="65565" y="22358"/>
                  </a:lnTo>
                  <a:lnTo>
                    <a:pt x="64527" y="21132"/>
                  </a:lnTo>
                  <a:lnTo>
                    <a:pt x="63584" y="19906"/>
                  </a:lnTo>
                  <a:lnTo>
                    <a:pt x="63207" y="19340"/>
                  </a:lnTo>
                  <a:lnTo>
                    <a:pt x="63018" y="18774"/>
                  </a:lnTo>
                  <a:lnTo>
                    <a:pt x="63112" y="18962"/>
                  </a:lnTo>
                  <a:lnTo>
                    <a:pt x="63301" y="19057"/>
                  </a:lnTo>
                  <a:lnTo>
                    <a:pt x="63301" y="19057"/>
                  </a:lnTo>
                  <a:lnTo>
                    <a:pt x="63207" y="18868"/>
                  </a:lnTo>
                  <a:lnTo>
                    <a:pt x="62923" y="18491"/>
                  </a:lnTo>
                  <a:lnTo>
                    <a:pt x="61980" y="17453"/>
                  </a:lnTo>
                  <a:lnTo>
                    <a:pt x="61037" y="16509"/>
                  </a:lnTo>
                  <a:lnTo>
                    <a:pt x="61037" y="16698"/>
                  </a:lnTo>
                  <a:lnTo>
                    <a:pt x="61037" y="16887"/>
                  </a:lnTo>
                  <a:lnTo>
                    <a:pt x="60093" y="15943"/>
                  </a:lnTo>
                  <a:lnTo>
                    <a:pt x="60376" y="16321"/>
                  </a:lnTo>
                  <a:lnTo>
                    <a:pt x="59527" y="15377"/>
                  </a:lnTo>
                  <a:lnTo>
                    <a:pt x="59056" y="14906"/>
                  </a:lnTo>
                  <a:lnTo>
                    <a:pt x="59244" y="14906"/>
                  </a:lnTo>
                  <a:lnTo>
                    <a:pt x="59905" y="15472"/>
                  </a:lnTo>
                  <a:lnTo>
                    <a:pt x="59905" y="15472"/>
                  </a:lnTo>
                  <a:lnTo>
                    <a:pt x="57641" y="13396"/>
                  </a:lnTo>
                  <a:lnTo>
                    <a:pt x="58112" y="13868"/>
                  </a:lnTo>
                  <a:lnTo>
                    <a:pt x="56886" y="13019"/>
                  </a:lnTo>
                  <a:lnTo>
                    <a:pt x="55754" y="12453"/>
                  </a:lnTo>
                  <a:lnTo>
                    <a:pt x="56603" y="13113"/>
                  </a:lnTo>
                  <a:lnTo>
                    <a:pt x="57452" y="13774"/>
                  </a:lnTo>
                  <a:lnTo>
                    <a:pt x="58961" y="15283"/>
                  </a:lnTo>
                  <a:lnTo>
                    <a:pt x="60376" y="16604"/>
                  </a:lnTo>
                  <a:lnTo>
                    <a:pt x="61225" y="17264"/>
                  </a:lnTo>
                  <a:lnTo>
                    <a:pt x="62074" y="17925"/>
                  </a:lnTo>
                  <a:lnTo>
                    <a:pt x="62074" y="17925"/>
                  </a:lnTo>
                  <a:lnTo>
                    <a:pt x="61414" y="17547"/>
                  </a:lnTo>
                  <a:lnTo>
                    <a:pt x="60659" y="16981"/>
                  </a:lnTo>
                  <a:lnTo>
                    <a:pt x="60754" y="17264"/>
                  </a:lnTo>
                  <a:lnTo>
                    <a:pt x="60942" y="17642"/>
                  </a:lnTo>
                  <a:lnTo>
                    <a:pt x="61980" y="19151"/>
                  </a:lnTo>
                  <a:lnTo>
                    <a:pt x="63301" y="20943"/>
                  </a:lnTo>
                  <a:lnTo>
                    <a:pt x="63207" y="20943"/>
                  </a:lnTo>
                  <a:lnTo>
                    <a:pt x="63395" y="21038"/>
                  </a:lnTo>
                  <a:lnTo>
                    <a:pt x="63490" y="21321"/>
                  </a:lnTo>
                  <a:lnTo>
                    <a:pt x="63678" y="21604"/>
                  </a:lnTo>
                  <a:lnTo>
                    <a:pt x="63773" y="21698"/>
                  </a:lnTo>
                  <a:lnTo>
                    <a:pt x="63584" y="21321"/>
                  </a:lnTo>
                  <a:lnTo>
                    <a:pt x="63584" y="21321"/>
                  </a:lnTo>
                  <a:lnTo>
                    <a:pt x="64244" y="22170"/>
                  </a:lnTo>
                  <a:lnTo>
                    <a:pt x="64716" y="22641"/>
                  </a:lnTo>
                  <a:lnTo>
                    <a:pt x="64905" y="22830"/>
                  </a:lnTo>
                  <a:lnTo>
                    <a:pt x="64999" y="22830"/>
                  </a:lnTo>
                  <a:lnTo>
                    <a:pt x="64999" y="22641"/>
                  </a:lnTo>
                  <a:lnTo>
                    <a:pt x="64905" y="22358"/>
                  </a:lnTo>
                  <a:lnTo>
                    <a:pt x="65282" y="23207"/>
                  </a:lnTo>
                  <a:lnTo>
                    <a:pt x="65565" y="24056"/>
                  </a:lnTo>
                  <a:lnTo>
                    <a:pt x="66225" y="25943"/>
                  </a:lnTo>
                  <a:lnTo>
                    <a:pt x="66697" y="27830"/>
                  </a:lnTo>
                  <a:lnTo>
                    <a:pt x="66886" y="28490"/>
                  </a:lnTo>
                  <a:lnTo>
                    <a:pt x="66980" y="28868"/>
                  </a:lnTo>
                  <a:lnTo>
                    <a:pt x="66886" y="28962"/>
                  </a:lnTo>
                  <a:lnTo>
                    <a:pt x="66697" y="28679"/>
                  </a:lnTo>
                  <a:lnTo>
                    <a:pt x="66697" y="29245"/>
                  </a:lnTo>
                  <a:lnTo>
                    <a:pt x="66791" y="29905"/>
                  </a:lnTo>
                  <a:lnTo>
                    <a:pt x="66886" y="29905"/>
                  </a:lnTo>
                  <a:lnTo>
                    <a:pt x="66886" y="30094"/>
                  </a:lnTo>
                  <a:lnTo>
                    <a:pt x="66886" y="30566"/>
                  </a:lnTo>
                  <a:lnTo>
                    <a:pt x="66697" y="30377"/>
                  </a:lnTo>
                  <a:lnTo>
                    <a:pt x="66603" y="30188"/>
                  </a:lnTo>
                  <a:lnTo>
                    <a:pt x="66603" y="30094"/>
                  </a:lnTo>
                  <a:lnTo>
                    <a:pt x="66697" y="29905"/>
                  </a:lnTo>
                  <a:lnTo>
                    <a:pt x="66508" y="28679"/>
                  </a:lnTo>
                  <a:lnTo>
                    <a:pt x="66225" y="27358"/>
                  </a:lnTo>
                  <a:lnTo>
                    <a:pt x="66603" y="30283"/>
                  </a:lnTo>
                  <a:lnTo>
                    <a:pt x="66697" y="31792"/>
                  </a:lnTo>
                  <a:lnTo>
                    <a:pt x="66697" y="33302"/>
                  </a:lnTo>
                  <a:lnTo>
                    <a:pt x="66603" y="34717"/>
                  </a:lnTo>
                  <a:lnTo>
                    <a:pt x="66414" y="36226"/>
                  </a:lnTo>
                  <a:lnTo>
                    <a:pt x="66131" y="37547"/>
                  </a:lnTo>
                  <a:lnTo>
                    <a:pt x="65659" y="38962"/>
                  </a:lnTo>
                  <a:lnTo>
                    <a:pt x="65848" y="38584"/>
                  </a:lnTo>
                  <a:lnTo>
                    <a:pt x="65942" y="38584"/>
                  </a:lnTo>
                  <a:lnTo>
                    <a:pt x="65848" y="39245"/>
                  </a:lnTo>
                  <a:lnTo>
                    <a:pt x="65565" y="40188"/>
                  </a:lnTo>
                  <a:lnTo>
                    <a:pt x="65471" y="40471"/>
                  </a:lnTo>
                  <a:lnTo>
                    <a:pt x="65282" y="40660"/>
                  </a:lnTo>
                  <a:lnTo>
                    <a:pt x="65282" y="40566"/>
                  </a:lnTo>
                  <a:lnTo>
                    <a:pt x="65093" y="41132"/>
                  </a:lnTo>
                  <a:lnTo>
                    <a:pt x="64433" y="43018"/>
                  </a:lnTo>
                  <a:lnTo>
                    <a:pt x="63678" y="45282"/>
                  </a:lnTo>
                  <a:lnTo>
                    <a:pt x="62735" y="47264"/>
                  </a:lnTo>
                  <a:lnTo>
                    <a:pt x="61697" y="49056"/>
                  </a:lnTo>
                  <a:lnTo>
                    <a:pt x="60659" y="50943"/>
                  </a:lnTo>
                  <a:lnTo>
                    <a:pt x="59433" y="52735"/>
                  </a:lnTo>
                  <a:lnTo>
                    <a:pt x="58207" y="54433"/>
                  </a:lnTo>
                  <a:lnTo>
                    <a:pt x="56886" y="56037"/>
                  </a:lnTo>
                  <a:lnTo>
                    <a:pt x="55376" y="57641"/>
                  </a:lnTo>
                  <a:lnTo>
                    <a:pt x="53867" y="59150"/>
                  </a:lnTo>
                  <a:lnTo>
                    <a:pt x="52169" y="60376"/>
                  </a:lnTo>
                  <a:lnTo>
                    <a:pt x="48961" y="62452"/>
                  </a:lnTo>
                  <a:lnTo>
                    <a:pt x="44528" y="65282"/>
                  </a:lnTo>
                  <a:lnTo>
                    <a:pt x="44622" y="65188"/>
                  </a:lnTo>
                  <a:lnTo>
                    <a:pt x="44716" y="65093"/>
                  </a:lnTo>
                  <a:lnTo>
                    <a:pt x="45094" y="64810"/>
                  </a:lnTo>
                  <a:lnTo>
                    <a:pt x="45660" y="64527"/>
                  </a:lnTo>
                  <a:lnTo>
                    <a:pt x="43867" y="65376"/>
                  </a:lnTo>
                  <a:lnTo>
                    <a:pt x="43113" y="65754"/>
                  </a:lnTo>
                  <a:lnTo>
                    <a:pt x="42924" y="65754"/>
                  </a:lnTo>
                  <a:lnTo>
                    <a:pt x="43113" y="65659"/>
                  </a:lnTo>
                  <a:lnTo>
                    <a:pt x="41603" y="66037"/>
                  </a:lnTo>
                  <a:lnTo>
                    <a:pt x="39999" y="66320"/>
                  </a:lnTo>
                  <a:lnTo>
                    <a:pt x="38396" y="66508"/>
                  </a:lnTo>
                  <a:lnTo>
                    <a:pt x="36792" y="66697"/>
                  </a:lnTo>
                  <a:lnTo>
                    <a:pt x="33584" y="66980"/>
                  </a:lnTo>
                  <a:lnTo>
                    <a:pt x="32169" y="67169"/>
                  </a:lnTo>
                  <a:lnTo>
                    <a:pt x="30754" y="67357"/>
                  </a:lnTo>
                  <a:lnTo>
                    <a:pt x="30094" y="67357"/>
                  </a:lnTo>
                  <a:lnTo>
                    <a:pt x="29339" y="67263"/>
                  </a:lnTo>
                  <a:lnTo>
                    <a:pt x="27830" y="66886"/>
                  </a:lnTo>
                  <a:lnTo>
                    <a:pt x="26415" y="66508"/>
                  </a:lnTo>
                  <a:lnTo>
                    <a:pt x="25754" y="66414"/>
                  </a:lnTo>
                  <a:lnTo>
                    <a:pt x="25094" y="66414"/>
                  </a:lnTo>
                  <a:lnTo>
                    <a:pt x="25566" y="66980"/>
                  </a:lnTo>
                  <a:lnTo>
                    <a:pt x="25471" y="67074"/>
                  </a:lnTo>
                  <a:lnTo>
                    <a:pt x="25188" y="66980"/>
                  </a:lnTo>
                  <a:lnTo>
                    <a:pt x="24339" y="66791"/>
                  </a:lnTo>
                  <a:lnTo>
                    <a:pt x="23773" y="66508"/>
                  </a:lnTo>
                  <a:lnTo>
                    <a:pt x="24245" y="66414"/>
                  </a:lnTo>
                  <a:lnTo>
                    <a:pt x="24717" y="66603"/>
                  </a:lnTo>
                  <a:lnTo>
                    <a:pt x="24811" y="66414"/>
                  </a:lnTo>
                  <a:lnTo>
                    <a:pt x="24811" y="66320"/>
                  </a:lnTo>
                  <a:lnTo>
                    <a:pt x="24717" y="66225"/>
                  </a:lnTo>
                  <a:lnTo>
                    <a:pt x="24528" y="66131"/>
                  </a:lnTo>
                  <a:lnTo>
                    <a:pt x="24151" y="66225"/>
                  </a:lnTo>
                  <a:lnTo>
                    <a:pt x="23679" y="66320"/>
                  </a:lnTo>
                  <a:lnTo>
                    <a:pt x="23018" y="66414"/>
                  </a:lnTo>
                  <a:lnTo>
                    <a:pt x="23490" y="66225"/>
                  </a:lnTo>
                  <a:lnTo>
                    <a:pt x="22075" y="65942"/>
                  </a:lnTo>
                  <a:lnTo>
                    <a:pt x="20943" y="65659"/>
                  </a:lnTo>
                  <a:lnTo>
                    <a:pt x="20000" y="65282"/>
                  </a:lnTo>
                  <a:lnTo>
                    <a:pt x="19056" y="64810"/>
                  </a:lnTo>
                  <a:lnTo>
                    <a:pt x="19056" y="64810"/>
                  </a:lnTo>
                  <a:lnTo>
                    <a:pt x="19717" y="64999"/>
                  </a:lnTo>
                  <a:lnTo>
                    <a:pt x="19151" y="64716"/>
                  </a:lnTo>
                  <a:lnTo>
                    <a:pt x="18962" y="64810"/>
                  </a:lnTo>
                  <a:lnTo>
                    <a:pt x="19151" y="64905"/>
                  </a:lnTo>
                  <a:lnTo>
                    <a:pt x="18490" y="64905"/>
                  </a:lnTo>
                  <a:lnTo>
                    <a:pt x="17830" y="64716"/>
                  </a:lnTo>
                  <a:lnTo>
                    <a:pt x="17264" y="64527"/>
                  </a:lnTo>
                  <a:lnTo>
                    <a:pt x="16698" y="64150"/>
                  </a:lnTo>
                  <a:lnTo>
                    <a:pt x="16981" y="64056"/>
                  </a:lnTo>
                  <a:lnTo>
                    <a:pt x="17264" y="64150"/>
                  </a:lnTo>
                  <a:lnTo>
                    <a:pt x="17264" y="64150"/>
                  </a:lnTo>
                  <a:lnTo>
                    <a:pt x="15188" y="63207"/>
                  </a:lnTo>
                  <a:lnTo>
                    <a:pt x="14622" y="62829"/>
                  </a:lnTo>
                  <a:lnTo>
                    <a:pt x="14717" y="62924"/>
                  </a:lnTo>
                  <a:lnTo>
                    <a:pt x="13773" y="62546"/>
                  </a:lnTo>
                  <a:lnTo>
                    <a:pt x="12924" y="62075"/>
                  </a:lnTo>
                  <a:lnTo>
                    <a:pt x="12358" y="61697"/>
                  </a:lnTo>
                  <a:lnTo>
                    <a:pt x="12264" y="61508"/>
                  </a:lnTo>
                  <a:lnTo>
                    <a:pt x="12170" y="61320"/>
                  </a:lnTo>
                  <a:lnTo>
                    <a:pt x="11698" y="60942"/>
                  </a:lnTo>
                  <a:lnTo>
                    <a:pt x="11132" y="60471"/>
                  </a:lnTo>
                  <a:lnTo>
                    <a:pt x="9906" y="59244"/>
                  </a:lnTo>
                  <a:lnTo>
                    <a:pt x="9906" y="59244"/>
                  </a:lnTo>
                  <a:lnTo>
                    <a:pt x="10566" y="59527"/>
                  </a:lnTo>
                  <a:lnTo>
                    <a:pt x="9434" y="58584"/>
                  </a:lnTo>
                  <a:lnTo>
                    <a:pt x="8207" y="57546"/>
                  </a:lnTo>
                  <a:lnTo>
                    <a:pt x="7547" y="56886"/>
                  </a:lnTo>
                  <a:lnTo>
                    <a:pt x="6981" y="56131"/>
                  </a:lnTo>
                  <a:lnTo>
                    <a:pt x="6226" y="55094"/>
                  </a:lnTo>
                  <a:lnTo>
                    <a:pt x="6415" y="55377"/>
                  </a:lnTo>
                  <a:lnTo>
                    <a:pt x="6038" y="54905"/>
                  </a:lnTo>
                  <a:lnTo>
                    <a:pt x="5472" y="54244"/>
                  </a:lnTo>
                  <a:lnTo>
                    <a:pt x="5283" y="53961"/>
                  </a:lnTo>
                  <a:lnTo>
                    <a:pt x="5094" y="53867"/>
                  </a:lnTo>
                  <a:lnTo>
                    <a:pt x="5377" y="54622"/>
                  </a:lnTo>
                  <a:lnTo>
                    <a:pt x="5849" y="55282"/>
                  </a:lnTo>
                  <a:lnTo>
                    <a:pt x="6321" y="55943"/>
                  </a:lnTo>
                  <a:lnTo>
                    <a:pt x="6698" y="56603"/>
                  </a:lnTo>
                  <a:lnTo>
                    <a:pt x="6226" y="56226"/>
                  </a:lnTo>
                  <a:lnTo>
                    <a:pt x="5943" y="55848"/>
                  </a:lnTo>
                  <a:lnTo>
                    <a:pt x="6038" y="56037"/>
                  </a:lnTo>
                  <a:lnTo>
                    <a:pt x="5943" y="55943"/>
                  </a:lnTo>
                  <a:lnTo>
                    <a:pt x="5377" y="55188"/>
                  </a:lnTo>
                  <a:lnTo>
                    <a:pt x="5000" y="54716"/>
                  </a:lnTo>
                  <a:lnTo>
                    <a:pt x="4717" y="54150"/>
                  </a:lnTo>
                  <a:lnTo>
                    <a:pt x="4528" y="53678"/>
                  </a:lnTo>
                  <a:lnTo>
                    <a:pt x="4528" y="53584"/>
                  </a:lnTo>
                  <a:lnTo>
                    <a:pt x="4623" y="53395"/>
                  </a:lnTo>
                  <a:lnTo>
                    <a:pt x="5094" y="54244"/>
                  </a:lnTo>
                  <a:lnTo>
                    <a:pt x="4717" y="53301"/>
                  </a:lnTo>
                  <a:lnTo>
                    <a:pt x="4528" y="53018"/>
                  </a:lnTo>
                  <a:lnTo>
                    <a:pt x="4151" y="52263"/>
                  </a:lnTo>
                  <a:lnTo>
                    <a:pt x="4151" y="52169"/>
                  </a:lnTo>
                  <a:lnTo>
                    <a:pt x="3774" y="51509"/>
                  </a:lnTo>
                  <a:lnTo>
                    <a:pt x="3396" y="50660"/>
                  </a:lnTo>
                  <a:lnTo>
                    <a:pt x="3585" y="51603"/>
                  </a:lnTo>
                  <a:lnTo>
                    <a:pt x="3396" y="51226"/>
                  </a:lnTo>
                  <a:lnTo>
                    <a:pt x="3208" y="50848"/>
                  </a:lnTo>
                  <a:lnTo>
                    <a:pt x="3208" y="50471"/>
                  </a:lnTo>
                  <a:lnTo>
                    <a:pt x="3208" y="50094"/>
                  </a:lnTo>
                  <a:lnTo>
                    <a:pt x="3585" y="50754"/>
                  </a:lnTo>
                  <a:lnTo>
                    <a:pt x="3868" y="51509"/>
                  </a:lnTo>
                  <a:lnTo>
                    <a:pt x="3868" y="51509"/>
                  </a:lnTo>
                  <a:lnTo>
                    <a:pt x="3208" y="49528"/>
                  </a:lnTo>
                  <a:lnTo>
                    <a:pt x="3208" y="49528"/>
                  </a:lnTo>
                  <a:lnTo>
                    <a:pt x="3868" y="50754"/>
                  </a:lnTo>
                  <a:lnTo>
                    <a:pt x="3208" y="48962"/>
                  </a:lnTo>
                  <a:lnTo>
                    <a:pt x="3585" y="49339"/>
                  </a:lnTo>
                  <a:lnTo>
                    <a:pt x="3774" y="49433"/>
                  </a:lnTo>
                  <a:lnTo>
                    <a:pt x="3962" y="49528"/>
                  </a:lnTo>
                  <a:lnTo>
                    <a:pt x="4057" y="49905"/>
                  </a:lnTo>
                  <a:lnTo>
                    <a:pt x="3868" y="48962"/>
                  </a:lnTo>
                  <a:lnTo>
                    <a:pt x="3491" y="47924"/>
                  </a:lnTo>
                  <a:lnTo>
                    <a:pt x="2641" y="45565"/>
                  </a:lnTo>
                  <a:lnTo>
                    <a:pt x="2170" y="43867"/>
                  </a:lnTo>
                  <a:lnTo>
                    <a:pt x="1698" y="41886"/>
                  </a:lnTo>
                  <a:lnTo>
                    <a:pt x="1698" y="41886"/>
                  </a:lnTo>
                  <a:lnTo>
                    <a:pt x="1887" y="42075"/>
                  </a:lnTo>
                  <a:lnTo>
                    <a:pt x="1981" y="41981"/>
                  </a:lnTo>
                  <a:lnTo>
                    <a:pt x="2075" y="42075"/>
                  </a:lnTo>
                  <a:lnTo>
                    <a:pt x="2264" y="42169"/>
                  </a:lnTo>
                  <a:lnTo>
                    <a:pt x="2170" y="40283"/>
                  </a:lnTo>
                  <a:lnTo>
                    <a:pt x="2075" y="38301"/>
                  </a:lnTo>
                  <a:lnTo>
                    <a:pt x="2170" y="36415"/>
                  </a:lnTo>
                  <a:lnTo>
                    <a:pt x="2358" y="35566"/>
                  </a:lnTo>
                  <a:lnTo>
                    <a:pt x="2453" y="34811"/>
                  </a:lnTo>
                  <a:lnTo>
                    <a:pt x="2830" y="32830"/>
                  </a:lnTo>
                  <a:lnTo>
                    <a:pt x="2830" y="33207"/>
                  </a:lnTo>
                  <a:lnTo>
                    <a:pt x="2924" y="33490"/>
                  </a:lnTo>
                  <a:lnTo>
                    <a:pt x="2924" y="32453"/>
                  </a:lnTo>
                  <a:lnTo>
                    <a:pt x="3019" y="31415"/>
                  </a:lnTo>
                  <a:lnTo>
                    <a:pt x="3396" y="29245"/>
                  </a:lnTo>
                  <a:lnTo>
                    <a:pt x="3868" y="27075"/>
                  </a:lnTo>
                  <a:lnTo>
                    <a:pt x="4623" y="25000"/>
                  </a:lnTo>
                  <a:lnTo>
                    <a:pt x="5566" y="22830"/>
                  </a:lnTo>
                  <a:lnTo>
                    <a:pt x="6604" y="20849"/>
                  </a:lnTo>
                  <a:lnTo>
                    <a:pt x="7830" y="18868"/>
                  </a:lnTo>
                  <a:lnTo>
                    <a:pt x="9151" y="16887"/>
                  </a:lnTo>
                  <a:lnTo>
                    <a:pt x="10566" y="15094"/>
                  </a:lnTo>
                  <a:lnTo>
                    <a:pt x="12075" y="13302"/>
                  </a:lnTo>
                  <a:lnTo>
                    <a:pt x="13773" y="11698"/>
                  </a:lnTo>
                  <a:lnTo>
                    <a:pt x="15377" y="10095"/>
                  </a:lnTo>
                  <a:lnTo>
                    <a:pt x="17170" y="8679"/>
                  </a:lnTo>
                  <a:lnTo>
                    <a:pt x="18962" y="7453"/>
                  </a:lnTo>
                  <a:lnTo>
                    <a:pt x="20754" y="6321"/>
                  </a:lnTo>
                  <a:lnTo>
                    <a:pt x="22547" y="5378"/>
                  </a:lnTo>
                  <a:lnTo>
                    <a:pt x="21603" y="6227"/>
                  </a:lnTo>
                  <a:lnTo>
                    <a:pt x="22641" y="5472"/>
                  </a:lnTo>
                  <a:lnTo>
                    <a:pt x="23302" y="5095"/>
                  </a:lnTo>
                  <a:lnTo>
                    <a:pt x="25377" y="4151"/>
                  </a:lnTo>
                  <a:lnTo>
                    <a:pt x="24811" y="4151"/>
                  </a:lnTo>
                  <a:lnTo>
                    <a:pt x="25660" y="3774"/>
                  </a:lnTo>
                  <a:lnTo>
                    <a:pt x="26886" y="3208"/>
                  </a:lnTo>
                  <a:lnTo>
                    <a:pt x="26603" y="3585"/>
                  </a:lnTo>
                  <a:lnTo>
                    <a:pt x="26886" y="3585"/>
                  </a:lnTo>
                  <a:lnTo>
                    <a:pt x="26886" y="3680"/>
                  </a:lnTo>
                  <a:lnTo>
                    <a:pt x="26792" y="3774"/>
                  </a:lnTo>
                  <a:lnTo>
                    <a:pt x="28301" y="3302"/>
                  </a:lnTo>
                  <a:lnTo>
                    <a:pt x="29622" y="2736"/>
                  </a:lnTo>
                  <a:lnTo>
                    <a:pt x="31037" y="2264"/>
                  </a:lnTo>
                  <a:lnTo>
                    <a:pt x="31792" y="2076"/>
                  </a:lnTo>
                  <a:lnTo>
                    <a:pt x="32641" y="1981"/>
                  </a:lnTo>
                  <a:lnTo>
                    <a:pt x="32547" y="2076"/>
                  </a:lnTo>
                  <a:lnTo>
                    <a:pt x="32924" y="1981"/>
                  </a:lnTo>
                  <a:lnTo>
                    <a:pt x="34245" y="1793"/>
                  </a:lnTo>
                  <a:lnTo>
                    <a:pt x="35848" y="1415"/>
                  </a:lnTo>
                  <a:lnTo>
                    <a:pt x="36981" y="1132"/>
                  </a:lnTo>
                  <a:lnTo>
                    <a:pt x="36981" y="1415"/>
                  </a:lnTo>
                  <a:lnTo>
                    <a:pt x="40943" y="1227"/>
                  </a:lnTo>
                  <a:lnTo>
                    <a:pt x="41509" y="1038"/>
                  </a:lnTo>
                  <a:lnTo>
                    <a:pt x="41697" y="1132"/>
                  </a:lnTo>
                  <a:lnTo>
                    <a:pt x="41509" y="1227"/>
                  </a:lnTo>
                  <a:lnTo>
                    <a:pt x="41320" y="1321"/>
                  </a:lnTo>
                  <a:lnTo>
                    <a:pt x="42263" y="1321"/>
                  </a:lnTo>
                  <a:lnTo>
                    <a:pt x="43113" y="1227"/>
                  </a:lnTo>
                  <a:lnTo>
                    <a:pt x="43396" y="1415"/>
                  </a:lnTo>
                  <a:lnTo>
                    <a:pt x="44056" y="1604"/>
                  </a:lnTo>
                  <a:lnTo>
                    <a:pt x="45943" y="2076"/>
                  </a:lnTo>
                  <a:lnTo>
                    <a:pt x="48018" y="2359"/>
                  </a:lnTo>
                  <a:lnTo>
                    <a:pt x="49622" y="2736"/>
                  </a:lnTo>
                  <a:lnTo>
                    <a:pt x="47641" y="1981"/>
                  </a:lnTo>
                  <a:lnTo>
                    <a:pt x="45282" y="1321"/>
                  </a:lnTo>
                  <a:lnTo>
                    <a:pt x="42735" y="755"/>
                  </a:lnTo>
                  <a:lnTo>
                    <a:pt x="40188" y="283"/>
                  </a:lnTo>
                  <a:lnTo>
                    <a:pt x="37735" y="95"/>
                  </a:lnTo>
                  <a:lnTo>
                    <a:pt x="35471" y="0"/>
                  </a:lnTo>
                  <a:close/>
                </a:path>
              </a:pathLst>
            </a:custGeom>
            <a:solidFill>
              <a:schemeClr val="bg1">
                <a:lumMod val="95000"/>
              </a:schemeClr>
            </a:solidFill>
            <a:ln w="0">
              <a:solidFill>
                <a:srgbClr val="0079D1"/>
              </a:solidFill>
            </a:ln>
          </p:spPr>
          <p:txBody>
            <a:bodyPr spcFirstLastPara="1" wrap="square" lIns="91425" tIns="91425" rIns="91425" bIns="91425" anchor="ctr" anchorCtr="0">
              <a:noAutofit/>
            </a:bodyPr>
            <a:lstStyle/>
            <a:p>
              <a:pPr marL="0" lvl="0" indent="0">
                <a:spcBef>
                  <a:spcPts val="0"/>
                </a:spcBef>
                <a:spcAft>
                  <a:spcPts val="0"/>
                </a:spcAft>
                <a:buNone/>
              </a:pPr>
              <a:endParaRPr sz="1200">
                <a:latin typeface="+mj-lt"/>
              </a:endParaRPr>
            </a:p>
          </p:txBody>
        </p:sp>
        <p:sp>
          <p:nvSpPr>
            <p:cNvPr id="697" name="TextBox 696">
              <a:extLst>
                <a:ext uri="{FF2B5EF4-FFF2-40B4-BE49-F238E27FC236}">
                  <a16:creationId xmlns:a16="http://schemas.microsoft.com/office/drawing/2014/main" id="{8A4CFF53-E012-EC4F-A5F7-FF945D4E6215}"/>
                </a:ext>
              </a:extLst>
            </p:cNvPr>
            <p:cNvSpPr txBox="1"/>
            <p:nvPr/>
          </p:nvSpPr>
          <p:spPr>
            <a:xfrm>
              <a:off x="8676898" y="4619460"/>
              <a:ext cx="229951" cy="200055"/>
            </a:xfrm>
            <a:prstGeom prst="rect">
              <a:avLst/>
            </a:prstGeom>
            <a:noFill/>
          </p:spPr>
          <p:txBody>
            <a:bodyPr wrap="square" rtlCol="0">
              <a:spAutoFit/>
            </a:bodyPr>
            <a:lstStyle/>
            <a:p>
              <a:r>
                <a:rPr lang="en-US" sz="700" b="1" dirty="0">
                  <a:solidFill>
                    <a:srgbClr val="0079D1"/>
                  </a:solidFill>
                  <a:latin typeface="+mj-lt"/>
                </a:rPr>
                <a:t>F</a:t>
              </a:r>
            </a:p>
          </p:txBody>
        </p:sp>
      </p:grpSp>
      <p:sp>
        <p:nvSpPr>
          <p:cNvPr id="700" name="TextBox 699">
            <a:extLst>
              <a:ext uri="{FF2B5EF4-FFF2-40B4-BE49-F238E27FC236}">
                <a16:creationId xmlns:a16="http://schemas.microsoft.com/office/drawing/2014/main" id="{F73007FD-821C-4740-BB80-F0310C6D607E}"/>
              </a:ext>
            </a:extLst>
          </p:cNvPr>
          <p:cNvSpPr txBox="1"/>
          <p:nvPr/>
        </p:nvSpPr>
        <p:spPr>
          <a:xfrm>
            <a:off x="355476" y="3270917"/>
            <a:ext cx="1899525" cy="343341"/>
          </a:xfrm>
          <a:prstGeom prst="rect">
            <a:avLst/>
          </a:prstGeom>
          <a:noFill/>
        </p:spPr>
        <p:txBody>
          <a:bodyPr wrap="square" tIns="90000" bIns="90000" rtlCol="0" anchor="t">
            <a:spAutoFit/>
          </a:bodyPr>
          <a:lstStyle>
            <a:defPPr>
              <a:defRPr lang="en-US"/>
            </a:defPPr>
            <a:lvl1pPr>
              <a:defRPr sz="700" b="1">
                <a:solidFill>
                  <a:srgbClr val="0079D1"/>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defRPr>
            </a:lvl1pPr>
          </a:lstStyle>
          <a:p>
            <a:r>
              <a:rPr lang="en-US" dirty="0" err="1"/>
              <a:t>Abinitio</a:t>
            </a:r>
            <a:r>
              <a:rPr lang="en-US" dirty="0"/>
              <a:t> ETL</a:t>
            </a:r>
          </a:p>
        </p:txBody>
      </p:sp>
      <p:grpSp>
        <p:nvGrpSpPr>
          <p:cNvPr id="701" name="Group 700">
            <a:extLst>
              <a:ext uri="{FF2B5EF4-FFF2-40B4-BE49-F238E27FC236}">
                <a16:creationId xmlns:a16="http://schemas.microsoft.com/office/drawing/2014/main" id="{1AB3DA5C-C159-1649-BE59-21AAD4AC8DD9}"/>
              </a:ext>
            </a:extLst>
          </p:cNvPr>
          <p:cNvGrpSpPr/>
          <p:nvPr/>
        </p:nvGrpSpPr>
        <p:grpSpPr>
          <a:xfrm>
            <a:off x="151850" y="3338860"/>
            <a:ext cx="229951" cy="215444"/>
            <a:chOff x="8676898" y="4619460"/>
            <a:chExt cx="229951" cy="215444"/>
          </a:xfrm>
        </p:grpSpPr>
        <p:sp>
          <p:nvSpPr>
            <p:cNvPr id="702" name="Google Shape;431;p39">
              <a:extLst>
                <a:ext uri="{FF2B5EF4-FFF2-40B4-BE49-F238E27FC236}">
                  <a16:creationId xmlns:a16="http://schemas.microsoft.com/office/drawing/2014/main" id="{A77C2B4A-C48A-A346-96DF-A438047ACD6A}"/>
                </a:ext>
              </a:extLst>
            </p:cNvPr>
            <p:cNvSpPr/>
            <p:nvPr/>
          </p:nvSpPr>
          <p:spPr>
            <a:xfrm>
              <a:off x="8709950" y="4635551"/>
              <a:ext cx="179407" cy="167874"/>
            </a:xfrm>
            <a:custGeom>
              <a:avLst/>
              <a:gdLst/>
              <a:ahLst/>
              <a:cxnLst/>
              <a:rect l="0" t="0" r="0" b="0"/>
              <a:pathLst>
                <a:path w="67641" h="69056" extrusionOk="0">
                  <a:moveTo>
                    <a:pt x="49622" y="2736"/>
                  </a:moveTo>
                  <a:lnTo>
                    <a:pt x="49622" y="2736"/>
                  </a:lnTo>
                  <a:lnTo>
                    <a:pt x="49622" y="2736"/>
                  </a:lnTo>
                  <a:close/>
                  <a:moveTo>
                    <a:pt x="59622" y="55565"/>
                  </a:moveTo>
                  <a:lnTo>
                    <a:pt x="59622" y="55565"/>
                  </a:lnTo>
                  <a:lnTo>
                    <a:pt x="59622" y="55565"/>
                  </a:lnTo>
                  <a:close/>
                  <a:moveTo>
                    <a:pt x="35471" y="0"/>
                  </a:moveTo>
                  <a:lnTo>
                    <a:pt x="34433" y="95"/>
                  </a:lnTo>
                  <a:lnTo>
                    <a:pt x="33584" y="189"/>
                  </a:lnTo>
                  <a:lnTo>
                    <a:pt x="32735" y="378"/>
                  </a:lnTo>
                  <a:lnTo>
                    <a:pt x="32169" y="566"/>
                  </a:lnTo>
                  <a:lnTo>
                    <a:pt x="31509" y="472"/>
                  </a:lnTo>
                  <a:lnTo>
                    <a:pt x="30754" y="472"/>
                  </a:lnTo>
                  <a:lnTo>
                    <a:pt x="29339" y="566"/>
                  </a:lnTo>
                  <a:lnTo>
                    <a:pt x="27830" y="849"/>
                  </a:lnTo>
                  <a:lnTo>
                    <a:pt x="26320" y="1321"/>
                  </a:lnTo>
                  <a:lnTo>
                    <a:pt x="24811" y="1981"/>
                  </a:lnTo>
                  <a:lnTo>
                    <a:pt x="23207" y="2736"/>
                  </a:lnTo>
                  <a:lnTo>
                    <a:pt x="21698" y="3585"/>
                  </a:lnTo>
                  <a:lnTo>
                    <a:pt x="20188" y="4623"/>
                  </a:lnTo>
                  <a:lnTo>
                    <a:pt x="18679" y="5661"/>
                  </a:lnTo>
                  <a:lnTo>
                    <a:pt x="17170" y="6793"/>
                  </a:lnTo>
                  <a:lnTo>
                    <a:pt x="15754" y="8019"/>
                  </a:lnTo>
                  <a:lnTo>
                    <a:pt x="14434" y="9151"/>
                  </a:lnTo>
                  <a:lnTo>
                    <a:pt x="11981" y="11510"/>
                  </a:lnTo>
                  <a:lnTo>
                    <a:pt x="10000" y="13774"/>
                  </a:lnTo>
                  <a:lnTo>
                    <a:pt x="7736" y="16981"/>
                  </a:lnTo>
                  <a:lnTo>
                    <a:pt x="8019" y="16321"/>
                  </a:lnTo>
                  <a:lnTo>
                    <a:pt x="8302" y="15660"/>
                  </a:lnTo>
                  <a:lnTo>
                    <a:pt x="7736" y="16604"/>
                  </a:lnTo>
                  <a:lnTo>
                    <a:pt x="7075" y="17642"/>
                  </a:lnTo>
                  <a:lnTo>
                    <a:pt x="7170" y="17830"/>
                  </a:lnTo>
                  <a:lnTo>
                    <a:pt x="6509" y="18868"/>
                  </a:lnTo>
                  <a:lnTo>
                    <a:pt x="7075" y="17359"/>
                  </a:lnTo>
                  <a:lnTo>
                    <a:pt x="6132" y="19057"/>
                  </a:lnTo>
                  <a:lnTo>
                    <a:pt x="5189" y="20849"/>
                  </a:lnTo>
                  <a:lnTo>
                    <a:pt x="4434" y="22736"/>
                  </a:lnTo>
                  <a:lnTo>
                    <a:pt x="3679" y="24622"/>
                  </a:lnTo>
                  <a:lnTo>
                    <a:pt x="2453" y="28490"/>
                  </a:lnTo>
                  <a:lnTo>
                    <a:pt x="1321" y="32169"/>
                  </a:lnTo>
                  <a:lnTo>
                    <a:pt x="1509" y="32264"/>
                  </a:lnTo>
                  <a:lnTo>
                    <a:pt x="1604" y="32453"/>
                  </a:lnTo>
                  <a:lnTo>
                    <a:pt x="1604" y="32641"/>
                  </a:lnTo>
                  <a:lnTo>
                    <a:pt x="1509" y="32924"/>
                  </a:lnTo>
                  <a:lnTo>
                    <a:pt x="1226" y="33396"/>
                  </a:lnTo>
                  <a:lnTo>
                    <a:pt x="1038" y="33585"/>
                  </a:lnTo>
                  <a:lnTo>
                    <a:pt x="1038" y="33773"/>
                  </a:lnTo>
                  <a:lnTo>
                    <a:pt x="1038" y="35000"/>
                  </a:lnTo>
                  <a:lnTo>
                    <a:pt x="849" y="36132"/>
                  </a:lnTo>
                  <a:lnTo>
                    <a:pt x="660" y="37358"/>
                  </a:lnTo>
                  <a:lnTo>
                    <a:pt x="472" y="38867"/>
                  </a:lnTo>
                  <a:lnTo>
                    <a:pt x="283" y="38301"/>
                  </a:lnTo>
                  <a:lnTo>
                    <a:pt x="94" y="39811"/>
                  </a:lnTo>
                  <a:lnTo>
                    <a:pt x="0" y="41509"/>
                  </a:lnTo>
                  <a:lnTo>
                    <a:pt x="94" y="43301"/>
                  </a:lnTo>
                  <a:lnTo>
                    <a:pt x="283" y="44056"/>
                  </a:lnTo>
                  <a:lnTo>
                    <a:pt x="472" y="44622"/>
                  </a:lnTo>
                  <a:lnTo>
                    <a:pt x="566" y="45660"/>
                  </a:lnTo>
                  <a:lnTo>
                    <a:pt x="755" y="46792"/>
                  </a:lnTo>
                  <a:lnTo>
                    <a:pt x="1226" y="48962"/>
                  </a:lnTo>
                  <a:lnTo>
                    <a:pt x="1981" y="51037"/>
                  </a:lnTo>
                  <a:lnTo>
                    <a:pt x="2924" y="53112"/>
                  </a:lnTo>
                  <a:lnTo>
                    <a:pt x="4057" y="55094"/>
                  </a:lnTo>
                  <a:lnTo>
                    <a:pt x="5283" y="56980"/>
                  </a:lnTo>
                  <a:lnTo>
                    <a:pt x="6698" y="58678"/>
                  </a:lnTo>
                  <a:lnTo>
                    <a:pt x="8113" y="60282"/>
                  </a:lnTo>
                  <a:lnTo>
                    <a:pt x="9056" y="61131"/>
                  </a:lnTo>
                  <a:lnTo>
                    <a:pt x="10000" y="61980"/>
                  </a:lnTo>
                  <a:lnTo>
                    <a:pt x="11038" y="62829"/>
                  </a:lnTo>
                  <a:lnTo>
                    <a:pt x="12075" y="63584"/>
                  </a:lnTo>
                  <a:lnTo>
                    <a:pt x="14339" y="64905"/>
                  </a:lnTo>
                  <a:lnTo>
                    <a:pt x="16604" y="66131"/>
                  </a:lnTo>
                  <a:lnTo>
                    <a:pt x="19056" y="67169"/>
                  </a:lnTo>
                  <a:lnTo>
                    <a:pt x="21509" y="67923"/>
                  </a:lnTo>
                  <a:lnTo>
                    <a:pt x="24056" y="68584"/>
                  </a:lnTo>
                  <a:lnTo>
                    <a:pt x="26603" y="69055"/>
                  </a:lnTo>
                  <a:lnTo>
                    <a:pt x="27830" y="69055"/>
                  </a:lnTo>
                  <a:lnTo>
                    <a:pt x="30188" y="68867"/>
                  </a:lnTo>
                  <a:lnTo>
                    <a:pt x="33113" y="68678"/>
                  </a:lnTo>
                  <a:lnTo>
                    <a:pt x="36509" y="68301"/>
                  </a:lnTo>
                  <a:lnTo>
                    <a:pt x="39811" y="67923"/>
                  </a:lnTo>
                  <a:lnTo>
                    <a:pt x="42735" y="67452"/>
                  </a:lnTo>
                  <a:lnTo>
                    <a:pt x="44905" y="66980"/>
                  </a:lnTo>
                  <a:lnTo>
                    <a:pt x="45565" y="66791"/>
                  </a:lnTo>
                  <a:lnTo>
                    <a:pt x="45943" y="66508"/>
                  </a:lnTo>
                  <a:lnTo>
                    <a:pt x="47358" y="65942"/>
                  </a:lnTo>
                  <a:lnTo>
                    <a:pt x="48018" y="65565"/>
                  </a:lnTo>
                  <a:lnTo>
                    <a:pt x="48678" y="65188"/>
                  </a:lnTo>
                  <a:lnTo>
                    <a:pt x="47924" y="65471"/>
                  </a:lnTo>
                  <a:lnTo>
                    <a:pt x="51509" y="62924"/>
                  </a:lnTo>
                  <a:lnTo>
                    <a:pt x="53301" y="61508"/>
                  </a:lnTo>
                  <a:lnTo>
                    <a:pt x="55093" y="59905"/>
                  </a:lnTo>
                  <a:lnTo>
                    <a:pt x="55093" y="59905"/>
                  </a:lnTo>
                  <a:lnTo>
                    <a:pt x="54810" y="60376"/>
                  </a:lnTo>
                  <a:lnTo>
                    <a:pt x="54339" y="60754"/>
                  </a:lnTo>
                  <a:lnTo>
                    <a:pt x="55376" y="59999"/>
                  </a:lnTo>
                  <a:lnTo>
                    <a:pt x="56320" y="59056"/>
                  </a:lnTo>
                  <a:lnTo>
                    <a:pt x="57075" y="58395"/>
                  </a:lnTo>
                  <a:lnTo>
                    <a:pt x="57169" y="58207"/>
                  </a:lnTo>
                  <a:lnTo>
                    <a:pt x="57075" y="58207"/>
                  </a:lnTo>
                  <a:lnTo>
                    <a:pt x="57924" y="57546"/>
                  </a:lnTo>
                  <a:lnTo>
                    <a:pt x="58678" y="56697"/>
                  </a:lnTo>
                  <a:lnTo>
                    <a:pt x="59339" y="55754"/>
                  </a:lnTo>
                  <a:lnTo>
                    <a:pt x="59905" y="54905"/>
                  </a:lnTo>
                  <a:lnTo>
                    <a:pt x="59716" y="54999"/>
                  </a:lnTo>
                  <a:lnTo>
                    <a:pt x="59622" y="54999"/>
                  </a:lnTo>
                  <a:lnTo>
                    <a:pt x="59810" y="54622"/>
                  </a:lnTo>
                  <a:lnTo>
                    <a:pt x="59150" y="55565"/>
                  </a:lnTo>
                  <a:lnTo>
                    <a:pt x="59527" y="55094"/>
                  </a:lnTo>
                  <a:lnTo>
                    <a:pt x="59433" y="55377"/>
                  </a:lnTo>
                  <a:lnTo>
                    <a:pt x="58867" y="56037"/>
                  </a:lnTo>
                  <a:lnTo>
                    <a:pt x="59056" y="55660"/>
                  </a:lnTo>
                  <a:lnTo>
                    <a:pt x="59056" y="55660"/>
                  </a:lnTo>
                  <a:lnTo>
                    <a:pt x="58678" y="56037"/>
                  </a:lnTo>
                  <a:lnTo>
                    <a:pt x="59810" y="54339"/>
                  </a:lnTo>
                  <a:lnTo>
                    <a:pt x="60282" y="53490"/>
                  </a:lnTo>
                  <a:lnTo>
                    <a:pt x="60282" y="53301"/>
                  </a:lnTo>
                  <a:lnTo>
                    <a:pt x="60188" y="53395"/>
                  </a:lnTo>
                  <a:lnTo>
                    <a:pt x="60188" y="53395"/>
                  </a:lnTo>
                  <a:lnTo>
                    <a:pt x="60565" y="52924"/>
                  </a:lnTo>
                  <a:lnTo>
                    <a:pt x="61037" y="52452"/>
                  </a:lnTo>
                  <a:lnTo>
                    <a:pt x="61886" y="51509"/>
                  </a:lnTo>
                  <a:lnTo>
                    <a:pt x="61508" y="52452"/>
                  </a:lnTo>
                  <a:lnTo>
                    <a:pt x="60848" y="53584"/>
                  </a:lnTo>
                  <a:lnTo>
                    <a:pt x="59622" y="55565"/>
                  </a:lnTo>
                  <a:lnTo>
                    <a:pt x="60376" y="54528"/>
                  </a:lnTo>
                  <a:lnTo>
                    <a:pt x="60942" y="53678"/>
                  </a:lnTo>
                  <a:lnTo>
                    <a:pt x="61980" y="51792"/>
                  </a:lnTo>
                  <a:lnTo>
                    <a:pt x="61886" y="51886"/>
                  </a:lnTo>
                  <a:lnTo>
                    <a:pt x="61886" y="51697"/>
                  </a:lnTo>
                  <a:lnTo>
                    <a:pt x="62169" y="51037"/>
                  </a:lnTo>
                  <a:lnTo>
                    <a:pt x="62735" y="49999"/>
                  </a:lnTo>
                  <a:lnTo>
                    <a:pt x="61508" y="51603"/>
                  </a:lnTo>
                  <a:lnTo>
                    <a:pt x="61603" y="51037"/>
                  </a:lnTo>
                  <a:lnTo>
                    <a:pt x="61697" y="50377"/>
                  </a:lnTo>
                  <a:lnTo>
                    <a:pt x="62169" y="48962"/>
                  </a:lnTo>
                  <a:lnTo>
                    <a:pt x="62829" y="47358"/>
                  </a:lnTo>
                  <a:lnTo>
                    <a:pt x="63678" y="45565"/>
                  </a:lnTo>
                  <a:lnTo>
                    <a:pt x="65376" y="42169"/>
                  </a:lnTo>
                  <a:lnTo>
                    <a:pt x="66131" y="40660"/>
                  </a:lnTo>
                  <a:lnTo>
                    <a:pt x="66697" y="39339"/>
                  </a:lnTo>
                  <a:lnTo>
                    <a:pt x="66603" y="39528"/>
                  </a:lnTo>
                  <a:lnTo>
                    <a:pt x="66697" y="39056"/>
                  </a:lnTo>
                  <a:lnTo>
                    <a:pt x="66791" y="38962"/>
                  </a:lnTo>
                  <a:lnTo>
                    <a:pt x="66791" y="39056"/>
                  </a:lnTo>
                  <a:lnTo>
                    <a:pt x="66886" y="38584"/>
                  </a:lnTo>
                  <a:lnTo>
                    <a:pt x="66791" y="38867"/>
                  </a:lnTo>
                  <a:lnTo>
                    <a:pt x="66980" y="38207"/>
                  </a:lnTo>
                  <a:lnTo>
                    <a:pt x="67169" y="37264"/>
                  </a:lnTo>
                  <a:lnTo>
                    <a:pt x="67263" y="36415"/>
                  </a:lnTo>
                  <a:lnTo>
                    <a:pt x="67357" y="36509"/>
                  </a:lnTo>
                  <a:lnTo>
                    <a:pt x="67452" y="36509"/>
                  </a:lnTo>
                  <a:lnTo>
                    <a:pt x="67546" y="35943"/>
                  </a:lnTo>
                  <a:lnTo>
                    <a:pt x="67546" y="34811"/>
                  </a:lnTo>
                  <a:lnTo>
                    <a:pt x="67640" y="31037"/>
                  </a:lnTo>
                  <a:lnTo>
                    <a:pt x="67640" y="28490"/>
                  </a:lnTo>
                  <a:lnTo>
                    <a:pt x="67546" y="27736"/>
                  </a:lnTo>
                  <a:lnTo>
                    <a:pt x="67546" y="27547"/>
                  </a:lnTo>
                  <a:lnTo>
                    <a:pt x="67452" y="27547"/>
                  </a:lnTo>
                  <a:lnTo>
                    <a:pt x="67074" y="26792"/>
                  </a:lnTo>
                  <a:lnTo>
                    <a:pt x="66791" y="25660"/>
                  </a:lnTo>
                  <a:lnTo>
                    <a:pt x="66508" y="24528"/>
                  </a:lnTo>
                  <a:lnTo>
                    <a:pt x="66414" y="23585"/>
                  </a:lnTo>
                  <a:lnTo>
                    <a:pt x="66320" y="23679"/>
                  </a:lnTo>
                  <a:lnTo>
                    <a:pt x="66320" y="23490"/>
                  </a:lnTo>
                  <a:lnTo>
                    <a:pt x="65942" y="22924"/>
                  </a:lnTo>
                  <a:lnTo>
                    <a:pt x="65565" y="22358"/>
                  </a:lnTo>
                  <a:lnTo>
                    <a:pt x="64527" y="21132"/>
                  </a:lnTo>
                  <a:lnTo>
                    <a:pt x="63584" y="19906"/>
                  </a:lnTo>
                  <a:lnTo>
                    <a:pt x="63207" y="19340"/>
                  </a:lnTo>
                  <a:lnTo>
                    <a:pt x="63018" y="18774"/>
                  </a:lnTo>
                  <a:lnTo>
                    <a:pt x="63112" y="18962"/>
                  </a:lnTo>
                  <a:lnTo>
                    <a:pt x="63301" y="19057"/>
                  </a:lnTo>
                  <a:lnTo>
                    <a:pt x="63301" y="19057"/>
                  </a:lnTo>
                  <a:lnTo>
                    <a:pt x="63207" y="18868"/>
                  </a:lnTo>
                  <a:lnTo>
                    <a:pt x="62923" y="18491"/>
                  </a:lnTo>
                  <a:lnTo>
                    <a:pt x="61980" y="17453"/>
                  </a:lnTo>
                  <a:lnTo>
                    <a:pt x="61037" y="16509"/>
                  </a:lnTo>
                  <a:lnTo>
                    <a:pt x="61037" y="16698"/>
                  </a:lnTo>
                  <a:lnTo>
                    <a:pt x="61037" y="16887"/>
                  </a:lnTo>
                  <a:lnTo>
                    <a:pt x="60093" y="15943"/>
                  </a:lnTo>
                  <a:lnTo>
                    <a:pt x="60376" y="16321"/>
                  </a:lnTo>
                  <a:lnTo>
                    <a:pt x="59527" y="15377"/>
                  </a:lnTo>
                  <a:lnTo>
                    <a:pt x="59056" y="14906"/>
                  </a:lnTo>
                  <a:lnTo>
                    <a:pt x="59244" y="14906"/>
                  </a:lnTo>
                  <a:lnTo>
                    <a:pt x="59905" y="15472"/>
                  </a:lnTo>
                  <a:lnTo>
                    <a:pt x="59905" y="15472"/>
                  </a:lnTo>
                  <a:lnTo>
                    <a:pt x="57641" y="13396"/>
                  </a:lnTo>
                  <a:lnTo>
                    <a:pt x="58112" y="13868"/>
                  </a:lnTo>
                  <a:lnTo>
                    <a:pt x="56886" y="13019"/>
                  </a:lnTo>
                  <a:lnTo>
                    <a:pt x="55754" y="12453"/>
                  </a:lnTo>
                  <a:lnTo>
                    <a:pt x="56603" y="13113"/>
                  </a:lnTo>
                  <a:lnTo>
                    <a:pt x="57452" y="13774"/>
                  </a:lnTo>
                  <a:lnTo>
                    <a:pt x="58961" y="15283"/>
                  </a:lnTo>
                  <a:lnTo>
                    <a:pt x="60376" y="16604"/>
                  </a:lnTo>
                  <a:lnTo>
                    <a:pt x="61225" y="17264"/>
                  </a:lnTo>
                  <a:lnTo>
                    <a:pt x="62074" y="17925"/>
                  </a:lnTo>
                  <a:lnTo>
                    <a:pt x="62074" y="17925"/>
                  </a:lnTo>
                  <a:lnTo>
                    <a:pt x="61414" y="17547"/>
                  </a:lnTo>
                  <a:lnTo>
                    <a:pt x="60659" y="16981"/>
                  </a:lnTo>
                  <a:lnTo>
                    <a:pt x="60754" y="17264"/>
                  </a:lnTo>
                  <a:lnTo>
                    <a:pt x="60942" y="17642"/>
                  </a:lnTo>
                  <a:lnTo>
                    <a:pt x="61980" y="19151"/>
                  </a:lnTo>
                  <a:lnTo>
                    <a:pt x="63301" y="20943"/>
                  </a:lnTo>
                  <a:lnTo>
                    <a:pt x="63207" y="20943"/>
                  </a:lnTo>
                  <a:lnTo>
                    <a:pt x="63395" y="21038"/>
                  </a:lnTo>
                  <a:lnTo>
                    <a:pt x="63490" y="21321"/>
                  </a:lnTo>
                  <a:lnTo>
                    <a:pt x="63678" y="21604"/>
                  </a:lnTo>
                  <a:lnTo>
                    <a:pt x="63773" y="21698"/>
                  </a:lnTo>
                  <a:lnTo>
                    <a:pt x="63584" y="21321"/>
                  </a:lnTo>
                  <a:lnTo>
                    <a:pt x="63584" y="21321"/>
                  </a:lnTo>
                  <a:lnTo>
                    <a:pt x="64244" y="22170"/>
                  </a:lnTo>
                  <a:lnTo>
                    <a:pt x="64716" y="22641"/>
                  </a:lnTo>
                  <a:lnTo>
                    <a:pt x="64905" y="22830"/>
                  </a:lnTo>
                  <a:lnTo>
                    <a:pt x="64999" y="22830"/>
                  </a:lnTo>
                  <a:lnTo>
                    <a:pt x="64999" y="22641"/>
                  </a:lnTo>
                  <a:lnTo>
                    <a:pt x="64905" y="22358"/>
                  </a:lnTo>
                  <a:lnTo>
                    <a:pt x="65282" y="23207"/>
                  </a:lnTo>
                  <a:lnTo>
                    <a:pt x="65565" y="24056"/>
                  </a:lnTo>
                  <a:lnTo>
                    <a:pt x="66225" y="25943"/>
                  </a:lnTo>
                  <a:lnTo>
                    <a:pt x="66697" y="27830"/>
                  </a:lnTo>
                  <a:lnTo>
                    <a:pt x="66886" y="28490"/>
                  </a:lnTo>
                  <a:lnTo>
                    <a:pt x="66980" y="28868"/>
                  </a:lnTo>
                  <a:lnTo>
                    <a:pt x="66886" y="28962"/>
                  </a:lnTo>
                  <a:lnTo>
                    <a:pt x="66697" y="28679"/>
                  </a:lnTo>
                  <a:lnTo>
                    <a:pt x="66697" y="29245"/>
                  </a:lnTo>
                  <a:lnTo>
                    <a:pt x="66791" y="29905"/>
                  </a:lnTo>
                  <a:lnTo>
                    <a:pt x="66886" y="29905"/>
                  </a:lnTo>
                  <a:lnTo>
                    <a:pt x="66886" y="30094"/>
                  </a:lnTo>
                  <a:lnTo>
                    <a:pt x="66886" y="30566"/>
                  </a:lnTo>
                  <a:lnTo>
                    <a:pt x="66697" y="30377"/>
                  </a:lnTo>
                  <a:lnTo>
                    <a:pt x="66603" y="30188"/>
                  </a:lnTo>
                  <a:lnTo>
                    <a:pt x="66603" y="30094"/>
                  </a:lnTo>
                  <a:lnTo>
                    <a:pt x="66697" y="29905"/>
                  </a:lnTo>
                  <a:lnTo>
                    <a:pt x="66508" y="28679"/>
                  </a:lnTo>
                  <a:lnTo>
                    <a:pt x="66225" y="27358"/>
                  </a:lnTo>
                  <a:lnTo>
                    <a:pt x="66603" y="30283"/>
                  </a:lnTo>
                  <a:lnTo>
                    <a:pt x="66697" y="31792"/>
                  </a:lnTo>
                  <a:lnTo>
                    <a:pt x="66697" y="33302"/>
                  </a:lnTo>
                  <a:lnTo>
                    <a:pt x="66603" y="34717"/>
                  </a:lnTo>
                  <a:lnTo>
                    <a:pt x="66414" y="36226"/>
                  </a:lnTo>
                  <a:lnTo>
                    <a:pt x="66131" y="37547"/>
                  </a:lnTo>
                  <a:lnTo>
                    <a:pt x="65659" y="38962"/>
                  </a:lnTo>
                  <a:lnTo>
                    <a:pt x="65848" y="38584"/>
                  </a:lnTo>
                  <a:lnTo>
                    <a:pt x="65942" y="38584"/>
                  </a:lnTo>
                  <a:lnTo>
                    <a:pt x="65848" y="39245"/>
                  </a:lnTo>
                  <a:lnTo>
                    <a:pt x="65565" y="40188"/>
                  </a:lnTo>
                  <a:lnTo>
                    <a:pt x="65471" y="40471"/>
                  </a:lnTo>
                  <a:lnTo>
                    <a:pt x="65282" y="40660"/>
                  </a:lnTo>
                  <a:lnTo>
                    <a:pt x="65282" y="40566"/>
                  </a:lnTo>
                  <a:lnTo>
                    <a:pt x="65093" y="41132"/>
                  </a:lnTo>
                  <a:lnTo>
                    <a:pt x="64433" y="43018"/>
                  </a:lnTo>
                  <a:lnTo>
                    <a:pt x="63678" y="45282"/>
                  </a:lnTo>
                  <a:lnTo>
                    <a:pt x="62735" y="47264"/>
                  </a:lnTo>
                  <a:lnTo>
                    <a:pt x="61697" y="49056"/>
                  </a:lnTo>
                  <a:lnTo>
                    <a:pt x="60659" y="50943"/>
                  </a:lnTo>
                  <a:lnTo>
                    <a:pt x="59433" y="52735"/>
                  </a:lnTo>
                  <a:lnTo>
                    <a:pt x="58207" y="54433"/>
                  </a:lnTo>
                  <a:lnTo>
                    <a:pt x="56886" y="56037"/>
                  </a:lnTo>
                  <a:lnTo>
                    <a:pt x="55376" y="57641"/>
                  </a:lnTo>
                  <a:lnTo>
                    <a:pt x="53867" y="59150"/>
                  </a:lnTo>
                  <a:lnTo>
                    <a:pt x="52169" y="60376"/>
                  </a:lnTo>
                  <a:lnTo>
                    <a:pt x="48961" y="62452"/>
                  </a:lnTo>
                  <a:lnTo>
                    <a:pt x="44528" y="65282"/>
                  </a:lnTo>
                  <a:lnTo>
                    <a:pt x="44622" y="65188"/>
                  </a:lnTo>
                  <a:lnTo>
                    <a:pt x="44716" y="65093"/>
                  </a:lnTo>
                  <a:lnTo>
                    <a:pt x="45094" y="64810"/>
                  </a:lnTo>
                  <a:lnTo>
                    <a:pt x="45660" y="64527"/>
                  </a:lnTo>
                  <a:lnTo>
                    <a:pt x="43867" y="65376"/>
                  </a:lnTo>
                  <a:lnTo>
                    <a:pt x="43113" y="65754"/>
                  </a:lnTo>
                  <a:lnTo>
                    <a:pt x="42924" y="65754"/>
                  </a:lnTo>
                  <a:lnTo>
                    <a:pt x="43113" y="65659"/>
                  </a:lnTo>
                  <a:lnTo>
                    <a:pt x="41603" y="66037"/>
                  </a:lnTo>
                  <a:lnTo>
                    <a:pt x="39999" y="66320"/>
                  </a:lnTo>
                  <a:lnTo>
                    <a:pt x="38396" y="66508"/>
                  </a:lnTo>
                  <a:lnTo>
                    <a:pt x="36792" y="66697"/>
                  </a:lnTo>
                  <a:lnTo>
                    <a:pt x="33584" y="66980"/>
                  </a:lnTo>
                  <a:lnTo>
                    <a:pt x="32169" y="67169"/>
                  </a:lnTo>
                  <a:lnTo>
                    <a:pt x="30754" y="67357"/>
                  </a:lnTo>
                  <a:lnTo>
                    <a:pt x="30094" y="67357"/>
                  </a:lnTo>
                  <a:lnTo>
                    <a:pt x="29339" y="67263"/>
                  </a:lnTo>
                  <a:lnTo>
                    <a:pt x="27830" y="66886"/>
                  </a:lnTo>
                  <a:lnTo>
                    <a:pt x="26415" y="66508"/>
                  </a:lnTo>
                  <a:lnTo>
                    <a:pt x="25754" y="66414"/>
                  </a:lnTo>
                  <a:lnTo>
                    <a:pt x="25094" y="66414"/>
                  </a:lnTo>
                  <a:lnTo>
                    <a:pt x="25566" y="66980"/>
                  </a:lnTo>
                  <a:lnTo>
                    <a:pt x="25471" y="67074"/>
                  </a:lnTo>
                  <a:lnTo>
                    <a:pt x="25188" y="66980"/>
                  </a:lnTo>
                  <a:lnTo>
                    <a:pt x="24339" y="66791"/>
                  </a:lnTo>
                  <a:lnTo>
                    <a:pt x="23773" y="66508"/>
                  </a:lnTo>
                  <a:lnTo>
                    <a:pt x="24245" y="66414"/>
                  </a:lnTo>
                  <a:lnTo>
                    <a:pt x="24717" y="66603"/>
                  </a:lnTo>
                  <a:lnTo>
                    <a:pt x="24811" y="66414"/>
                  </a:lnTo>
                  <a:lnTo>
                    <a:pt x="24811" y="66320"/>
                  </a:lnTo>
                  <a:lnTo>
                    <a:pt x="24717" y="66225"/>
                  </a:lnTo>
                  <a:lnTo>
                    <a:pt x="24528" y="66131"/>
                  </a:lnTo>
                  <a:lnTo>
                    <a:pt x="24151" y="66225"/>
                  </a:lnTo>
                  <a:lnTo>
                    <a:pt x="23679" y="66320"/>
                  </a:lnTo>
                  <a:lnTo>
                    <a:pt x="23018" y="66414"/>
                  </a:lnTo>
                  <a:lnTo>
                    <a:pt x="23490" y="66225"/>
                  </a:lnTo>
                  <a:lnTo>
                    <a:pt x="22075" y="65942"/>
                  </a:lnTo>
                  <a:lnTo>
                    <a:pt x="20943" y="65659"/>
                  </a:lnTo>
                  <a:lnTo>
                    <a:pt x="20000" y="65282"/>
                  </a:lnTo>
                  <a:lnTo>
                    <a:pt x="19056" y="64810"/>
                  </a:lnTo>
                  <a:lnTo>
                    <a:pt x="19056" y="64810"/>
                  </a:lnTo>
                  <a:lnTo>
                    <a:pt x="19717" y="64999"/>
                  </a:lnTo>
                  <a:lnTo>
                    <a:pt x="19151" y="64716"/>
                  </a:lnTo>
                  <a:lnTo>
                    <a:pt x="18962" y="64810"/>
                  </a:lnTo>
                  <a:lnTo>
                    <a:pt x="19151" y="64905"/>
                  </a:lnTo>
                  <a:lnTo>
                    <a:pt x="18490" y="64905"/>
                  </a:lnTo>
                  <a:lnTo>
                    <a:pt x="17830" y="64716"/>
                  </a:lnTo>
                  <a:lnTo>
                    <a:pt x="17264" y="64527"/>
                  </a:lnTo>
                  <a:lnTo>
                    <a:pt x="16698" y="64150"/>
                  </a:lnTo>
                  <a:lnTo>
                    <a:pt x="16981" y="64056"/>
                  </a:lnTo>
                  <a:lnTo>
                    <a:pt x="17264" y="64150"/>
                  </a:lnTo>
                  <a:lnTo>
                    <a:pt x="17264" y="64150"/>
                  </a:lnTo>
                  <a:lnTo>
                    <a:pt x="15188" y="63207"/>
                  </a:lnTo>
                  <a:lnTo>
                    <a:pt x="14622" y="62829"/>
                  </a:lnTo>
                  <a:lnTo>
                    <a:pt x="14717" y="62924"/>
                  </a:lnTo>
                  <a:lnTo>
                    <a:pt x="13773" y="62546"/>
                  </a:lnTo>
                  <a:lnTo>
                    <a:pt x="12924" y="62075"/>
                  </a:lnTo>
                  <a:lnTo>
                    <a:pt x="12358" y="61697"/>
                  </a:lnTo>
                  <a:lnTo>
                    <a:pt x="12264" y="61508"/>
                  </a:lnTo>
                  <a:lnTo>
                    <a:pt x="12170" y="61320"/>
                  </a:lnTo>
                  <a:lnTo>
                    <a:pt x="11698" y="60942"/>
                  </a:lnTo>
                  <a:lnTo>
                    <a:pt x="11132" y="60471"/>
                  </a:lnTo>
                  <a:lnTo>
                    <a:pt x="9906" y="59244"/>
                  </a:lnTo>
                  <a:lnTo>
                    <a:pt x="9906" y="59244"/>
                  </a:lnTo>
                  <a:lnTo>
                    <a:pt x="10566" y="59527"/>
                  </a:lnTo>
                  <a:lnTo>
                    <a:pt x="9434" y="58584"/>
                  </a:lnTo>
                  <a:lnTo>
                    <a:pt x="8207" y="57546"/>
                  </a:lnTo>
                  <a:lnTo>
                    <a:pt x="7547" y="56886"/>
                  </a:lnTo>
                  <a:lnTo>
                    <a:pt x="6981" y="56131"/>
                  </a:lnTo>
                  <a:lnTo>
                    <a:pt x="6226" y="55094"/>
                  </a:lnTo>
                  <a:lnTo>
                    <a:pt x="6415" y="55377"/>
                  </a:lnTo>
                  <a:lnTo>
                    <a:pt x="6038" y="54905"/>
                  </a:lnTo>
                  <a:lnTo>
                    <a:pt x="5472" y="54244"/>
                  </a:lnTo>
                  <a:lnTo>
                    <a:pt x="5283" y="53961"/>
                  </a:lnTo>
                  <a:lnTo>
                    <a:pt x="5094" y="53867"/>
                  </a:lnTo>
                  <a:lnTo>
                    <a:pt x="5377" y="54622"/>
                  </a:lnTo>
                  <a:lnTo>
                    <a:pt x="5849" y="55282"/>
                  </a:lnTo>
                  <a:lnTo>
                    <a:pt x="6321" y="55943"/>
                  </a:lnTo>
                  <a:lnTo>
                    <a:pt x="6698" y="56603"/>
                  </a:lnTo>
                  <a:lnTo>
                    <a:pt x="6226" y="56226"/>
                  </a:lnTo>
                  <a:lnTo>
                    <a:pt x="5943" y="55848"/>
                  </a:lnTo>
                  <a:lnTo>
                    <a:pt x="6038" y="56037"/>
                  </a:lnTo>
                  <a:lnTo>
                    <a:pt x="5943" y="55943"/>
                  </a:lnTo>
                  <a:lnTo>
                    <a:pt x="5377" y="55188"/>
                  </a:lnTo>
                  <a:lnTo>
                    <a:pt x="5000" y="54716"/>
                  </a:lnTo>
                  <a:lnTo>
                    <a:pt x="4717" y="54150"/>
                  </a:lnTo>
                  <a:lnTo>
                    <a:pt x="4528" y="53678"/>
                  </a:lnTo>
                  <a:lnTo>
                    <a:pt x="4528" y="53584"/>
                  </a:lnTo>
                  <a:lnTo>
                    <a:pt x="4623" y="53395"/>
                  </a:lnTo>
                  <a:lnTo>
                    <a:pt x="5094" y="54244"/>
                  </a:lnTo>
                  <a:lnTo>
                    <a:pt x="4717" y="53301"/>
                  </a:lnTo>
                  <a:lnTo>
                    <a:pt x="4528" y="53018"/>
                  </a:lnTo>
                  <a:lnTo>
                    <a:pt x="4151" y="52263"/>
                  </a:lnTo>
                  <a:lnTo>
                    <a:pt x="4151" y="52169"/>
                  </a:lnTo>
                  <a:lnTo>
                    <a:pt x="3774" y="51509"/>
                  </a:lnTo>
                  <a:lnTo>
                    <a:pt x="3396" y="50660"/>
                  </a:lnTo>
                  <a:lnTo>
                    <a:pt x="3585" y="51603"/>
                  </a:lnTo>
                  <a:lnTo>
                    <a:pt x="3396" y="51226"/>
                  </a:lnTo>
                  <a:lnTo>
                    <a:pt x="3208" y="50848"/>
                  </a:lnTo>
                  <a:lnTo>
                    <a:pt x="3208" y="50471"/>
                  </a:lnTo>
                  <a:lnTo>
                    <a:pt x="3208" y="50094"/>
                  </a:lnTo>
                  <a:lnTo>
                    <a:pt x="3585" y="50754"/>
                  </a:lnTo>
                  <a:lnTo>
                    <a:pt x="3868" y="51509"/>
                  </a:lnTo>
                  <a:lnTo>
                    <a:pt x="3868" y="51509"/>
                  </a:lnTo>
                  <a:lnTo>
                    <a:pt x="3208" y="49528"/>
                  </a:lnTo>
                  <a:lnTo>
                    <a:pt x="3208" y="49528"/>
                  </a:lnTo>
                  <a:lnTo>
                    <a:pt x="3868" y="50754"/>
                  </a:lnTo>
                  <a:lnTo>
                    <a:pt x="3208" y="48962"/>
                  </a:lnTo>
                  <a:lnTo>
                    <a:pt x="3585" y="49339"/>
                  </a:lnTo>
                  <a:lnTo>
                    <a:pt x="3774" y="49433"/>
                  </a:lnTo>
                  <a:lnTo>
                    <a:pt x="3962" y="49528"/>
                  </a:lnTo>
                  <a:lnTo>
                    <a:pt x="4057" y="49905"/>
                  </a:lnTo>
                  <a:lnTo>
                    <a:pt x="3868" y="48962"/>
                  </a:lnTo>
                  <a:lnTo>
                    <a:pt x="3491" y="47924"/>
                  </a:lnTo>
                  <a:lnTo>
                    <a:pt x="2641" y="45565"/>
                  </a:lnTo>
                  <a:lnTo>
                    <a:pt x="2170" y="43867"/>
                  </a:lnTo>
                  <a:lnTo>
                    <a:pt x="1698" y="41886"/>
                  </a:lnTo>
                  <a:lnTo>
                    <a:pt x="1698" y="41886"/>
                  </a:lnTo>
                  <a:lnTo>
                    <a:pt x="1887" y="42075"/>
                  </a:lnTo>
                  <a:lnTo>
                    <a:pt x="1981" y="41981"/>
                  </a:lnTo>
                  <a:lnTo>
                    <a:pt x="2075" y="42075"/>
                  </a:lnTo>
                  <a:lnTo>
                    <a:pt x="2264" y="42169"/>
                  </a:lnTo>
                  <a:lnTo>
                    <a:pt x="2170" y="40283"/>
                  </a:lnTo>
                  <a:lnTo>
                    <a:pt x="2075" y="38301"/>
                  </a:lnTo>
                  <a:lnTo>
                    <a:pt x="2170" y="36415"/>
                  </a:lnTo>
                  <a:lnTo>
                    <a:pt x="2358" y="35566"/>
                  </a:lnTo>
                  <a:lnTo>
                    <a:pt x="2453" y="34811"/>
                  </a:lnTo>
                  <a:lnTo>
                    <a:pt x="2830" y="32830"/>
                  </a:lnTo>
                  <a:lnTo>
                    <a:pt x="2830" y="33207"/>
                  </a:lnTo>
                  <a:lnTo>
                    <a:pt x="2924" y="33490"/>
                  </a:lnTo>
                  <a:lnTo>
                    <a:pt x="2924" y="32453"/>
                  </a:lnTo>
                  <a:lnTo>
                    <a:pt x="3019" y="31415"/>
                  </a:lnTo>
                  <a:lnTo>
                    <a:pt x="3396" y="29245"/>
                  </a:lnTo>
                  <a:lnTo>
                    <a:pt x="3868" y="27075"/>
                  </a:lnTo>
                  <a:lnTo>
                    <a:pt x="4623" y="25000"/>
                  </a:lnTo>
                  <a:lnTo>
                    <a:pt x="5566" y="22830"/>
                  </a:lnTo>
                  <a:lnTo>
                    <a:pt x="6604" y="20849"/>
                  </a:lnTo>
                  <a:lnTo>
                    <a:pt x="7830" y="18868"/>
                  </a:lnTo>
                  <a:lnTo>
                    <a:pt x="9151" y="16887"/>
                  </a:lnTo>
                  <a:lnTo>
                    <a:pt x="10566" y="15094"/>
                  </a:lnTo>
                  <a:lnTo>
                    <a:pt x="12075" y="13302"/>
                  </a:lnTo>
                  <a:lnTo>
                    <a:pt x="13773" y="11698"/>
                  </a:lnTo>
                  <a:lnTo>
                    <a:pt x="15377" y="10095"/>
                  </a:lnTo>
                  <a:lnTo>
                    <a:pt x="17170" y="8679"/>
                  </a:lnTo>
                  <a:lnTo>
                    <a:pt x="18962" y="7453"/>
                  </a:lnTo>
                  <a:lnTo>
                    <a:pt x="20754" y="6321"/>
                  </a:lnTo>
                  <a:lnTo>
                    <a:pt x="22547" y="5378"/>
                  </a:lnTo>
                  <a:lnTo>
                    <a:pt x="21603" y="6227"/>
                  </a:lnTo>
                  <a:lnTo>
                    <a:pt x="22641" y="5472"/>
                  </a:lnTo>
                  <a:lnTo>
                    <a:pt x="23302" y="5095"/>
                  </a:lnTo>
                  <a:lnTo>
                    <a:pt x="25377" y="4151"/>
                  </a:lnTo>
                  <a:lnTo>
                    <a:pt x="24811" y="4151"/>
                  </a:lnTo>
                  <a:lnTo>
                    <a:pt x="25660" y="3774"/>
                  </a:lnTo>
                  <a:lnTo>
                    <a:pt x="26886" y="3208"/>
                  </a:lnTo>
                  <a:lnTo>
                    <a:pt x="26603" y="3585"/>
                  </a:lnTo>
                  <a:lnTo>
                    <a:pt x="26886" y="3585"/>
                  </a:lnTo>
                  <a:lnTo>
                    <a:pt x="26886" y="3680"/>
                  </a:lnTo>
                  <a:lnTo>
                    <a:pt x="26792" y="3774"/>
                  </a:lnTo>
                  <a:lnTo>
                    <a:pt x="28301" y="3302"/>
                  </a:lnTo>
                  <a:lnTo>
                    <a:pt x="29622" y="2736"/>
                  </a:lnTo>
                  <a:lnTo>
                    <a:pt x="31037" y="2264"/>
                  </a:lnTo>
                  <a:lnTo>
                    <a:pt x="31792" y="2076"/>
                  </a:lnTo>
                  <a:lnTo>
                    <a:pt x="32641" y="1981"/>
                  </a:lnTo>
                  <a:lnTo>
                    <a:pt x="32547" y="2076"/>
                  </a:lnTo>
                  <a:lnTo>
                    <a:pt x="32924" y="1981"/>
                  </a:lnTo>
                  <a:lnTo>
                    <a:pt x="34245" y="1793"/>
                  </a:lnTo>
                  <a:lnTo>
                    <a:pt x="35848" y="1415"/>
                  </a:lnTo>
                  <a:lnTo>
                    <a:pt x="36981" y="1132"/>
                  </a:lnTo>
                  <a:lnTo>
                    <a:pt x="36981" y="1415"/>
                  </a:lnTo>
                  <a:lnTo>
                    <a:pt x="40943" y="1227"/>
                  </a:lnTo>
                  <a:lnTo>
                    <a:pt x="41509" y="1038"/>
                  </a:lnTo>
                  <a:lnTo>
                    <a:pt x="41697" y="1132"/>
                  </a:lnTo>
                  <a:lnTo>
                    <a:pt x="41509" y="1227"/>
                  </a:lnTo>
                  <a:lnTo>
                    <a:pt x="41320" y="1321"/>
                  </a:lnTo>
                  <a:lnTo>
                    <a:pt x="42263" y="1321"/>
                  </a:lnTo>
                  <a:lnTo>
                    <a:pt x="43113" y="1227"/>
                  </a:lnTo>
                  <a:lnTo>
                    <a:pt x="43396" y="1415"/>
                  </a:lnTo>
                  <a:lnTo>
                    <a:pt x="44056" y="1604"/>
                  </a:lnTo>
                  <a:lnTo>
                    <a:pt x="45943" y="2076"/>
                  </a:lnTo>
                  <a:lnTo>
                    <a:pt x="48018" y="2359"/>
                  </a:lnTo>
                  <a:lnTo>
                    <a:pt x="49622" y="2736"/>
                  </a:lnTo>
                  <a:lnTo>
                    <a:pt x="47641" y="1981"/>
                  </a:lnTo>
                  <a:lnTo>
                    <a:pt x="45282" y="1321"/>
                  </a:lnTo>
                  <a:lnTo>
                    <a:pt x="42735" y="755"/>
                  </a:lnTo>
                  <a:lnTo>
                    <a:pt x="40188" y="283"/>
                  </a:lnTo>
                  <a:lnTo>
                    <a:pt x="37735" y="95"/>
                  </a:lnTo>
                  <a:lnTo>
                    <a:pt x="35471" y="0"/>
                  </a:lnTo>
                  <a:close/>
                </a:path>
              </a:pathLst>
            </a:custGeom>
            <a:solidFill>
              <a:schemeClr val="bg1">
                <a:lumMod val="95000"/>
              </a:schemeClr>
            </a:solidFill>
            <a:ln w="0">
              <a:solidFill>
                <a:srgbClr val="0079D1"/>
              </a:solidFill>
            </a:ln>
          </p:spPr>
          <p:txBody>
            <a:bodyPr spcFirstLastPara="1" wrap="square" lIns="91425" tIns="91425" rIns="91425" bIns="91425" anchor="ctr" anchorCtr="0">
              <a:noAutofit/>
            </a:bodyPr>
            <a:lstStyle/>
            <a:p>
              <a:pPr marL="0" lvl="0" indent="0">
                <a:spcBef>
                  <a:spcPts val="0"/>
                </a:spcBef>
                <a:spcAft>
                  <a:spcPts val="0"/>
                </a:spcAft>
                <a:buNone/>
              </a:pPr>
              <a:endParaRPr sz="1400">
                <a:latin typeface="+mj-lt"/>
              </a:endParaRPr>
            </a:p>
          </p:txBody>
        </p:sp>
        <p:sp>
          <p:nvSpPr>
            <p:cNvPr id="703" name="TextBox 702">
              <a:extLst>
                <a:ext uri="{FF2B5EF4-FFF2-40B4-BE49-F238E27FC236}">
                  <a16:creationId xmlns:a16="http://schemas.microsoft.com/office/drawing/2014/main" id="{19DCAD84-6613-724F-95B4-D5B3A6E075AA}"/>
                </a:ext>
              </a:extLst>
            </p:cNvPr>
            <p:cNvSpPr txBox="1"/>
            <p:nvPr/>
          </p:nvSpPr>
          <p:spPr>
            <a:xfrm>
              <a:off x="8676898" y="4619460"/>
              <a:ext cx="229951" cy="215444"/>
            </a:xfrm>
            <a:prstGeom prst="rect">
              <a:avLst/>
            </a:prstGeom>
            <a:noFill/>
          </p:spPr>
          <p:txBody>
            <a:bodyPr wrap="square" rtlCol="0">
              <a:spAutoFit/>
            </a:bodyPr>
            <a:lstStyle/>
            <a:p>
              <a:r>
                <a:rPr lang="en-US" sz="800" b="1" dirty="0">
                  <a:solidFill>
                    <a:srgbClr val="0079D1"/>
                  </a:solidFill>
                  <a:latin typeface="+mj-lt"/>
                </a:rPr>
                <a:t>G</a:t>
              </a:r>
            </a:p>
          </p:txBody>
        </p:sp>
      </p:grpSp>
      <p:sp>
        <p:nvSpPr>
          <p:cNvPr id="483" name="Rounded Rectangle 482">
            <a:extLst>
              <a:ext uri="{FF2B5EF4-FFF2-40B4-BE49-F238E27FC236}">
                <a16:creationId xmlns:a16="http://schemas.microsoft.com/office/drawing/2014/main" id="{D107A5C9-3431-6043-9F5B-FCDB07EBE02C}"/>
              </a:ext>
            </a:extLst>
          </p:cNvPr>
          <p:cNvSpPr/>
          <p:nvPr/>
        </p:nvSpPr>
        <p:spPr>
          <a:xfrm>
            <a:off x="2410009" y="5065720"/>
            <a:ext cx="743692" cy="355213"/>
          </a:xfrm>
          <a:prstGeom prst="roundRect">
            <a:avLst/>
          </a:prstGeom>
          <a:solidFill>
            <a:schemeClr val="bg1"/>
          </a:solidFill>
          <a:ln w="3175">
            <a:solidFill>
              <a:schemeClr val="bg1">
                <a:lumMod val="50000"/>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b="1" dirty="0">
              <a:solidFill>
                <a:schemeClr val="bg1">
                  <a:lumMod val="50000"/>
                </a:schemeClr>
              </a:solidFill>
              <a:ea typeface="Nanum Pen Script" panose="03040600000000000000" pitchFamily="66" charset="-127"/>
            </a:endParaRPr>
          </a:p>
          <a:p>
            <a:pPr algn="ctr"/>
            <a:endParaRPr lang="en-US" sz="900" b="1" dirty="0">
              <a:solidFill>
                <a:schemeClr val="bg1">
                  <a:lumMod val="50000"/>
                </a:schemeClr>
              </a:solidFill>
              <a:ea typeface="Nanum Pen Script" panose="03040600000000000000" pitchFamily="66" charset="-127"/>
            </a:endParaRPr>
          </a:p>
          <a:p>
            <a:pPr algn="ctr"/>
            <a:endParaRPr lang="en-US" sz="900" b="1" dirty="0">
              <a:solidFill>
                <a:schemeClr val="bg1">
                  <a:lumMod val="50000"/>
                </a:schemeClr>
              </a:solidFill>
              <a:ea typeface="Nanum Pen Script" panose="03040600000000000000" pitchFamily="66" charset="-127"/>
            </a:endParaRPr>
          </a:p>
          <a:p>
            <a:pPr algn="ctr"/>
            <a:endParaRPr lang="en-US" sz="900" b="1" dirty="0">
              <a:solidFill>
                <a:schemeClr val="bg1">
                  <a:lumMod val="50000"/>
                </a:schemeClr>
              </a:solidFill>
              <a:ea typeface="Nanum Pen Script" panose="03040600000000000000" pitchFamily="66" charset="-127"/>
            </a:endParaRPr>
          </a:p>
          <a:p>
            <a:pPr algn="ctr"/>
            <a:endParaRPr lang="en-US" sz="800" b="1" dirty="0">
              <a:solidFill>
                <a:schemeClr val="bg1">
                  <a:lumMod val="50000"/>
                </a:schemeClr>
              </a:solidFill>
              <a:ea typeface="Nanum Pen Script" panose="03040600000000000000" pitchFamily="66" charset="-127"/>
            </a:endParaRPr>
          </a:p>
          <a:p>
            <a:pPr algn="ctr"/>
            <a:endParaRPr lang="en-US" sz="800" b="1" dirty="0">
              <a:solidFill>
                <a:schemeClr val="bg1">
                  <a:lumMod val="50000"/>
                </a:schemeClr>
              </a:solidFill>
              <a:ea typeface="Nanum Pen Script" panose="03040600000000000000" pitchFamily="66" charset="-127"/>
            </a:endParaRPr>
          </a:p>
          <a:p>
            <a:pPr algn="ctr">
              <a:spcBef>
                <a:spcPts val="0"/>
              </a:spcBef>
            </a:pPr>
            <a:r>
              <a:rPr lang="en-US" sz="8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rPr>
              <a:t>MDM</a:t>
            </a:r>
          </a:p>
          <a:p>
            <a:pPr algn="ctr">
              <a:spcBef>
                <a:spcPts val="0"/>
              </a:spcBef>
            </a:pPr>
            <a:endParaRPr lang="en-US" sz="8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endParaRPr>
          </a:p>
          <a:p>
            <a:pPr algn="ctr">
              <a:spcBef>
                <a:spcPts val="0"/>
              </a:spcBef>
            </a:pPr>
            <a:endParaRPr lang="en-US" sz="8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endParaRPr>
          </a:p>
          <a:p>
            <a:pPr algn="ctr">
              <a:spcBef>
                <a:spcPts val="0"/>
              </a:spcBef>
            </a:pPr>
            <a:endParaRPr lang="en-US" dirty="0">
              <a:solidFill>
                <a:schemeClr val="tx1"/>
              </a:solidFill>
              <a:ea typeface="Nanum Pen Script" panose="03040600000000000000" pitchFamily="66" charset="-127"/>
            </a:endParaRPr>
          </a:p>
          <a:p>
            <a:pPr algn="ctr"/>
            <a:endParaRPr lang="en-US" dirty="0">
              <a:solidFill>
                <a:schemeClr val="tx1"/>
              </a:solidFill>
              <a:ea typeface="Nanum Pen Script" panose="03040600000000000000" pitchFamily="66" charset="-127"/>
            </a:endParaRPr>
          </a:p>
        </p:txBody>
      </p:sp>
      <p:cxnSp>
        <p:nvCxnSpPr>
          <p:cNvPr id="484" name="Elbow Connector 483">
            <a:extLst>
              <a:ext uri="{FF2B5EF4-FFF2-40B4-BE49-F238E27FC236}">
                <a16:creationId xmlns:a16="http://schemas.microsoft.com/office/drawing/2014/main" id="{2123F2F1-0364-4E46-9409-A792BC0261C8}"/>
              </a:ext>
            </a:extLst>
          </p:cNvPr>
          <p:cNvCxnSpPr>
            <a:cxnSpLocks/>
            <a:stCxn id="483" idx="3"/>
            <a:endCxn id="552" idx="1"/>
          </p:cNvCxnSpPr>
          <p:nvPr/>
        </p:nvCxnSpPr>
        <p:spPr>
          <a:xfrm flipV="1">
            <a:off x="3153701" y="5100302"/>
            <a:ext cx="539419" cy="143025"/>
          </a:xfrm>
          <a:prstGeom prst="bentConnector3">
            <a:avLst>
              <a:gd name="adj1" fmla="val 60987"/>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grpSp>
        <p:nvGrpSpPr>
          <p:cNvPr id="488" name="Group 487">
            <a:extLst>
              <a:ext uri="{FF2B5EF4-FFF2-40B4-BE49-F238E27FC236}">
                <a16:creationId xmlns:a16="http://schemas.microsoft.com/office/drawing/2014/main" id="{28135E73-040F-7041-985E-DDD9CA18992A}"/>
              </a:ext>
            </a:extLst>
          </p:cNvPr>
          <p:cNvGrpSpPr/>
          <p:nvPr/>
        </p:nvGrpSpPr>
        <p:grpSpPr>
          <a:xfrm>
            <a:off x="3200283" y="4987911"/>
            <a:ext cx="229951" cy="200055"/>
            <a:chOff x="8676898" y="4619460"/>
            <a:chExt cx="229951" cy="200055"/>
          </a:xfrm>
        </p:grpSpPr>
        <p:sp>
          <p:nvSpPr>
            <p:cNvPr id="491" name="Google Shape;431;p39">
              <a:extLst>
                <a:ext uri="{FF2B5EF4-FFF2-40B4-BE49-F238E27FC236}">
                  <a16:creationId xmlns:a16="http://schemas.microsoft.com/office/drawing/2014/main" id="{C5A0368E-D277-EB4B-9C52-DD75F2FB33B7}"/>
                </a:ext>
              </a:extLst>
            </p:cNvPr>
            <p:cNvSpPr/>
            <p:nvPr/>
          </p:nvSpPr>
          <p:spPr>
            <a:xfrm>
              <a:off x="8709950" y="4635551"/>
              <a:ext cx="179407" cy="167874"/>
            </a:xfrm>
            <a:custGeom>
              <a:avLst/>
              <a:gdLst/>
              <a:ahLst/>
              <a:cxnLst/>
              <a:rect l="0" t="0" r="0" b="0"/>
              <a:pathLst>
                <a:path w="67641" h="69056" extrusionOk="0">
                  <a:moveTo>
                    <a:pt x="49622" y="2736"/>
                  </a:moveTo>
                  <a:lnTo>
                    <a:pt x="49622" y="2736"/>
                  </a:lnTo>
                  <a:lnTo>
                    <a:pt x="49622" y="2736"/>
                  </a:lnTo>
                  <a:close/>
                  <a:moveTo>
                    <a:pt x="59622" y="55565"/>
                  </a:moveTo>
                  <a:lnTo>
                    <a:pt x="59622" y="55565"/>
                  </a:lnTo>
                  <a:lnTo>
                    <a:pt x="59622" y="55565"/>
                  </a:lnTo>
                  <a:close/>
                  <a:moveTo>
                    <a:pt x="35471" y="0"/>
                  </a:moveTo>
                  <a:lnTo>
                    <a:pt x="34433" y="95"/>
                  </a:lnTo>
                  <a:lnTo>
                    <a:pt x="33584" y="189"/>
                  </a:lnTo>
                  <a:lnTo>
                    <a:pt x="32735" y="378"/>
                  </a:lnTo>
                  <a:lnTo>
                    <a:pt x="32169" y="566"/>
                  </a:lnTo>
                  <a:lnTo>
                    <a:pt x="31509" y="472"/>
                  </a:lnTo>
                  <a:lnTo>
                    <a:pt x="30754" y="472"/>
                  </a:lnTo>
                  <a:lnTo>
                    <a:pt x="29339" y="566"/>
                  </a:lnTo>
                  <a:lnTo>
                    <a:pt x="27830" y="849"/>
                  </a:lnTo>
                  <a:lnTo>
                    <a:pt x="26320" y="1321"/>
                  </a:lnTo>
                  <a:lnTo>
                    <a:pt x="24811" y="1981"/>
                  </a:lnTo>
                  <a:lnTo>
                    <a:pt x="23207" y="2736"/>
                  </a:lnTo>
                  <a:lnTo>
                    <a:pt x="21698" y="3585"/>
                  </a:lnTo>
                  <a:lnTo>
                    <a:pt x="20188" y="4623"/>
                  </a:lnTo>
                  <a:lnTo>
                    <a:pt x="18679" y="5661"/>
                  </a:lnTo>
                  <a:lnTo>
                    <a:pt x="17170" y="6793"/>
                  </a:lnTo>
                  <a:lnTo>
                    <a:pt x="15754" y="8019"/>
                  </a:lnTo>
                  <a:lnTo>
                    <a:pt x="14434" y="9151"/>
                  </a:lnTo>
                  <a:lnTo>
                    <a:pt x="11981" y="11510"/>
                  </a:lnTo>
                  <a:lnTo>
                    <a:pt x="10000" y="13774"/>
                  </a:lnTo>
                  <a:lnTo>
                    <a:pt x="7736" y="16981"/>
                  </a:lnTo>
                  <a:lnTo>
                    <a:pt x="8019" y="16321"/>
                  </a:lnTo>
                  <a:lnTo>
                    <a:pt x="8302" y="15660"/>
                  </a:lnTo>
                  <a:lnTo>
                    <a:pt x="7736" y="16604"/>
                  </a:lnTo>
                  <a:lnTo>
                    <a:pt x="7075" y="17642"/>
                  </a:lnTo>
                  <a:lnTo>
                    <a:pt x="7170" y="17830"/>
                  </a:lnTo>
                  <a:lnTo>
                    <a:pt x="6509" y="18868"/>
                  </a:lnTo>
                  <a:lnTo>
                    <a:pt x="7075" y="17359"/>
                  </a:lnTo>
                  <a:lnTo>
                    <a:pt x="6132" y="19057"/>
                  </a:lnTo>
                  <a:lnTo>
                    <a:pt x="5189" y="20849"/>
                  </a:lnTo>
                  <a:lnTo>
                    <a:pt x="4434" y="22736"/>
                  </a:lnTo>
                  <a:lnTo>
                    <a:pt x="3679" y="24622"/>
                  </a:lnTo>
                  <a:lnTo>
                    <a:pt x="2453" y="28490"/>
                  </a:lnTo>
                  <a:lnTo>
                    <a:pt x="1321" y="32169"/>
                  </a:lnTo>
                  <a:lnTo>
                    <a:pt x="1509" y="32264"/>
                  </a:lnTo>
                  <a:lnTo>
                    <a:pt x="1604" y="32453"/>
                  </a:lnTo>
                  <a:lnTo>
                    <a:pt x="1604" y="32641"/>
                  </a:lnTo>
                  <a:lnTo>
                    <a:pt x="1509" y="32924"/>
                  </a:lnTo>
                  <a:lnTo>
                    <a:pt x="1226" y="33396"/>
                  </a:lnTo>
                  <a:lnTo>
                    <a:pt x="1038" y="33585"/>
                  </a:lnTo>
                  <a:lnTo>
                    <a:pt x="1038" y="33773"/>
                  </a:lnTo>
                  <a:lnTo>
                    <a:pt x="1038" y="35000"/>
                  </a:lnTo>
                  <a:lnTo>
                    <a:pt x="849" y="36132"/>
                  </a:lnTo>
                  <a:lnTo>
                    <a:pt x="660" y="37358"/>
                  </a:lnTo>
                  <a:lnTo>
                    <a:pt x="472" y="38867"/>
                  </a:lnTo>
                  <a:lnTo>
                    <a:pt x="283" y="38301"/>
                  </a:lnTo>
                  <a:lnTo>
                    <a:pt x="94" y="39811"/>
                  </a:lnTo>
                  <a:lnTo>
                    <a:pt x="0" y="41509"/>
                  </a:lnTo>
                  <a:lnTo>
                    <a:pt x="94" y="43301"/>
                  </a:lnTo>
                  <a:lnTo>
                    <a:pt x="283" y="44056"/>
                  </a:lnTo>
                  <a:lnTo>
                    <a:pt x="472" y="44622"/>
                  </a:lnTo>
                  <a:lnTo>
                    <a:pt x="566" y="45660"/>
                  </a:lnTo>
                  <a:lnTo>
                    <a:pt x="755" y="46792"/>
                  </a:lnTo>
                  <a:lnTo>
                    <a:pt x="1226" y="48962"/>
                  </a:lnTo>
                  <a:lnTo>
                    <a:pt x="1981" y="51037"/>
                  </a:lnTo>
                  <a:lnTo>
                    <a:pt x="2924" y="53112"/>
                  </a:lnTo>
                  <a:lnTo>
                    <a:pt x="4057" y="55094"/>
                  </a:lnTo>
                  <a:lnTo>
                    <a:pt x="5283" y="56980"/>
                  </a:lnTo>
                  <a:lnTo>
                    <a:pt x="6698" y="58678"/>
                  </a:lnTo>
                  <a:lnTo>
                    <a:pt x="8113" y="60282"/>
                  </a:lnTo>
                  <a:lnTo>
                    <a:pt x="9056" y="61131"/>
                  </a:lnTo>
                  <a:lnTo>
                    <a:pt x="10000" y="61980"/>
                  </a:lnTo>
                  <a:lnTo>
                    <a:pt x="11038" y="62829"/>
                  </a:lnTo>
                  <a:lnTo>
                    <a:pt x="12075" y="63584"/>
                  </a:lnTo>
                  <a:lnTo>
                    <a:pt x="14339" y="64905"/>
                  </a:lnTo>
                  <a:lnTo>
                    <a:pt x="16604" y="66131"/>
                  </a:lnTo>
                  <a:lnTo>
                    <a:pt x="19056" y="67169"/>
                  </a:lnTo>
                  <a:lnTo>
                    <a:pt x="21509" y="67923"/>
                  </a:lnTo>
                  <a:lnTo>
                    <a:pt x="24056" y="68584"/>
                  </a:lnTo>
                  <a:lnTo>
                    <a:pt x="26603" y="69055"/>
                  </a:lnTo>
                  <a:lnTo>
                    <a:pt x="27830" y="69055"/>
                  </a:lnTo>
                  <a:lnTo>
                    <a:pt x="30188" y="68867"/>
                  </a:lnTo>
                  <a:lnTo>
                    <a:pt x="33113" y="68678"/>
                  </a:lnTo>
                  <a:lnTo>
                    <a:pt x="36509" y="68301"/>
                  </a:lnTo>
                  <a:lnTo>
                    <a:pt x="39811" y="67923"/>
                  </a:lnTo>
                  <a:lnTo>
                    <a:pt x="42735" y="67452"/>
                  </a:lnTo>
                  <a:lnTo>
                    <a:pt x="44905" y="66980"/>
                  </a:lnTo>
                  <a:lnTo>
                    <a:pt x="45565" y="66791"/>
                  </a:lnTo>
                  <a:lnTo>
                    <a:pt x="45943" y="66508"/>
                  </a:lnTo>
                  <a:lnTo>
                    <a:pt x="47358" y="65942"/>
                  </a:lnTo>
                  <a:lnTo>
                    <a:pt x="48018" y="65565"/>
                  </a:lnTo>
                  <a:lnTo>
                    <a:pt x="48678" y="65188"/>
                  </a:lnTo>
                  <a:lnTo>
                    <a:pt x="47924" y="65471"/>
                  </a:lnTo>
                  <a:lnTo>
                    <a:pt x="51509" y="62924"/>
                  </a:lnTo>
                  <a:lnTo>
                    <a:pt x="53301" y="61508"/>
                  </a:lnTo>
                  <a:lnTo>
                    <a:pt x="55093" y="59905"/>
                  </a:lnTo>
                  <a:lnTo>
                    <a:pt x="55093" y="59905"/>
                  </a:lnTo>
                  <a:lnTo>
                    <a:pt x="54810" y="60376"/>
                  </a:lnTo>
                  <a:lnTo>
                    <a:pt x="54339" y="60754"/>
                  </a:lnTo>
                  <a:lnTo>
                    <a:pt x="55376" y="59999"/>
                  </a:lnTo>
                  <a:lnTo>
                    <a:pt x="56320" y="59056"/>
                  </a:lnTo>
                  <a:lnTo>
                    <a:pt x="57075" y="58395"/>
                  </a:lnTo>
                  <a:lnTo>
                    <a:pt x="57169" y="58207"/>
                  </a:lnTo>
                  <a:lnTo>
                    <a:pt x="57075" y="58207"/>
                  </a:lnTo>
                  <a:lnTo>
                    <a:pt x="57924" y="57546"/>
                  </a:lnTo>
                  <a:lnTo>
                    <a:pt x="58678" y="56697"/>
                  </a:lnTo>
                  <a:lnTo>
                    <a:pt x="59339" y="55754"/>
                  </a:lnTo>
                  <a:lnTo>
                    <a:pt x="59905" y="54905"/>
                  </a:lnTo>
                  <a:lnTo>
                    <a:pt x="59716" y="54999"/>
                  </a:lnTo>
                  <a:lnTo>
                    <a:pt x="59622" y="54999"/>
                  </a:lnTo>
                  <a:lnTo>
                    <a:pt x="59810" y="54622"/>
                  </a:lnTo>
                  <a:lnTo>
                    <a:pt x="59150" y="55565"/>
                  </a:lnTo>
                  <a:lnTo>
                    <a:pt x="59527" y="55094"/>
                  </a:lnTo>
                  <a:lnTo>
                    <a:pt x="59433" y="55377"/>
                  </a:lnTo>
                  <a:lnTo>
                    <a:pt x="58867" y="56037"/>
                  </a:lnTo>
                  <a:lnTo>
                    <a:pt x="59056" y="55660"/>
                  </a:lnTo>
                  <a:lnTo>
                    <a:pt x="59056" y="55660"/>
                  </a:lnTo>
                  <a:lnTo>
                    <a:pt x="58678" y="56037"/>
                  </a:lnTo>
                  <a:lnTo>
                    <a:pt x="59810" y="54339"/>
                  </a:lnTo>
                  <a:lnTo>
                    <a:pt x="60282" y="53490"/>
                  </a:lnTo>
                  <a:lnTo>
                    <a:pt x="60282" y="53301"/>
                  </a:lnTo>
                  <a:lnTo>
                    <a:pt x="60188" y="53395"/>
                  </a:lnTo>
                  <a:lnTo>
                    <a:pt x="60188" y="53395"/>
                  </a:lnTo>
                  <a:lnTo>
                    <a:pt x="60565" y="52924"/>
                  </a:lnTo>
                  <a:lnTo>
                    <a:pt x="61037" y="52452"/>
                  </a:lnTo>
                  <a:lnTo>
                    <a:pt x="61886" y="51509"/>
                  </a:lnTo>
                  <a:lnTo>
                    <a:pt x="61508" y="52452"/>
                  </a:lnTo>
                  <a:lnTo>
                    <a:pt x="60848" y="53584"/>
                  </a:lnTo>
                  <a:lnTo>
                    <a:pt x="59622" y="55565"/>
                  </a:lnTo>
                  <a:lnTo>
                    <a:pt x="60376" y="54528"/>
                  </a:lnTo>
                  <a:lnTo>
                    <a:pt x="60942" y="53678"/>
                  </a:lnTo>
                  <a:lnTo>
                    <a:pt x="61980" y="51792"/>
                  </a:lnTo>
                  <a:lnTo>
                    <a:pt x="61886" y="51886"/>
                  </a:lnTo>
                  <a:lnTo>
                    <a:pt x="61886" y="51697"/>
                  </a:lnTo>
                  <a:lnTo>
                    <a:pt x="62169" y="51037"/>
                  </a:lnTo>
                  <a:lnTo>
                    <a:pt x="62735" y="49999"/>
                  </a:lnTo>
                  <a:lnTo>
                    <a:pt x="61508" y="51603"/>
                  </a:lnTo>
                  <a:lnTo>
                    <a:pt x="61603" y="51037"/>
                  </a:lnTo>
                  <a:lnTo>
                    <a:pt x="61697" y="50377"/>
                  </a:lnTo>
                  <a:lnTo>
                    <a:pt x="62169" y="48962"/>
                  </a:lnTo>
                  <a:lnTo>
                    <a:pt x="62829" y="47358"/>
                  </a:lnTo>
                  <a:lnTo>
                    <a:pt x="63678" y="45565"/>
                  </a:lnTo>
                  <a:lnTo>
                    <a:pt x="65376" y="42169"/>
                  </a:lnTo>
                  <a:lnTo>
                    <a:pt x="66131" y="40660"/>
                  </a:lnTo>
                  <a:lnTo>
                    <a:pt x="66697" y="39339"/>
                  </a:lnTo>
                  <a:lnTo>
                    <a:pt x="66603" y="39528"/>
                  </a:lnTo>
                  <a:lnTo>
                    <a:pt x="66697" y="39056"/>
                  </a:lnTo>
                  <a:lnTo>
                    <a:pt x="66791" y="38962"/>
                  </a:lnTo>
                  <a:lnTo>
                    <a:pt x="66791" y="39056"/>
                  </a:lnTo>
                  <a:lnTo>
                    <a:pt x="66886" y="38584"/>
                  </a:lnTo>
                  <a:lnTo>
                    <a:pt x="66791" y="38867"/>
                  </a:lnTo>
                  <a:lnTo>
                    <a:pt x="66980" y="38207"/>
                  </a:lnTo>
                  <a:lnTo>
                    <a:pt x="67169" y="37264"/>
                  </a:lnTo>
                  <a:lnTo>
                    <a:pt x="67263" y="36415"/>
                  </a:lnTo>
                  <a:lnTo>
                    <a:pt x="67357" y="36509"/>
                  </a:lnTo>
                  <a:lnTo>
                    <a:pt x="67452" y="36509"/>
                  </a:lnTo>
                  <a:lnTo>
                    <a:pt x="67546" y="35943"/>
                  </a:lnTo>
                  <a:lnTo>
                    <a:pt x="67546" y="34811"/>
                  </a:lnTo>
                  <a:lnTo>
                    <a:pt x="67640" y="31037"/>
                  </a:lnTo>
                  <a:lnTo>
                    <a:pt x="67640" y="28490"/>
                  </a:lnTo>
                  <a:lnTo>
                    <a:pt x="67546" y="27736"/>
                  </a:lnTo>
                  <a:lnTo>
                    <a:pt x="67546" y="27547"/>
                  </a:lnTo>
                  <a:lnTo>
                    <a:pt x="67452" y="27547"/>
                  </a:lnTo>
                  <a:lnTo>
                    <a:pt x="67074" y="26792"/>
                  </a:lnTo>
                  <a:lnTo>
                    <a:pt x="66791" y="25660"/>
                  </a:lnTo>
                  <a:lnTo>
                    <a:pt x="66508" y="24528"/>
                  </a:lnTo>
                  <a:lnTo>
                    <a:pt x="66414" y="23585"/>
                  </a:lnTo>
                  <a:lnTo>
                    <a:pt x="66320" y="23679"/>
                  </a:lnTo>
                  <a:lnTo>
                    <a:pt x="66320" y="23490"/>
                  </a:lnTo>
                  <a:lnTo>
                    <a:pt x="65942" y="22924"/>
                  </a:lnTo>
                  <a:lnTo>
                    <a:pt x="65565" y="22358"/>
                  </a:lnTo>
                  <a:lnTo>
                    <a:pt x="64527" y="21132"/>
                  </a:lnTo>
                  <a:lnTo>
                    <a:pt x="63584" y="19906"/>
                  </a:lnTo>
                  <a:lnTo>
                    <a:pt x="63207" y="19340"/>
                  </a:lnTo>
                  <a:lnTo>
                    <a:pt x="63018" y="18774"/>
                  </a:lnTo>
                  <a:lnTo>
                    <a:pt x="63112" y="18962"/>
                  </a:lnTo>
                  <a:lnTo>
                    <a:pt x="63301" y="19057"/>
                  </a:lnTo>
                  <a:lnTo>
                    <a:pt x="63301" y="19057"/>
                  </a:lnTo>
                  <a:lnTo>
                    <a:pt x="63207" y="18868"/>
                  </a:lnTo>
                  <a:lnTo>
                    <a:pt x="62923" y="18491"/>
                  </a:lnTo>
                  <a:lnTo>
                    <a:pt x="61980" y="17453"/>
                  </a:lnTo>
                  <a:lnTo>
                    <a:pt x="61037" y="16509"/>
                  </a:lnTo>
                  <a:lnTo>
                    <a:pt x="61037" y="16698"/>
                  </a:lnTo>
                  <a:lnTo>
                    <a:pt x="61037" y="16887"/>
                  </a:lnTo>
                  <a:lnTo>
                    <a:pt x="60093" y="15943"/>
                  </a:lnTo>
                  <a:lnTo>
                    <a:pt x="60376" y="16321"/>
                  </a:lnTo>
                  <a:lnTo>
                    <a:pt x="59527" y="15377"/>
                  </a:lnTo>
                  <a:lnTo>
                    <a:pt x="59056" y="14906"/>
                  </a:lnTo>
                  <a:lnTo>
                    <a:pt x="59244" y="14906"/>
                  </a:lnTo>
                  <a:lnTo>
                    <a:pt x="59905" y="15472"/>
                  </a:lnTo>
                  <a:lnTo>
                    <a:pt x="59905" y="15472"/>
                  </a:lnTo>
                  <a:lnTo>
                    <a:pt x="57641" y="13396"/>
                  </a:lnTo>
                  <a:lnTo>
                    <a:pt x="58112" y="13868"/>
                  </a:lnTo>
                  <a:lnTo>
                    <a:pt x="56886" y="13019"/>
                  </a:lnTo>
                  <a:lnTo>
                    <a:pt x="55754" y="12453"/>
                  </a:lnTo>
                  <a:lnTo>
                    <a:pt x="56603" y="13113"/>
                  </a:lnTo>
                  <a:lnTo>
                    <a:pt x="57452" y="13774"/>
                  </a:lnTo>
                  <a:lnTo>
                    <a:pt x="58961" y="15283"/>
                  </a:lnTo>
                  <a:lnTo>
                    <a:pt x="60376" y="16604"/>
                  </a:lnTo>
                  <a:lnTo>
                    <a:pt x="61225" y="17264"/>
                  </a:lnTo>
                  <a:lnTo>
                    <a:pt x="62074" y="17925"/>
                  </a:lnTo>
                  <a:lnTo>
                    <a:pt x="62074" y="17925"/>
                  </a:lnTo>
                  <a:lnTo>
                    <a:pt x="61414" y="17547"/>
                  </a:lnTo>
                  <a:lnTo>
                    <a:pt x="60659" y="16981"/>
                  </a:lnTo>
                  <a:lnTo>
                    <a:pt x="60754" y="17264"/>
                  </a:lnTo>
                  <a:lnTo>
                    <a:pt x="60942" y="17642"/>
                  </a:lnTo>
                  <a:lnTo>
                    <a:pt x="61980" y="19151"/>
                  </a:lnTo>
                  <a:lnTo>
                    <a:pt x="63301" y="20943"/>
                  </a:lnTo>
                  <a:lnTo>
                    <a:pt x="63207" y="20943"/>
                  </a:lnTo>
                  <a:lnTo>
                    <a:pt x="63395" y="21038"/>
                  </a:lnTo>
                  <a:lnTo>
                    <a:pt x="63490" y="21321"/>
                  </a:lnTo>
                  <a:lnTo>
                    <a:pt x="63678" y="21604"/>
                  </a:lnTo>
                  <a:lnTo>
                    <a:pt x="63773" y="21698"/>
                  </a:lnTo>
                  <a:lnTo>
                    <a:pt x="63584" y="21321"/>
                  </a:lnTo>
                  <a:lnTo>
                    <a:pt x="63584" y="21321"/>
                  </a:lnTo>
                  <a:lnTo>
                    <a:pt x="64244" y="22170"/>
                  </a:lnTo>
                  <a:lnTo>
                    <a:pt x="64716" y="22641"/>
                  </a:lnTo>
                  <a:lnTo>
                    <a:pt x="64905" y="22830"/>
                  </a:lnTo>
                  <a:lnTo>
                    <a:pt x="64999" y="22830"/>
                  </a:lnTo>
                  <a:lnTo>
                    <a:pt x="64999" y="22641"/>
                  </a:lnTo>
                  <a:lnTo>
                    <a:pt x="64905" y="22358"/>
                  </a:lnTo>
                  <a:lnTo>
                    <a:pt x="65282" y="23207"/>
                  </a:lnTo>
                  <a:lnTo>
                    <a:pt x="65565" y="24056"/>
                  </a:lnTo>
                  <a:lnTo>
                    <a:pt x="66225" y="25943"/>
                  </a:lnTo>
                  <a:lnTo>
                    <a:pt x="66697" y="27830"/>
                  </a:lnTo>
                  <a:lnTo>
                    <a:pt x="66886" y="28490"/>
                  </a:lnTo>
                  <a:lnTo>
                    <a:pt x="66980" y="28868"/>
                  </a:lnTo>
                  <a:lnTo>
                    <a:pt x="66886" y="28962"/>
                  </a:lnTo>
                  <a:lnTo>
                    <a:pt x="66697" y="28679"/>
                  </a:lnTo>
                  <a:lnTo>
                    <a:pt x="66697" y="29245"/>
                  </a:lnTo>
                  <a:lnTo>
                    <a:pt x="66791" y="29905"/>
                  </a:lnTo>
                  <a:lnTo>
                    <a:pt x="66886" y="29905"/>
                  </a:lnTo>
                  <a:lnTo>
                    <a:pt x="66886" y="30094"/>
                  </a:lnTo>
                  <a:lnTo>
                    <a:pt x="66886" y="30566"/>
                  </a:lnTo>
                  <a:lnTo>
                    <a:pt x="66697" y="30377"/>
                  </a:lnTo>
                  <a:lnTo>
                    <a:pt x="66603" y="30188"/>
                  </a:lnTo>
                  <a:lnTo>
                    <a:pt x="66603" y="30094"/>
                  </a:lnTo>
                  <a:lnTo>
                    <a:pt x="66697" y="29905"/>
                  </a:lnTo>
                  <a:lnTo>
                    <a:pt x="66508" y="28679"/>
                  </a:lnTo>
                  <a:lnTo>
                    <a:pt x="66225" y="27358"/>
                  </a:lnTo>
                  <a:lnTo>
                    <a:pt x="66603" y="30283"/>
                  </a:lnTo>
                  <a:lnTo>
                    <a:pt x="66697" y="31792"/>
                  </a:lnTo>
                  <a:lnTo>
                    <a:pt x="66697" y="33302"/>
                  </a:lnTo>
                  <a:lnTo>
                    <a:pt x="66603" y="34717"/>
                  </a:lnTo>
                  <a:lnTo>
                    <a:pt x="66414" y="36226"/>
                  </a:lnTo>
                  <a:lnTo>
                    <a:pt x="66131" y="37547"/>
                  </a:lnTo>
                  <a:lnTo>
                    <a:pt x="65659" y="38962"/>
                  </a:lnTo>
                  <a:lnTo>
                    <a:pt x="65848" y="38584"/>
                  </a:lnTo>
                  <a:lnTo>
                    <a:pt x="65942" y="38584"/>
                  </a:lnTo>
                  <a:lnTo>
                    <a:pt x="65848" y="39245"/>
                  </a:lnTo>
                  <a:lnTo>
                    <a:pt x="65565" y="40188"/>
                  </a:lnTo>
                  <a:lnTo>
                    <a:pt x="65471" y="40471"/>
                  </a:lnTo>
                  <a:lnTo>
                    <a:pt x="65282" y="40660"/>
                  </a:lnTo>
                  <a:lnTo>
                    <a:pt x="65282" y="40566"/>
                  </a:lnTo>
                  <a:lnTo>
                    <a:pt x="65093" y="41132"/>
                  </a:lnTo>
                  <a:lnTo>
                    <a:pt x="64433" y="43018"/>
                  </a:lnTo>
                  <a:lnTo>
                    <a:pt x="63678" y="45282"/>
                  </a:lnTo>
                  <a:lnTo>
                    <a:pt x="62735" y="47264"/>
                  </a:lnTo>
                  <a:lnTo>
                    <a:pt x="61697" y="49056"/>
                  </a:lnTo>
                  <a:lnTo>
                    <a:pt x="60659" y="50943"/>
                  </a:lnTo>
                  <a:lnTo>
                    <a:pt x="59433" y="52735"/>
                  </a:lnTo>
                  <a:lnTo>
                    <a:pt x="58207" y="54433"/>
                  </a:lnTo>
                  <a:lnTo>
                    <a:pt x="56886" y="56037"/>
                  </a:lnTo>
                  <a:lnTo>
                    <a:pt x="55376" y="57641"/>
                  </a:lnTo>
                  <a:lnTo>
                    <a:pt x="53867" y="59150"/>
                  </a:lnTo>
                  <a:lnTo>
                    <a:pt x="52169" y="60376"/>
                  </a:lnTo>
                  <a:lnTo>
                    <a:pt x="48961" y="62452"/>
                  </a:lnTo>
                  <a:lnTo>
                    <a:pt x="44528" y="65282"/>
                  </a:lnTo>
                  <a:lnTo>
                    <a:pt x="44622" y="65188"/>
                  </a:lnTo>
                  <a:lnTo>
                    <a:pt x="44716" y="65093"/>
                  </a:lnTo>
                  <a:lnTo>
                    <a:pt x="45094" y="64810"/>
                  </a:lnTo>
                  <a:lnTo>
                    <a:pt x="45660" y="64527"/>
                  </a:lnTo>
                  <a:lnTo>
                    <a:pt x="43867" y="65376"/>
                  </a:lnTo>
                  <a:lnTo>
                    <a:pt x="43113" y="65754"/>
                  </a:lnTo>
                  <a:lnTo>
                    <a:pt x="42924" y="65754"/>
                  </a:lnTo>
                  <a:lnTo>
                    <a:pt x="43113" y="65659"/>
                  </a:lnTo>
                  <a:lnTo>
                    <a:pt x="41603" y="66037"/>
                  </a:lnTo>
                  <a:lnTo>
                    <a:pt x="39999" y="66320"/>
                  </a:lnTo>
                  <a:lnTo>
                    <a:pt x="38396" y="66508"/>
                  </a:lnTo>
                  <a:lnTo>
                    <a:pt x="36792" y="66697"/>
                  </a:lnTo>
                  <a:lnTo>
                    <a:pt x="33584" y="66980"/>
                  </a:lnTo>
                  <a:lnTo>
                    <a:pt x="32169" y="67169"/>
                  </a:lnTo>
                  <a:lnTo>
                    <a:pt x="30754" y="67357"/>
                  </a:lnTo>
                  <a:lnTo>
                    <a:pt x="30094" y="67357"/>
                  </a:lnTo>
                  <a:lnTo>
                    <a:pt x="29339" y="67263"/>
                  </a:lnTo>
                  <a:lnTo>
                    <a:pt x="27830" y="66886"/>
                  </a:lnTo>
                  <a:lnTo>
                    <a:pt x="26415" y="66508"/>
                  </a:lnTo>
                  <a:lnTo>
                    <a:pt x="25754" y="66414"/>
                  </a:lnTo>
                  <a:lnTo>
                    <a:pt x="25094" y="66414"/>
                  </a:lnTo>
                  <a:lnTo>
                    <a:pt x="25566" y="66980"/>
                  </a:lnTo>
                  <a:lnTo>
                    <a:pt x="25471" y="67074"/>
                  </a:lnTo>
                  <a:lnTo>
                    <a:pt x="25188" y="66980"/>
                  </a:lnTo>
                  <a:lnTo>
                    <a:pt x="24339" y="66791"/>
                  </a:lnTo>
                  <a:lnTo>
                    <a:pt x="23773" y="66508"/>
                  </a:lnTo>
                  <a:lnTo>
                    <a:pt x="24245" y="66414"/>
                  </a:lnTo>
                  <a:lnTo>
                    <a:pt x="24717" y="66603"/>
                  </a:lnTo>
                  <a:lnTo>
                    <a:pt x="24811" y="66414"/>
                  </a:lnTo>
                  <a:lnTo>
                    <a:pt x="24811" y="66320"/>
                  </a:lnTo>
                  <a:lnTo>
                    <a:pt x="24717" y="66225"/>
                  </a:lnTo>
                  <a:lnTo>
                    <a:pt x="24528" y="66131"/>
                  </a:lnTo>
                  <a:lnTo>
                    <a:pt x="24151" y="66225"/>
                  </a:lnTo>
                  <a:lnTo>
                    <a:pt x="23679" y="66320"/>
                  </a:lnTo>
                  <a:lnTo>
                    <a:pt x="23018" y="66414"/>
                  </a:lnTo>
                  <a:lnTo>
                    <a:pt x="23490" y="66225"/>
                  </a:lnTo>
                  <a:lnTo>
                    <a:pt x="22075" y="65942"/>
                  </a:lnTo>
                  <a:lnTo>
                    <a:pt x="20943" y="65659"/>
                  </a:lnTo>
                  <a:lnTo>
                    <a:pt x="20000" y="65282"/>
                  </a:lnTo>
                  <a:lnTo>
                    <a:pt x="19056" y="64810"/>
                  </a:lnTo>
                  <a:lnTo>
                    <a:pt x="19056" y="64810"/>
                  </a:lnTo>
                  <a:lnTo>
                    <a:pt x="19717" y="64999"/>
                  </a:lnTo>
                  <a:lnTo>
                    <a:pt x="19151" y="64716"/>
                  </a:lnTo>
                  <a:lnTo>
                    <a:pt x="18962" y="64810"/>
                  </a:lnTo>
                  <a:lnTo>
                    <a:pt x="19151" y="64905"/>
                  </a:lnTo>
                  <a:lnTo>
                    <a:pt x="18490" y="64905"/>
                  </a:lnTo>
                  <a:lnTo>
                    <a:pt x="17830" y="64716"/>
                  </a:lnTo>
                  <a:lnTo>
                    <a:pt x="17264" y="64527"/>
                  </a:lnTo>
                  <a:lnTo>
                    <a:pt x="16698" y="64150"/>
                  </a:lnTo>
                  <a:lnTo>
                    <a:pt x="16981" y="64056"/>
                  </a:lnTo>
                  <a:lnTo>
                    <a:pt x="17264" y="64150"/>
                  </a:lnTo>
                  <a:lnTo>
                    <a:pt x="17264" y="64150"/>
                  </a:lnTo>
                  <a:lnTo>
                    <a:pt x="15188" y="63207"/>
                  </a:lnTo>
                  <a:lnTo>
                    <a:pt x="14622" y="62829"/>
                  </a:lnTo>
                  <a:lnTo>
                    <a:pt x="14717" y="62924"/>
                  </a:lnTo>
                  <a:lnTo>
                    <a:pt x="13773" y="62546"/>
                  </a:lnTo>
                  <a:lnTo>
                    <a:pt x="12924" y="62075"/>
                  </a:lnTo>
                  <a:lnTo>
                    <a:pt x="12358" y="61697"/>
                  </a:lnTo>
                  <a:lnTo>
                    <a:pt x="12264" y="61508"/>
                  </a:lnTo>
                  <a:lnTo>
                    <a:pt x="12170" y="61320"/>
                  </a:lnTo>
                  <a:lnTo>
                    <a:pt x="11698" y="60942"/>
                  </a:lnTo>
                  <a:lnTo>
                    <a:pt x="11132" y="60471"/>
                  </a:lnTo>
                  <a:lnTo>
                    <a:pt x="9906" y="59244"/>
                  </a:lnTo>
                  <a:lnTo>
                    <a:pt x="9906" y="59244"/>
                  </a:lnTo>
                  <a:lnTo>
                    <a:pt x="10566" y="59527"/>
                  </a:lnTo>
                  <a:lnTo>
                    <a:pt x="9434" y="58584"/>
                  </a:lnTo>
                  <a:lnTo>
                    <a:pt x="8207" y="57546"/>
                  </a:lnTo>
                  <a:lnTo>
                    <a:pt x="7547" y="56886"/>
                  </a:lnTo>
                  <a:lnTo>
                    <a:pt x="6981" y="56131"/>
                  </a:lnTo>
                  <a:lnTo>
                    <a:pt x="6226" y="55094"/>
                  </a:lnTo>
                  <a:lnTo>
                    <a:pt x="6415" y="55377"/>
                  </a:lnTo>
                  <a:lnTo>
                    <a:pt x="6038" y="54905"/>
                  </a:lnTo>
                  <a:lnTo>
                    <a:pt x="5472" y="54244"/>
                  </a:lnTo>
                  <a:lnTo>
                    <a:pt x="5283" y="53961"/>
                  </a:lnTo>
                  <a:lnTo>
                    <a:pt x="5094" y="53867"/>
                  </a:lnTo>
                  <a:lnTo>
                    <a:pt x="5377" y="54622"/>
                  </a:lnTo>
                  <a:lnTo>
                    <a:pt x="5849" y="55282"/>
                  </a:lnTo>
                  <a:lnTo>
                    <a:pt x="6321" y="55943"/>
                  </a:lnTo>
                  <a:lnTo>
                    <a:pt x="6698" y="56603"/>
                  </a:lnTo>
                  <a:lnTo>
                    <a:pt x="6226" y="56226"/>
                  </a:lnTo>
                  <a:lnTo>
                    <a:pt x="5943" y="55848"/>
                  </a:lnTo>
                  <a:lnTo>
                    <a:pt x="6038" y="56037"/>
                  </a:lnTo>
                  <a:lnTo>
                    <a:pt x="5943" y="55943"/>
                  </a:lnTo>
                  <a:lnTo>
                    <a:pt x="5377" y="55188"/>
                  </a:lnTo>
                  <a:lnTo>
                    <a:pt x="5000" y="54716"/>
                  </a:lnTo>
                  <a:lnTo>
                    <a:pt x="4717" y="54150"/>
                  </a:lnTo>
                  <a:lnTo>
                    <a:pt x="4528" y="53678"/>
                  </a:lnTo>
                  <a:lnTo>
                    <a:pt x="4528" y="53584"/>
                  </a:lnTo>
                  <a:lnTo>
                    <a:pt x="4623" y="53395"/>
                  </a:lnTo>
                  <a:lnTo>
                    <a:pt x="5094" y="54244"/>
                  </a:lnTo>
                  <a:lnTo>
                    <a:pt x="4717" y="53301"/>
                  </a:lnTo>
                  <a:lnTo>
                    <a:pt x="4528" y="53018"/>
                  </a:lnTo>
                  <a:lnTo>
                    <a:pt x="4151" y="52263"/>
                  </a:lnTo>
                  <a:lnTo>
                    <a:pt x="4151" y="52169"/>
                  </a:lnTo>
                  <a:lnTo>
                    <a:pt x="3774" y="51509"/>
                  </a:lnTo>
                  <a:lnTo>
                    <a:pt x="3396" y="50660"/>
                  </a:lnTo>
                  <a:lnTo>
                    <a:pt x="3585" y="51603"/>
                  </a:lnTo>
                  <a:lnTo>
                    <a:pt x="3396" y="51226"/>
                  </a:lnTo>
                  <a:lnTo>
                    <a:pt x="3208" y="50848"/>
                  </a:lnTo>
                  <a:lnTo>
                    <a:pt x="3208" y="50471"/>
                  </a:lnTo>
                  <a:lnTo>
                    <a:pt x="3208" y="50094"/>
                  </a:lnTo>
                  <a:lnTo>
                    <a:pt x="3585" y="50754"/>
                  </a:lnTo>
                  <a:lnTo>
                    <a:pt x="3868" y="51509"/>
                  </a:lnTo>
                  <a:lnTo>
                    <a:pt x="3868" y="51509"/>
                  </a:lnTo>
                  <a:lnTo>
                    <a:pt x="3208" y="49528"/>
                  </a:lnTo>
                  <a:lnTo>
                    <a:pt x="3208" y="49528"/>
                  </a:lnTo>
                  <a:lnTo>
                    <a:pt x="3868" y="50754"/>
                  </a:lnTo>
                  <a:lnTo>
                    <a:pt x="3208" y="48962"/>
                  </a:lnTo>
                  <a:lnTo>
                    <a:pt x="3585" y="49339"/>
                  </a:lnTo>
                  <a:lnTo>
                    <a:pt x="3774" y="49433"/>
                  </a:lnTo>
                  <a:lnTo>
                    <a:pt x="3962" y="49528"/>
                  </a:lnTo>
                  <a:lnTo>
                    <a:pt x="4057" y="49905"/>
                  </a:lnTo>
                  <a:lnTo>
                    <a:pt x="3868" y="48962"/>
                  </a:lnTo>
                  <a:lnTo>
                    <a:pt x="3491" y="47924"/>
                  </a:lnTo>
                  <a:lnTo>
                    <a:pt x="2641" y="45565"/>
                  </a:lnTo>
                  <a:lnTo>
                    <a:pt x="2170" y="43867"/>
                  </a:lnTo>
                  <a:lnTo>
                    <a:pt x="1698" y="41886"/>
                  </a:lnTo>
                  <a:lnTo>
                    <a:pt x="1698" y="41886"/>
                  </a:lnTo>
                  <a:lnTo>
                    <a:pt x="1887" y="42075"/>
                  </a:lnTo>
                  <a:lnTo>
                    <a:pt x="1981" y="41981"/>
                  </a:lnTo>
                  <a:lnTo>
                    <a:pt x="2075" y="42075"/>
                  </a:lnTo>
                  <a:lnTo>
                    <a:pt x="2264" y="42169"/>
                  </a:lnTo>
                  <a:lnTo>
                    <a:pt x="2170" y="40283"/>
                  </a:lnTo>
                  <a:lnTo>
                    <a:pt x="2075" y="38301"/>
                  </a:lnTo>
                  <a:lnTo>
                    <a:pt x="2170" y="36415"/>
                  </a:lnTo>
                  <a:lnTo>
                    <a:pt x="2358" y="35566"/>
                  </a:lnTo>
                  <a:lnTo>
                    <a:pt x="2453" y="34811"/>
                  </a:lnTo>
                  <a:lnTo>
                    <a:pt x="2830" y="32830"/>
                  </a:lnTo>
                  <a:lnTo>
                    <a:pt x="2830" y="33207"/>
                  </a:lnTo>
                  <a:lnTo>
                    <a:pt x="2924" y="33490"/>
                  </a:lnTo>
                  <a:lnTo>
                    <a:pt x="2924" y="32453"/>
                  </a:lnTo>
                  <a:lnTo>
                    <a:pt x="3019" y="31415"/>
                  </a:lnTo>
                  <a:lnTo>
                    <a:pt x="3396" y="29245"/>
                  </a:lnTo>
                  <a:lnTo>
                    <a:pt x="3868" y="27075"/>
                  </a:lnTo>
                  <a:lnTo>
                    <a:pt x="4623" y="25000"/>
                  </a:lnTo>
                  <a:lnTo>
                    <a:pt x="5566" y="22830"/>
                  </a:lnTo>
                  <a:lnTo>
                    <a:pt x="6604" y="20849"/>
                  </a:lnTo>
                  <a:lnTo>
                    <a:pt x="7830" y="18868"/>
                  </a:lnTo>
                  <a:lnTo>
                    <a:pt x="9151" y="16887"/>
                  </a:lnTo>
                  <a:lnTo>
                    <a:pt x="10566" y="15094"/>
                  </a:lnTo>
                  <a:lnTo>
                    <a:pt x="12075" y="13302"/>
                  </a:lnTo>
                  <a:lnTo>
                    <a:pt x="13773" y="11698"/>
                  </a:lnTo>
                  <a:lnTo>
                    <a:pt x="15377" y="10095"/>
                  </a:lnTo>
                  <a:lnTo>
                    <a:pt x="17170" y="8679"/>
                  </a:lnTo>
                  <a:lnTo>
                    <a:pt x="18962" y="7453"/>
                  </a:lnTo>
                  <a:lnTo>
                    <a:pt x="20754" y="6321"/>
                  </a:lnTo>
                  <a:lnTo>
                    <a:pt x="22547" y="5378"/>
                  </a:lnTo>
                  <a:lnTo>
                    <a:pt x="21603" y="6227"/>
                  </a:lnTo>
                  <a:lnTo>
                    <a:pt x="22641" y="5472"/>
                  </a:lnTo>
                  <a:lnTo>
                    <a:pt x="23302" y="5095"/>
                  </a:lnTo>
                  <a:lnTo>
                    <a:pt x="25377" y="4151"/>
                  </a:lnTo>
                  <a:lnTo>
                    <a:pt x="24811" y="4151"/>
                  </a:lnTo>
                  <a:lnTo>
                    <a:pt x="25660" y="3774"/>
                  </a:lnTo>
                  <a:lnTo>
                    <a:pt x="26886" y="3208"/>
                  </a:lnTo>
                  <a:lnTo>
                    <a:pt x="26603" y="3585"/>
                  </a:lnTo>
                  <a:lnTo>
                    <a:pt x="26886" y="3585"/>
                  </a:lnTo>
                  <a:lnTo>
                    <a:pt x="26886" y="3680"/>
                  </a:lnTo>
                  <a:lnTo>
                    <a:pt x="26792" y="3774"/>
                  </a:lnTo>
                  <a:lnTo>
                    <a:pt x="28301" y="3302"/>
                  </a:lnTo>
                  <a:lnTo>
                    <a:pt x="29622" y="2736"/>
                  </a:lnTo>
                  <a:lnTo>
                    <a:pt x="31037" y="2264"/>
                  </a:lnTo>
                  <a:lnTo>
                    <a:pt x="31792" y="2076"/>
                  </a:lnTo>
                  <a:lnTo>
                    <a:pt x="32641" y="1981"/>
                  </a:lnTo>
                  <a:lnTo>
                    <a:pt x="32547" y="2076"/>
                  </a:lnTo>
                  <a:lnTo>
                    <a:pt x="32924" y="1981"/>
                  </a:lnTo>
                  <a:lnTo>
                    <a:pt x="34245" y="1793"/>
                  </a:lnTo>
                  <a:lnTo>
                    <a:pt x="35848" y="1415"/>
                  </a:lnTo>
                  <a:lnTo>
                    <a:pt x="36981" y="1132"/>
                  </a:lnTo>
                  <a:lnTo>
                    <a:pt x="36981" y="1415"/>
                  </a:lnTo>
                  <a:lnTo>
                    <a:pt x="40943" y="1227"/>
                  </a:lnTo>
                  <a:lnTo>
                    <a:pt x="41509" y="1038"/>
                  </a:lnTo>
                  <a:lnTo>
                    <a:pt x="41697" y="1132"/>
                  </a:lnTo>
                  <a:lnTo>
                    <a:pt x="41509" y="1227"/>
                  </a:lnTo>
                  <a:lnTo>
                    <a:pt x="41320" y="1321"/>
                  </a:lnTo>
                  <a:lnTo>
                    <a:pt x="42263" y="1321"/>
                  </a:lnTo>
                  <a:lnTo>
                    <a:pt x="43113" y="1227"/>
                  </a:lnTo>
                  <a:lnTo>
                    <a:pt x="43396" y="1415"/>
                  </a:lnTo>
                  <a:lnTo>
                    <a:pt x="44056" y="1604"/>
                  </a:lnTo>
                  <a:lnTo>
                    <a:pt x="45943" y="2076"/>
                  </a:lnTo>
                  <a:lnTo>
                    <a:pt x="48018" y="2359"/>
                  </a:lnTo>
                  <a:lnTo>
                    <a:pt x="49622" y="2736"/>
                  </a:lnTo>
                  <a:lnTo>
                    <a:pt x="47641" y="1981"/>
                  </a:lnTo>
                  <a:lnTo>
                    <a:pt x="45282" y="1321"/>
                  </a:lnTo>
                  <a:lnTo>
                    <a:pt x="42735" y="755"/>
                  </a:lnTo>
                  <a:lnTo>
                    <a:pt x="40188" y="283"/>
                  </a:lnTo>
                  <a:lnTo>
                    <a:pt x="37735" y="95"/>
                  </a:lnTo>
                  <a:lnTo>
                    <a:pt x="35471" y="0"/>
                  </a:lnTo>
                  <a:close/>
                </a:path>
              </a:pathLst>
            </a:custGeom>
            <a:solidFill>
              <a:schemeClr val="bg1">
                <a:lumMod val="95000"/>
              </a:schemeClr>
            </a:solidFill>
            <a:ln w="0">
              <a:solidFill>
                <a:srgbClr val="0079D1"/>
              </a:solidFill>
            </a:ln>
          </p:spPr>
          <p:txBody>
            <a:bodyPr spcFirstLastPara="1" wrap="square" lIns="91425" tIns="91425" rIns="91425" bIns="91425" anchor="ctr" anchorCtr="0">
              <a:noAutofit/>
            </a:bodyPr>
            <a:lstStyle/>
            <a:p>
              <a:pPr marL="0" lvl="0" indent="0">
                <a:spcBef>
                  <a:spcPts val="0"/>
                </a:spcBef>
                <a:spcAft>
                  <a:spcPts val="0"/>
                </a:spcAft>
                <a:buNone/>
              </a:pPr>
              <a:endParaRPr sz="1200">
                <a:latin typeface="+mj-lt"/>
              </a:endParaRPr>
            </a:p>
          </p:txBody>
        </p:sp>
        <p:sp>
          <p:nvSpPr>
            <p:cNvPr id="493" name="TextBox 492">
              <a:extLst>
                <a:ext uri="{FF2B5EF4-FFF2-40B4-BE49-F238E27FC236}">
                  <a16:creationId xmlns:a16="http://schemas.microsoft.com/office/drawing/2014/main" id="{D2BBF9EC-0963-1947-947E-BE98CD6A099A}"/>
                </a:ext>
              </a:extLst>
            </p:cNvPr>
            <p:cNvSpPr txBox="1"/>
            <p:nvPr/>
          </p:nvSpPr>
          <p:spPr>
            <a:xfrm>
              <a:off x="8676898" y="4619460"/>
              <a:ext cx="229951" cy="200055"/>
            </a:xfrm>
            <a:prstGeom prst="rect">
              <a:avLst/>
            </a:prstGeom>
            <a:noFill/>
          </p:spPr>
          <p:txBody>
            <a:bodyPr wrap="square" rtlCol="0">
              <a:spAutoFit/>
            </a:bodyPr>
            <a:lstStyle/>
            <a:p>
              <a:r>
                <a:rPr lang="en-US" sz="700" b="1" dirty="0">
                  <a:solidFill>
                    <a:srgbClr val="0079D1"/>
                  </a:solidFill>
                  <a:latin typeface="+mj-lt"/>
                </a:rPr>
                <a:t>F</a:t>
              </a:r>
            </a:p>
          </p:txBody>
        </p:sp>
      </p:grpSp>
      <p:sp>
        <p:nvSpPr>
          <p:cNvPr id="494" name="Rounded Rectangle 493">
            <a:extLst>
              <a:ext uri="{FF2B5EF4-FFF2-40B4-BE49-F238E27FC236}">
                <a16:creationId xmlns:a16="http://schemas.microsoft.com/office/drawing/2014/main" id="{6DC7CEBC-C0BC-F34A-9638-CF192835F076}"/>
              </a:ext>
            </a:extLst>
          </p:cNvPr>
          <p:cNvSpPr/>
          <p:nvPr/>
        </p:nvSpPr>
        <p:spPr>
          <a:xfrm>
            <a:off x="2404498" y="1144943"/>
            <a:ext cx="738685" cy="320152"/>
          </a:xfrm>
          <a:prstGeom prst="roundRect">
            <a:avLst/>
          </a:prstGeom>
          <a:solidFill>
            <a:schemeClr val="bg1"/>
          </a:solidFill>
          <a:ln w="3175">
            <a:solidFill>
              <a:schemeClr val="bg2">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b="1" dirty="0">
              <a:solidFill>
                <a:schemeClr val="bg1">
                  <a:lumMod val="50000"/>
                </a:schemeClr>
              </a:solidFill>
              <a:ea typeface="Nanum Pen Script" panose="03040600000000000000" pitchFamily="66" charset="-127"/>
            </a:endParaRPr>
          </a:p>
          <a:p>
            <a:pPr algn="ctr"/>
            <a:endParaRPr lang="en-US" sz="900" b="1" dirty="0">
              <a:solidFill>
                <a:schemeClr val="bg1">
                  <a:lumMod val="50000"/>
                </a:schemeClr>
              </a:solidFill>
              <a:ea typeface="Nanum Pen Script" panose="03040600000000000000" pitchFamily="66" charset="-127"/>
            </a:endParaRPr>
          </a:p>
          <a:p>
            <a:pPr algn="ctr"/>
            <a:endParaRPr lang="en-US" sz="900" b="1" dirty="0">
              <a:solidFill>
                <a:schemeClr val="bg1">
                  <a:lumMod val="50000"/>
                </a:schemeClr>
              </a:solidFill>
              <a:ea typeface="Nanum Pen Script" panose="03040600000000000000" pitchFamily="66" charset="-127"/>
            </a:endParaRPr>
          </a:p>
          <a:p>
            <a:pPr algn="ctr"/>
            <a:endParaRPr lang="en-US" sz="900" b="1" dirty="0">
              <a:solidFill>
                <a:schemeClr val="bg1">
                  <a:lumMod val="50000"/>
                </a:schemeClr>
              </a:solidFill>
              <a:ea typeface="Nanum Pen Script" panose="03040600000000000000" pitchFamily="66" charset="-127"/>
            </a:endParaRPr>
          </a:p>
          <a:p>
            <a:pPr algn="ctr"/>
            <a:endParaRPr lang="en-US" sz="800" b="1" dirty="0">
              <a:solidFill>
                <a:schemeClr val="bg1">
                  <a:lumMod val="50000"/>
                </a:schemeClr>
              </a:solidFill>
              <a:ea typeface="Nanum Pen Script" panose="03040600000000000000" pitchFamily="66" charset="-127"/>
            </a:endParaRPr>
          </a:p>
          <a:p>
            <a:pPr algn="ctr">
              <a:spcBef>
                <a:spcPts val="0"/>
              </a:spcBef>
            </a:pPr>
            <a:endParaRPr lang="es-ES_tradnl" sz="8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endParaRPr>
          </a:p>
          <a:p>
            <a:pPr algn="ctr">
              <a:spcBef>
                <a:spcPts val="0"/>
              </a:spcBef>
            </a:pPr>
            <a:r>
              <a:rPr lang="es-ES_tradnl" sz="8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rPr>
              <a:t>Solace</a:t>
            </a:r>
          </a:p>
          <a:p>
            <a:pPr algn="ctr">
              <a:spcBef>
                <a:spcPts val="0"/>
              </a:spcBef>
            </a:pPr>
            <a:endParaRPr lang="es-ES_tradnl" sz="8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endParaRPr>
          </a:p>
          <a:p>
            <a:pPr algn="ctr">
              <a:spcBef>
                <a:spcPts val="0"/>
              </a:spcBef>
            </a:pPr>
            <a:endParaRPr lang="en-US" dirty="0">
              <a:solidFill>
                <a:schemeClr val="tx1"/>
              </a:solidFill>
              <a:ea typeface="Nanum Pen Script" panose="03040600000000000000" pitchFamily="66" charset="-127"/>
            </a:endParaRPr>
          </a:p>
          <a:p>
            <a:pPr algn="ctr"/>
            <a:endParaRPr lang="en-US" dirty="0">
              <a:solidFill>
                <a:schemeClr val="tx1"/>
              </a:solidFill>
              <a:ea typeface="Nanum Pen Script" panose="03040600000000000000" pitchFamily="66" charset="-127"/>
            </a:endParaRPr>
          </a:p>
        </p:txBody>
      </p:sp>
    </p:spTree>
    <p:extLst>
      <p:ext uri="{BB962C8B-B14F-4D97-AF65-F5344CB8AC3E}">
        <p14:creationId xmlns:p14="http://schemas.microsoft.com/office/powerpoint/2010/main" val="3168262396"/>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75" name="Group 174">
            <a:extLst>
              <a:ext uri="{FF2B5EF4-FFF2-40B4-BE49-F238E27FC236}">
                <a16:creationId xmlns:a16="http://schemas.microsoft.com/office/drawing/2014/main" id="{B5C14D64-07DE-FA4B-A88D-34AC1B8807C0}"/>
              </a:ext>
            </a:extLst>
          </p:cNvPr>
          <p:cNvGrpSpPr/>
          <p:nvPr/>
        </p:nvGrpSpPr>
        <p:grpSpPr>
          <a:xfrm>
            <a:off x="89593" y="2748889"/>
            <a:ext cx="1355416" cy="429082"/>
            <a:chOff x="7399944" y="4155414"/>
            <a:chExt cx="875794" cy="663758"/>
          </a:xfrm>
        </p:grpSpPr>
        <p:grpSp>
          <p:nvGrpSpPr>
            <p:cNvPr id="177" name="Group 176">
              <a:extLst>
                <a:ext uri="{FF2B5EF4-FFF2-40B4-BE49-F238E27FC236}">
                  <a16:creationId xmlns:a16="http://schemas.microsoft.com/office/drawing/2014/main" id="{5885F9BF-C149-4641-A548-5262636409C3}"/>
                </a:ext>
              </a:extLst>
            </p:cNvPr>
            <p:cNvGrpSpPr/>
            <p:nvPr/>
          </p:nvGrpSpPr>
          <p:grpSpPr>
            <a:xfrm>
              <a:off x="7399944" y="4155414"/>
              <a:ext cx="875794" cy="663758"/>
              <a:chOff x="3211574" y="2335474"/>
              <a:chExt cx="875794" cy="663758"/>
            </a:xfrm>
          </p:grpSpPr>
          <p:sp>
            <p:nvSpPr>
              <p:cNvPr id="179" name="Rectangle 178">
                <a:extLst>
                  <a:ext uri="{FF2B5EF4-FFF2-40B4-BE49-F238E27FC236}">
                    <a16:creationId xmlns:a16="http://schemas.microsoft.com/office/drawing/2014/main" id="{B54C8EE6-29B2-1547-A8F2-956A35DF1F36}"/>
                  </a:ext>
                </a:extLst>
              </p:cNvPr>
              <p:cNvSpPr/>
              <p:nvPr/>
            </p:nvSpPr>
            <p:spPr>
              <a:xfrm>
                <a:off x="3408572" y="2335474"/>
                <a:ext cx="539359" cy="663758"/>
              </a:xfrm>
              <a:prstGeom prst="rect">
                <a:avLst/>
              </a:prstGeom>
              <a:solidFill>
                <a:schemeClr val="bg1"/>
              </a:solidFill>
              <a:ln w="9525">
                <a:solidFill>
                  <a:srgbClr val="0067B7"/>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900" b="1" dirty="0">
                  <a:solidFill>
                    <a:srgbClr val="002D72"/>
                  </a:solidFill>
                  <a:latin typeface="Arial" pitchFamily="34" charset="0"/>
                  <a:cs typeface="Arial" pitchFamily="34" charset="0"/>
                </a:endParaRPr>
              </a:p>
            </p:txBody>
          </p:sp>
          <p:cxnSp>
            <p:nvCxnSpPr>
              <p:cNvPr id="180" name="Straight Connector 179">
                <a:extLst>
                  <a:ext uri="{FF2B5EF4-FFF2-40B4-BE49-F238E27FC236}">
                    <a16:creationId xmlns:a16="http://schemas.microsoft.com/office/drawing/2014/main" id="{B252A0BD-187B-CC4F-BC41-C284411B1D45}"/>
                  </a:ext>
                </a:extLst>
              </p:cNvPr>
              <p:cNvCxnSpPr>
                <a:cxnSpLocks/>
              </p:cNvCxnSpPr>
              <p:nvPr/>
            </p:nvCxnSpPr>
            <p:spPr>
              <a:xfrm>
                <a:off x="3408572" y="2335474"/>
                <a:ext cx="678796" cy="0"/>
              </a:xfrm>
              <a:prstGeom prst="line">
                <a:avLst/>
              </a:prstGeom>
              <a:ln>
                <a:solidFill>
                  <a:srgbClr val="0067B7"/>
                </a:solidFill>
              </a:ln>
            </p:spPr>
            <p:style>
              <a:lnRef idx="1">
                <a:schemeClr val="accent1"/>
              </a:lnRef>
              <a:fillRef idx="0">
                <a:schemeClr val="accent1"/>
              </a:fillRef>
              <a:effectRef idx="0">
                <a:schemeClr val="accent1"/>
              </a:effectRef>
              <a:fontRef idx="minor">
                <a:schemeClr val="tx1"/>
              </a:fontRef>
            </p:style>
          </p:cxnSp>
          <p:cxnSp>
            <p:nvCxnSpPr>
              <p:cNvPr id="181" name="Straight Connector 180">
                <a:extLst>
                  <a:ext uri="{FF2B5EF4-FFF2-40B4-BE49-F238E27FC236}">
                    <a16:creationId xmlns:a16="http://schemas.microsoft.com/office/drawing/2014/main" id="{FB816382-A844-7340-AC99-9E0EF68A1EA9}"/>
                  </a:ext>
                </a:extLst>
              </p:cNvPr>
              <p:cNvCxnSpPr>
                <a:cxnSpLocks/>
              </p:cNvCxnSpPr>
              <p:nvPr/>
            </p:nvCxnSpPr>
            <p:spPr>
              <a:xfrm>
                <a:off x="3211574" y="2999232"/>
                <a:ext cx="736357" cy="0"/>
              </a:xfrm>
              <a:prstGeom prst="line">
                <a:avLst/>
              </a:prstGeom>
              <a:ln>
                <a:solidFill>
                  <a:srgbClr val="0067B7"/>
                </a:solidFill>
              </a:ln>
            </p:spPr>
            <p:style>
              <a:lnRef idx="1">
                <a:schemeClr val="accent1"/>
              </a:lnRef>
              <a:fillRef idx="0">
                <a:schemeClr val="accent1"/>
              </a:fillRef>
              <a:effectRef idx="0">
                <a:schemeClr val="accent1"/>
              </a:effectRef>
              <a:fontRef idx="minor">
                <a:schemeClr val="tx1"/>
              </a:fontRef>
            </p:style>
          </p:cxnSp>
        </p:grpSp>
        <p:sp>
          <p:nvSpPr>
            <p:cNvPr id="178" name="Google Shape;61;p12">
              <a:extLst>
                <a:ext uri="{FF2B5EF4-FFF2-40B4-BE49-F238E27FC236}">
                  <a16:creationId xmlns:a16="http://schemas.microsoft.com/office/drawing/2014/main" id="{D444F42A-F191-B04B-B762-27099FFD240E}"/>
                </a:ext>
              </a:extLst>
            </p:cNvPr>
            <p:cNvSpPr txBox="1">
              <a:spLocks/>
            </p:cNvSpPr>
            <p:nvPr/>
          </p:nvSpPr>
          <p:spPr>
            <a:xfrm>
              <a:off x="7635579" y="4265555"/>
              <a:ext cx="465274" cy="425603"/>
            </a:xfrm>
            <a:prstGeom prst="rect">
              <a:avLst/>
            </a:prstGeom>
          </p:spPr>
          <p:txBody>
            <a:bodyPr spcFirstLastPara="1" vert="horz" wrap="square" lIns="91425" tIns="91425" rIns="91425" bIns="91425" rtlCol="0" anchor="ctr"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spcBef>
                  <a:spcPts val="0"/>
                </a:spcBef>
              </a:pPr>
              <a:r>
                <a:rPr lang="en-US" sz="900" b="1" dirty="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System</a:t>
              </a:r>
            </a:p>
          </p:txBody>
        </p:sp>
      </p:grpSp>
      <p:grpSp>
        <p:nvGrpSpPr>
          <p:cNvPr id="149" name="Group 148">
            <a:extLst>
              <a:ext uri="{FF2B5EF4-FFF2-40B4-BE49-F238E27FC236}">
                <a16:creationId xmlns:a16="http://schemas.microsoft.com/office/drawing/2014/main" id="{1288494C-FBE3-CF48-9E82-BD8B92EF23F4}"/>
              </a:ext>
            </a:extLst>
          </p:cNvPr>
          <p:cNvGrpSpPr/>
          <p:nvPr/>
        </p:nvGrpSpPr>
        <p:grpSpPr>
          <a:xfrm>
            <a:off x="201658" y="2812988"/>
            <a:ext cx="1355416" cy="429082"/>
            <a:chOff x="7399944" y="4155414"/>
            <a:chExt cx="875794" cy="663758"/>
          </a:xfrm>
        </p:grpSpPr>
        <p:grpSp>
          <p:nvGrpSpPr>
            <p:cNvPr id="150" name="Group 149">
              <a:extLst>
                <a:ext uri="{FF2B5EF4-FFF2-40B4-BE49-F238E27FC236}">
                  <a16:creationId xmlns:a16="http://schemas.microsoft.com/office/drawing/2014/main" id="{BF1C0AA3-2F46-6342-B63A-12AACF639CC8}"/>
                </a:ext>
              </a:extLst>
            </p:cNvPr>
            <p:cNvGrpSpPr/>
            <p:nvPr/>
          </p:nvGrpSpPr>
          <p:grpSpPr>
            <a:xfrm>
              <a:off x="7399944" y="4155414"/>
              <a:ext cx="875794" cy="663758"/>
              <a:chOff x="3211574" y="2335474"/>
              <a:chExt cx="875794" cy="663758"/>
            </a:xfrm>
          </p:grpSpPr>
          <p:sp>
            <p:nvSpPr>
              <p:cNvPr id="171" name="Rectangle 170">
                <a:extLst>
                  <a:ext uri="{FF2B5EF4-FFF2-40B4-BE49-F238E27FC236}">
                    <a16:creationId xmlns:a16="http://schemas.microsoft.com/office/drawing/2014/main" id="{87E19F52-0F42-364A-A81F-6C236ECAE9BD}"/>
                  </a:ext>
                </a:extLst>
              </p:cNvPr>
              <p:cNvSpPr/>
              <p:nvPr/>
            </p:nvSpPr>
            <p:spPr>
              <a:xfrm>
                <a:off x="3408572" y="2335474"/>
                <a:ext cx="539359" cy="663758"/>
              </a:xfrm>
              <a:prstGeom prst="rect">
                <a:avLst/>
              </a:prstGeom>
              <a:solidFill>
                <a:schemeClr val="bg1"/>
              </a:solidFill>
              <a:ln w="9525">
                <a:solidFill>
                  <a:srgbClr val="0067B7"/>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900" b="1" dirty="0">
                  <a:solidFill>
                    <a:srgbClr val="002D72"/>
                  </a:solidFill>
                  <a:cs typeface="Arial" pitchFamily="34" charset="0"/>
                </a:endParaRPr>
              </a:p>
            </p:txBody>
          </p:sp>
          <p:cxnSp>
            <p:nvCxnSpPr>
              <p:cNvPr id="172" name="Straight Connector 171">
                <a:extLst>
                  <a:ext uri="{FF2B5EF4-FFF2-40B4-BE49-F238E27FC236}">
                    <a16:creationId xmlns:a16="http://schemas.microsoft.com/office/drawing/2014/main" id="{9E37126D-773A-9640-A849-07FB00091759}"/>
                  </a:ext>
                </a:extLst>
              </p:cNvPr>
              <p:cNvCxnSpPr>
                <a:cxnSpLocks/>
              </p:cNvCxnSpPr>
              <p:nvPr/>
            </p:nvCxnSpPr>
            <p:spPr>
              <a:xfrm>
                <a:off x="3408572" y="2335474"/>
                <a:ext cx="678796" cy="0"/>
              </a:xfrm>
              <a:prstGeom prst="line">
                <a:avLst/>
              </a:prstGeom>
              <a:ln>
                <a:solidFill>
                  <a:srgbClr val="0067B7"/>
                </a:solidFill>
              </a:ln>
            </p:spPr>
            <p:style>
              <a:lnRef idx="1">
                <a:schemeClr val="accent1"/>
              </a:lnRef>
              <a:fillRef idx="0">
                <a:schemeClr val="accent1"/>
              </a:fillRef>
              <a:effectRef idx="0">
                <a:schemeClr val="accent1"/>
              </a:effectRef>
              <a:fontRef idx="minor">
                <a:schemeClr val="tx1"/>
              </a:fontRef>
            </p:style>
          </p:cxnSp>
          <p:cxnSp>
            <p:nvCxnSpPr>
              <p:cNvPr id="173" name="Straight Connector 172">
                <a:extLst>
                  <a:ext uri="{FF2B5EF4-FFF2-40B4-BE49-F238E27FC236}">
                    <a16:creationId xmlns:a16="http://schemas.microsoft.com/office/drawing/2014/main" id="{91D79BD2-E537-0641-8F39-DFE3B6AAD285}"/>
                  </a:ext>
                </a:extLst>
              </p:cNvPr>
              <p:cNvCxnSpPr>
                <a:cxnSpLocks/>
              </p:cNvCxnSpPr>
              <p:nvPr/>
            </p:nvCxnSpPr>
            <p:spPr>
              <a:xfrm>
                <a:off x="3211574" y="2999232"/>
                <a:ext cx="736357" cy="0"/>
              </a:xfrm>
              <a:prstGeom prst="line">
                <a:avLst/>
              </a:prstGeom>
              <a:ln>
                <a:solidFill>
                  <a:srgbClr val="0067B7"/>
                </a:solidFill>
              </a:ln>
            </p:spPr>
            <p:style>
              <a:lnRef idx="1">
                <a:schemeClr val="accent1"/>
              </a:lnRef>
              <a:fillRef idx="0">
                <a:schemeClr val="accent1"/>
              </a:fillRef>
              <a:effectRef idx="0">
                <a:schemeClr val="accent1"/>
              </a:effectRef>
              <a:fontRef idx="minor">
                <a:schemeClr val="tx1"/>
              </a:fontRef>
            </p:style>
          </p:cxnSp>
        </p:grpSp>
        <p:sp>
          <p:nvSpPr>
            <p:cNvPr id="170" name="Google Shape;61;p12">
              <a:extLst>
                <a:ext uri="{FF2B5EF4-FFF2-40B4-BE49-F238E27FC236}">
                  <a16:creationId xmlns:a16="http://schemas.microsoft.com/office/drawing/2014/main" id="{50C3B571-9DD6-4D47-B6B6-636C35290BFC}"/>
                </a:ext>
              </a:extLst>
            </p:cNvPr>
            <p:cNvSpPr txBox="1">
              <a:spLocks/>
            </p:cNvSpPr>
            <p:nvPr/>
          </p:nvSpPr>
          <p:spPr>
            <a:xfrm>
              <a:off x="7635579" y="4265555"/>
              <a:ext cx="465274" cy="425603"/>
            </a:xfrm>
            <a:prstGeom prst="rect">
              <a:avLst/>
            </a:prstGeom>
          </p:spPr>
          <p:txBody>
            <a:bodyPr spcFirstLastPara="1" vert="horz" wrap="square" lIns="91425" tIns="91425" rIns="91425" bIns="91425" rtlCol="0" anchor="ctr"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spcBef>
                  <a:spcPts val="0"/>
                </a:spcBef>
              </a:pPr>
              <a:r>
                <a:rPr lang="en-US" sz="900" b="1" dirty="0">
                  <a:solidFill>
                    <a:srgbClr val="0067B7"/>
                  </a:solidFill>
                  <a:effectLst>
                    <a:outerShdw blurRad="50800" dist="50800" dir="5400000" algn="ctr" rotWithShape="0">
                      <a:srgbClr val="000000">
                        <a:alpha val="0"/>
                      </a:srgbClr>
                    </a:outerShdw>
                    <a:reflection endPos="0" dist="50800" dir="5400000" sy="-100000" algn="bl" rotWithShape="0"/>
                  </a:effectLst>
                  <a:latin typeface="+mn-lt"/>
                  <a:ea typeface="Nanum Pen Script" panose="03040600000000000000" pitchFamily="66" charset="-127"/>
                  <a:cs typeface="Arial" panose="020B0604020202020204" pitchFamily="34" charset="0"/>
                </a:rPr>
                <a:t>System</a:t>
              </a:r>
            </a:p>
          </p:txBody>
        </p:sp>
      </p:grpSp>
      <p:grpSp>
        <p:nvGrpSpPr>
          <p:cNvPr id="142" name="Group 141">
            <a:extLst>
              <a:ext uri="{FF2B5EF4-FFF2-40B4-BE49-F238E27FC236}">
                <a16:creationId xmlns:a16="http://schemas.microsoft.com/office/drawing/2014/main" id="{8489B01A-3D38-4F4E-8177-EA770C26E21E}"/>
              </a:ext>
            </a:extLst>
          </p:cNvPr>
          <p:cNvGrpSpPr/>
          <p:nvPr/>
        </p:nvGrpSpPr>
        <p:grpSpPr>
          <a:xfrm>
            <a:off x="303986" y="2883049"/>
            <a:ext cx="1355416" cy="429082"/>
            <a:chOff x="7399944" y="4155414"/>
            <a:chExt cx="875794" cy="663758"/>
          </a:xfrm>
        </p:grpSpPr>
        <p:grpSp>
          <p:nvGrpSpPr>
            <p:cNvPr id="144" name="Group 143">
              <a:extLst>
                <a:ext uri="{FF2B5EF4-FFF2-40B4-BE49-F238E27FC236}">
                  <a16:creationId xmlns:a16="http://schemas.microsoft.com/office/drawing/2014/main" id="{64DFF839-2DB7-E448-A90C-F971CB51D79B}"/>
                </a:ext>
              </a:extLst>
            </p:cNvPr>
            <p:cNvGrpSpPr/>
            <p:nvPr/>
          </p:nvGrpSpPr>
          <p:grpSpPr>
            <a:xfrm>
              <a:off x="7399944" y="4155414"/>
              <a:ext cx="875794" cy="663758"/>
              <a:chOff x="3211574" y="2335474"/>
              <a:chExt cx="875794" cy="663758"/>
            </a:xfrm>
          </p:grpSpPr>
          <p:sp>
            <p:nvSpPr>
              <p:cNvPr id="146" name="Rectangle 145">
                <a:extLst>
                  <a:ext uri="{FF2B5EF4-FFF2-40B4-BE49-F238E27FC236}">
                    <a16:creationId xmlns:a16="http://schemas.microsoft.com/office/drawing/2014/main" id="{90456F69-B924-C941-ACDA-C0DC54D3912F}"/>
                  </a:ext>
                </a:extLst>
              </p:cNvPr>
              <p:cNvSpPr/>
              <p:nvPr/>
            </p:nvSpPr>
            <p:spPr>
              <a:xfrm>
                <a:off x="3408572" y="2335474"/>
                <a:ext cx="539359" cy="663758"/>
              </a:xfrm>
              <a:prstGeom prst="rect">
                <a:avLst/>
              </a:prstGeom>
              <a:solidFill>
                <a:schemeClr val="bg1"/>
              </a:solidFill>
              <a:ln w="9525">
                <a:solidFill>
                  <a:srgbClr val="0067B7"/>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900" b="1" dirty="0">
                  <a:solidFill>
                    <a:srgbClr val="002D72"/>
                  </a:solidFill>
                  <a:cs typeface="Arial" pitchFamily="34" charset="0"/>
                </a:endParaRPr>
              </a:p>
            </p:txBody>
          </p:sp>
          <p:cxnSp>
            <p:nvCxnSpPr>
              <p:cNvPr id="147" name="Straight Connector 146">
                <a:extLst>
                  <a:ext uri="{FF2B5EF4-FFF2-40B4-BE49-F238E27FC236}">
                    <a16:creationId xmlns:a16="http://schemas.microsoft.com/office/drawing/2014/main" id="{21E861FA-7B31-6F4A-A847-44F00AD838BB}"/>
                  </a:ext>
                </a:extLst>
              </p:cNvPr>
              <p:cNvCxnSpPr>
                <a:cxnSpLocks/>
              </p:cNvCxnSpPr>
              <p:nvPr/>
            </p:nvCxnSpPr>
            <p:spPr>
              <a:xfrm>
                <a:off x="3408572" y="2335474"/>
                <a:ext cx="678796" cy="0"/>
              </a:xfrm>
              <a:prstGeom prst="line">
                <a:avLst/>
              </a:prstGeom>
              <a:ln>
                <a:solidFill>
                  <a:srgbClr val="0067B7"/>
                </a:solidFill>
              </a:ln>
            </p:spPr>
            <p:style>
              <a:lnRef idx="1">
                <a:schemeClr val="accent1"/>
              </a:lnRef>
              <a:fillRef idx="0">
                <a:schemeClr val="accent1"/>
              </a:fillRef>
              <a:effectRef idx="0">
                <a:schemeClr val="accent1"/>
              </a:effectRef>
              <a:fontRef idx="minor">
                <a:schemeClr val="tx1"/>
              </a:fontRef>
            </p:style>
          </p:cxnSp>
          <p:cxnSp>
            <p:nvCxnSpPr>
              <p:cNvPr id="148" name="Straight Connector 147">
                <a:extLst>
                  <a:ext uri="{FF2B5EF4-FFF2-40B4-BE49-F238E27FC236}">
                    <a16:creationId xmlns:a16="http://schemas.microsoft.com/office/drawing/2014/main" id="{B07CBBF4-E29F-5940-A142-A3495DCB5FA9}"/>
                  </a:ext>
                </a:extLst>
              </p:cNvPr>
              <p:cNvCxnSpPr>
                <a:cxnSpLocks/>
              </p:cNvCxnSpPr>
              <p:nvPr/>
            </p:nvCxnSpPr>
            <p:spPr>
              <a:xfrm>
                <a:off x="3211574" y="2999232"/>
                <a:ext cx="736357" cy="0"/>
              </a:xfrm>
              <a:prstGeom prst="line">
                <a:avLst/>
              </a:prstGeom>
              <a:ln>
                <a:solidFill>
                  <a:srgbClr val="0067B7"/>
                </a:solidFill>
              </a:ln>
            </p:spPr>
            <p:style>
              <a:lnRef idx="1">
                <a:schemeClr val="accent1"/>
              </a:lnRef>
              <a:fillRef idx="0">
                <a:schemeClr val="accent1"/>
              </a:fillRef>
              <a:effectRef idx="0">
                <a:schemeClr val="accent1"/>
              </a:effectRef>
              <a:fontRef idx="minor">
                <a:schemeClr val="tx1"/>
              </a:fontRef>
            </p:style>
          </p:cxnSp>
        </p:grpSp>
        <p:sp>
          <p:nvSpPr>
            <p:cNvPr id="145" name="Google Shape;61;p12">
              <a:extLst>
                <a:ext uri="{FF2B5EF4-FFF2-40B4-BE49-F238E27FC236}">
                  <a16:creationId xmlns:a16="http://schemas.microsoft.com/office/drawing/2014/main" id="{C193151D-D17D-C94C-B37A-F4B618538524}"/>
                </a:ext>
              </a:extLst>
            </p:cNvPr>
            <p:cNvSpPr txBox="1">
              <a:spLocks/>
            </p:cNvSpPr>
            <p:nvPr/>
          </p:nvSpPr>
          <p:spPr>
            <a:xfrm>
              <a:off x="7635579" y="4265555"/>
              <a:ext cx="465274" cy="425603"/>
            </a:xfrm>
            <a:prstGeom prst="rect">
              <a:avLst/>
            </a:prstGeom>
          </p:spPr>
          <p:txBody>
            <a:bodyPr spcFirstLastPara="1" vert="horz" wrap="square" lIns="91425" tIns="91425" rIns="91425" bIns="91425" rtlCol="0" anchor="ctr"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spcBef>
                  <a:spcPts val="0"/>
                </a:spcBef>
              </a:pPr>
              <a:r>
                <a:rPr lang="en-US" sz="900" b="1" dirty="0">
                  <a:solidFill>
                    <a:srgbClr val="0067B7"/>
                  </a:solidFill>
                  <a:effectLst>
                    <a:outerShdw blurRad="50800" dist="50800" dir="5400000" algn="ctr" rotWithShape="0">
                      <a:srgbClr val="000000">
                        <a:alpha val="0"/>
                      </a:srgbClr>
                    </a:outerShdw>
                    <a:reflection endPos="0" dist="50800" dir="5400000" sy="-100000" algn="bl" rotWithShape="0"/>
                  </a:effectLst>
                  <a:latin typeface="+mn-lt"/>
                  <a:ea typeface="Nanum Pen Script" panose="03040600000000000000" pitchFamily="66" charset="-127"/>
                  <a:cs typeface="Arial" panose="020B0604020202020204" pitchFamily="34" charset="0"/>
                </a:rPr>
                <a:t>System</a:t>
              </a:r>
            </a:p>
          </p:txBody>
        </p:sp>
      </p:grpSp>
      <p:grpSp>
        <p:nvGrpSpPr>
          <p:cNvPr id="161" name="Group 160">
            <a:extLst>
              <a:ext uri="{FF2B5EF4-FFF2-40B4-BE49-F238E27FC236}">
                <a16:creationId xmlns:a16="http://schemas.microsoft.com/office/drawing/2014/main" id="{ED153FF1-3040-AF42-88CE-ABF4DBFB92E4}"/>
              </a:ext>
            </a:extLst>
          </p:cNvPr>
          <p:cNvGrpSpPr/>
          <p:nvPr/>
        </p:nvGrpSpPr>
        <p:grpSpPr>
          <a:xfrm>
            <a:off x="7564627" y="1162460"/>
            <a:ext cx="1675337" cy="422732"/>
            <a:chOff x="3211574" y="2335474"/>
            <a:chExt cx="1382052" cy="663758"/>
          </a:xfrm>
        </p:grpSpPr>
        <p:sp>
          <p:nvSpPr>
            <p:cNvPr id="162" name="Rectangle 161">
              <a:extLst>
                <a:ext uri="{FF2B5EF4-FFF2-40B4-BE49-F238E27FC236}">
                  <a16:creationId xmlns:a16="http://schemas.microsoft.com/office/drawing/2014/main" id="{D6F6E09E-B287-1743-8579-50E2387EA94F}"/>
                </a:ext>
              </a:extLst>
            </p:cNvPr>
            <p:cNvSpPr/>
            <p:nvPr/>
          </p:nvSpPr>
          <p:spPr>
            <a:xfrm>
              <a:off x="3338853" y="2335474"/>
              <a:ext cx="1254773" cy="663758"/>
            </a:xfrm>
            <a:prstGeom prst="rect">
              <a:avLst/>
            </a:prstGeom>
            <a:solidFill>
              <a:srgbClr val="C5277F"/>
            </a:solidFill>
            <a:ln w="12700">
              <a:solidFill>
                <a:srgbClr val="7C1A4D"/>
              </a:solidFill>
              <a:miter lim="800000"/>
              <a:headEnd/>
              <a:tailEnd/>
            </a:ln>
          </p:spPr>
          <p:txBody>
            <a:bodyPr wrap="none" lIns="108000" tIns="0" rIns="108000" bIns="0" anchor="ctr"/>
            <a:lstStyle/>
            <a:p>
              <a:pPr algn="ctr" defTabSz="449263" eaLnBrk="0" hangingPunct="0">
                <a:spcBef>
                  <a:spcPct val="20000"/>
                </a:spcBef>
                <a:buClr>
                  <a:schemeClr val="accent2"/>
                </a:buClr>
                <a:buSzPct val="13000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r>
                <a:rPr lang="en-US" sz="800" b="1" dirty="0">
                  <a:solidFill>
                    <a:schemeClr val="bg1"/>
                  </a:solidFill>
                </a:rPr>
                <a:t>Client</a:t>
              </a:r>
            </a:p>
          </p:txBody>
        </p:sp>
        <p:cxnSp>
          <p:nvCxnSpPr>
            <p:cNvPr id="168" name="Straight Connector 167">
              <a:extLst>
                <a:ext uri="{FF2B5EF4-FFF2-40B4-BE49-F238E27FC236}">
                  <a16:creationId xmlns:a16="http://schemas.microsoft.com/office/drawing/2014/main" id="{A791AE66-AD34-A04A-AB52-262C9BB75F8E}"/>
                </a:ext>
              </a:extLst>
            </p:cNvPr>
            <p:cNvCxnSpPr/>
            <p:nvPr/>
          </p:nvCxnSpPr>
          <p:spPr>
            <a:xfrm>
              <a:off x="3696207" y="2335474"/>
              <a:ext cx="875794" cy="0"/>
            </a:xfrm>
            <a:prstGeom prst="line">
              <a:avLst/>
            </a:prstGeom>
            <a:solidFill>
              <a:srgbClr val="C5277F"/>
            </a:solidFill>
            <a:ln w="12700">
              <a:solidFill>
                <a:srgbClr val="7C1A4D"/>
              </a:solidFill>
              <a:miter lim="800000"/>
              <a:headEnd/>
              <a:tailEnd/>
            </a:ln>
          </p:spPr>
        </p:cxnSp>
        <p:cxnSp>
          <p:nvCxnSpPr>
            <p:cNvPr id="169" name="Straight Connector 168">
              <a:extLst>
                <a:ext uri="{FF2B5EF4-FFF2-40B4-BE49-F238E27FC236}">
                  <a16:creationId xmlns:a16="http://schemas.microsoft.com/office/drawing/2014/main" id="{EDD0C80D-17DD-7546-BAC0-5FC7334F81D2}"/>
                </a:ext>
              </a:extLst>
            </p:cNvPr>
            <p:cNvCxnSpPr/>
            <p:nvPr/>
          </p:nvCxnSpPr>
          <p:spPr>
            <a:xfrm>
              <a:off x="3211574" y="2999232"/>
              <a:ext cx="875794" cy="0"/>
            </a:xfrm>
            <a:prstGeom prst="line">
              <a:avLst/>
            </a:prstGeom>
            <a:solidFill>
              <a:srgbClr val="C5277F"/>
            </a:solidFill>
            <a:ln w="12700">
              <a:solidFill>
                <a:srgbClr val="7C1A4D"/>
              </a:solidFill>
              <a:miter lim="800000"/>
              <a:headEnd/>
              <a:tailEnd/>
            </a:ln>
          </p:spPr>
        </p:cxnSp>
      </p:grpSp>
      <p:grpSp>
        <p:nvGrpSpPr>
          <p:cNvPr id="156" name="Group 155">
            <a:extLst>
              <a:ext uri="{FF2B5EF4-FFF2-40B4-BE49-F238E27FC236}">
                <a16:creationId xmlns:a16="http://schemas.microsoft.com/office/drawing/2014/main" id="{2D49AD45-4B0E-D941-88B6-A08A5E37B572}"/>
              </a:ext>
            </a:extLst>
          </p:cNvPr>
          <p:cNvGrpSpPr/>
          <p:nvPr/>
        </p:nvGrpSpPr>
        <p:grpSpPr>
          <a:xfrm>
            <a:off x="3138652" y="1192172"/>
            <a:ext cx="1675337" cy="422732"/>
            <a:chOff x="3211574" y="2335474"/>
            <a:chExt cx="1382052" cy="663758"/>
          </a:xfrm>
        </p:grpSpPr>
        <p:sp>
          <p:nvSpPr>
            <p:cNvPr id="158" name="Rectangle 157">
              <a:extLst>
                <a:ext uri="{FF2B5EF4-FFF2-40B4-BE49-F238E27FC236}">
                  <a16:creationId xmlns:a16="http://schemas.microsoft.com/office/drawing/2014/main" id="{1A84CC81-12EA-D04B-84E6-55FA4CA8026A}"/>
                </a:ext>
              </a:extLst>
            </p:cNvPr>
            <p:cNvSpPr/>
            <p:nvPr/>
          </p:nvSpPr>
          <p:spPr>
            <a:xfrm>
              <a:off x="3338853" y="2335474"/>
              <a:ext cx="1254773" cy="663758"/>
            </a:xfrm>
            <a:prstGeom prst="rect">
              <a:avLst/>
            </a:prstGeom>
            <a:solidFill>
              <a:srgbClr val="C5277F"/>
            </a:solidFill>
            <a:ln w="12700">
              <a:solidFill>
                <a:srgbClr val="7C1A4D"/>
              </a:solidFill>
              <a:miter lim="800000"/>
              <a:headEnd/>
              <a:tailEnd/>
            </a:ln>
          </p:spPr>
          <p:txBody>
            <a:bodyPr wrap="none" lIns="108000" tIns="0" rIns="108000" bIns="0" anchor="ctr"/>
            <a:lstStyle/>
            <a:p>
              <a:pPr algn="ctr" defTabSz="449263" eaLnBrk="0" hangingPunct="0">
                <a:spcBef>
                  <a:spcPct val="20000"/>
                </a:spcBef>
                <a:buClr>
                  <a:schemeClr val="accent2"/>
                </a:buClr>
                <a:buSzPct val="13000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r>
                <a:rPr lang="en-US" sz="800" b="1" dirty="0">
                  <a:solidFill>
                    <a:schemeClr val="bg1"/>
                  </a:solidFill>
                </a:rPr>
                <a:t>Client</a:t>
              </a:r>
            </a:p>
          </p:txBody>
        </p:sp>
        <p:cxnSp>
          <p:nvCxnSpPr>
            <p:cNvPr id="159" name="Straight Connector 158">
              <a:extLst>
                <a:ext uri="{FF2B5EF4-FFF2-40B4-BE49-F238E27FC236}">
                  <a16:creationId xmlns:a16="http://schemas.microsoft.com/office/drawing/2014/main" id="{A99B13EB-B28D-CF4A-9980-CE6A5792719B}"/>
                </a:ext>
              </a:extLst>
            </p:cNvPr>
            <p:cNvCxnSpPr/>
            <p:nvPr/>
          </p:nvCxnSpPr>
          <p:spPr>
            <a:xfrm>
              <a:off x="3696207" y="2335474"/>
              <a:ext cx="875794" cy="0"/>
            </a:xfrm>
            <a:prstGeom prst="line">
              <a:avLst/>
            </a:prstGeom>
            <a:solidFill>
              <a:srgbClr val="C5277F"/>
            </a:solidFill>
            <a:ln w="12700">
              <a:solidFill>
                <a:srgbClr val="7C1A4D"/>
              </a:solidFill>
              <a:miter lim="800000"/>
              <a:headEnd/>
              <a:tailEnd/>
            </a:ln>
          </p:spPr>
        </p:cxnSp>
        <p:cxnSp>
          <p:nvCxnSpPr>
            <p:cNvPr id="160" name="Straight Connector 159">
              <a:extLst>
                <a:ext uri="{FF2B5EF4-FFF2-40B4-BE49-F238E27FC236}">
                  <a16:creationId xmlns:a16="http://schemas.microsoft.com/office/drawing/2014/main" id="{EE857E57-0E3F-1E45-A3DE-0B517088EDB1}"/>
                </a:ext>
              </a:extLst>
            </p:cNvPr>
            <p:cNvCxnSpPr/>
            <p:nvPr/>
          </p:nvCxnSpPr>
          <p:spPr>
            <a:xfrm>
              <a:off x="3211574" y="2999232"/>
              <a:ext cx="875794" cy="0"/>
            </a:xfrm>
            <a:prstGeom prst="line">
              <a:avLst/>
            </a:prstGeom>
            <a:solidFill>
              <a:srgbClr val="C5277F"/>
            </a:solidFill>
            <a:ln w="12700">
              <a:solidFill>
                <a:srgbClr val="7C1A4D"/>
              </a:solidFill>
              <a:miter lim="800000"/>
              <a:headEnd/>
              <a:tailEnd/>
            </a:ln>
          </p:spPr>
        </p:cxnSp>
      </p:grpSp>
      <p:grpSp>
        <p:nvGrpSpPr>
          <p:cNvPr id="151" name="Group 150">
            <a:extLst>
              <a:ext uri="{FF2B5EF4-FFF2-40B4-BE49-F238E27FC236}">
                <a16:creationId xmlns:a16="http://schemas.microsoft.com/office/drawing/2014/main" id="{3D40BB87-5807-2342-B7CE-E62F54775C5C}"/>
              </a:ext>
            </a:extLst>
          </p:cNvPr>
          <p:cNvGrpSpPr/>
          <p:nvPr/>
        </p:nvGrpSpPr>
        <p:grpSpPr>
          <a:xfrm>
            <a:off x="3052364" y="1300058"/>
            <a:ext cx="1675337" cy="422732"/>
            <a:chOff x="3211574" y="2335474"/>
            <a:chExt cx="1382052" cy="663758"/>
          </a:xfrm>
        </p:grpSpPr>
        <p:sp>
          <p:nvSpPr>
            <p:cNvPr id="152" name="Rectangle 151">
              <a:extLst>
                <a:ext uri="{FF2B5EF4-FFF2-40B4-BE49-F238E27FC236}">
                  <a16:creationId xmlns:a16="http://schemas.microsoft.com/office/drawing/2014/main" id="{34FD8832-6A7B-804A-B223-0AE2701E627F}"/>
                </a:ext>
              </a:extLst>
            </p:cNvPr>
            <p:cNvSpPr/>
            <p:nvPr/>
          </p:nvSpPr>
          <p:spPr>
            <a:xfrm>
              <a:off x="3338853" y="2335474"/>
              <a:ext cx="1254773" cy="663758"/>
            </a:xfrm>
            <a:prstGeom prst="rect">
              <a:avLst/>
            </a:prstGeom>
            <a:solidFill>
              <a:srgbClr val="C5277F"/>
            </a:solidFill>
            <a:ln w="12700">
              <a:solidFill>
                <a:srgbClr val="7C1A4D"/>
              </a:solidFill>
              <a:miter lim="800000"/>
              <a:headEnd/>
              <a:tailEnd/>
            </a:ln>
          </p:spPr>
          <p:txBody>
            <a:bodyPr wrap="none" lIns="108000" tIns="0" rIns="108000" bIns="0" anchor="ctr"/>
            <a:lstStyle/>
            <a:p>
              <a:pPr algn="ctr" defTabSz="449263" eaLnBrk="0" hangingPunct="0">
                <a:spcBef>
                  <a:spcPct val="20000"/>
                </a:spcBef>
                <a:buClr>
                  <a:schemeClr val="accent2"/>
                </a:buClr>
                <a:buSzPct val="13000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r>
                <a:rPr lang="en-US" sz="800" b="1" dirty="0">
                  <a:solidFill>
                    <a:schemeClr val="bg1"/>
                  </a:solidFill>
                </a:rPr>
                <a:t>Client</a:t>
              </a:r>
            </a:p>
          </p:txBody>
        </p:sp>
        <p:cxnSp>
          <p:nvCxnSpPr>
            <p:cNvPr id="153" name="Straight Connector 152">
              <a:extLst>
                <a:ext uri="{FF2B5EF4-FFF2-40B4-BE49-F238E27FC236}">
                  <a16:creationId xmlns:a16="http://schemas.microsoft.com/office/drawing/2014/main" id="{E8EA2D41-735A-6A46-A84D-3592C6685156}"/>
                </a:ext>
              </a:extLst>
            </p:cNvPr>
            <p:cNvCxnSpPr/>
            <p:nvPr/>
          </p:nvCxnSpPr>
          <p:spPr>
            <a:xfrm>
              <a:off x="3696207" y="2335474"/>
              <a:ext cx="875794" cy="0"/>
            </a:xfrm>
            <a:prstGeom prst="line">
              <a:avLst/>
            </a:prstGeom>
            <a:solidFill>
              <a:srgbClr val="C5277F"/>
            </a:solidFill>
            <a:ln w="12700">
              <a:solidFill>
                <a:srgbClr val="7C1A4D"/>
              </a:solidFill>
              <a:miter lim="800000"/>
              <a:headEnd/>
              <a:tailEnd/>
            </a:ln>
          </p:spPr>
        </p:cxnSp>
        <p:cxnSp>
          <p:nvCxnSpPr>
            <p:cNvPr id="155" name="Straight Connector 154">
              <a:extLst>
                <a:ext uri="{FF2B5EF4-FFF2-40B4-BE49-F238E27FC236}">
                  <a16:creationId xmlns:a16="http://schemas.microsoft.com/office/drawing/2014/main" id="{3D15BC7F-E940-6041-ADBE-4C09904B972C}"/>
                </a:ext>
              </a:extLst>
            </p:cNvPr>
            <p:cNvCxnSpPr/>
            <p:nvPr/>
          </p:nvCxnSpPr>
          <p:spPr>
            <a:xfrm>
              <a:off x="3211574" y="2999232"/>
              <a:ext cx="875794" cy="0"/>
            </a:xfrm>
            <a:prstGeom prst="line">
              <a:avLst/>
            </a:prstGeom>
            <a:solidFill>
              <a:srgbClr val="C5277F"/>
            </a:solidFill>
            <a:ln w="12700">
              <a:solidFill>
                <a:srgbClr val="7C1A4D"/>
              </a:solidFill>
              <a:miter lim="800000"/>
              <a:headEnd/>
              <a:tailEnd/>
            </a:ln>
          </p:spPr>
        </p:cxnSp>
      </p:grpSp>
      <p:grpSp>
        <p:nvGrpSpPr>
          <p:cNvPr id="23" name="Group 22">
            <a:extLst>
              <a:ext uri="{FF2B5EF4-FFF2-40B4-BE49-F238E27FC236}">
                <a16:creationId xmlns:a16="http://schemas.microsoft.com/office/drawing/2014/main" id="{D661E5BE-A725-2D40-A20D-8EDA3A658431}"/>
              </a:ext>
            </a:extLst>
          </p:cNvPr>
          <p:cNvGrpSpPr/>
          <p:nvPr/>
        </p:nvGrpSpPr>
        <p:grpSpPr>
          <a:xfrm>
            <a:off x="2936469" y="2982997"/>
            <a:ext cx="1673808" cy="407913"/>
            <a:chOff x="3211574" y="2335474"/>
            <a:chExt cx="1382052" cy="663758"/>
          </a:xfrm>
        </p:grpSpPr>
        <p:sp>
          <p:nvSpPr>
            <p:cNvPr id="24" name="Rectangle 23">
              <a:extLst>
                <a:ext uri="{FF2B5EF4-FFF2-40B4-BE49-F238E27FC236}">
                  <a16:creationId xmlns:a16="http://schemas.microsoft.com/office/drawing/2014/main" id="{AD0FFC8D-6E92-594B-83D2-3CE8674212BB}"/>
                </a:ext>
              </a:extLst>
            </p:cNvPr>
            <p:cNvSpPr/>
            <p:nvPr/>
          </p:nvSpPr>
          <p:spPr>
            <a:xfrm>
              <a:off x="3338853" y="2335474"/>
              <a:ext cx="1254773" cy="663758"/>
            </a:xfrm>
            <a:prstGeom prst="rect">
              <a:avLst/>
            </a:prstGeom>
            <a:solidFill>
              <a:srgbClr val="87CBD8"/>
            </a:solidFill>
            <a:ln w="9525">
              <a:solidFill>
                <a:srgbClr val="0067B7"/>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800" dirty="0" err="1">
                  <a:solidFill>
                    <a:srgbClr val="0067B7"/>
                  </a:solidFill>
                  <a:effectLst>
                    <a:outerShdw blurRad="50800" dist="50800" dir="5400000" algn="ctr" rotWithShape="0">
                      <a:srgbClr val="000000">
                        <a:alpha val="0"/>
                      </a:srgbClr>
                    </a:outerShdw>
                    <a:reflection endPos="0" dist="50800" dir="5400000" sy="-100000" algn="bl" rotWithShape="0"/>
                  </a:effectLst>
                  <a:ea typeface="Klee Medium" panose="02020600000000000000" pitchFamily="18" charset="-128"/>
                </a:rPr>
                <a:t>ProducerEngine</a:t>
              </a:r>
              <a:endParaRPr lang="en-US" sz="800" dirty="0">
                <a:solidFill>
                  <a:srgbClr val="0067B7"/>
                </a:solidFill>
                <a:effectLst>
                  <a:outerShdw blurRad="50800" dist="50800" dir="5400000" algn="ctr" rotWithShape="0">
                    <a:srgbClr val="000000">
                      <a:alpha val="0"/>
                    </a:srgbClr>
                  </a:outerShdw>
                  <a:reflection endPos="0" dist="50800" dir="5400000" sy="-100000" algn="bl" rotWithShape="0"/>
                </a:effectLst>
                <a:ea typeface="Klee Medium" panose="02020600000000000000" pitchFamily="18" charset="-128"/>
              </a:endParaRPr>
            </a:p>
          </p:txBody>
        </p:sp>
        <p:cxnSp>
          <p:nvCxnSpPr>
            <p:cNvPr id="25" name="Straight Connector 24">
              <a:extLst>
                <a:ext uri="{FF2B5EF4-FFF2-40B4-BE49-F238E27FC236}">
                  <a16:creationId xmlns:a16="http://schemas.microsoft.com/office/drawing/2014/main" id="{4F211469-B602-BC4C-BB90-229760208E80}"/>
                </a:ext>
              </a:extLst>
            </p:cNvPr>
            <p:cNvCxnSpPr/>
            <p:nvPr/>
          </p:nvCxnSpPr>
          <p:spPr>
            <a:xfrm>
              <a:off x="3696207" y="2335474"/>
              <a:ext cx="875794" cy="0"/>
            </a:xfrm>
            <a:prstGeom prst="line">
              <a:avLst/>
            </a:prstGeom>
            <a:solidFill>
              <a:srgbClr val="87CBD8"/>
            </a:solidFill>
            <a:ln w="9525">
              <a:solidFill>
                <a:srgbClr val="0067B7"/>
              </a:solidFill>
            </a:ln>
            <a:effectLst/>
          </p:spPr>
          <p:style>
            <a:lnRef idx="2">
              <a:schemeClr val="accent1">
                <a:shade val="50000"/>
              </a:schemeClr>
            </a:lnRef>
            <a:fillRef idx="1">
              <a:schemeClr val="accent1"/>
            </a:fillRef>
            <a:effectRef idx="0">
              <a:schemeClr val="accent1"/>
            </a:effectRef>
            <a:fontRef idx="minor">
              <a:schemeClr val="lt1"/>
            </a:fontRef>
          </p:style>
        </p:cxnSp>
        <p:cxnSp>
          <p:nvCxnSpPr>
            <p:cNvPr id="26" name="Straight Connector 25">
              <a:extLst>
                <a:ext uri="{FF2B5EF4-FFF2-40B4-BE49-F238E27FC236}">
                  <a16:creationId xmlns:a16="http://schemas.microsoft.com/office/drawing/2014/main" id="{F7E31806-EFB1-D847-A79A-A6697A4DFBBA}"/>
                </a:ext>
              </a:extLst>
            </p:cNvPr>
            <p:cNvCxnSpPr/>
            <p:nvPr/>
          </p:nvCxnSpPr>
          <p:spPr>
            <a:xfrm>
              <a:off x="3211574" y="2999232"/>
              <a:ext cx="875794" cy="0"/>
            </a:xfrm>
            <a:prstGeom prst="line">
              <a:avLst/>
            </a:prstGeom>
            <a:solidFill>
              <a:srgbClr val="87CBD8"/>
            </a:solidFill>
            <a:ln w="9525">
              <a:solidFill>
                <a:srgbClr val="0067B7"/>
              </a:solidFill>
            </a:ln>
            <a:effectLst/>
          </p:spPr>
          <p:style>
            <a:lnRef idx="2">
              <a:schemeClr val="accent1">
                <a:shade val="50000"/>
              </a:schemeClr>
            </a:lnRef>
            <a:fillRef idx="1">
              <a:schemeClr val="accent1"/>
            </a:fillRef>
            <a:effectRef idx="0">
              <a:schemeClr val="accent1"/>
            </a:effectRef>
            <a:fontRef idx="minor">
              <a:schemeClr val="lt1"/>
            </a:fontRef>
          </p:style>
        </p:cxnSp>
      </p:grpSp>
      <p:grpSp>
        <p:nvGrpSpPr>
          <p:cNvPr id="34" name="Group 33">
            <a:extLst>
              <a:ext uri="{FF2B5EF4-FFF2-40B4-BE49-F238E27FC236}">
                <a16:creationId xmlns:a16="http://schemas.microsoft.com/office/drawing/2014/main" id="{016BED65-2F92-EE4A-85DC-A8BAD257F167}"/>
              </a:ext>
            </a:extLst>
          </p:cNvPr>
          <p:cNvGrpSpPr/>
          <p:nvPr/>
        </p:nvGrpSpPr>
        <p:grpSpPr>
          <a:xfrm>
            <a:off x="5274023" y="2976403"/>
            <a:ext cx="1003074" cy="429082"/>
            <a:chOff x="3350489" y="2324964"/>
            <a:chExt cx="1003074" cy="663758"/>
          </a:xfrm>
        </p:grpSpPr>
        <p:grpSp>
          <p:nvGrpSpPr>
            <p:cNvPr id="18" name="Group 17">
              <a:extLst>
                <a:ext uri="{FF2B5EF4-FFF2-40B4-BE49-F238E27FC236}">
                  <a16:creationId xmlns:a16="http://schemas.microsoft.com/office/drawing/2014/main" id="{18565217-7293-C648-95A0-175D10CA2CCC}"/>
                </a:ext>
              </a:extLst>
            </p:cNvPr>
            <p:cNvGrpSpPr/>
            <p:nvPr/>
          </p:nvGrpSpPr>
          <p:grpSpPr>
            <a:xfrm>
              <a:off x="3350489" y="2324964"/>
              <a:ext cx="1003074" cy="663758"/>
              <a:chOff x="3211574" y="2335474"/>
              <a:chExt cx="1003074" cy="663758"/>
            </a:xfrm>
          </p:grpSpPr>
          <p:sp>
            <p:nvSpPr>
              <p:cNvPr id="2" name="Rectangle 1">
                <a:extLst>
                  <a:ext uri="{FF2B5EF4-FFF2-40B4-BE49-F238E27FC236}">
                    <a16:creationId xmlns:a16="http://schemas.microsoft.com/office/drawing/2014/main" id="{FC7D91C5-6153-8E4D-95E6-AF26DBCCAF8D}"/>
                  </a:ext>
                </a:extLst>
              </p:cNvPr>
              <p:cNvSpPr/>
              <p:nvPr/>
            </p:nvSpPr>
            <p:spPr>
              <a:xfrm>
                <a:off x="3338854" y="2335474"/>
                <a:ext cx="748514" cy="663758"/>
              </a:xfrm>
              <a:prstGeom prst="rect">
                <a:avLst/>
              </a:prstGeom>
              <a:solidFill>
                <a:schemeClr val="bg1"/>
              </a:solidFill>
              <a:ln w="9525">
                <a:solidFill>
                  <a:srgbClr val="0067B7"/>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000" b="1" dirty="0">
                  <a:solidFill>
                    <a:srgbClr val="002D72"/>
                  </a:solidFill>
                  <a:cs typeface="Arial" pitchFamily="34" charset="0"/>
                </a:endParaRPr>
              </a:p>
            </p:txBody>
          </p:sp>
          <p:cxnSp>
            <p:nvCxnSpPr>
              <p:cNvPr id="4" name="Straight Connector 3">
                <a:extLst>
                  <a:ext uri="{FF2B5EF4-FFF2-40B4-BE49-F238E27FC236}">
                    <a16:creationId xmlns:a16="http://schemas.microsoft.com/office/drawing/2014/main" id="{36E50090-7529-6D49-914E-6374EC4CDC8E}"/>
                  </a:ext>
                </a:extLst>
              </p:cNvPr>
              <p:cNvCxnSpPr/>
              <p:nvPr/>
            </p:nvCxnSpPr>
            <p:spPr>
              <a:xfrm>
                <a:off x="3338854" y="2335474"/>
                <a:ext cx="875794" cy="0"/>
              </a:xfrm>
              <a:prstGeom prst="line">
                <a:avLst/>
              </a:prstGeom>
              <a:ln>
                <a:solidFill>
                  <a:srgbClr val="0067B7"/>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EF2019FB-6A49-8644-8326-16C077CE9F29}"/>
                  </a:ext>
                </a:extLst>
              </p:cNvPr>
              <p:cNvCxnSpPr/>
              <p:nvPr/>
            </p:nvCxnSpPr>
            <p:spPr>
              <a:xfrm>
                <a:off x="3211574" y="2999232"/>
                <a:ext cx="875794" cy="0"/>
              </a:xfrm>
              <a:prstGeom prst="line">
                <a:avLst/>
              </a:prstGeom>
              <a:ln>
                <a:solidFill>
                  <a:srgbClr val="0067B7"/>
                </a:solidFill>
              </a:ln>
            </p:spPr>
            <p:style>
              <a:lnRef idx="1">
                <a:schemeClr val="accent1"/>
              </a:lnRef>
              <a:fillRef idx="0">
                <a:schemeClr val="accent1"/>
              </a:fillRef>
              <a:effectRef idx="0">
                <a:schemeClr val="accent1"/>
              </a:effectRef>
              <a:fontRef idx="minor">
                <a:schemeClr val="tx1"/>
              </a:fontRef>
            </p:style>
          </p:cxnSp>
        </p:grpSp>
        <p:sp>
          <p:nvSpPr>
            <p:cNvPr id="43" name="Google Shape;61;p12">
              <a:extLst>
                <a:ext uri="{FF2B5EF4-FFF2-40B4-BE49-F238E27FC236}">
                  <a16:creationId xmlns:a16="http://schemas.microsoft.com/office/drawing/2014/main" id="{ED38EA53-986F-B34C-8639-30D78FC00324}"/>
                </a:ext>
              </a:extLst>
            </p:cNvPr>
            <p:cNvSpPr txBox="1">
              <a:spLocks/>
            </p:cNvSpPr>
            <p:nvPr/>
          </p:nvSpPr>
          <p:spPr>
            <a:xfrm>
              <a:off x="3497423" y="2361598"/>
              <a:ext cx="701126" cy="559263"/>
            </a:xfrm>
            <a:prstGeom prst="rect">
              <a:avLst/>
            </a:prstGeom>
          </p:spPr>
          <p:txBody>
            <a:bodyPr spcFirstLastPara="1" vert="horz" wrap="square" lIns="91425" tIns="91425" rIns="91425" bIns="91425" rtlCol="0" anchor="t"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spcBef>
                  <a:spcPts val="0"/>
                </a:spcBef>
              </a:pPr>
              <a:r>
                <a:rPr lang="en-US" sz="800" b="1" dirty="0">
                  <a:solidFill>
                    <a:srgbClr val="0067B7"/>
                  </a:solidFill>
                  <a:effectLst>
                    <a:outerShdw blurRad="50800" dist="50800" dir="5400000" algn="ctr" rotWithShape="0">
                      <a:srgbClr val="000000">
                        <a:alpha val="0"/>
                      </a:srgbClr>
                    </a:outerShdw>
                    <a:reflection endPos="0" dist="50800" dir="5400000" sy="-100000" algn="bl" rotWithShape="0"/>
                  </a:effectLst>
                  <a:latin typeface="+mn-lt"/>
                  <a:ea typeface="Nanum Pen Script" panose="03040600000000000000" pitchFamily="66" charset="-127"/>
                  <a:cs typeface="Arial" panose="020B0604020202020204" pitchFamily="34" charset="0"/>
                </a:rPr>
                <a:t>Kafka</a:t>
              </a:r>
            </a:p>
            <a:p>
              <a:pPr>
                <a:spcBef>
                  <a:spcPts val="0"/>
                </a:spcBef>
              </a:pPr>
              <a:r>
                <a:rPr lang="en-US" sz="800" b="1" dirty="0">
                  <a:solidFill>
                    <a:srgbClr val="0067B7"/>
                  </a:solidFill>
                  <a:effectLst>
                    <a:outerShdw blurRad="50800" dist="50800" dir="5400000" algn="ctr" rotWithShape="0">
                      <a:srgbClr val="000000">
                        <a:alpha val="0"/>
                      </a:srgbClr>
                    </a:outerShdw>
                    <a:reflection endPos="0" dist="50800" dir="5400000" sy="-100000" algn="bl" rotWithShape="0"/>
                  </a:effectLst>
                  <a:latin typeface="+mn-lt"/>
                  <a:ea typeface="Nanum Pen Script" panose="03040600000000000000" pitchFamily="66" charset="-127"/>
                  <a:cs typeface="Arial" panose="020B0604020202020204" pitchFamily="34" charset="0"/>
                </a:rPr>
                <a:t>Broker</a:t>
              </a:r>
            </a:p>
          </p:txBody>
        </p:sp>
      </p:grpSp>
      <p:grpSp>
        <p:nvGrpSpPr>
          <p:cNvPr id="96" name="Group 95">
            <a:extLst>
              <a:ext uri="{FF2B5EF4-FFF2-40B4-BE49-F238E27FC236}">
                <a16:creationId xmlns:a16="http://schemas.microsoft.com/office/drawing/2014/main" id="{6ED51A12-B0FD-5F44-AEBB-AEE7FBC6DEAC}"/>
              </a:ext>
            </a:extLst>
          </p:cNvPr>
          <p:cNvGrpSpPr/>
          <p:nvPr/>
        </p:nvGrpSpPr>
        <p:grpSpPr>
          <a:xfrm>
            <a:off x="1855805" y="4419334"/>
            <a:ext cx="1929775" cy="407913"/>
            <a:chOff x="3211574" y="2335474"/>
            <a:chExt cx="1360427" cy="663758"/>
          </a:xfrm>
        </p:grpSpPr>
        <p:sp>
          <p:nvSpPr>
            <p:cNvPr id="97" name="Rectangle 96">
              <a:extLst>
                <a:ext uri="{FF2B5EF4-FFF2-40B4-BE49-F238E27FC236}">
                  <a16:creationId xmlns:a16="http://schemas.microsoft.com/office/drawing/2014/main" id="{404E5F57-9305-CF4B-9EAE-7A7D4D9AB529}"/>
                </a:ext>
              </a:extLst>
            </p:cNvPr>
            <p:cNvSpPr/>
            <p:nvPr/>
          </p:nvSpPr>
          <p:spPr>
            <a:xfrm>
              <a:off x="3338853" y="2335474"/>
              <a:ext cx="1101769" cy="663758"/>
            </a:xfrm>
            <a:prstGeom prst="rect">
              <a:avLst/>
            </a:prstGeom>
            <a:solidFill>
              <a:srgbClr val="87CBD8"/>
            </a:solidFill>
            <a:ln w="9525">
              <a:solidFill>
                <a:srgbClr val="0067B7"/>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800" dirty="0" err="1">
                  <a:solidFill>
                    <a:srgbClr val="0067B7"/>
                  </a:solidFill>
                  <a:effectLst>
                    <a:outerShdw blurRad="50800" dist="50800" dir="5400000" algn="ctr" rotWithShape="0">
                      <a:srgbClr val="000000">
                        <a:alpha val="0"/>
                      </a:srgbClr>
                    </a:outerShdw>
                    <a:reflection endPos="0" dist="50800" dir="5400000" sy="-100000" algn="bl" rotWithShape="0"/>
                  </a:effectLst>
                  <a:ea typeface="Klee Medium" panose="02020600000000000000" pitchFamily="18" charset="-128"/>
                </a:rPr>
                <a:t>SourcesService</a:t>
              </a:r>
              <a:endParaRPr lang="en-US" sz="800" dirty="0">
                <a:solidFill>
                  <a:srgbClr val="0067B7"/>
                </a:solidFill>
                <a:effectLst>
                  <a:outerShdw blurRad="50800" dist="50800" dir="5400000" algn="ctr" rotWithShape="0">
                    <a:srgbClr val="000000">
                      <a:alpha val="0"/>
                    </a:srgbClr>
                  </a:outerShdw>
                  <a:reflection endPos="0" dist="50800" dir="5400000" sy="-100000" algn="bl" rotWithShape="0"/>
                </a:effectLst>
                <a:ea typeface="Klee Medium" panose="02020600000000000000" pitchFamily="18" charset="-128"/>
              </a:endParaRPr>
            </a:p>
          </p:txBody>
        </p:sp>
        <p:cxnSp>
          <p:nvCxnSpPr>
            <p:cNvPr id="98" name="Straight Connector 97">
              <a:extLst>
                <a:ext uri="{FF2B5EF4-FFF2-40B4-BE49-F238E27FC236}">
                  <a16:creationId xmlns:a16="http://schemas.microsoft.com/office/drawing/2014/main" id="{3630BF3B-8244-024F-81B8-4E9F18C9F7EE}"/>
                </a:ext>
              </a:extLst>
            </p:cNvPr>
            <p:cNvCxnSpPr/>
            <p:nvPr/>
          </p:nvCxnSpPr>
          <p:spPr>
            <a:xfrm>
              <a:off x="3696207" y="2335474"/>
              <a:ext cx="875794" cy="0"/>
            </a:xfrm>
            <a:prstGeom prst="line">
              <a:avLst/>
            </a:prstGeom>
            <a:solidFill>
              <a:srgbClr val="87CBD8"/>
            </a:solidFill>
            <a:ln w="9525">
              <a:solidFill>
                <a:srgbClr val="0067B7"/>
              </a:solidFill>
            </a:ln>
            <a:effectLst/>
          </p:spPr>
          <p:style>
            <a:lnRef idx="2">
              <a:schemeClr val="accent1">
                <a:shade val="50000"/>
              </a:schemeClr>
            </a:lnRef>
            <a:fillRef idx="1">
              <a:schemeClr val="accent1"/>
            </a:fillRef>
            <a:effectRef idx="0">
              <a:schemeClr val="accent1"/>
            </a:effectRef>
            <a:fontRef idx="minor">
              <a:schemeClr val="lt1"/>
            </a:fontRef>
          </p:style>
        </p:cxnSp>
        <p:cxnSp>
          <p:nvCxnSpPr>
            <p:cNvPr id="99" name="Straight Connector 98">
              <a:extLst>
                <a:ext uri="{FF2B5EF4-FFF2-40B4-BE49-F238E27FC236}">
                  <a16:creationId xmlns:a16="http://schemas.microsoft.com/office/drawing/2014/main" id="{50A19B0B-B2DC-574F-B034-15155AE7A297}"/>
                </a:ext>
              </a:extLst>
            </p:cNvPr>
            <p:cNvCxnSpPr/>
            <p:nvPr/>
          </p:nvCxnSpPr>
          <p:spPr>
            <a:xfrm>
              <a:off x="3211574" y="2999232"/>
              <a:ext cx="875794" cy="0"/>
            </a:xfrm>
            <a:prstGeom prst="line">
              <a:avLst/>
            </a:prstGeom>
            <a:solidFill>
              <a:srgbClr val="87CBD8"/>
            </a:solidFill>
            <a:ln w="9525">
              <a:solidFill>
                <a:srgbClr val="0067B7"/>
              </a:solidFill>
            </a:ln>
            <a:effectLst/>
          </p:spPr>
          <p:style>
            <a:lnRef idx="2">
              <a:schemeClr val="accent1">
                <a:shade val="50000"/>
              </a:schemeClr>
            </a:lnRef>
            <a:fillRef idx="1">
              <a:schemeClr val="accent1"/>
            </a:fillRef>
            <a:effectRef idx="0">
              <a:schemeClr val="accent1"/>
            </a:effectRef>
            <a:fontRef idx="minor">
              <a:schemeClr val="lt1"/>
            </a:fontRef>
          </p:style>
        </p:cxnSp>
      </p:grpSp>
      <p:grpSp>
        <p:nvGrpSpPr>
          <p:cNvPr id="74" name="Group 73">
            <a:extLst>
              <a:ext uri="{FF2B5EF4-FFF2-40B4-BE49-F238E27FC236}">
                <a16:creationId xmlns:a16="http://schemas.microsoft.com/office/drawing/2014/main" id="{AD8DD713-B16D-CC41-A78D-0F6276C6365B}"/>
              </a:ext>
            </a:extLst>
          </p:cNvPr>
          <p:cNvGrpSpPr/>
          <p:nvPr/>
        </p:nvGrpSpPr>
        <p:grpSpPr>
          <a:xfrm>
            <a:off x="7365799" y="2976404"/>
            <a:ext cx="1687888" cy="414506"/>
            <a:chOff x="3211574" y="2335474"/>
            <a:chExt cx="1382052" cy="663758"/>
          </a:xfrm>
        </p:grpSpPr>
        <p:sp>
          <p:nvSpPr>
            <p:cNvPr id="76" name="Rectangle 75">
              <a:extLst>
                <a:ext uri="{FF2B5EF4-FFF2-40B4-BE49-F238E27FC236}">
                  <a16:creationId xmlns:a16="http://schemas.microsoft.com/office/drawing/2014/main" id="{A715BE19-E87B-364A-89F2-54238129C2FA}"/>
                </a:ext>
              </a:extLst>
            </p:cNvPr>
            <p:cNvSpPr/>
            <p:nvPr/>
          </p:nvSpPr>
          <p:spPr>
            <a:xfrm>
              <a:off x="3338853" y="2335474"/>
              <a:ext cx="1254773" cy="663758"/>
            </a:xfrm>
            <a:prstGeom prst="rect">
              <a:avLst/>
            </a:prstGeom>
            <a:solidFill>
              <a:srgbClr val="87CBD8"/>
            </a:solidFill>
            <a:ln w="9525">
              <a:solidFill>
                <a:srgbClr val="0067B7"/>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800" dirty="0" err="1">
                  <a:solidFill>
                    <a:srgbClr val="0067B7"/>
                  </a:solidFill>
                  <a:effectLst>
                    <a:outerShdw blurRad="50800" dist="50800" dir="5400000" algn="ctr" rotWithShape="0">
                      <a:srgbClr val="000000">
                        <a:alpha val="0"/>
                      </a:srgbClr>
                    </a:outerShdw>
                    <a:reflection endPos="0" dist="50800" dir="5400000" sy="-100000" algn="bl" rotWithShape="0"/>
                  </a:effectLst>
                  <a:ea typeface="Klee Medium" panose="02020600000000000000" pitchFamily="18" charset="-128"/>
                </a:rPr>
                <a:t>ConsumerEngie</a:t>
              </a:r>
              <a:endParaRPr lang="en-US" sz="800" dirty="0">
                <a:solidFill>
                  <a:srgbClr val="0067B7"/>
                </a:solidFill>
                <a:effectLst>
                  <a:outerShdw blurRad="50800" dist="50800" dir="5400000" algn="ctr" rotWithShape="0">
                    <a:srgbClr val="000000">
                      <a:alpha val="0"/>
                    </a:srgbClr>
                  </a:outerShdw>
                  <a:reflection endPos="0" dist="50800" dir="5400000" sy="-100000" algn="bl" rotWithShape="0"/>
                </a:effectLst>
                <a:ea typeface="Klee Medium" panose="02020600000000000000" pitchFamily="18" charset="-128"/>
              </a:endParaRPr>
            </a:p>
          </p:txBody>
        </p:sp>
        <p:cxnSp>
          <p:nvCxnSpPr>
            <p:cNvPr id="77" name="Straight Connector 76">
              <a:extLst>
                <a:ext uri="{FF2B5EF4-FFF2-40B4-BE49-F238E27FC236}">
                  <a16:creationId xmlns:a16="http://schemas.microsoft.com/office/drawing/2014/main" id="{19C80CBB-A0D9-DD4C-A001-D3A94A539A23}"/>
                </a:ext>
              </a:extLst>
            </p:cNvPr>
            <p:cNvCxnSpPr/>
            <p:nvPr/>
          </p:nvCxnSpPr>
          <p:spPr>
            <a:xfrm>
              <a:off x="3696207" y="2335474"/>
              <a:ext cx="875794" cy="0"/>
            </a:xfrm>
            <a:prstGeom prst="line">
              <a:avLst/>
            </a:prstGeom>
            <a:solidFill>
              <a:srgbClr val="87CBD8"/>
            </a:solidFill>
            <a:ln w="9525">
              <a:solidFill>
                <a:srgbClr val="0067B7"/>
              </a:solidFill>
            </a:ln>
            <a:effectLst/>
          </p:spPr>
          <p:style>
            <a:lnRef idx="2">
              <a:schemeClr val="accent1">
                <a:shade val="50000"/>
              </a:schemeClr>
            </a:lnRef>
            <a:fillRef idx="1">
              <a:schemeClr val="accent1"/>
            </a:fillRef>
            <a:effectRef idx="0">
              <a:schemeClr val="accent1"/>
            </a:effectRef>
            <a:fontRef idx="minor">
              <a:schemeClr val="lt1"/>
            </a:fontRef>
          </p:style>
        </p:cxnSp>
        <p:cxnSp>
          <p:nvCxnSpPr>
            <p:cNvPr id="89" name="Straight Connector 88">
              <a:extLst>
                <a:ext uri="{FF2B5EF4-FFF2-40B4-BE49-F238E27FC236}">
                  <a16:creationId xmlns:a16="http://schemas.microsoft.com/office/drawing/2014/main" id="{C0E7B360-F733-0342-AFFD-728007962826}"/>
                </a:ext>
              </a:extLst>
            </p:cNvPr>
            <p:cNvCxnSpPr/>
            <p:nvPr/>
          </p:nvCxnSpPr>
          <p:spPr>
            <a:xfrm>
              <a:off x="3211574" y="2999232"/>
              <a:ext cx="875794" cy="0"/>
            </a:xfrm>
            <a:prstGeom prst="line">
              <a:avLst/>
            </a:prstGeom>
            <a:solidFill>
              <a:srgbClr val="87CBD8"/>
            </a:solidFill>
            <a:ln w="9525">
              <a:solidFill>
                <a:srgbClr val="0067B7"/>
              </a:solidFill>
            </a:ln>
            <a:effectLst/>
          </p:spPr>
          <p:style>
            <a:lnRef idx="2">
              <a:schemeClr val="accent1">
                <a:shade val="50000"/>
              </a:schemeClr>
            </a:lnRef>
            <a:fillRef idx="1">
              <a:schemeClr val="accent1"/>
            </a:fillRef>
            <a:effectRef idx="0">
              <a:schemeClr val="accent1"/>
            </a:effectRef>
            <a:fontRef idx="minor">
              <a:schemeClr val="lt1"/>
            </a:fontRef>
          </p:style>
        </p:cxnSp>
      </p:grpSp>
      <p:grpSp>
        <p:nvGrpSpPr>
          <p:cNvPr id="91" name="Group 90">
            <a:extLst>
              <a:ext uri="{FF2B5EF4-FFF2-40B4-BE49-F238E27FC236}">
                <a16:creationId xmlns:a16="http://schemas.microsoft.com/office/drawing/2014/main" id="{DDBBDC89-6588-5545-8B74-0F41C8C3CB8C}"/>
              </a:ext>
            </a:extLst>
          </p:cNvPr>
          <p:cNvGrpSpPr/>
          <p:nvPr/>
        </p:nvGrpSpPr>
        <p:grpSpPr>
          <a:xfrm>
            <a:off x="7370895" y="2144113"/>
            <a:ext cx="1687888" cy="413589"/>
            <a:chOff x="3211574" y="2335474"/>
            <a:chExt cx="1382052" cy="663758"/>
          </a:xfrm>
        </p:grpSpPr>
        <p:sp>
          <p:nvSpPr>
            <p:cNvPr id="92" name="Rectangle 91">
              <a:extLst>
                <a:ext uri="{FF2B5EF4-FFF2-40B4-BE49-F238E27FC236}">
                  <a16:creationId xmlns:a16="http://schemas.microsoft.com/office/drawing/2014/main" id="{EEB91AFA-BF48-CB45-82DF-BAD82647142B}"/>
                </a:ext>
              </a:extLst>
            </p:cNvPr>
            <p:cNvSpPr/>
            <p:nvPr/>
          </p:nvSpPr>
          <p:spPr>
            <a:xfrm>
              <a:off x="3338853" y="2335474"/>
              <a:ext cx="1254773" cy="663758"/>
            </a:xfrm>
            <a:prstGeom prst="rect">
              <a:avLst/>
            </a:prstGeom>
            <a:solidFill>
              <a:srgbClr val="87CBD8"/>
            </a:solidFill>
            <a:ln w="9525">
              <a:solidFill>
                <a:srgbClr val="0067B7"/>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800" dirty="0" err="1">
                  <a:solidFill>
                    <a:srgbClr val="0067B7"/>
                  </a:solidFill>
                  <a:effectLst>
                    <a:outerShdw blurRad="50800" dist="50800" dir="5400000" algn="ctr" rotWithShape="0">
                      <a:srgbClr val="000000">
                        <a:alpha val="0"/>
                      </a:srgbClr>
                    </a:outerShdw>
                    <a:reflection endPos="0" dist="50800" dir="5400000" sy="-100000" algn="bl" rotWithShape="0"/>
                  </a:effectLst>
                  <a:ea typeface="Klee Medium" panose="02020600000000000000" pitchFamily="18" charset="-128"/>
                </a:rPr>
                <a:t>ConsumerService</a:t>
              </a:r>
              <a:endParaRPr lang="en-US" sz="800" dirty="0">
                <a:solidFill>
                  <a:srgbClr val="0067B7"/>
                </a:solidFill>
                <a:effectLst>
                  <a:outerShdw blurRad="50800" dist="50800" dir="5400000" algn="ctr" rotWithShape="0">
                    <a:srgbClr val="000000">
                      <a:alpha val="0"/>
                    </a:srgbClr>
                  </a:outerShdw>
                  <a:reflection endPos="0" dist="50800" dir="5400000" sy="-100000" algn="bl" rotWithShape="0"/>
                </a:effectLst>
                <a:ea typeface="Klee Medium" panose="02020600000000000000" pitchFamily="18" charset="-128"/>
              </a:endParaRPr>
            </a:p>
          </p:txBody>
        </p:sp>
        <p:cxnSp>
          <p:nvCxnSpPr>
            <p:cNvPr id="93" name="Straight Connector 92">
              <a:extLst>
                <a:ext uri="{FF2B5EF4-FFF2-40B4-BE49-F238E27FC236}">
                  <a16:creationId xmlns:a16="http://schemas.microsoft.com/office/drawing/2014/main" id="{53B2CAE1-DB84-8A48-9A98-4DFDC6CD3376}"/>
                </a:ext>
              </a:extLst>
            </p:cNvPr>
            <p:cNvCxnSpPr/>
            <p:nvPr/>
          </p:nvCxnSpPr>
          <p:spPr>
            <a:xfrm>
              <a:off x="3696207" y="2335474"/>
              <a:ext cx="875794" cy="0"/>
            </a:xfrm>
            <a:prstGeom prst="line">
              <a:avLst/>
            </a:prstGeom>
            <a:ln>
              <a:solidFill>
                <a:srgbClr val="0067B7"/>
              </a:solidFill>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0D14AFF-3A15-5B42-B915-DDF6C93462A2}"/>
                </a:ext>
              </a:extLst>
            </p:cNvPr>
            <p:cNvCxnSpPr/>
            <p:nvPr/>
          </p:nvCxnSpPr>
          <p:spPr>
            <a:xfrm>
              <a:off x="3211574" y="2999232"/>
              <a:ext cx="875794" cy="0"/>
            </a:xfrm>
            <a:prstGeom prst="line">
              <a:avLst/>
            </a:prstGeom>
            <a:ln>
              <a:solidFill>
                <a:srgbClr val="0067B7"/>
              </a:solidFill>
            </a:ln>
          </p:spPr>
          <p:style>
            <a:lnRef idx="1">
              <a:schemeClr val="accent1"/>
            </a:lnRef>
            <a:fillRef idx="0">
              <a:schemeClr val="accent1"/>
            </a:fillRef>
            <a:effectRef idx="0">
              <a:schemeClr val="accent1"/>
            </a:effectRef>
            <a:fontRef idx="minor">
              <a:schemeClr val="tx1"/>
            </a:fontRef>
          </p:style>
        </p:cxnSp>
      </p:grpSp>
      <p:grpSp>
        <p:nvGrpSpPr>
          <p:cNvPr id="103" name="Group 102">
            <a:extLst>
              <a:ext uri="{FF2B5EF4-FFF2-40B4-BE49-F238E27FC236}">
                <a16:creationId xmlns:a16="http://schemas.microsoft.com/office/drawing/2014/main" id="{4247967B-7352-E449-A07F-3A88A96E78E1}"/>
              </a:ext>
            </a:extLst>
          </p:cNvPr>
          <p:cNvGrpSpPr/>
          <p:nvPr/>
        </p:nvGrpSpPr>
        <p:grpSpPr>
          <a:xfrm>
            <a:off x="388718" y="2976403"/>
            <a:ext cx="1355416" cy="429082"/>
            <a:chOff x="7399944" y="4155414"/>
            <a:chExt cx="875794" cy="663758"/>
          </a:xfrm>
        </p:grpSpPr>
        <p:grpSp>
          <p:nvGrpSpPr>
            <p:cNvPr id="104" name="Group 103">
              <a:extLst>
                <a:ext uri="{FF2B5EF4-FFF2-40B4-BE49-F238E27FC236}">
                  <a16:creationId xmlns:a16="http://schemas.microsoft.com/office/drawing/2014/main" id="{DF4CD90A-7ABB-9844-B713-1883A937E901}"/>
                </a:ext>
              </a:extLst>
            </p:cNvPr>
            <p:cNvGrpSpPr/>
            <p:nvPr/>
          </p:nvGrpSpPr>
          <p:grpSpPr>
            <a:xfrm>
              <a:off x="7399944" y="4155414"/>
              <a:ext cx="875794" cy="663758"/>
              <a:chOff x="3211574" y="2335474"/>
              <a:chExt cx="875794" cy="663758"/>
            </a:xfrm>
          </p:grpSpPr>
          <p:sp>
            <p:nvSpPr>
              <p:cNvPr id="111" name="Rectangle 110">
                <a:extLst>
                  <a:ext uri="{FF2B5EF4-FFF2-40B4-BE49-F238E27FC236}">
                    <a16:creationId xmlns:a16="http://schemas.microsoft.com/office/drawing/2014/main" id="{F3478A8D-9306-FD41-87EF-352DFF47045B}"/>
                  </a:ext>
                </a:extLst>
              </p:cNvPr>
              <p:cNvSpPr/>
              <p:nvPr/>
            </p:nvSpPr>
            <p:spPr>
              <a:xfrm>
                <a:off x="3408572" y="2335474"/>
                <a:ext cx="539359" cy="663758"/>
              </a:xfrm>
              <a:prstGeom prst="rect">
                <a:avLst/>
              </a:prstGeom>
              <a:solidFill>
                <a:schemeClr val="bg1"/>
              </a:solidFill>
              <a:ln w="9525">
                <a:solidFill>
                  <a:srgbClr val="0067B7"/>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900" b="1" dirty="0">
                  <a:solidFill>
                    <a:srgbClr val="002D72"/>
                  </a:solidFill>
                  <a:cs typeface="Arial" pitchFamily="34" charset="0"/>
                </a:endParaRPr>
              </a:p>
            </p:txBody>
          </p:sp>
          <p:cxnSp>
            <p:nvCxnSpPr>
              <p:cNvPr id="112" name="Straight Connector 111">
                <a:extLst>
                  <a:ext uri="{FF2B5EF4-FFF2-40B4-BE49-F238E27FC236}">
                    <a16:creationId xmlns:a16="http://schemas.microsoft.com/office/drawing/2014/main" id="{1998EE6A-CE59-134C-8F19-8252302FF395}"/>
                  </a:ext>
                </a:extLst>
              </p:cNvPr>
              <p:cNvCxnSpPr>
                <a:cxnSpLocks/>
              </p:cNvCxnSpPr>
              <p:nvPr/>
            </p:nvCxnSpPr>
            <p:spPr>
              <a:xfrm>
                <a:off x="3408572" y="2335474"/>
                <a:ext cx="678796" cy="0"/>
              </a:xfrm>
              <a:prstGeom prst="line">
                <a:avLst/>
              </a:prstGeom>
              <a:ln>
                <a:solidFill>
                  <a:srgbClr val="0067B7"/>
                </a:solidFill>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BCFD0522-9ED2-1A40-B28D-10DFC61157CA}"/>
                  </a:ext>
                </a:extLst>
              </p:cNvPr>
              <p:cNvCxnSpPr>
                <a:cxnSpLocks/>
              </p:cNvCxnSpPr>
              <p:nvPr/>
            </p:nvCxnSpPr>
            <p:spPr>
              <a:xfrm>
                <a:off x="3211574" y="2999232"/>
                <a:ext cx="736357" cy="0"/>
              </a:xfrm>
              <a:prstGeom prst="line">
                <a:avLst/>
              </a:prstGeom>
              <a:ln>
                <a:solidFill>
                  <a:srgbClr val="0067B7"/>
                </a:solidFill>
              </a:ln>
            </p:spPr>
            <p:style>
              <a:lnRef idx="1">
                <a:schemeClr val="accent1"/>
              </a:lnRef>
              <a:fillRef idx="0">
                <a:schemeClr val="accent1"/>
              </a:fillRef>
              <a:effectRef idx="0">
                <a:schemeClr val="accent1"/>
              </a:effectRef>
              <a:fontRef idx="minor">
                <a:schemeClr val="tx1"/>
              </a:fontRef>
            </p:style>
          </p:cxnSp>
        </p:grpSp>
        <p:sp>
          <p:nvSpPr>
            <p:cNvPr id="105" name="Google Shape;61;p12">
              <a:extLst>
                <a:ext uri="{FF2B5EF4-FFF2-40B4-BE49-F238E27FC236}">
                  <a16:creationId xmlns:a16="http://schemas.microsoft.com/office/drawing/2014/main" id="{114AD97A-2366-E841-98AA-8D94EC489EBF}"/>
                </a:ext>
              </a:extLst>
            </p:cNvPr>
            <p:cNvSpPr txBox="1">
              <a:spLocks/>
            </p:cNvSpPr>
            <p:nvPr/>
          </p:nvSpPr>
          <p:spPr>
            <a:xfrm>
              <a:off x="7635579" y="4265555"/>
              <a:ext cx="465274" cy="425603"/>
            </a:xfrm>
            <a:prstGeom prst="rect">
              <a:avLst/>
            </a:prstGeom>
          </p:spPr>
          <p:txBody>
            <a:bodyPr spcFirstLastPara="1" vert="horz" wrap="square" lIns="91425" tIns="91425" rIns="91425" bIns="91425" rtlCol="0" anchor="ctr"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spcBef>
                  <a:spcPts val="0"/>
                </a:spcBef>
              </a:pPr>
              <a:r>
                <a:rPr lang="en-US" sz="800" b="1" dirty="0">
                  <a:solidFill>
                    <a:srgbClr val="0067B7"/>
                  </a:solidFill>
                  <a:effectLst>
                    <a:outerShdw blurRad="50800" dist="50800" dir="5400000" algn="ctr" rotWithShape="0">
                      <a:srgbClr val="000000">
                        <a:alpha val="0"/>
                      </a:srgbClr>
                    </a:outerShdw>
                    <a:reflection endPos="0" dist="50800" dir="5400000" sy="-100000" algn="bl" rotWithShape="0"/>
                  </a:effectLst>
                  <a:latin typeface="+mn-lt"/>
                  <a:ea typeface="Nanum Pen Script" panose="03040600000000000000" pitchFamily="66" charset="-127"/>
                  <a:cs typeface="Arial" panose="020B0604020202020204" pitchFamily="34" charset="0"/>
                </a:rPr>
                <a:t>System Source</a:t>
              </a:r>
            </a:p>
          </p:txBody>
        </p:sp>
      </p:grpSp>
      <p:grpSp>
        <p:nvGrpSpPr>
          <p:cNvPr id="115" name="Group 114">
            <a:extLst>
              <a:ext uri="{FF2B5EF4-FFF2-40B4-BE49-F238E27FC236}">
                <a16:creationId xmlns:a16="http://schemas.microsoft.com/office/drawing/2014/main" id="{12E07AD3-73B6-834B-A347-6BF68DD68231}"/>
              </a:ext>
            </a:extLst>
          </p:cNvPr>
          <p:cNvGrpSpPr/>
          <p:nvPr/>
        </p:nvGrpSpPr>
        <p:grpSpPr>
          <a:xfrm>
            <a:off x="2943815" y="2216390"/>
            <a:ext cx="1675337" cy="399932"/>
            <a:chOff x="3211574" y="2335474"/>
            <a:chExt cx="1382052" cy="663758"/>
          </a:xfrm>
        </p:grpSpPr>
        <p:sp>
          <p:nvSpPr>
            <p:cNvPr id="116" name="Rectangle 115">
              <a:extLst>
                <a:ext uri="{FF2B5EF4-FFF2-40B4-BE49-F238E27FC236}">
                  <a16:creationId xmlns:a16="http://schemas.microsoft.com/office/drawing/2014/main" id="{CD0940CD-6C63-3A47-89FF-2D4B2FDE4088}"/>
                </a:ext>
              </a:extLst>
            </p:cNvPr>
            <p:cNvSpPr/>
            <p:nvPr/>
          </p:nvSpPr>
          <p:spPr>
            <a:xfrm>
              <a:off x="3338853" y="2335474"/>
              <a:ext cx="1254773" cy="663758"/>
            </a:xfrm>
            <a:prstGeom prst="rect">
              <a:avLst/>
            </a:prstGeom>
            <a:solidFill>
              <a:srgbClr val="87CBD8"/>
            </a:solidFill>
            <a:ln w="9525">
              <a:solidFill>
                <a:srgbClr val="0067B7"/>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800" dirty="0" err="1">
                  <a:solidFill>
                    <a:srgbClr val="0067B7"/>
                  </a:solidFill>
                  <a:effectLst>
                    <a:outerShdw blurRad="50800" dist="50800" dir="5400000" algn="ctr" rotWithShape="0">
                      <a:srgbClr val="000000">
                        <a:alpha val="0"/>
                      </a:srgbClr>
                    </a:outerShdw>
                    <a:reflection endPos="0" dist="50800" dir="5400000" sy="-100000" algn="bl" rotWithShape="0"/>
                  </a:effectLst>
                  <a:ea typeface="Klee Medium" panose="02020600000000000000" pitchFamily="18" charset="-128"/>
                </a:rPr>
                <a:t>ProducerService</a:t>
              </a:r>
              <a:endParaRPr lang="en-US" sz="800" dirty="0">
                <a:solidFill>
                  <a:srgbClr val="0067B7"/>
                </a:solidFill>
                <a:effectLst>
                  <a:outerShdw blurRad="50800" dist="50800" dir="5400000" algn="ctr" rotWithShape="0">
                    <a:srgbClr val="000000">
                      <a:alpha val="0"/>
                    </a:srgbClr>
                  </a:outerShdw>
                  <a:reflection endPos="0" dist="50800" dir="5400000" sy="-100000" algn="bl" rotWithShape="0"/>
                </a:effectLst>
                <a:ea typeface="Klee Medium" panose="02020600000000000000" pitchFamily="18" charset="-128"/>
              </a:endParaRPr>
            </a:p>
          </p:txBody>
        </p:sp>
        <p:cxnSp>
          <p:nvCxnSpPr>
            <p:cNvPr id="117" name="Straight Connector 116">
              <a:extLst>
                <a:ext uri="{FF2B5EF4-FFF2-40B4-BE49-F238E27FC236}">
                  <a16:creationId xmlns:a16="http://schemas.microsoft.com/office/drawing/2014/main" id="{36D36D95-1E5D-F94D-BDD0-5EF45139285B}"/>
                </a:ext>
              </a:extLst>
            </p:cNvPr>
            <p:cNvCxnSpPr/>
            <p:nvPr/>
          </p:nvCxnSpPr>
          <p:spPr>
            <a:xfrm>
              <a:off x="3696207" y="2335474"/>
              <a:ext cx="875794" cy="0"/>
            </a:xfrm>
            <a:prstGeom prst="line">
              <a:avLst/>
            </a:prstGeom>
            <a:solidFill>
              <a:srgbClr val="87CBD8"/>
            </a:solidFill>
            <a:ln w="9525">
              <a:solidFill>
                <a:srgbClr val="0067B7"/>
              </a:solidFill>
            </a:ln>
            <a:effectLst/>
          </p:spPr>
          <p:style>
            <a:lnRef idx="2">
              <a:schemeClr val="accent1">
                <a:shade val="50000"/>
              </a:schemeClr>
            </a:lnRef>
            <a:fillRef idx="1">
              <a:schemeClr val="accent1"/>
            </a:fillRef>
            <a:effectRef idx="0">
              <a:schemeClr val="accent1"/>
            </a:effectRef>
            <a:fontRef idx="minor">
              <a:schemeClr val="lt1"/>
            </a:fontRef>
          </p:style>
        </p:cxnSp>
        <p:cxnSp>
          <p:nvCxnSpPr>
            <p:cNvPr id="118" name="Straight Connector 117">
              <a:extLst>
                <a:ext uri="{FF2B5EF4-FFF2-40B4-BE49-F238E27FC236}">
                  <a16:creationId xmlns:a16="http://schemas.microsoft.com/office/drawing/2014/main" id="{448DA71D-21A8-A546-8009-151FF35D467F}"/>
                </a:ext>
              </a:extLst>
            </p:cNvPr>
            <p:cNvCxnSpPr/>
            <p:nvPr/>
          </p:nvCxnSpPr>
          <p:spPr>
            <a:xfrm>
              <a:off x="3211574" y="2999232"/>
              <a:ext cx="875794" cy="0"/>
            </a:xfrm>
            <a:prstGeom prst="line">
              <a:avLst/>
            </a:prstGeom>
            <a:solidFill>
              <a:srgbClr val="87CBD8"/>
            </a:solidFill>
            <a:ln w="9525">
              <a:solidFill>
                <a:srgbClr val="0067B7"/>
              </a:solidFill>
            </a:ln>
            <a:effectLst/>
          </p:spPr>
          <p:style>
            <a:lnRef idx="2">
              <a:schemeClr val="accent1">
                <a:shade val="50000"/>
              </a:schemeClr>
            </a:lnRef>
            <a:fillRef idx="1">
              <a:schemeClr val="accent1"/>
            </a:fillRef>
            <a:effectRef idx="0">
              <a:schemeClr val="accent1"/>
            </a:effectRef>
            <a:fontRef idx="minor">
              <a:schemeClr val="lt1"/>
            </a:fontRef>
          </p:style>
        </p:cxnSp>
      </p:grpSp>
      <p:cxnSp>
        <p:nvCxnSpPr>
          <p:cNvPr id="120" name="Elbow Connector 119">
            <a:extLst>
              <a:ext uri="{FF2B5EF4-FFF2-40B4-BE49-F238E27FC236}">
                <a16:creationId xmlns:a16="http://schemas.microsoft.com/office/drawing/2014/main" id="{DDC4D728-D933-3244-8179-2CFC54D9E2CA}"/>
              </a:ext>
            </a:extLst>
          </p:cNvPr>
          <p:cNvCxnSpPr>
            <a:cxnSpLocks/>
            <a:stCxn id="92" idx="2"/>
            <a:endCxn id="76" idx="0"/>
          </p:cNvCxnSpPr>
          <p:nvPr/>
        </p:nvCxnSpPr>
        <p:spPr>
          <a:xfrm rot="5400000">
            <a:off x="8080663" y="2764505"/>
            <a:ext cx="418702" cy="5096"/>
          </a:xfrm>
          <a:prstGeom prst="bentConnector3">
            <a:avLst>
              <a:gd name="adj1" fmla="val 50000"/>
            </a:avLst>
          </a:prstGeom>
          <a:ln>
            <a:solidFill>
              <a:srgbClr val="C5277F"/>
            </a:solidFill>
            <a:headEnd type="oval"/>
            <a:tailEnd type="oval"/>
          </a:ln>
        </p:spPr>
        <p:style>
          <a:lnRef idx="1">
            <a:schemeClr val="accent1"/>
          </a:lnRef>
          <a:fillRef idx="0">
            <a:schemeClr val="accent1"/>
          </a:fillRef>
          <a:effectRef idx="0">
            <a:schemeClr val="accent1"/>
          </a:effectRef>
          <a:fontRef idx="minor">
            <a:schemeClr val="tx1"/>
          </a:fontRef>
        </p:style>
      </p:cxnSp>
      <p:grpSp>
        <p:nvGrpSpPr>
          <p:cNvPr id="125" name="Group 124">
            <a:extLst>
              <a:ext uri="{FF2B5EF4-FFF2-40B4-BE49-F238E27FC236}">
                <a16:creationId xmlns:a16="http://schemas.microsoft.com/office/drawing/2014/main" id="{2EBDE677-B4E8-3341-B7D6-EA746A40F590}"/>
              </a:ext>
            </a:extLst>
          </p:cNvPr>
          <p:cNvGrpSpPr/>
          <p:nvPr/>
        </p:nvGrpSpPr>
        <p:grpSpPr>
          <a:xfrm>
            <a:off x="6481299" y="4404260"/>
            <a:ext cx="1925781" cy="408506"/>
            <a:chOff x="3211574" y="2335474"/>
            <a:chExt cx="1360427" cy="663758"/>
          </a:xfrm>
        </p:grpSpPr>
        <p:sp>
          <p:nvSpPr>
            <p:cNvPr id="126" name="Rectangle 125">
              <a:extLst>
                <a:ext uri="{FF2B5EF4-FFF2-40B4-BE49-F238E27FC236}">
                  <a16:creationId xmlns:a16="http://schemas.microsoft.com/office/drawing/2014/main" id="{8DD24749-FA51-3A48-AD9B-D3ED75B0A9F4}"/>
                </a:ext>
              </a:extLst>
            </p:cNvPr>
            <p:cNvSpPr/>
            <p:nvPr/>
          </p:nvSpPr>
          <p:spPr>
            <a:xfrm>
              <a:off x="3338853" y="2335474"/>
              <a:ext cx="1101769" cy="663758"/>
            </a:xfrm>
            <a:prstGeom prst="rect">
              <a:avLst/>
            </a:prstGeom>
            <a:solidFill>
              <a:srgbClr val="87CBD8"/>
            </a:solidFill>
            <a:ln w="9525">
              <a:solidFill>
                <a:srgbClr val="0067B7"/>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800" dirty="0" err="1">
                  <a:solidFill>
                    <a:srgbClr val="0067B7"/>
                  </a:solidFill>
                  <a:effectLst>
                    <a:outerShdw blurRad="50800" dist="50800" dir="5400000" algn="ctr" rotWithShape="0">
                      <a:srgbClr val="000000">
                        <a:alpha val="0"/>
                      </a:srgbClr>
                    </a:outerShdw>
                    <a:reflection endPos="0" dist="50800" dir="5400000" sy="-100000" algn="bl" rotWithShape="0"/>
                  </a:effectLst>
                  <a:ea typeface="Klee Medium" panose="02020600000000000000" pitchFamily="18" charset="-128"/>
                  <a:cs typeface="Ink Free" panose="020F0502020204030204" pitchFamily="34" charset="0"/>
                </a:rPr>
                <a:t>CommandKafkaService</a:t>
              </a:r>
              <a:endParaRPr lang="en-US" sz="800" dirty="0">
                <a:solidFill>
                  <a:srgbClr val="0067B7"/>
                </a:solidFill>
                <a:effectLst>
                  <a:outerShdw blurRad="50800" dist="50800" dir="5400000" algn="ctr" rotWithShape="0">
                    <a:srgbClr val="000000">
                      <a:alpha val="0"/>
                    </a:srgbClr>
                  </a:outerShdw>
                  <a:reflection endPos="0" dist="50800" dir="5400000" sy="-100000" algn="bl" rotWithShape="0"/>
                </a:effectLst>
                <a:ea typeface="Klee Medium" panose="02020600000000000000" pitchFamily="18" charset="-128"/>
                <a:cs typeface="Ink Free" panose="020F0502020204030204" pitchFamily="34" charset="0"/>
              </a:endParaRPr>
            </a:p>
          </p:txBody>
        </p:sp>
        <p:cxnSp>
          <p:nvCxnSpPr>
            <p:cNvPr id="127" name="Straight Connector 126">
              <a:extLst>
                <a:ext uri="{FF2B5EF4-FFF2-40B4-BE49-F238E27FC236}">
                  <a16:creationId xmlns:a16="http://schemas.microsoft.com/office/drawing/2014/main" id="{67330940-8567-974D-98D7-6E8C276559BD}"/>
                </a:ext>
              </a:extLst>
            </p:cNvPr>
            <p:cNvCxnSpPr/>
            <p:nvPr/>
          </p:nvCxnSpPr>
          <p:spPr>
            <a:xfrm>
              <a:off x="3696207" y="2335474"/>
              <a:ext cx="875794" cy="0"/>
            </a:xfrm>
            <a:prstGeom prst="line">
              <a:avLst/>
            </a:prstGeom>
            <a:solidFill>
              <a:srgbClr val="87CBD8"/>
            </a:solidFill>
            <a:ln w="9525">
              <a:solidFill>
                <a:srgbClr val="0067B7"/>
              </a:solidFill>
            </a:ln>
            <a:effectLst/>
          </p:spPr>
          <p:style>
            <a:lnRef idx="2">
              <a:schemeClr val="accent1">
                <a:shade val="50000"/>
              </a:schemeClr>
            </a:lnRef>
            <a:fillRef idx="1">
              <a:schemeClr val="accent1"/>
            </a:fillRef>
            <a:effectRef idx="0">
              <a:schemeClr val="accent1"/>
            </a:effectRef>
            <a:fontRef idx="minor">
              <a:schemeClr val="lt1"/>
            </a:fontRef>
          </p:style>
        </p:cxnSp>
        <p:cxnSp>
          <p:nvCxnSpPr>
            <p:cNvPr id="128" name="Straight Connector 127">
              <a:extLst>
                <a:ext uri="{FF2B5EF4-FFF2-40B4-BE49-F238E27FC236}">
                  <a16:creationId xmlns:a16="http://schemas.microsoft.com/office/drawing/2014/main" id="{C8C7A47F-57BE-364D-8747-26A87C059F91}"/>
                </a:ext>
              </a:extLst>
            </p:cNvPr>
            <p:cNvCxnSpPr/>
            <p:nvPr/>
          </p:nvCxnSpPr>
          <p:spPr>
            <a:xfrm>
              <a:off x="3211574" y="2999232"/>
              <a:ext cx="875794" cy="0"/>
            </a:xfrm>
            <a:prstGeom prst="line">
              <a:avLst/>
            </a:prstGeom>
            <a:solidFill>
              <a:srgbClr val="87CBD8"/>
            </a:solidFill>
            <a:ln w="9525">
              <a:solidFill>
                <a:srgbClr val="0067B7"/>
              </a:solidFill>
            </a:ln>
            <a:effectLst/>
          </p:spPr>
          <p:style>
            <a:lnRef idx="2">
              <a:schemeClr val="accent1">
                <a:shade val="50000"/>
              </a:schemeClr>
            </a:lnRef>
            <a:fillRef idx="1">
              <a:schemeClr val="accent1"/>
            </a:fillRef>
            <a:effectRef idx="0">
              <a:schemeClr val="accent1"/>
            </a:effectRef>
            <a:fontRef idx="minor">
              <a:schemeClr val="lt1"/>
            </a:fontRef>
          </p:style>
        </p:cxnSp>
      </p:grpSp>
      <p:cxnSp>
        <p:nvCxnSpPr>
          <p:cNvPr id="129" name="Elbow Connector 128">
            <a:extLst>
              <a:ext uri="{FF2B5EF4-FFF2-40B4-BE49-F238E27FC236}">
                <a16:creationId xmlns:a16="http://schemas.microsoft.com/office/drawing/2014/main" id="{DA813588-9502-D24F-8584-EE9040CFE769}"/>
              </a:ext>
            </a:extLst>
          </p:cNvPr>
          <p:cNvCxnSpPr>
            <a:cxnSpLocks/>
            <a:stCxn id="126" idx="2"/>
            <a:endCxn id="24" idx="2"/>
          </p:cNvCxnSpPr>
          <p:nvPr/>
        </p:nvCxnSpPr>
        <p:spPr>
          <a:xfrm rot="5400000" flipH="1">
            <a:off x="4934939" y="2306418"/>
            <a:ext cx="1421856" cy="3590840"/>
          </a:xfrm>
          <a:prstGeom prst="bentConnector3">
            <a:avLst>
              <a:gd name="adj1" fmla="val -95822"/>
            </a:avLst>
          </a:prstGeom>
          <a:ln>
            <a:solidFill>
              <a:srgbClr val="C5277F"/>
            </a:solidFill>
            <a:headEnd type="oval"/>
            <a:tailEnd type="oval"/>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75E35E95-C404-B34D-A9BF-193DFD9742B6}"/>
              </a:ext>
            </a:extLst>
          </p:cNvPr>
          <p:cNvCxnSpPr>
            <a:cxnSpLocks/>
            <a:stCxn id="2" idx="3"/>
            <a:endCxn id="76" idx="1"/>
          </p:cNvCxnSpPr>
          <p:nvPr/>
        </p:nvCxnSpPr>
        <p:spPr>
          <a:xfrm flipV="1">
            <a:off x="6149817" y="3183657"/>
            <a:ext cx="1371427" cy="7287"/>
          </a:xfrm>
          <a:prstGeom prst="line">
            <a:avLst/>
          </a:prstGeom>
          <a:ln>
            <a:solidFill>
              <a:srgbClr val="C5277F"/>
            </a:solidFill>
            <a:headEnd type="oval"/>
            <a:tailEnd type="oval"/>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0646F6A0-C7D8-7E41-BF50-AE1000D64147}"/>
              </a:ext>
            </a:extLst>
          </p:cNvPr>
          <p:cNvCxnSpPr>
            <a:cxnSpLocks/>
            <a:stCxn id="24" idx="3"/>
            <a:endCxn id="2" idx="1"/>
          </p:cNvCxnSpPr>
          <p:nvPr/>
        </p:nvCxnSpPr>
        <p:spPr>
          <a:xfrm>
            <a:off x="4610277" y="3186954"/>
            <a:ext cx="791026" cy="3990"/>
          </a:xfrm>
          <a:prstGeom prst="line">
            <a:avLst/>
          </a:prstGeom>
          <a:ln>
            <a:solidFill>
              <a:srgbClr val="C5277F"/>
            </a:solidFill>
            <a:headEnd type="oval"/>
            <a:tailEnd type="oval"/>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4B311A51-566A-CD47-9A77-4941B745CB50}"/>
              </a:ext>
            </a:extLst>
          </p:cNvPr>
          <p:cNvCxnSpPr>
            <a:cxnSpLocks/>
            <a:stCxn id="116" idx="2"/>
            <a:endCxn id="24" idx="0"/>
          </p:cNvCxnSpPr>
          <p:nvPr/>
        </p:nvCxnSpPr>
        <p:spPr>
          <a:xfrm flipH="1">
            <a:off x="3850447" y="2616322"/>
            <a:ext cx="8181" cy="366675"/>
          </a:xfrm>
          <a:prstGeom prst="line">
            <a:avLst/>
          </a:prstGeom>
          <a:ln>
            <a:solidFill>
              <a:srgbClr val="C5277F"/>
            </a:solidFill>
            <a:headEnd type="oval"/>
            <a:tailEnd type="oval"/>
          </a:ln>
        </p:spPr>
        <p:style>
          <a:lnRef idx="1">
            <a:schemeClr val="accent1"/>
          </a:lnRef>
          <a:fillRef idx="0">
            <a:schemeClr val="accent1"/>
          </a:fillRef>
          <a:effectRef idx="0">
            <a:schemeClr val="accent1"/>
          </a:effectRef>
          <a:fontRef idx="minor">
            <a:schemeClr val="tx1"/>
          </a:fontRef>
        </p:style>
      </p:cxnSp>
      <p:grpSp>
        <p:nvGrpSpPr>
          <p:cNvPr id="137" name="Group 136">
            <a:extLst>
              <a:ext uri="{FF2B5EF4-FFF2-40B4-BE49-F238E27FC236}">
                <a16:creationId xmlns:a16="http://schemas.microsoft.com/office/drawing/2014/main" id="{3C6A42D5-1C47-3640-B9ED-4947BDE67AB7}"/>
              </a:ext>
            </a:extLst>
          </p:cNvPr>
          <p:cNvGrpSpPr/>
          <p:nvPr/>
        </p:nvGrpSpPr>
        <p:grpSpPr>
          <a:xfrm>
            <a:off x="4420974" y="3990039"/>
            <a:ext cx="1774842" cy="407914"/>
            <a:chOff x="3211574" y="2335474"/>
            <a:chExt cx="1382052" cy="663758"/>
          </a:xfrm>
        </p:grpSpPr>
        <p:sp>
          <p:nvSpPr>
            <p:cNvPr id="138" name="Rectangle 137">
              <a:extLst>
                <a:ext uri="{FF2B5EF4-FFF2-40B4-BE49-F238E27FC236}">
                  <a16:creationId xmlns:a16="http://schemas.microsoft.com/office/drawing/2014/main" id="{FA24F1DE-7B5D-F74D-B65B-FE71479D29D9}"/>
                </a:ext>
              </a:extLst>
            </p:cNvPr>
            <p:cNvSpPr/>
            <p:nvPr/>
          </p:nvSpPr>
          <p:spPr>
            <a:xfrm>
              <a:off x="3338853" y="2335474"/>
              <a:ext cx="1254773" cy="663758"/>
            </a:xfrm>
            <a:prstGeom prst="rect">
              <a:avLst/>
            </a:prstGeom>
            <a:solidFill>
              <a:srgbClr val="87CBD8"/>
            </a:solidFill>
            <a:ln w="9525">
              <a:solidFill>
                <a:srgbClr val="0067B7"/>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800" dirty="0" err="1">
                  <a:solidFill>
                    <a:srgbClr val="0067B7"/>
                  </a:solidFill>
                  <a:effectLst>
                    <a:outerShdw blurRad="50800" dist="50800" dir="5400000" algn="ctr" rotWithShape="0">
                      <a:srgbClr val="000000">
                        <a:alpha val="0"/>
                      </a:srgbClr>
                    </a:outerShdw>
                    <a:reflection endPos="0" dist="50800" dir="5400000" sy="-100000" algn="bl" rotWithShape="0"/>
                  </a:effectLst>
                  <a:ea typeface="Klee Medium" panose="02020600000000000000" pitchFamily="18" charset="-128"/>
                </a:rPr>
                <a:t>StreamService</a:t>
              </a:r>
              <a:endParaRPr lang="en-US" sz="800" dirty="0">
                <a:solidFill>
                  <a:srgbClr val="0067B7"/>
                </a:solidFill>
                <a:effectLst>
                  <a:outerShdw blurRad="50800" dist="50800" dir="5400000" algn="ctr" rotWithShape="0">
                    <a:srgbClr val="000000">
                      <a:alpha val="0"/>
                    </a:srgbClr>
                  </a:outerShdw>
                  <a:reflection endPos="0" dist="50800" dir="5400000" sy="-100000" algn="bl" rotWithShape="0"/>
                </a:effectLst>
                <a:ea typeface="Klee Medium" panose="02020600000000000000" pitchFamily="18" charset="-128"/>
              </a:endParaRPr>
            </a:p>
          </p:txBody>
        </p:sp>
        <p:cxnSp>
          <p:nvCxnSpPr>
            <p:cNvPr id="139" name="Straight Connector 138">
              <a:extLst>
                <a:ext uri="{FF2B5EF4-FFF2-40B4-BE49-F238E27FC236}">
                  <a16:creationId xmlns:a16="http://schemas.microsoft.com/office/drawing/2014/main" id="{511FD419-A3DD-674E-AE56-C334C57106EA}"/>
                </a:ext>
              </a:extLst>
            </p:cNvPr>
            <p:cNvCxnSpPr/>
            <p:nvPr/>
          </p:nvCxnSpPr>
          <p:spPr>
            <a:xfrm>
              <a:off x="3696207" y="2335474"/>
              <a:ext cx="875794" cy="0"/>
            </a:xfrm>
            <a:prstGeom prst="line">
              <a:avLst/>
            </a:prstGeom>
            <a:solidFill>
              <a:srgbClr val="87CBD8"/>
            </a:solidFill>
            <a:ln w="9525">
              <a:solidFill>
                <a:srgbClr val="0067B7"/>
              </a:solidFill>
            </a:ln>
            <a:effectLst/>
          </p:spPr>
          <p:style>
            <a:lnRef idx="2">
              <a:schemeClr val="accent1">
                <a:shade val="50000"/>
              </a:schemeClr>
            </a:lnRef>
            <a:fillRef idx="1">
              <a:schemeClr val="accent1"/>
            </a:fillRef>
            <a:effectRef idx="0">
              <a:schemeClr val="accent1"/>
            </a:effectRef>
            <a:fontRef idx="minor">
              <a:schemeClr val="lt1"/>
            </a:fontRef>
          </p:style>
        </p:cxnSp>
        <p:cxnSp>
          <p:nvCxnSpPr>
            <p:cNvPr id="140" name="Straight Connector 139">
              <a:extLst>
                <a:ext uri="{FF2B5EF4-FFF2-40B4-BE49-F238E27FC236}">
                  <a16:creationId xmlns:a16="http://schemas.microsoft.com/office/drawing/2014/main" id="{577DAB15-968F-1544-AA1F-2097CB324184}"/>
                </a:ext>
              </a:extLst>
            </p:cNvPr>
            <p:cNvCxnSpPr/>
            <p:nvPr/>
          </p:nvCxnSpPr>
          <p:spPr>
            <a:xfrm>
              <a:off x="3211574" y="2999232"/>
              <a:ext cx="875794" cy="0"/>
            </a:xfrm>
            <a:prstGeom prst="line">
              <a:avLst/>
            </a:prstGeom>
            <a:solidFill>
              <a:srgbClr val="87CBD8"/>
            </a:solidFill>
            <a:ln w="9525">
              <a:solidFill>
                <a:srgbClr val="0067B7"/>
              </a:solidFill>
            </a:ln>
            <a:effectLst/>
          </p:spPr>
          <p:style>
            <a:lnRef idx="2">
              <a:schemeClr val="accent1">
                <a:shade val="50000"/>
              </a:schemeClr>
            </a:lnRef>
            <a:fillRef idx="1">
              <a:schemeClr val="accent1"/>
            </a:fillRef>
            <a:effectRef idx="0">
              <a:schemeClr val="accent1"/>
            </a:effectRef>
            <a:fontRef idx="minor">
              <a:schemeClr val="lt1"/>
            </a:fontRef>
          </p:style>
        </p:cxnSp>
      </p:grpSp>
      <p:cxnSp>
        <p:nvCxnSpPr>
          <p:cNvPr id="154" name="Elbow Connector 153">
            <a:extLst>
              <a:ext uri="{FF2B5EF4-FFF2-40B4-BE49-F238E27FC236}">
                <a16:creationId xmlns:a16="http://schemas.microsoft.com/office/drawing/2014/main" id="{65BE5E7A-7A4B-AD46-B111-C5F7567B1550}"/>
              </a:ext>
            </a:extLst>
          </p:cNvPr>
          <p:cNvCxnSpPr>
            <a:cxnSpLocks/>
            <a:stCxn id="138" idx="0"/>
            <a:endCxn id="2" idx="2"/>
          </p:cNvCxnSpPr>
          <p:nvPr/>
        </p:nvCxnSpPr>
        <p:spPr>
          <a:xfrm rot="5400000" flipH="1" flipV="1">
            <a:off x="5290564" y="3505043"/>
            <a:ext cx="584554" cy="385438"/>
          </a:xfrm>
          <a:prstGeom prst="bentConnector3">
            <a:avLst>
              <a:gd name="adj1" fmla="val 50000"/>
            </a:avLst>
          </a:prstGeom>
          <a:ln>
            <a:solidFill>
              <a:srgbClr val="C5277F"/>
            </a:solidFill>
            <a:headEnd type="oval"/>
            <a:tailEnd type="oval"/>
          </a:ln>
        </p:spPr>
        <p:style>
          <a:lnRef idx="1">
            <a:schemeClr val="accent1"/>
          </a:lnRef>
          <a:fillRef idx="0">
            <a:schemeClr val="accent1"/>
          </a:fillRef>
          <a:effectRef idx="0">
            <a:schemeClr val="accent1"/>
          </a:effectRef>
          <a:fontRef idx="minor">
            <a:schemeClr val="tx1"/>
          </a:fontRef>
        </p:style>
      </p:cxnSp>
      <p:cxnSp>
        <p:nvCxnSpPr>
          <p:cNvPr id="157" name="Elbow Connector 156">
            <a:extLst>
              <a:ext uri="{FF2B5EF4-FFF2-40B4-BE49-F238E27FC236}">
                <a16:creationId xmlns:a16="http://schemas.microsoft.com/office/drawing/2014/main" id="{80D589AA-B4A5-FF4D-A015-D6471CCFABBB}"/>
              </a:ext>
            </a:extLst>
          </p:cNvPr>
          <p:cNvCxnSpPr>
            <a:cxnSpLocks/>
            <a:stCxn id="76" idx="2"/>
            <a:endCxn id="126" idx="0"/>
          </p:cNvCxnSpPr>
          <p:nvPr/>
        </p:nvCxnSpPr>
        <p:spPr>
          <a:xfrm rot="5400000">
            <a:off x="7357702" y="3474496"/>
            <a:ext cx="1013350" cy="846179"/>
          </a:xfrm>
          <a:prstGeom prst="bentConnector3">
            <a:avLst>
              <a:gd name="adj1" fmla="val 49097"/>
            </a:avLst>
          </a:prstGeom>
          <a:ln>
            <a:solidFill>
              <a:srgbClr val="0067B7"/>
            </a:solidFill>
            <a:headEnd type="oval"/>
            <a:tailEnd type="oval"/>
          </a:ln>
        </p:spPr>
        <p:style>
          <a:lnRef idx="1">
            <a:schemeClr val="accent1"/>
          </a:lnRef>
          <a:fillRef idx="0">
            <a:schemeClr val="accent1"/>
          </a:fillRef>
          <a:effectRef idx="0">
            <a:schemeClr val="accent1"/>
          </a:effectRef>
          <a:fontRef idx="minor">
            <a:schemeClr val="tx1"/>
          </a:fontRef>
        </p:style>
      </p:cxnSp>
      <p:grpSp>
        <p:nvGrpSpPr>
          <p:cNvPr id="163" name="Group 162">
            <a:extLst>
              <a:ext uri="{FF2B5EF4-FFF2-40B4-BE49-F238E27FC236}">
                <a16:creationId xmlns:a16="http://schemas.microsoft.com/office/drawing/2014/main" id="{492C8AB1-A414-A148-ABA8-890B20815F2F}"/>
              </a:ext>
            </a:extLst>
          </p:cNvPr>
          <p:cNvGrpSpPr/>
          <p:nvPr/>
        </p:nvGrpSpPr>
        <p:grpSpPr>
          <a:xfrm>
            <a:off x="2943815" y="1413294"/>
            <a:ext cx="1675337" cy="422732"/>
            <a:chOff x="3211574" y="2335474"/>
            <a:chExt cx="1382052" cy="663758"/>
          </a:xfrm>
        </p:grpSpPr>
        <p:sp>
          <p:nvSpPr>
            <p:cNvPr id="164" name="Rectangle 163">
              <a:extLst>
                <a:ext uri="{FF2B5EF4-FFF2-40B4-BE49-F238E27FC236}">
                  <a16:creationId xmlns:a16="http://schemas.microsoft.com/office/drawing/2014/main" id="{0456D791-30FB-434A-BB6F-2C7F576C88F8}"/>
                </a:ext>
              </a:extLst>
            </p:cNvPr>
            <p:cNvSpPr/>
            <p:nvPr/>
          </p:nvSpPr>
          <p:spPr>
            <a:xfrm>
              <a:off x="3338853" y="2335474"/>
              <a:ext cx="1254773" cy="663758"/>
            </a:xfrm>
            <a:prstGeom prst="rect">
              <a:avLst/>
            </a:prstGeom>
            <a:solidFill>
              <a:srgbClr val="C5277F"/>
            </a:solidFill>
            <a:ln w="12700">
              <a:solidFill>
                <a:srgbClr val="7C1A4D"/>
              </a:solidFill>
              <a:miter lim="800000"/>
              <a:headEnd/>
              <a:tailEnd/>
            </a:ln>
          </p:spPr>
          <p:txBody>
            <a:bodyPr wrap="none" lIns="108000" tIns="0" rIns="108000" bIns="0" anchor="ctr"/>
            <a:lstStyle/>
            <a:p>
              <a:pPr algn="ctr" defTabSz="449263" eaLnBrk="0" hangingPunct="0">
                <a:spcBef>
                  <a:spcPct val="20000"/>
                </a:spcBef>
                <a:buClr>
                  <a:schemeClr val="accent2"/>
                </a:buClr>
                <a:buSzPct val="13000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r>
                <a:rPr lang="en-US" sz="800" b="1" dirty="0">
                  <a:solidFill>
                    <a:schemeClr val="bg1"/>
                  </a:solidFill>
                </a:rPr>
                <a:t>Client</a:t>
              </a:r>
            </a:p>
          </p:txBody>
        </p:sp>
        <p:cxnSp>
          <p:nvCxnSpPr>
            <p:cNvPr id="165" name="Straight Connector 164">
              <a:extLst>
                <a:ext uri="{FF2B5EF4-FFF2-40B4-BE49-F238E27FC236}">
                  <a16:creationId xmlns:a16="http://schemas.microsoft.com/office/drawing/2014/main" id="{F500A169-AD37-844E-80A9-57E2E8D64442}"/>
                </a:ext>
              </a:extLst>
            </p:cNvPr>
            <p:cNvCxnSpPr/>
            <p:nvPr/>
          </p:nvCxnSpPr>
          <p:spPr>
            <a:xfrm>
              <a:off x="3696207" y="2335474"/>
              <a:ext cx="875794" cy="0"/>
            </a:xfrm>
            <a:prstGeom prst="line">
              <a:avLst/>
            </a:prstGeom>
            <a:solidFill>
              <a:srgbClr val="C5277F"/>
            </a:solidFill>
            <a:ln w="12700">
              <a:solidFill>
                <a:srgbClr val="7C1A4D"/>
              </a:solidFill>
              <a:miter lim="800000"/>
              <a:headEnd/>
              <a:tailEnd/>
            </a:ln>
          </p:spPr>
        </p:cxnSp>
        <p:cxnSp>
          <p:nvCxnSpPr>
            <p:cNvPr id="166" name="Straight Connector 165">
              <a:extLst>
                <a:ext uri="{FF2B5EF4-FFF2-40B4-BE49-F238E27FC236}">
                  <a16:creationId xmlns:a16="http://schemas.microsoft.com/office/drawing/2014/main" id="{AE23F957-6795-7241-8FC5-7EF8B08ADC01}"/>
                </a:ext>
              </a:extLst>
            </p:cNvPr>
            <p:cNvCxnSpPr/>
            <p:nvPr/>
          </p:nvCxnSpPr>
          <p:spPr>
            <a:xfrm>
              <a:off x="3211574" y="2999232"/>
              <a:ext cx="875794" cy="0"/>
            </a:xfrm>
            <a:prstGeom prst="line">
              <a:avLst/>
            </a:prstGeom>
            <a:solidFill>
              <a:srgbClr val="C5277F"/>
            </a:solidFill>
            <a:ln w="12700">
              <a:solidFill>
                <a:srgbClr val="7C1A4D"/>
              </a:solidFill>
              <a:miter lim="800000"/>
              <a:headEnd/>
              <a:tailEnd/>
            </a:ln>
          </p:spPr>
        </p:cxnSp>
      </p:grpSp>
      <p:cxnSp>
        <p:nvCxnSpPr>
          <p:cNvPr id="167" name="Straight Connector 166">
            <a:extLst>
              <a:ext uri="{FF2B5EF4-FFF2-40B4-BE49-F238E27FC236}">
                <a16:creationId xmlns:a16="http://schemas.microsoft.com/office/drawing/2014/main" id="{31A5C6EE-031F-694B-8807-7E6BEB0AE1A7}"/>
              </a:ext>
            </a:extLst>
          </p:cNvPr>
          <p:cNvCxnSpPr>
            <a:cxnSpLocks/>
            <a:stCxn id="164" idx="2"/>
            <a:endCxn id="116" idx="0"/>
          </p:cNvCxnSpPr>
          <p:nvPr/>
        </p:nvCxnSpPr>
        <p:spPr>
          <a:xfrm>
            <a:off x="3858628" y="1836026"/>
            <a:ext cx="0" cy="380364"/>
          </a:xfrm>
          <a:prstGeom prst="line">
            <a:avLst/>
          </a:prstGeom>
          <a:ln>
            <a:solidFill>
              <a:srgbClr val="0067B7"/>
            </a:solidFill>
            <a:headEnd type="oval"/>
            <a:tailEnd type="oval"/>
          </a:ln>
        </p:spPr>
        <p:style>
          <a:lnRef idx="1">
            <a:schemeClr val="accent1"/>
          </a:lnRef>
          <a:fillRef idx="0">
            <a:schemeClr val="accent1"/>
          </a:fillRef>
          <a:effectRef idx="0">
            <a:schemeClr val="accent1"/>
          </a:effectRef>
          <a:fontRef idx="minor">
            <a:schemeClr val="tx1"/>
          </a:fontRef>
        </p:style>
      </p:cxnSp>
      <p:grpSp>
        <p:nvGrpSpPr>
          <p:cNvPr id="106" name="Group 105">
            <a:extLst>
              <a:ext uri="{FF2B5EF4-FFF2-40B4-BE49-F238E27FC236}">
                <a16:creationId xmlns:a16="http://schemas.microsoft.com/office/drawing/2014/main" id="{FD249F76-D2F2-EF48-82B6-CF62BF16F7E5}"/>
              </a:ext>
            </a:extLst>
          </p:cNvPr>
          <p:cNvGrpSpPr/>
          <p:nvPr/>
        </p:nvGrpSpPr>
        <p:grpSpPr>
          <a:xfrm>
            <a:off x="10485606" y="2974650"/>
            <a:ext cx="1003074" cy="422731"/>
            <a:chOff x="3350489" y="2324964"/>
            <a:chExt cx="1003074" cy="663758"/>
          </a:xfrm>
        </p:grpSpPr>
        <p:grpSp>
          <p:nvGrpSpPr>
            <p:cNvPr id="107" name="Group 106">
              <a:extLst>
                <a:ext uri="{FF2B5EF4-FFF2-40B4-BE49-F238E27FC236}">
                  <a16:creationId xmlns:a16="http://schemas.microsoft.com/office/drawing/2014/main" id="{26244145-4F9E-B445-8D9A-777EE8D4F8D6}"/>
                </a:ext>
              </a:extLst>
            </p:cNvPr>
            <p:cNvGrpSpPr/>
            <p:nvPr/>
          </p:nvGrpSpPr>
          <p:grpSpPr>
            <a:xfrm>
              <a:off x="3350489" y="2324964"/>
              <a:ext cx="1003074" cy="663758"/>
              <a:chOff x="3211574" y="2335474"/>
              <a:chExt cx="1003074" cy="663758"/>
            </a:xfrm>
          </p:grpSpPr>
          <p:sp>
            <p:nvSpPr>
              <p:cNvPr id="109" name="Rectangle 108">
                <a:extLst>
                  <a:ext uri="{FF2B5EF4-FFF2-40B4-BE49-F238E27FC236}">
                    <a16:creationId xmlns:a16="http://schemas.microsoft.com/office/drawing/2014/main" id="{FB90A449-66F2-1B4F-B022-420981823C8E}"/>
                  </a:ext>
                </a:extLst>
              </p:cNvPr>
              <p:cNvSpPr/>
              <p:nvPr/>
            </p:nvSpPr>
            <p:spPr>
              <a:xfrm>
                <a:off x="3338854" y="2335474"/>
                <a:ext cx="748514" cy="663758"/>
              </a:xfrm>
              <a:prstGeom prst="rect">
                <a:avLst/>
              </a:prstGeom>
              <a:solidFill>
                <a:schemeClr val="bg1"/>
              </a:solidFill>
              <a:ln w="9525">
                <a:solidFill>
                  <a:srgbClr val="0067B7"/>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000" b="1" dirty="0">
                  <a:solidFill>
                    <a:srgbClr val="002D72"/>
                  </a:solidFill>
                  <a:cs typeface="Arial" pitchFamily="34" charset="0"/>
                </a:endParaRPr>
              </a:p>
            </p:txBody>
          </p:sp>
          <p:cxnSp>
            <p:nvCxnSpPr>
              <p:cNvPr id="110" name="Straight Connector 109">
                <a:extLst>
                  <a:ext uri="{FF2B5EF4-FFF2-40B4-BE49-F238E27FC236}">
                    <a16:creationId xmlns:a16="http://schemas.microsoft.com/office/drawing/2014/main" id="{5B3F8FD4-6743-1D47-90FB-C0EBC497041A}"/>
                  </a:ext>
                </a:extLst>
              </p:cNvPr>
              <p:cNvCxnSpPr/>
              <p:nvPr/>
            </p:nvCxnSpPr>
            <p:spPr>
              <a:xfrm>
                <a:off x="3338854" y="2335474"/>
                <a:ext cx="875794" cy="0"/>
              </a:xfrm>
              <a:prstGeom prst="line">
                <a:avLst/>
              </a:prstGeom>
              <a:ln>
                <a:solidFill>
                  <a:srgbClr val="0067B7"/>
                </a:solidFill>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A578B968-04AA-5B45-A29D-B7857A531CE6}"/>
                  </a:ext>
                </a:extLst>
              </p:cNvPr>
              <p:cNvCxnSpPr/>
              <p:nvPr/>
            </p:nvCxnSpPr>
            <p:spPr>
              <a:xfrm>
                <a:off x="3211574" y="2999232"/>
                <a:ext cx="875794" cy="0"/>
              </a:xfrm>
              <a:prstGeom prst="line">
                <a:avLst/>
              </a:prstGeom>
              <a:ln>
                <a:solidFill>
                  <a:srgbClr val="0067B7"/>
                </a:solidFill>
              </a:ln>
            </p:spPr>
            <p:style>
              <a:lnRef idx="1">
                <a:schemeClr val="accent1"/>
              </a:lnRef>
              <a:fillRef idx="0">
                <a:schemeClr val="accent1"/>
              </a:fillRef>
              <a:effectRef idx="0">
                <a:schemeClr val="accent1"/>
              </a:effectRef>
              <a:fontRef idx="minor">
                <a:schemeClr val="tx1"/>
              </a:fontRef>
            </p:style>
          </p:cxnSp>
        </p:grpSp>
        <p:sp>
          <p:nvSpPr>
            <p:cNvPr id="108" name="Google Shape;61;p12">
              <a:extLst>
                <a:ext uri="{FF2B5EF4-FFF2-40B4-BE49-F238E27FC236}">
                  <a16:creationId xmlns:a16="http://schemas.microsoft.com/office/drawing/2014/main" id="{D8E5E5B6-E6D7-2947-9DF3-5D9F9FDCBA62}"/>
                </a:ext>
              </a:extLst>
            </p:cNvPr>
            <p:cNvSpPr txBox="1">
              <a:spLocks/>
            </p:cNvSpPr>
            <p:nvPr/>
          </p:nvSpPr>
          <p:spPr>
            <a:xfrm>
              <a:off x="3547007" y="2411158"/>
              <a:ext cx="664667" cy="351089"/>
            </a:xfrm>
            <a:prstGeom prst="rect">
              <a:avLst/>
            </a:prstGeom>
          </p:spPr>
          <p:txBody>
            <a:bodyPr spcFirstLastPara="1" vert="horz" wrap="square" lIns="91425" tIns="91425" rIns="91425" bIns="91425" rtlCol="0" anchor="t"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spcBef>
                  <a:spcPts val="0"/>
                </a:spcBef>
              </a:pPr>
              <a:r>
                <a:rPr lang="en-US" sz="1000" b="1" dirty="0">
                  <a:solidFill>
                    <a:srgbClr val="0067B7"/>
                  </a:solidFill>
                  <a:effectLst>
                    <a:outerShdw blurRad="50800" dist="50800" dir="5400000" algn="ctr" rotWithShape="0">
                      <a:srgbClr val="000000">
                        <a:alpha val="0"/>
                      </a:srgbClr>
                    </a:outerShdw>
                    <a:reflection endPos="0" dist="50800" dir="5400000" sy="-100000" algn="bl" rotWithShape="0"/>
                  </a:effectLst>
                  <a:latin typeface="+mn-lt"/>
                  <a:ea typeface="Nanum Pen Script" panose="03040600000000000000" pitchFamily="66" charset="-127"/>
                  <a:cs typeface="Arial" panose="020B0604020202020204" pitchFamily="34" charset="0"/>
                </a:rPr>
                <a:t>System</a:t>
              </a:r>
            </a:p>
          </p:txBody>
        </p:sp>
      </p:grpSp>
      <p:grpSp>
        <p:nvGrpSpPr>
          <p:cNvPr id="119" name="Group 118">
            <a:extLst>
              <a:ext uri="{FF2B5EF4-FFF2-40B4-BE49-F238E27FC236}">
                <a16:creationId xmlns:a16="http://schemas.microsoft.com/office/drawing/2014/main" id="{9CF98E6C-B285-8D40-8735-D7B9D9AD9801}"/>
              </a:ext>
            </a:extLst>
          </p:cNvPr>
          <p:cNvGrpSpPr/>
          <p:nvPr/>
        </p:nvGrpSpPr>
        <p:grpSpPr>
          <a:xfrm>
            <a:off x="7478934" y="1268211"/>
            <a:ext cx="1675337" cy="422732"/>
            <a:chOff x="3211574" y="2335474"/>
            <a:chExt cx="1382052" cy="663758"/>
          </a:xfrm>
        </p:grpSpPr>
        <p:sp>
          <p:nvSpPr>
            <p:cNvPr id="135" name="Rectangle 134">
              <a:extLst>
                <a:ext uri="{FF2B5EF4-FFF2-40B4-BE49-F238E27FC236}">
                  <a16:creationId xmlns:a16="http://schemas.microsoft.com/office/drawing/2014/main" id="{720B2B8C-AD36-4540-A057-41ED3823063F}"/>
                </a:ext>
              </a:extLst>
            </p:cNvPr>
            <p:cNvSpPr/>
            <p:nvPr/>
          </p:nvSpPr>
          <p:spPr>
            <a:xfrm>
              <a:off x="3338853" y="2335474"/>
              <a:ext cx="1254773" cy="663758"/>
            </a:xfrm>
            <a:prstGeom prst="rect">
              <a:avLst/>
            </a:prstGeom>
            <a:solidFill>
              <a:srgbClr val="C5277F"/>
            </a:solidFill>
            <a:ln w="12700">
              <a:solidFill>
                <a:srgbClr val="7C1A4D"/>
              </a:solidFill>
              <a:miter lim="800000"/>
              <a:headEnd/>
              <a:tailEnd/>
            </a:ln>
          </p:spPr>
          <p:txBody>
            <a:bodyPr wrap="none" lIns="108000" tIns="0" rIns="108000" bIns="0" anchor="ctr"/>
            <a:lstStyle/>
            <a:p>
              <a:pPr algn="ctr" defTabSz="449263" eaLnBrk="0" hangingPunct="0">
                <a:spcBef>
                  <a:spcPct val="20000"/>
                </a:spcBef>
                <a:buClr>
                  <a:schemeClr val="accent2"/>
                </a:buClr>
                <a:buSzPct val="13000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r>
                <a:rPr lang="en-US" sz="800" b="1" dirty="0">
                  <a:solidFill>
                    <a:schemeClr val="bg1"/>
                  </a:solidFill>
                </a:rPr>
                <a:t>Client</a:t>
              </a:r>
            </a:p>
          </p:txBody>
        </p:sp>
        <p:cxnSp>
          <p:nvCxnSpPr>
            <p:cNvPr id="136" name="Straight Connector 135">
              <a:extLst>
                <a:ext uri="{FF2B5EF4-FFF2-40B4-BE49-F238E27FC236}">
                  <a16:creationId xmlns:a16="http://schemas.microsoft.com/office/drawing/2014/main" id="{B2E6FFBD-DE60-3B44-BD42-D8EED9944613}"/>
                </a:ext>
              </a:extLst>
            </p:cNvPr>
            <p:cNvCxnSpPr/>
            <p:nvPr/>
          </p:nvCxnSpPr>
          <p:spPr>
            <a:xfrm>
              <a:off x="3696207" y="2335474"/>
              <a:ext cx="875794" cy="0"/>
            </a:xfrm>
            <a:prstGeom prst="line">
              <a:avLst/>
            </a:prstGeom>
            <a:solidFill>
              <a:srgbClr val="C5277F"/>
            </a:solidFill>
            <a:ln w="12700">
              <a:solidFill>
                <a:srgbClr val="7C1A4D"/>
              </a:solidFill>
              <a:miter lim="800000"/>
              <a:headEnd/>
              <a:tailEnd/>
            </a:ln>
          </p:spPr>
        </p:cxnSp>
        <p:cxnSp>
          <p:nvCxnSpPr>
            <p:cNvPr id="141" name="Straight Connector 140">
              <a:extLst>
                <a:ext uri="{FF2B5EF4-FFF2-40B4-BE49-F238E27FC236}">
                  <a16:creationId xmlns:a16="http://schemas.microsoft.com/office/drawing/2014/main" id="{F76E408D-8825-9F4D-AE23-D15F12AAC0B2}"/>
                </a:ext>
              </a:extLst>
            </p:cNvPr>
            <p:cNvCxnSpPr/>
            <p:nvPr/>
          </p:nvCxnSpPr>
          <p:spPr>
            <a:xfrm>
              <a:off x="3211574" y="2999232"/>
              <a:ext cx="875794" cy="0"/>
            </a:xfrm>
            <a:prstGeom prst="line">
              <a:avLst/>
            </a:prstGeom>
            <a:solidFill>
              <a:srgbClr val="C5277F"/>
            </a:solidFill>
            <a:ln w="12700">
              <a:solidFill>
                <a:srgbClr val="7C1A4D"/>
              </a:solidFill>
              <a:miter lim="800000"/>
              <a:headEnd/>
              <a:tailEnd/>
            </a:ln>
          </p:spPr>
        </p:cxnSp>
      </p:grpSp>
      <p:grpSp>
        <p:nvGrpSpPr>
          <p:cNvPr id="176" name="Group 175">
            <a:extLst>
              <a:ext uri="{FF2B5EF4-FFF2-40B4-BE49-F238E27FC236}">
                <a16:creationId xmlns:a16="http://schemas.microsoft.com/office/drawing/2014/main" id="{77D9352B-F7D9-9444-AB81-BEE04FC99AE2}"/>
              </a:ext>
            </a:extLst>
          </p:cNvPr>
          <p:cNvGrpSpPr/>
          <p:nvPr/>
        </p:nvGrpSpPr>
        <p:grpSpPr>
          <a:xfrm>
            <a:off x="7378351" y="1378377"/>
            <a:ext cx="1675337" cy="422732"/>
            <a:chOff x="3211574" y="2335474"/>
            <a:chExt cx="1382052" cy="663758"/>
          </a:xfrm>
        </p:grpSpPr>
        <p:sp>
          <p:nvSpPr>
            <p:cNvPr id="189" name="Rectangle 188">
              <a:extLst>
                <a:ext uri="{FF2B5EF4-FFF2-40B4-BE49-F238E27FC236}">
                  <a16:creationId xmlns:a16="http://schemas.microsoft.com/office/drawing/2014/main" id="{C9C41A9F-0EC4-0E4F-B283-4C0CE07BFB99}"/>
                </a:ext>
              </a:extLst>
            </p:cNvPr>
            <p:cNvSpPr/>
            <p:nvPr/>
          </p:nvSpPr>
          <p:spPr>
            <a:xfrm>
              <a:off x="3338853" y="2335474"/>
              <a:ext cx="1254773" cy="663758"/>
            </a:xfrm>
            <a:prstGeom prst="rect">
              <a:avLst/>
            </a:prstGeom>
            <a:solidFill>
              <a:srgbClr val="C5277F"/>
            </a:solidFill>
            <a:ln w="12700">
              <a:solidFill>
                <a:srgbClr val="7C1A4D"/>
              </a:solidFill>
              <a:miter lim="800000"/>
              <a:headEnd/>
              <a:tailEnd/>
            </a:ln>
          </p:spPr>
          <p:txBody>
            <a:bodyPr wrap="none" lIns="108000" tIns="0" rIns="108000" bIns="0" anchor="ctr"/>
            <a:lstStyle/>
            <a:p>
              <a:pPr algn="ctr" defTabSz="449263" eaLnBrk="0" hangingPunct="0">
                <a:spcBef>
                  <a:spcPct val="20000"/>
                </a:spcBef>
                <a:buClr>
                  <a:schemeClr val="accent2"/>
                </a:buClr>
                <a:buSzPct val="13000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r>
                <a:rPr lang="en-US" sz="800" b="1" dirty="0">
                  <a:solidFill>
                    <a:schemeClr val="bg1"/>
                  </a:solidFill>
                </a:rPr>
                <a:t>Client</a:t>
              </a:r>
            </a:p>
          </p:txBody>
        </p:sp>
        <p:cxnSp>
          <p:nvCxnSpPr>
            <p:cNvPr id="195" name="Straight Connector 194">
              <a:extLst>
                <a:ext uri="{FF2B5EF4-FFF2-40B4-BE49-F238E27FC236}">
                  <a16:creationId xmlns:a16="http://schemas.microsoft.com/office/drawing/2014/main" id="{F69F8F76-8397-3546-A40F-FDEDF5F50AB3}"/>
                </a:ext>
              </a:extLst>
            </p:cNvPr>
            <p:cNvCxnSpPr/>
            <p:nvPr/>
          </p:nvCxnSpPr>
          <p:spPr>
            <a:xfrm>
              <a:off x="3696207" y="2335474"/>
              <a:ext cx="875794" cy="0"/>
            </a:xfrm>
            <a:prstGeom prst="line">
              <a:avLst/>
            </a:prstGeom>
            <a:solidFill>
              <a:srgbClr val="C5277F"/>
            </a:solidFill>
            <a:ln w="12700">
              <a:solidFill>
                <a:srgbClr val="7C1A4D"/>
              </a:solidFill>
              <a:miter lim="800000"/>
              <a:headEnd/>
              <a:tailEnd/>
            </a:ln>
          </p:spPr>
        </p:cxnSp>
        <p:cxnSp>
          <p:nvCxnSpPr>
            <p:cNvPr id="196" name="Straight Connector 195">
              <a:extLst>
                <a:ext uri="{FF2B5EF4-FFF2-40B4-BE49-F238E27FC236}">
                  <a16:creationId xmlns:a16="http://schemas.microsoft.com/office/drawing/2014/main" id="{158921B8-40AC-554D-9730-4F4C6E3675B1}"/>
                </a:ext>
              </a:extLst>
            </p:cNvPr>
            <p:cNvCxnSpPr/>
            <p:nvPr/>
          </p:nvCxnSpPr>
          <p:spPr>
            <a:xfrm>
              <a:off x="3211574" y="2999232"/>
              <a:ext cx="875794" cy="0"/>
            </a:xfrm>
            <a:prstGeom prst="line">
              <a:avLst/>
            </a:prstGeom>
            <a:solidFill>
              <a:srgbClr val="C5277F"/>
            </a:solidFill>
            <a:ln w="12700">
              <a:solidFill>
                <a:srgbClr val="7C1A4D"/>
              </a:solidFill>
              <a:miter lim="800000"/>
              <a:headEnd/>
              <a:tailEnd/>
            </a:ln>
          </p:spPr>
        </p:cxnSp>
      </p:grpSp>
      <p:grpSp>
        <p:nvGrpSpPr>
          <p:cNvPr id="182" name="Group 181">
            <a:extLst>
              <a:ext uri="{FF2B5EF4-FFF2-40B4-BE49-F238E27FC236}">
                <a16:creationId xmlns:a16="http://schemas.microsoft.com/office/drawing/2014/main" id="{E4D1F9A2-DEE5-2C42-BF87-521436A8D18B}"/>
              </a:ext>
            </a:extLst>
          </p:cNvPr>
          <p:cNvGrpSpPr/>
          <p:nvPr/>
        </p:nvGrpSpPr>
        <p:grpSpPr>
          <a:xfrm>
            <a:off x="10709108" y="2892188"/>
            <a:ext cx="1050534" cy="429082"/>
            <a:chOff x="7596942" y="4155414"/>
            <a:chExt cx="678796" cy="663758"/>
          </a:xfrm>
        </p:grpSpPr>
        <p:grpSp>
          <p:nvGrpSpPr>
            <p:cNvPr id="183" name="Group 182">
              <a:extLst>
                <a:ext uri="{FF2B5EF4-FFF2-40B4-BE49-F238E27FC236}">
                  <a16:creationId xmlns:a16="http://schemas.microsoft.com/office/drawing/2014/main" id="{F0EF594F-F7F5-9141-87E5-EF69481AD6CC}"/>
                </a:ext>
              </a:extLst>
            </p:cNvPr>
            <p:cNvGrpSpPr/>
            <p:nvPr/>
          </p:nvGrpSpPr>
          <p:grpSpPr>
            <a:xfrm>
              <a:off x="7596942" y="4155414"/>
              <a:ext cx="678796" cy="663758"/>
              <a:chOff x="3408572" y="2335474"/>
              <a:chExt cx="678796" cy="663758"/>
            </a:xfrm>
          </p:grpSpPr>
          <p:sp>
            <p:nvSpPr>
              <p:cNvPr id="185" name="Rectangle 184">
                <a:extLst>
                  <a:ext uri="{FF2B5EF4-FFF2-40B4-BE49-F238E27FC236}">
                    <a16:creationId xmlns:a16="http://schemas.microsoft.com/office/drawing/2014/main" id="{17053329-AF09-FB49-AC5D-1BCBF06B380E}"/>
                  </a:ext>
                </a:extLst>
              </p:cNvPr>
              <p:cNvSpPr/>
              <p:nvPr/>
            </p:nvSpPr>
            <p:spPr>
              <a:xfrm>
                <a:off x="3408572" y="2335474"/>
                <a:ext cx="539359" cy="663758"/>
              </a:xfrm>
              <a:prstGeom prst="rect">
                <a:avLst/>
              </a:prstGeom>
              <a:solidFill>
                <a:schemeClr val="bg1"/>
              </a:solidFill>
              <a:ln w="9525">
                <a:solidFill>
                  <a:srgbClr val="0067B7"/>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000" b="1" dirty="0">
                  <a:solidFill>
                    <a:srgbClr val="002D72"/>
                  </a:solidFill>
                  <a:cs typeface="Arial" pitchFamily="34" charset="0"/>
                </a:endParaRPr>
              </a:p>
            </p:txBody>
          </p:sp>
          <p:cxnSp>
            <p:nvCxnSpPr>
              <p:cNvPr id="186" name="Straight Connector 185">
                <a:extLst>
                  <a:ext uri="{FF2B5EF4-FFF2-40B4-BE49-F238E27FC236}">
                    <a16:creationId xmlns:a16="http://schemas.microsoft.com/office/drawing/2014/main" id="{E42FCAFA-06F5-704C-87C5-73C19935F4EF}"/>
                  </a:ext>
                </a:extLst>
              </p:cNvPr>
              <p:cNvCxnSpPr>
                <a:cxnSpLocks/>
              </p:cNvCxnSpPr>
              <p:nvPr/>
            </p:nvCxnSpPr>
            <p:spPr>
              <a:xfrm>
                <a:off x="3408572" y="2335474"/>
                <a:ext cx="678796" cy="0"/>
              </a:xfrm>
              <a:prstGeom prst="line">
                <a:avLst/>
              </a:prstGeom>
              <a:ln>
                <a:solidFill>
                  <a:srgbClr val="0067B7"/>
                </a:solidFill>
              </a:ln>
            </p:spPr>
            <p:style>
              <a:lnRef idx="1">
                <a:schemeClr val="accent1"/>
              </a:lnRef>
              <a:fillRef idx="0">
                <a:schemeClr val="accent1"/>
              </a:fillRef>
              <a:effectRef idx="0">
                <a:schemeClr val="accent1"/>
              </a:effectRef>
              <a:fontRef idx="minor">
                <a:schemeClr val="tx1"/>
              </a:fontRef>
            </p:style>
          </p:cxnSp>
        </p:grpSp>
        <p:sp>
          <p:nvSpPr>
            <p:cNvPr id="184" name="Google Shape;61;p12">
              <a:extLst>
                <a:ext uri="{FF2B5EF4-FFF2-40B4-BE49-F238E27FC236}">
                  <a16:creationId xmlns:a16="http://schemas.microsoft.com/office/drawing/2014/main" id="{273C0483-0D6F-604D-85F0-29F6C00EFD26}"/>
                </a:ext>
              </a:extLst>
            </p:cNvPr>
            <p:cNvSpPr txBox="1">
              <a:spLocks/>
            </p:cNvSpPr>
            <p:nvPr/>
          </p:nvSpPr>
          <p:spPr>
            <a:xfrm>
              <a:off x="7635579" y="4265555"/>
              <a:ext cx="465274" cy="425603"/>
            </a:xfrm>
            <a:prstGeom prst="rect">
              <a:avLst/>
            </a:prstGeom>
          </p:spPr>
          <p:txBody>
            <a:bodyPr spcFirstLastPara="1" vert="horz" wrap="square" lIns="91425" tIns="91425" rIns="91425" bIns="91425" rtlCol="0" anchor="ctr"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spcBef>
                  <a:spcPts val="0"/>
                </a:spcBef>
              </a:pPr>
              <a:r>
                <a:rPr lang="en-US" sz="1000" b="1" dirty="0">
                  <a:solidFill>
                    <a:srgbClr val="0067B7"/>
                  </a:solidFill>
                  <a:effectLst>
                    <a:outerShdw blurRad="50800" dist="50800" dir="5400000" algn="ctr" rotWithShape="0">
                      <a:srgbClr val="000000">
                        <a:alpha val="0"/>
                      </a:srgbClr>
                    </a:outerShdw>
                    <a:reflection endPos="0" dist="50800" dir="5400000" sy="-100000" algn="bl" rotWithShape="0"/>
                  </a:effectLst>
                  <a:latin typeface="+mn-lt"/>
                  <a:ea typeface="Nanum Pen Script" panose="03040600000000000000" pitchFamily="66" charset="-127"/>
                  <a:cs typeface="Arial" panose="020B0604020202020204" pitchFamily="34" charset="0"/>
                </a:rPr>
                <a:t>System</a:t>
              </a:r>
            </a:p>
          </p:txBody>
        </p:sp>
      </p:grpSp>
      <p:grpSp>
        <p:nvGrpSpPr>
          <p:cNvPr id="188" name="Group 187">
            <a:extLst>
              <a:ext uri="{FF2B5EF4-FFF2-40B4-BE49-F238E27FC236}">
                <a16:creationId xmlns:a16="http://schemas.microsoft.com/office/drawing/2014/main" id="{BBC0F1BD-0109-6E49-A3CE-A5CC71350AD0}"/>
              </a:ext>
            </a:extLst>
          </p:cNvPr>
          <p:cNvGrpSpPr/>
          <p:nvPr/>
        </p:nvGrpSpPr>
        <p:grpSpPr>
          <a:xfrm>
            <a:off x="10491918" y="2796273"/>
            <a:ext cx="1355416" cy="429082"/>
            <a:chOff x="7399944" y="4155414"/>
            <a:chExt cx="875794" cy="663758"/>
          </a:xfrm>
        </p:grpSpPr>
        <p:grpSp>
          <p:nvGrpSpPr>
            <p:cNvPr id="190" name="Group 189">
              <a:extLst>
                <a:ext uri="{FF2B5EF4-FFF2-40B4-BE49-F238E27FC236}">
                  <a16:creationId xmlns:a16="http://schemas.microsoft.com/office/drawing/2014/main" id="{7FD10D33-DE35-464A-8E73-311768C2EC48}"/>
                </a:ext>
              </a:extLst>
            </p:cNvPr>
            <p:cNvGrpSpPr/>
            <p:nvPr/>
          </p:nvGrpSpPr>
          <p:grpSpPr>
            <a:xfrm>
              <a:off x="7399944" y="4155414"/>
              <a:ext cx="875794" cy="663758"/>
              <a:chOff x="3211574" y="2335474"/>
              <a:chExt cx="875794" cy="663758"/>
            </a:xfrm>
          </p:grpSpPr>
          <p:sp>
            <p:nvSpPr>
              <p:cNvPr id="192" name="Rectangle 191">
                <a:extLst>
                  <a:ext uri="{FF2B5EF4-FFF2-40B4-BE49-F238E27FC236}">
                    <a16:creationId xmlns:a16="http://schemas.microsoft.com/office/drawing/2014/main" id="{368DF268-95A7-EC4F-9CE3-F177666CC85C}"/>
                  </a:ext>
                </a:extLst>
              </p:cNvPr>
              <p:cNvSpPr/>
              <p:nvPr/>
            </p:nvSpPr>
            <p:spPr>
              <a:xfrm>
                <a:off x="3408572" y="2335474"/>
                <a:ext cx="539359" cy="663758"/>
              </a:xfrm>
              <a:prstGeom prst="rect">
                <a:avLst/>
              </a:prstGeom>
              <a:solidFill>
                <a:schemeClr val="bg1"/>
              </a:solidFill>
              <a:ln w="9525">
                <a:solidFill>
                  <a:srgbClr val="0067B7"/>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000" b="1" dirty="0">
                  <a:solidFill>
                    <a:srgbClr val="002D72"/>
                  </a:solidFill>
                  <a:cs typeface="Arial" pitchFamily="34" charset="0"/>
                </a:endParaRPr>
              </a:p>
            </p:txBody>
          </p:sp>
          <p:cxnSp>
            <p:nvCxnSpPr>
              <p:cNvPr id="193" name="Straight Connector 192">
                <a:extLst>
                  <a:ext uri="{FF2B5EF4-FFF2-40B4-BE49-F238E27FC236}">
                    <a16:creationId xmlns:a16="http://schemas.microsoft.com/office/drawing/2014/main" id="{EC396ACF-5210-0244-898A-8066712D95BD}"/>
                  </a:ext>
                </a:extLst>
              </p:cNvPr>
              <p:cNvCxnSpPr>
                <a:cxnSpLocks/>
              </p:cNvCxnSpPr>
              <p:nvPr/>
            </p:nvCxnSpPr>
            <p:spPr>
              <a:xfrm>
                <a:off x="3408572" y="2335474"/>
                <a:ext cx="678796" cy="0"/>
              </a:xfrm>
              <a:prstGeom prst="line">
                <a:avLst/>
              </a:prstGeom>
              <a:ln>
                <a:solidFill>
                  <a:srgbClr val="0067B7"/>
                </a:solidFill>
              </a:ln>
            </p:spPr>
            <p:style>
              <a:lnRef idx="1">
                <a:schemeClr val="accent1"/>
              </a:lnRef>
              <a:fillRef idx="0">
                <a:schemeClr val="accent1"/>
              </a:fillRef>
              <a:effectRef idx="0">
                <a:schemeClr val="accent1"/>
              </a:effectRef>
              <a:fontRef idx="minor">
                <a:schemeClr val="tx1"/>
              </a:fontRef>
            </p:style>
          </p:cxnSp>
          <p:cxnSp>
            <p:nvCxnSpPr>
              <p:cNvPr id="194" name="Straight Connector 193">
                <a:extLst>
                  <a:ext uri="{FF2B5EF4-FFF2-40B4-BE49-F238E27FC236}">
                    <a16:creationId xmlns:a16="http://schemas.microsoft.com/office/drawing/2014/main" id="{5AB5D583-346D-3640-A463-E782C6EFEA30}"/>
                  </a:ext>
                </a:extLst>
              </p:cNvPr>
              <p:cNvCxnSpPr>
                <a:cxnSpLocks/>
              </p:cNvCxnSpPr>
              <p:nvPr/>
            </p:nvCxnSpPr>
            <p:spPr>
              <a:xfrm>
                <a:off x="3211574" y="2999232"/>
                <a:ext cx="736357" cy="0"/>
              </a:xfrm>
              <a:prstGeom prst="line">
                <a:avLst/>
              </a:prstGeom>
              <a:ln>
                <a:solidFill>
                  <a:srgbClr val="0067B7"/>
                </a:solidFill>
              </a:ln>
            </p:spPr>
            <p:style>
              <a:lnRef idx="1">
                <a:schemeClr val="accent1"/>
              </a:lnRef>
              <a:fillRef idx="0">
                <a:schemeClr val="accent1"/>
              </a:fillRef>
              <a:effectRef idx="0">
                <a:schemeClr val="accent1"/>
              </a:effectRef>
              <a:fontRef idx="minor">
                <a:schemeClr val="tx1"/>
              </a:fontRef>
            </p:style>
          </p:cxnSp>
        </p:grpSp>
        <p:sp>
          <p:nvSpPr>
            <p:cNvPr id="191" name="Google Shape;61;p12">
              <a:extLst>
                <a:ext uri="{FF2B5EF4-FFF2-40B4-BE49-F238E27FC236}">
                  <a16:creationId xmlns:a16="http://schemas.microsoft.com/office/drawing/2014/main" id="{2429BD78-9D10-864D-B9A2-9E1924BD75D5}"/>
                </a:ext>
              </a:extLst>
            </p:cNvPr>
            <p:cNvSpPr txBox="1">
              <a:spLocks/>
            </p:cNvSpPr>
            <p:nvPr/>
          </p:nvSpPr>
          <p:spPr>
            <a:xfrm>
              <a:off x="7635579" y="4265555"/>
              <a:ext cx="465274" cy="425603"/>
            </a:xfrm>
            <a:prstGeom prst="rect">
              <a:avLst/>
            </a:prstGeom>
          </p:spPr>
          <p:txBody>
            <a:bodyPr spcFirstLastPara="1" vert="horz" wrap="square" lIns="91425" tIns="91425" rIns="91425" bIns="91425" rtlCol="0" anchor="ctr"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spcBef>
                  <a:spcPts val="0"/>
                </a:spcBef>
              </a:pPr>
              <a:r>
                <a:rPr lang="en-US" sz="1000" b="1" dirty="0">
                  <a:solidFill>
                    <a:srgbClr val="0067B7"/>
                  </a:solidFill>
                  <a:effectLst>
                    <a:outerShdw blurRad="50800" dist="50800" dir="5400000" algn="ctr" rotWithShape="0">
                      <a:srgbClr val="000000">
                        <a:alpha val="0"/>
                      </a:srgbClr>
                    </a:outerShdw>
                    <a:reflection endPos="0" dist="50800" dir="5400000" sy="-100000" algn="bl" rotWithShape="0"/>
                  </a:effectLst>
                  <a:latin typeface="+mn-lt"/>
                  <a:ea typeface="Nanum Pen Script" panose="03040600000000000000" pitchFamily="66" charset="-127"/>
                  <a:cs typeface="Arial" panose="020B0604020202020204" pitchFamily="34" charset="0"/>
                </a:rPr>
                <a:t>System</a:t>
              </a:r>
            </a:p>
          </p:txBody>
        </p:sp>
      </p:grpSp>
      <p:grpSp>
        <p:nvGrpSpPr>
          <p:cNvPr id="205" name="Group 204">
            <a:extLst>
              <a:ext uri="{FF2B5EF4-FFF2-40B4-BE49-F238E27FC236}">
                <a16:creationId xmlns:a16="http://schemas.microsoft.com/office/drawing/2014/main" id="{958CC8E3-FD6D-4A4D-B994-85E98ABE4F4C}"/>
              </a:ext>
            </a:extLst>
          </p:cNvPr>
          <p:cNvGrpSpPr/>
          <p:nvPr/>
        </p:nvGrpSpPr>
        <p:grpSpPr>
          <a:xfrm>
            <a:off x="10611391" y="2707467"/>
            <a:ext cx="1355416" cy="429082"/>
            <a:chOff x="7399944" y="4155414"/>
            <a:chExt cx="875794" cy="663758"/>
          </a:xfrm>
        </p:grpSpPr>
        <p:grpSp>
          <p:nvGrpSpPr>
            <p:cNvPr id="206" name="Group 205">
              <a:extLst>
                <a:ext uri="{FF2B5EF4-FFF2-40B4-BE49-F238E27FC236}">
                  <a16:creationId xmlns:a16="http://schemas.microsoft.com/office/drawing/2014/main" id="{40413099-5792-494C-AC84-E6F7050E2216}"/>
                </a:ext>
              </a:extLst>
            </p:cNvPr>
            <p:cNvGrpSpPr/>
            <p:nvPr/>
          </p:nvGrpSpPr>
          <p:grpSpPr>
            <a:xfrm>
              <a:off x="7399944" y="4155414"/>
              <a:ext cx="875794" cy="663758"/>
              <a:chOff x="3211574" y="2335474"/>
              <a:chExt cx="875794" cy="663758"/>
            </a:xfrm>
          </p:grpSpPr>
          <p:sp>
            <p:nvSpPr>
              <p:cNvPr id="208" name="Rectangle 207">
                <a:extLst>
                  <a:ext uri="{FF2B5EF4-FFF2-40B4-BE49-F238E27FC236}">
                    <a16:creationId xmlns:a16="http://schemas.microsoft.com/office/drawing/2014/main" id="{F7C1178B-28AB-BD4E-8252-AC0EFE612A3D}"/>
                  </a:ext>
                </a:extLst>
              </p:cNvPr>
              <p:cNvSpPr/>
              <p:nvPr/>
            </p:nvSpPr>
            <p:spPr>
              <a:xfrm>
                <a:off x="3408572" y="2335474"/>
                <a:ext cx="539359" cy="663758"/>
              </a:xfrm>
              <a:prstGeom prst="rect">
                <a:avLst/>
              </a:prstGeom>
              <a:solidFill>
                <a:schemeClr val="bg1"/>
              </a:solidFill>
              <a:ln w="9525">
                <a:solidFill>
                  <a:srgbClr val="0067B7"/>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000" b="1" dirty="0">
                  <a:solidFill>
                    <a:srgbClr val="002D72"/>
                  </a:solidFill>
                  <a:cs typeface="Arial" pitchFamily="34" charset="0"/>
                </a:endParaRPr>
              </a:p>
            </p:txBody>
          </p:sp>
          <p:cxnSp>
            <p:nvCxnSpPr>
              <p:cNvPr id="209" name="Straight Connector 208">
                <a:extLst>
                  <a:ext uri="{FF2B5EF4-FFF2-40B4-BE49-F238E27FC236}">
                    <a16:creationId xmlns:a16="http://schemas.microsoft.com/office/drawing/2014/main" id="{0359AFD2-0704-674F-958E-513973DDC179}"/>
                  </a:ext>
                </a:extLst>
              </p:cNvPr>
              <p:cNvCxnSpPr>
                <a:cxnSpLocks/>
              </p:cNvCxnSpPr>
              <p:nvPr/>
            </p:nvCxnSpPr>
            <p:spPr>
              <a:xfrm>
                <a:off x="3408572" y="2335474"/>
                <a:ext cx="678796" cy="0"/>
              </a:xfrm>
              <a:prstGeom prst="line">
                <a:avLst/>
              </a:prstGeom>
              <a:ln>
                <a:solidFill>
                  <a:srgbClr val="0067B7"/>
                </a:solidFill>
              </a:ln>
            </p:spPr>
            <p:style>
              <a:lnRef idx="1">
                <a:schemeClr val="accent1"/>
              </a:lnRef>
              <a:fillRef idx="0">
                <a:schemeClr val="accent1"/>
              </a:fillRef>
              <a:effectRef idx="0">
                <a:schemeClr val="accent1"/>
              </a:effectRef>
              <a:fontRef idx="minor">
                <a:schemeClr val="tx1"/>
              </a:fontRef>
            </p:style>
          </p:cxnSp>
          <p:cxnSp>
            <p:nvCxnSpPr>
              <p:cNvPr id="210" name="Straight Connector 209">
                <a:extLst>
                  <a:ext uri="{FF2B5EF4-FFF2-40B4-BE49-F238E27FC236}">
                    <a16:creationId xmlns:a16="http://schemas.microsoft.com/office/drawing/2014/main" id="{50D1C1EC-4EF4-234D-AAD2-0AB08C235856}"/>
                  </a:ext>
                </a:extLst>
              </p:cNvPr>
              <p:cNvCxnSpPr>
                <a:cxnSpLocks/>
              </p:cNvCxnSpPr>
              <p:nvPr/>
            </p:nvCxnSpPr>
            <p:spPr>
              <a:xfrm>
                <a:off x="3211574" y="2999232"/>
                <a:ext cx="736357" cy="0"/>
              </a:xfrm>
              <a:prstGeom prst="line">
                <a:avLst/>
              </a:prstGeom>
              <a:ln>
                <a:solidFill>
                  <a:srgbClr val="0067B7"/>
                </a:solidFill>
              </a:ln>
            </p:spPr>
            <p:style>
              <a:lnRef idx="1">
                <a:schemeClr val="accent1"/>
              </a:lnRef>
              <a:fillRef idx="0">
                <a:schemeClr val="accent1"/>
              </a:fillRef>
              <a:effectRef idx="0">
                <a:schemeClr val="accent1"/>
              </a:effectRef>
              <a:fontRef idx="minor">
                <a:schemeClr val="tx1"/>
              </a:fontRef>
            </p:style>
          </p:cxnSp>
        </p:grpSp>
        <p:sp>
          <p:nvSpPr>
            <p:cNvPr id="207" name="Google Shape;61;p12">
              <a:extLst>
                <a:ext uri="{FF2B5EF4-FFF2-40B4-BE49-F238E27FC236}">
                  <a16:creationId xmlns:a16="http://schemas.microsoft.com/office/drawing/2014/main" id="{B1205C16-4A6A-744C-A797-791216C9FDA1}"/>
                </a:ext>
              </a:extLst>
            </p:cNvPr>
            <p:cNvSpPr txBox="1">
              <a:spLocks/>
            </p:cNvSpPr>
            <p:nvPr/>
          </p:nvSpPr>
          <p:spPr>
            <a:xfrm>
              <a:off x="7635579" y="4279700"/>
              <a:ext cx="465274" cy="425603"/>
            </a:xfrm>
            <a:prstGeom prst="rect">
              <a:avLst/>
            </a:prstGeom>
          </p:spPr>
          <p:txBody>
            <a:bodyPr spcFirstLastPara="1" vert="horz" wrap="square" lIns="91425" tIns="91425" rIns="91425" bIns="91425" rtlCol="0" anchor="ctr"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spcBef>
                  <a:spcPts val="0"/>
                </a:spcBef>
              </a:pPr>
              <a:r>
                <a:rPr lang="en-US" sz="800" b="1" dirty="0">
                  <a:solidFill>
                    <a:srgbClr val="0067B7"/>
                  </a:solidFill>
                  <a:effectLst>
                    <a:outerShdw blurRad="50800" dist="50800" dir="5400000" algn="ctr" rotWithShape="0">
                      <a:srgbClr val="000000">
                        <a:alpha val="0"/>
                      </a:srgbClr>
                    </a:outerShdw>
                    <a:reflection endPos="0" dist="50800" dir="5400000" sy="-100000" algn="bl" rotWithShape="0"/>
                  </a:effectLst>
                  <a:latin typeface="+mn-lt"/>
                  <a:ea typeface="Nanum Pen Script" panose="03040600000000000000" pitchFamily="66" charset="-127"/>
                  <a:cs typeface="Arial" panose="020B0604020202020204" pitchFamily="34" charset="0"/>
                </a:rPr>
                <a:t>Target System</a:t>
              </a:r>
            </a:p>
          </p:txBody>
        </p:sp>
      </p:grpSp>
      <p:cxnSp>
        <p:nvCxnSpPr>
          <p:cNvPr id="213" name="Elbow Connector 212">
            <a:extLst>
              <a:ext uri="{FF2B5EF4-FFF2-40B4-BE49-F238E27FC236}">
                <a16:creationId xmlns:a16="http://schemas.microsoft.com/office/drawing/2014/main" id="{BEC98A03-0AF3-B147-A746-FFD8369E8207}"/>
              </a:ext>
            </a:extLst>
          </p:cNvPr>
          <p:cNvCxnSpPr>
            <a:cxnSpLocks/>
            <a:stCxn id="97" idx="1"/>
            <a:endCxn id="111" idx="3"/>
          </p:cNvCxnSpPr>
          <p:nvPr/>
        </p:nvCxnSpPr>
        <p:spPr>
          <a:xfrm rot="10800000">
            <a:off x="1528335" y="3190945"/>
            <a:ext cx="508016" cy="1432347"/>
          </a:xfrm>
          <a:prstGeom prst="bentConnector3">
            <a:avLst>
              <a:gd name="adj1" fmla="val 73399"/>
            </a:avLst>
          </a:prstGeom>
          <a:ln>
            <a:solidFill>
              <a:srgbClr val="7030A0"/>
            </a:solidFill>
            <a:headEnd type="oval"/>
            <a:tailEnd type="oval"/>
          </a:ln>
        </p:spPr>
        <p:style>
          <a:lnRef idx="1">
            <a:schemeClr val="accent1"/>
          </a:lnRef>
          <a:fillRef idx="0">
            <a:schemeClr val="accent1"/>
          </a:fillRef>
          <a:effectRef idx="0">
            <a:schemeClr val="accent1"/>
          </a:effectRef>
          <a:fontRef idx="minor">
            <a:schemeClr val="tx1"/>
          </a:fontRef>
        </p:style>
      </p:cxnSp>
      <p:cxnSp>
        <p:nvCxnSpPr>
          <p:cNvPr id="101" name="Elbow Connector 100">
            <a:extLst>
              <a:ext uri="{FF2B5EF4-FFF2-40B4-BE49-F238E27FC236}">
                <a16:creationId xmlns:a16="http://schemas.microsoft.com/office/drawing/2014/main" id="{6BBD5A80-47BC-8C45-9A68-6C1B74CFB6ED}"/>
              </a:ext>
            </a:extLst>
          </p:cNvPr>
          <p:cNvCxnSpPr>
            <a:cxnSpLocks/>
            <a:stCxn id="97" idx="0"/>
            <a:endCxn id="43" idx="2"/>
          </p:cNvCxnSpPr>
          <p:nvPr/>
        </p:nvCxnSpPr>
        <p:spPr>
          <a:xfrm rot="5400000" flipH="1" flipV="1">
            <a:off x="3765794" y="2413609"/>
            <a:ext cx="1057717" cy="2953735"/>
          </a:xfrm>
          <a:prstGeom prst="bentConnector3">
            <a:avLst>
              <a:gd name="adj1" fmla="val 69020"/>
            </a:avLst>
          </a:prstGeom>
          <a:ln>
            <a:solidFill>
              <a:srgbClr val="C5277F"/>
            </a:solidFill>
            <a:headEnd type="oval"/>
          </a:ln>
        </p:spPr>
        <p:style>
          <a:lnRef idx="1">
            <a:schemeClr val="accent1"/>
          </a:lnRef>
          <a:fillRef idx="0">
            <a:schemeClr val="accent1"/>
          </a:fillRef>
          <a:effectRef idx="0">
            <a:schemeClr val="accent1"/>
          </a:effectRef>
          <a:fontRef idx="minor">
            <a:schemeClr val="tx1"/>
          </a:fontRef>
        </p:style>
      </p:cxnSp>
      <p:cxnSp>
        <p:nvCxnSpPr>
          <p:cNvPr id="174" name="Straight Connector 173">
            <a:extLst>
              <a:ext uri="{FF2B5EF4-FFF2-40B4-BE49-F238E27FC236}">
                <a16:creationId xmlns:a16="http://schemas.microsoft.com/office/drawing/2014/main" id="{A80A4FDA-B381-5C49-92FF-D449FA3000A7}"/>
              </a:ext>
            </a:extLst>
          </p:cNvPr>
          <p:cNvCxnSpPr>
            <a:cxnSpLocks/>
            <a:stCxn id="189" idx="2"/>
            <a:endCxn id="92" idx="0"/>
          </p:cNvCxnSpPr>
          <p:nvPr/>
        </p:nvCxnSpPr>
        <p:spPr>
          <a:xfrm flipH="1">
            <a:off x="8292562" y="1801109"/>
            <a:ext cx="602" cy="343004"/>
          </a:xfrm>
          <a:prstGeom prst="line">
            <a:avLst/>
          </a:prstGeom>
          <a:ln>
            <a:solidFill>
              <a:srgbClr val="0067B7"/>
            </a:solidFill>
            <a:headEnd type="oval"/>
            <a:tailEnd type="oval"/>
          </a:ln>
        </p:spPr>
        <p:style>
          <a:lnRef idx="1">
            <a:schemeClr val="accent1"/>
          </a:lnRef>
          <a:fillRef idx="0">
            <a:schemeClr val="accent1"/>
          </a:fillRef>
          <a:effectRef idx="0">
            <a:schemeClr val="accent1"/>
          </a:effectRef>
          <a:fontRef idx="minor">
            <a:schemeClr val="tx1"/>
          </a:fontRef>
        </p:style>
      </p:cxnSp>
      <p:sp>
        <p:nvSpPr>
          <p:cNvPr id="3" name="Rectangle 2">
            <a:extLst>
              <a:ext uri="{FF2B5EF4-FFF2-40B4-BE49-F238E27FC236}">
                <a16:creationId xmlns:a16="http://schemas.microsoft.com/office/drawing/2014/main" id="{630E4CA8-5E12-F342-BD01-D61A15A7CEA8}"/>
              </a:ext>
            </a:extLst>
          </p:cNvPr>
          <p:cNvSpPr/>
          <p:nvPr/>
        </p:nvSpPr>
        <p:spPr>
          <a:xfrm>
            <a:off x="2460431" y="2006903"/>
            <a:ext cx="7298268" cy="694372"/>
          </a:xfrm>
          <a:prstGeom prst="rect">
            <a:avLst/>
          </a:prstGeom>
          <a:noFill/>
          <a:ln w="9525">
            <a:solidFill>
              <a:srgbClr val="E2E2E2"/>
            </a:solidFill>
            <a:prstDash val="dash"/>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a:noFill/>
              <a:cs typeface="Arial" pitchFamily="34" charset="0"/>
            </a:endParaRPr>
          </a:p>
        </p:txBody>
      </p:sp>
      <p:sp>
        <p:nvSpPr>
          <p:cNvPr id="187" name="Google Shape;61;p12">
            <a:extLst>
              <a:ext uri="{FF2B5EF4-FFF2-40B4-BE49-F238E27FC236}">
                <a16:creationId xmlns:a16="http://schemas.microsoft.com/office/drawing/2014/main" id="{55C1DB62-5F10-4A48-B9F1-315EF3721986}"/>
              </a:ext>
            </a:extLst>
          </p:cNvPr>
          <p:cNvSpPr txBox="1">
            <a:spLocks/>
          </p:cNvSpPr>
          <p:nvPr/>
        </p:nvSpPr>
        <p:spPr>
          <a:xfrm>
            <a:off x="2438917" y="2006549"/>
            <a:ext cx="834735" cy="275128"/>
          </a:xfrm>
          <a:prstGeom prst="rect">
            <a:avLst/>
          </a:prstGeom>
        </p:spPr>
        <p:txBody>
          <a:bodyPr spcFirstLastPara="1" vert="horz" wrap="square" lIns="91425" tIns="91425" rIns="91425" bIns="91425" rtlCol="0" anchor="ctr"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spcBef>
                <a:spcPts val="0"/>
              </a:spcBef>
            </a:pPr>
            <a:r>
              <a:rPr lang="en-US" sz="700" b="1" dirty="0">
                <a:solidFill>
                  <a:schemeClr val="bg1">
                    <a:lumMod val="75000"/>
                  </a:schemeClr>
                </a:solidFill>
                <a:effectLst>
                  <a:outerShdw blurRad="50800" dist="50800" dir="5400000" algn="ctr" rotWithShape="0">
                    <a:srgbClr val="000000">
                      <a:alpha val="0"/>
                    </a:srgbClr>
                  </a:outerShdw>
                  <a:reflection endPos="0" dist="50800" dir="5400000" sy="-100000" algn="bl" rotWithShape="0"/>
                </a:effectLst>
                <a:latin typeface="+mn-lt"/>
                <a:ea typeface="Nanum Pen Script" panose="03040600000000000000" pitchFamily="66" charset="-127"/>
                <a:cs typeface="Arial" panose="020B0604020202020204" pitchFamily="34" charset="0"/>
              </a:rPr>
              <a:t>Second phase</a:t>
            </a:r>
          </a:p>
        </p:txBody>
      </p:sp>
      <p:sp>
        <p:nvSpPr>
          <p:cNvPr id="211" name="Rectangle 210">
            <a:extLst>
              <a:ext uri="{FF2B5EF4-FFF2-40B4-BE49-F238E27FC236}">
                <a16:creationId xmlns:a16="http://schemas.microsoft.com/office/drawing/2014/main" id="{8A997A15-6D8F-264C-A584-3D8A8D0EB955}"/>
              </a:ext>
            </a:extLst>
          </p:cNvPr>
          <p:cNvSpPr/>
          <p:nvPr/>
        </p:nvSpPr>
        <p:spPr>
          <a:xfrm>
            <a:off x="1766786" y="2844667"/>
            <a:ext cx="8637440" cy="3540279"/>
          </a:xfrm>
          <a:prstGeom prst="rect">
            <a:avLst/>
          </a:prstGeom>
          <a:noFill/>
          <a:ln w="9525">
            <a:solidFill>
              <a:srgbClr val="E2E2E2"/>
            </a:solidFill>
            <a:prstDash val="dash"/>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a:noFill/>
              <a:cs typeface="Arial" pitchFamily="34" charset="0"/>
            </a:endParaRPr>
          </a:p>
        </p:txBody>
      </p:sp>
      <p:sp>
        <p:nvSpPr>
          <p:cNvPr id="214" name="Rectangle 213">
            <a:extLst>
              <a:ext uri="{FF2B5EF4-FFF2-40B4-BE49-F238E27FC236}">
                <a16:creationId xmlns:a16="http://schemas.microsoft.com/office/drawing/2014/main" id="{5EC9E7DE-9ACA-E642-9195-107501E73466}"/>
              </a:ext>
            </a:extLst>
          </p:cNvPr>
          <p:cNvSpPr/>
          <p:nvPr/>
        </p:nvSpPr>
        <p:spPr>
          <a:xfrm>
            <a:off x="2460432" y="1087129"/>
            <a:ext cx="7298268" cy="817957"/>
          </a:xfrm>
          <a:prstGeom prst="rect">
            <a:avLst/>
          </a:prstGeom>
          <a:noFill/>
          <a:ln w="9525">
            <a:solidFill>
              <a:srgbClr val="E2E2E2"/>
            </a:solidFill>
            <a:prstDash val="dash"/>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a:noFill/>
              <a:cs typeface="Arial" pitchFamily="34" charset="0"/>
            </a:endParaRPr>
          </a:p>
        </p:txBody>
      </p:sp>
      <p:sp>
        <p:nvSpPr>
          <p:cNvPr id="216" name="Google Shape;61;p12">
            <a:extLst>
              <a:ext uri="{FF2B5EF4-FFF2-40B4-BE49-F238E27FC236}">
                <a16:creationId xmlns:a16="http://schemas.microsoft.com/office/drawing/2014/main" id="{0AE3ADE9-05DD-FC43-9D1A-E2C1E37FD4A3}"/>
              </a:ext>
            </a:extLst>
          </p:cNvPr>
          <p:cNvSpPr txBox="1">
            <a:spLocks/>
          </p:cNvSpPr>
          <p:nvPr/>
        </p:nvSpPr>
        <p:spPr>
          <a:xfrm>
            <a:off x="1756081" y="6109818"/>
            <a:ext cx="834735" cy="275128"/>
          </a:xfrm>
          <a:prstGeom prst="rect">
            <a:avLst/>
          </a:prstGeom>
        </p:spPr>
        <p:txBody>
          <a:bodyPr spcFirstLastPara="1" vert="horz" wrap="square" lIns="91425" tIns="91425" rIns="91425" bIns="91425" rtlCol="0" anchor="ctr"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spcBef>
                <a:spcPts val="0"/>
              </a:spcBef>
            </a:pPr>
            <a:r>
              <a:rPr lang="en-US" sz="700" b="1" dirty="0">
                <a:solidFill>
                  <a:schemeClr val="bg1">
                    <a:lumMod val="75000"/>
                  </a:schemeClr>
                </a:solidFill>
                <a:effectLst>
                  <a:outerShdw blurRad="50800" dist="50800" dir="5400000" algn="ctr" rotWithShape="0">
                    <a:srgbClr val="000000">
                      <a:alpha val="0"/>
                    </a:srgbClr>
                  </a:outerShdw>
                  <a:reflection endPos="0" dist="50800" dir="5400000" sy="-100000" algn="bl" rotWithShape="0"/>
                </a:effectLst>
                <a:latin typeface="+mn-lt"/>
                <a:ea typeface="Nanum Pen Script" panose="03040600000000000000" pitchFamily="66" charset="-127"/>
                <a:cs typeface="Arial" panose="020B0604020202020204" pitchFamily="34" charset="0"/>
              </a:rPr>
              <a:t>First phase</a:t>
            </a:r>
          </a:p>
        </p:txBody>
      </p:sp>
      <p:grpSp>
        <p:nvGrpSpPr>
          <p:cNvPr id="217" name="Group 216">
            <a:extLst>
              <a:ext uri="{FF2B5EF4-FFF2-40B4-BE49-F238E27FC236}">
                <a16:creationId xmlns:a16="http://schemas.microsoft.com/office/drawing/2014/main" id="{2E7793A1-EA17-5440-B598-82015834EC11}"/>
              </a:ext>
            </a:extLst>
          </p:cNvPr>
          <p:cNvGrpSpPr/>
          <p:nvPr/>
        </p:nvGrpSpPr>
        <p:grpSpPr>
          <a:xfrm>
            <a:off x="4408320" y="5551587"/>
            <a:ext cx="1774842" cy="407914"/>
            <a:chOff x="3211574" y="2335474"/>
            <a:chExt cx="1382052" cy="663758"/>
          </a:xfrm>
        </p:grpSpPr>
        <p:sp>
          <p:nvSpPr>
            <p:cNvPr id="218" name="Rectangle 217">
              <a:extLst>
                <a:ext uri="{FF2B5EF4-FFF2-40B4-BE49-F238E27FC236}">
                  <a16:creationId xmlns:a16="http://schemas.microsoft.com/office/drawing/2014/main" id="{E8F543B2-7B5F-1B45-B875-7F5BF6DB9AAC}"/>
                </a:ext>
              </a:extLst>
            </p:cNvPr>
            <p:cNvSpPr/>
            <p:nvPr/>
          </p:nvSpPr>
          <p:spPr>
            <a:xfrm>
              <a:off x="3338853" y="2335474"/>
              <a:ext cx="1254773" cy="663758"/>
            </a:xfrm>
            <a:prstGeom prst="rect">
              <a:avLst/>
            </a:prstGeom>
            <a:solidFill>
              <a:srgbClr val="87CBD8"/>
            </a:solidFill>
            <a:ln w="9525">
              <a:solidFill>
                <a:srgbClr val="0067B7"/>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800" dirty="0" err="1">
                  <a:solidFill>
                    <a:srgbClr val="0067B7"/>
                  </a:solidFill>
                  <a:effectLst>
                    <a:outerShdw blurRad="50800" dist="50800" dir="5400000" algn="ctr" rotWithShape="0">
                      <a:srgbClr val="000000">
                        <a:alpha val="0"/>
                      </a:srgbClr>
                    </a:outerShdw>
                    <a:reflection endPos="0" dist="50800" dir="5400000" sy="-100000" algn="bl" rotWithShape="0"/>
                  </a:effectLst>
                  <a:ea typeface="Klee Medium" panose="02020600000000000000" pitchFamily="18" charset="-128"/>
                </a:rPr>
                <a:t>SecurityService</a:t>
              </a:r>
              <a:endParaRPr lang="en-US" sz="800" dirty="0">
                <a:solidFill>
                  <a:srgbClr val="0067B7"/>
                </a:solidFill>
                <a:effectLst>
                  <a:outerShdw blurRad="50800" dist="50800" dir="5400000" algn="ctr" rotWithShape="0">
                    <a:srgbClr val="000000">
                      <a:alpha val="0"/>
                    </a:srgbClr>
                  </a:outerShdw>
                  <a:reflection endPos="0" dist="50800" dir="5400000" sy="-100000" algn="bl" rotWithShape="0"/>
                </a:effectLst>
                <a:ea typeface="Klee Medium" panose="02020600000000000000" pitchFamily="18" charset="-128"/>
              </a:endParaRPr>
            </a:p>
          </p:txBody>
        </p:sp>
        <p:cxnSp>
          <p:nvCxnSpPr>
            <p:cNvPr id="219" name="Straight Connector 218">
              <a:extLst>
                <a:ext uri="{FF2B5EF4-FFF2-40B4-BE49-F238E27FC236}">
                  <a16:creationId xmlns:a16="http://schemas.microsoft.com/office/drawing/2014/main" id="{07D61FEE-19DF-534D-AB14-827DA547F2BE}"/>
                </a:ext>
              </a:extLst>
            </p:cNvPr>
            <p:cNvCxnSpPr/>
            <p:nvPr/>
          </p:nvCxnSpPr>
          <p:spPr>
            <a:xfrm>
              <a:off x="3696207" y="2335474"/>
              <a:ext cx="875794" cy="0"/>
            </a:xfrm>
            <a:prstGeom prst="line">
              <a:avLst/>
            </a:prstGeom>
            <a:solidFill>
              <a:srgbClr val="87CBD8"/>
            </a:solidFill>
            <a:ln w="9525">
              <a:solidFill>
                <a:srgbClr val="0067B7"/>
              </a:solidFill>
            </a:ln>
            <a:effectLst/>
          </p:spPr>
          <p:style>
            <a:lnRef idx="2">
              <a:schemeClr val="accent1">
                <a:shade val="50000"/>
              </a:schemeClr>
            </a:lnRef>
            <a:fillRef idx="1">
              <a:schemeClr val="accent1"/>
            </a:fillRef>
            <a:effectRef idx="0">
              <a:schemeClr val="accent1"/>
            </a:effectRef>
            <a:fontRef idx="minor">
              <a:schemeClr val="lt1"/>
            </a:fontRef>
          </p:style>
        </p:cxnSp>
        <p:cxnSp>
          <p:nvCxnSpPr>
            <p:cNvPr id="220" name="Straight Connector 219">
              <a:extLst>
                <a:ext uri="{FF2B5EF4-FFF2-40B4-BE49-F238E27FC236}">
                  <a16:creationId xmlns:a16="http://schemas.microsoft.com/office/drawing/2014/main" id="{46B17F6D-65CD-504A-A6E8-A83D1B08B16D}"/>
                </a:ext>
              </a:extLst>
            </p:cNvPr>
            <p:cNvCxnSpPr/>
            <p:nvPr/>
          </p:nvCxnSpPr>
          <p:spPr>
            <a:xfrm>
              <a:off x="3211574" y="2999232"/>
              <a:ext cx="875794" cy="0"/>
            </a:xfrm>
            <a:prstGeom prst="line">
              <a:avLst/>
            </a:prstGeom>
            <a:solidFill>
              <a:srgbClr val="87CBD8"/>
            </a:solidFill>
            <a:ln w="9525">
              <a:solidFill>
                <a:srgbClr val="0067B7"/>
              </a:solidFill>
            </a:ln>
            <a:effectLst/>
          </p:spPr>
          <p:style>
            <a:lnRef idx="2">
              <a:schemeClr val="accent1">
                <a:shade val="50000"/>
              </a:schemeClr>
            </a:lnRef>
            <a:fillRef idx="1">
              <a:schemeClr val="accent1"/>
            </a:fillRef>
            <a:effectRef idx="0">
              <a:schemeClr val="accent1"/>
            </a:effectRef>
            <a:fontRef idx="minor">
              <a:schemeClr val="lt1"/>
            </a:fontRef>
          </p:style>
        </p:cxnSp>
      </p:grpSp>
      <p:grpSp>
        <p:nvGrpSpPr>
          <p:cNvPr id="222" name="Group 221">
            <a:extLst>
              <a:ext uri="{FF2B5EF4-FFF2-40B4-BE49-F238E27FC236}">
                <a16:creationId xmlns:a16="http://schemas.microsoft.com/office/drawing/2014/main" id="{ED4585C1-F448-434D-A8DE-B77693D88C02}"/>
              </a:ext>
            </a:extLst>
          </p:cNvPr>
          <p:cNvGrpSpPr/>
          <p:nvPr/>
        </p:nvGrpSpPr>
        <p:grpSpPr>
          <a:xfrm>
            <a:off x="8363298" y="3682753"/>
            <a:ext cx="1929775" cy="407913"/>
            <a:chOff x="3211574" y="2335474"/>
            <a:chExt cx="1360427" cy="663758"/>
          </a:xfrm>
        </p:grpSpPr>
        <p:sp>
          <p:nvSpPr>
            <p:cNvPr id="223" name="Rectangle 222">
              <a:extLst>
                <a:ext uri="{FF2B5EF4-FFF2-40B4-BE49-F238E27FC236}">
                  <a16:creationId xmlns:a16="http://schemas.microsoft.com/office/drawing/2014/main" id="{33A744AD-82E3-6042-8AAD-68F522A1808F}"/>
                </a:ext>
              </a:extLst>
            </p:cNvPr>
            <p:cNvSpPr/>
            <p:nvPr/>
          </p:nvSpPr>
          <p:spPr>
            <a:xfrm>
              <a:off x="3338853" y="2335474"/>
              <a:ext cx="1101769" cy="663758"/>
            </a:xfrm>
            <a:prstGeom prst="rect">
              <a:avLst/>
            </a:prstGeom>
            <a:solidFill>
              <a:srgbClr val="87CBD8"/>
            </a:solidFill>
            <a:ln w="9525">
              <a:solidFill>
                <a:srgbClr val="0067B7"/>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800" dirty="0" err="1">
                  <a:solidFill>
                    <a:srgbClr val="0067B7"/>
                  </a:solidFill>
                  <a:effectLst>
                    <a:outerShdw blurRad="50800" dist="50800" dir="5400000" algn="ctr" rotWithShape="0">
                      <a:srgbClr val="000000">
                        <a:alpha val="0"/>
                      </a:srgbClr>
                    </a:outerShdw>
                    <a:reflection endPos="0" dist="50800" dir="5400000" sy="-100000" algn="bl" rotWithShape="0"/>
                  </a:effectLst>
                  <a:ea typeface="Klee Medium" panose="02020600000000000000" pitchFamily="18" charset="-128"/>
                </a:rPr>
                <a:t>SinkService</a:t>
              </a:r>
              <a:endParaRPr lang="en-US" sz="800" dirty="0">
                <a:solidFill>
                  <a:srgbClr val="0067B7"/>
                </a:solidFill>
                <a:effectLst>
                  <a:outerShdw blurRad="50800" dist="50800" dir="5400000" algn="ctr" rotWithShape="0">
                    <a:srgbClr val="000000">
                      <a:alpha val="0"/>
                    </a:srgbClr>
                  </a:outerShdw>
                  <a:reflection endPos="0" dist="50800" dir="5400000" sy="-100000" algn="bl" rotWithShape="0"/>
                </a:effectLst>
                <a:ea typeface="Klee Medium" panose="02020600000000000000" pitchFamily="18" charset="-128"/>
              </a:endParaRPr>
            </a:p>
          </p:txBody>
        </p:sp>
        <p:cxnSp>
          <p:nvCxnSpPr>
            <p:cNvPr id="224" name="Straight Connector 223">
              <a:extLst>
                <a:ext uri="{FF2B5EF4-FFF2-40B4-BE49-F238E27FC236}">
                  <a16:creationId xmlns:a16="http://schemas.microsoft.com/office/drawing/2014/main" id="{30E6EDF8-8259-684C-9D73-817FBA7D3305}"/>
                </a:ext>
              </a:extLst>
            </p:cNvPr>
            <p:cNvCxnSpPr/>
            <p:nvPr/>
          </p:nvCxnSpPr>
          <p:spPr>
            <a:xfrm>
              <a:off x="3696207" y="2335474"/>
              <a:ext cx="875794" cy="0"/>
            </a:xfrm>
            <a:prstGeom prst="line">
              <a:avLst/>
            </a:prstGeom>
            <a:solidFill>
              <a:srgbClr val="87CBD8"/>
            </a:solidFill>
            <a:ln w="9525">
              <a:solidFill>
                <a:srgbClr val="0067B7"/>
              </a:solidFill>
            </a:ln>
            <a:effectLst/>
          </p:spPr>
          <p:style>
            <a:lnRef idx="2">
              <a:schemeClr val="accent1">
                <a:shade val="50000"/>
              </a:schemeClr>
            </a:lnRef>
            <a:fillRef idx="1">
              <a:schemeClr val="accent1"/>
            </a:fillRef>
            <a:effectRef idx="0">
              <a:schemeClr val="accent1"/>
            </a:effectRef>
            <a:fontRef idx="minor">
              <a:schemeClr val="lt1"/>
            </a:fontRef>
          </p:style>
        </p:cxnSp>
        <p:cxnSp>
          <p:nvCxnSpPr>
            <p:cNvPr id="225" name="Straight Connector 224">
              <a:extLst>
                <a:ext uri="{FF2B5EF4-FFF2-40B4-BE49-F238E27FC236}">
                  <a16:creationId xmlns:a16="http://schemas.microsoft.com/office/drawing/2014/main" id="{38C8BA22-F6B5-0040-AB86-F46C868E7E69}"/>
                </a:ext>
              </a:extLst>
            </p:cNvPr>
            <p:cNvCxnSpPr/>
            <p:nvPr/>
          </p:nvCxnSpPr>
          <p:spPr>
            <a:xfrm>
              <a:off x="3211574" y="2999232"/>
              <a:ext cx="875794" cy="0"/>
            </a:xfrm>
            <a:prstGeom prst="line">
              <a:avLst/>
            </a:prstGeom>
            <a:solidFill>
              <a:srgbClr val="87CBD8"/>
            </a:solidFill>
            <a:ln w="9525">
              <a:solidFill>
                <a:srgbClr val="0067B7"/>
              </a:solidFill>
            </a:ln>
            <a:effectLst/>
          </p:spPr>
          <p:style>
            <a:lnRef idx="2">
              <a:schemeClr val="accent1">
                <a:shade val="50000"/>
              </a:schemeClr>
            </a:lnRef>
            <a:fillRef idx="1">
              <a:schemeClr val="accent1"/>
            </a:fillRef>
            <a:effectRef idx="0">
              <a:schemeClr val="accent1"/>
            </a:effectRef>
            <a:fontRef idx="minor">
              <a:schemeClr val="lt1"/>
            </a:fontRef>
          </p:style>
        </p:cxnSp>
      </p:grpSp>
      <p:cxnSp>
        <p:nvCxnSpPr>
          <p:cNvPr id="212" name="Elbow Connector 211">
            <a:extLst>
              <a:ext uri="{FF2B5EF4-FFF2-40B4-BE49-F238E27FC236}">
                <a16:creationId xmlns:a16="http://schemas.microsoft.com/office/drawing/2014/main" id="{43150973-41FE-154E-ADB7-C9567A2CF138}"/>
              </a:ext>
            </a:extLst>
          </p:cNvPr>
          <p:cNvCxnSpPr>
            <a:cxnSpLocks/>
            <a:stCxn id="109" idx="1"/>
            <a:endCxn id="223" idx="3"/>
          </p:cNvCxnSpPr>
          <p:nvPr/>
        </p:nvCxnSpPr>
        <p:spPr>
          <a:xfrm rot="10800000" flipV="1">
            <a:off x="10106712" y="3186016"/>
            <a:ext cx="506175" cy="700694"/>
          </a:xfrm>
          <a:prstGeom prst="bentConnector3">
            <a:avLst>
              <a:gd name="adj1" fmla="val 50000"/>
            </a:avLst>
          </a:prstGeom>
          <a:ln>
            <a:solidFill>
              <a:srgbClr val="7030A0"/>
            </a:solidFill>
            <a:headEnd type="oval"/>
            <a:tailEnd type="oval"/>
          </a:ln>
        </p:spPr>
        <p:style>
          <a:lnRef idx="1">
            <a:schemeClr val="accent1"/>
          </a:lnRef>
          <a:fillRef idx="0">
            <a:schemeClr val="accent1"/>
          </a:fillRef>
          <a:effectRef idx="0">
            <a:schemeClr val="accent1"/>
          </a:effectRef>
          <a:fontRef idx="minor">
            <a:schemeClr val="tx1"/>
          </a:fontRef>
        </p:style>
      </p:cxnSp>
      <p:cxnSp>
        <p:nvCxnSpPr>
          <p:cNvPr id="226" name="Elbow Connector 225">
            <a:extLst>
              <a:ext uri="{FF2B5EF4-FFF2-40B4-BE49-F238E27FC236}">
                <a16:creationId xmlns:a16="http://schemas.microsoft.com/office/drawing/2014/main" id="{736F68CD-39C2-BE4B-B414-CD4A8E86B154}"/>
              </a:ext>
            </a:extLst>
          </p:cNvPr>
          <p:cNvCxnSpPr>
            <a:cxnSpLocks/>
            <a:stCxn id="24" idx="2"/>
            <a:endCxn id="218" idx="1"/>
          </p:cNvCxnSpPr>
          <p:nvPr/>
        </p:nvCxnSpPr>
        <p:spPr>
          <a:xfrm rot="16200000" flipH="1">
            <a:off x="3028793" y="4212564"/>
            <a:ext cx="2364634" cy="721326"/>
          </a:xfrm>
          <a:prstGeom prst="bentConnector2">
            <a:avLst/>
          </a:prstGeom>
          <a:ln>
            <a:solidFill>
              <a:srgbClr val="C5277F"/>
            </a:solidFill>
            <a:headEnd type="oval"/>
            <a:tailEnd type="oval"/>
          </a:ln>
        </p:spPr>
        <p:style>
          <a:lnRef idx="1">
            <a:schemeClr val="accent1"/>
          </a:lnRef>
          <a:fillRef idx="0">
            <a:schemeClr val="accent1"/>
          </a:fillRef>
          <a:effectRef idx="0">
            <a:schemeClr val="accent1"/>
          </a:effectRef>
          <a:fontRef idx="minor">
            <a:schemeClr val="tx1"/>
          </a:fontRef>
        </p:style>
      </p:cxnSp>
      <p:cxnSp>
        <p:nvCxnSpPr>
          <p:cNvPr id="227" name="Elbow Connector 226">
            <a:extLst>
              <a:ext uri="{FF2B5EF4-FFF2-40B4-BE49-F238E27FC236}">
                <a16:creationId xmlns:a16="http://schemas.microsoft.com/office/drawing/2014/main" id="{2209D7E9-15A3-524E-8A54-7424F63265E6}"/>
              </a:ext>
            </a:extLst>
          </p:cNvPr>
          <p:cNvCxnSpPr>
            <a:cxnSpLocks/>
            <a:stCxn id="76" idx="1"/>
            <a:endCxn id="218" idx="3"/>
          </p:cNvCxnSpPr>
          <p:nvPr/>
        </p:nvCxnSpPr>
        <p:spPr>
          <a:xfrm rot="10800000" flipV="1">
            <a:off x="6183162" y="3183656"/>
            <a:ext cx="1338082" cy="2571887"/>
          </a:xfrm>
          <a:prstGeom prst="bentConnector3">
            <a:avLst>
              <a:gd name="adj1" fmla="val 84852"/>
            </a:avLst>
          </a:prstGeom>
          <a:ln>
            <a:solidFill>
              <a:srgbClr val="C5277F"/>
            </a:solidFill>
            <a:headEnd type="oval"/>
            <a:tailEnd type="oval"/>
          </a:ln>
        </p:spPr>
        <p:style>
          <a:lnRef idx="1">
            <a:schemeClr val="accent1"/>
          </a:lnRef>
          <a:fillRef idx="0">
            <a:schemeClr val="accent1"/>
          </a:fillRef>
          <a:effectRef idx="0">
            <a:schemeClr val="accent1"/>
          </a:effectRef>
          <a:fontRef idx="minor">
            <a:schemeClr val="tx1"/>
          </a:fontRef>
        </p:style>
      </p:cxnSp>
      <p:cxnSp>
        <p:nvCxnSpPr>
          <p:cNvPr id="229" name="Elbow Connector 228">
            <a:extLst>
              <a:ext uri="{FF2B5EF4-FFF2-40B4-BE49-F238E27FC236}">
                <a16:creationId xmlns:a16="http://schemas.microsoft.com/office/drawing/2014/main" id="{00665026-6027-CC46-B0FC-AC7416218CB5}"/>
              </a:ext>
            </a:extLst>
          </p:cNvPr>
          <p:cNvCxnSpPr>
            <a:cxnSpLocks/>
            <a:stCxn id="109" idx="1"/>
            <a:endCxn id="76" idx="3"/>
          </p:cNvCxnSpPr>
          <p:nvPr/>
        </p:nvCxnSpPr>
        <p:spPr>
          <a:xfrm rot="10800000">
            <a:off x="9053688" y="3183658"/>
            <a:ext cx="1559199" cy="2359"/>
          </a:xfrm>
          <a:prstGeom prst="bentConnector3">
            <a:avLst>
              <a:gd name="adj1" fmla="val 50000"/>
            </a:avLst>
          </a:prstGeom>
          <a:ln>
            <a:solidFill>
              <a:srgbClr val="0067B7"/>
            </a:solidFill>
            <a:headEnd type="oval"/>
            <a:tailEnd type="oval"/>
          </a:ln>
        </p:spPr>
        <p:style>
          <a:lnRef idx="1">
            <a:schemeClr val="accent1"/>
          </a:lnRef>
          <a:fillRef idx="0">
            <a:schemeClr val="accent1"/>
          </a:fillRef>
          <a:effectRef idx="0">
            <a:schemeClr val="accent1"/>
          </a:effectRef>
          <a:fontRef idx="minor">
            <a:schemeClr val="tx1"/>
          </a:fontRef>
        </p:style>
      </p:cxnSp>
      <p:cxnSp>
        <p:nvCxnSpPr>
          <p:cNvPr id="230" name="Elbow Connector 229">
            <a:extLst>
              <a:ext uri="{FF2B5EF4-FFF2-40B4-BE49-F238E27FC236}">
                <a16:creationId xmlns:a16="http://schemas.microsoft.com/office/drawing/2014/main" id="{287ADF66-DCF8-1344-BCF5-422931C3CE35}"/>
              </a:ext>
            </a:extLst>
          </p:cNvPr>
          <p:cNvCxnSpPr>
            <a:cxnSpLocks/>
            <a:stCxn id="116" idx="1"/>
            <a:endCxn id="111" idx="3"/>
          </p:cNvCxnSpPr>
          <p:nvPr/>
        </p:nvCxnSpPr>
        <p:spPr>
          <a:xfrm rot="10800000" flipV="1">
            <a:off x="1528336" y="2416356"/>
            <a:ext cx="1569769" cy="774588"/>
          </a:xfrm>
          <a:prstGeom prst="bentConnector3">
            <a:avLst>
              <a:gd name="adj1" fmla="val 55825"/>
            </a:avLst>
          </a:prstGeom>
          <a:ln>
            <a:solidFill>
              <a:srgbClr val="7030A0"/>
            </a:solidFill>
            <a:headEnd type="oval"/>
            <a:tailEnd type="oval"/>
          </a:ln>
        </p:spPr>
        <p:style>
          <a:lnRef idx="1">
            <a:schemeClr val="accent1"/>
          </a:lnRef>
          <a:fillRef idx="0">
            <a:schemeClr val="accent1"/>
          </a:fillRef>
          <a:effectRef idx="0">
            <a:schemeClr val="accent1"/>
          </a:effectRef>
          <a:fontRef idx="minor">
            <a:schemeClr val="tx1"/>
          </a:fontRef>
        </p:style>
      </p:cxnSp>
      <p:sp>
        <p:nvSpPr>
          <p:cNvPr id="231" name="Google Shape;61;p12">
            <a:extLst>
              <a:ext uri="{FF2B5EF4-FFF2-40B4-BE49-F238E27FC236}">
                <a16:creationId xmlns:a16="http://schemas.microsoft.com/office/drawing/2014/main" id="{A9F9909A-89CC-1A40-9252-2B10F541B377}"/>
              </a:ext>
            </a:extLst>
          </p:cNvPr>
          <p:cNvSpPr txBox="1">
            <a:spLocks/>
          </p:cNvSpPr>
          <p:nvPr/>
        </p:nvSpPr>
        <p:spPr>
          <a:xfrm>
            <a:off x="3175813" y="2646235"/>
            <a:ext cx="664851" cy="226959"/>
          </a:xfrm>
          <a:prstGeom prst="rect">
            <a:avLst/>
          </a:prstGeom>
        </p:spPr>
        <p:txBody>
          <a:bodyPr spcFirstLastPara="1" vert="horz" wrap="square" lIns="91425" tIns="91425" rIns="91425" bIns="91425" rtlCol="0" anchor="ctr"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spcBef>
                <a:spcPts val="0"/>
              </a:spcBef>
            </a:pPr>
            <a:r>
              <a:rPr lang="en-US" sz="600" dirty="0">
                <a:solidFill>
                  <a:srgbClr val="C5277F"/>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rPr>
              <a:t>&lt;&lt; uses &gt;&gt;</a:t>
            </a:r>
          </a:p>
        </p:txBody>
      </p:sp>
      <p:sp>
        <p:nvSpPr>
          <p:cNvPr id="232" name="Google Shape;61;p12">
            <a:extLst>
              <a:ext uri="{FF2B5EF4-FFF2-40B4-BE49-F238E27FC236}">
                <a16:creationId xmlns:a16="http://schemas.microsoft.com/office/drawing/2014/main" id="{46FACFFA-E30D-A940-A213-FDE88189AA17}"/>
              </a:ext>
            </a:extLst>
          </p:cNvPr>
          <p:cNvSpPr txBox="1">
            <a:spLocks/>
          </p:cNvSpPr>
          <p:nvPr/>
        </p:nvSpPr>
        <p:spPr>
          <a:xfrm>
            <a:off x="8211418" y="2671935"/>
            <a:ext cx="664851" cy="226959"/>
          </a:xfrm>
          <a:prstGeom prst="rect">
            <a:avLst/>
          </a:prstGeom>
        </p:spPr>
        <p:txBody>
          <a:bodyPr spcFirstLastPara="1" vert="horz" wrap="square" lIns="91425" tIns="91425" rIns="91425" bIns="91425" rtlCol="0" anchor="ctr"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spcBef>
                <a:spcPts val="0"/>
              </a:spcBef>
            </a:pPr>
            <a:r>
              <a:rPr lang="en-US" sz="600" dirty="0">
                <a:solidFill>
                  <a:srgbClr val="C5277F"/>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rPr>
              <a:t>&lt;&lt; uses &gt;&gt;</a:t>
            </a:r>
          </a:p>
        </p:txBody>
      </p:sp>
      <p:sp>
        <p:nvSpPr>
          <p:cNvPr id="233" name="Google Shape;61;p12">
            <a:extLst>
              <a:ext uri="{FF2B5EF4-FFF2-40B4-BE49-F238E27FC236}">
                <a16:creationId xmlns:a16="http://schemas.microsoft.com/office/drawing/2014/main" id="{ADCD919E-45E0-D840-B553-E9875CB37581}"/>
              </a:ext>
            </a:extLst>
          </p:cNvPr>
          <p:cNvSpPr txBox="1">
            <a:spLocks/>
          </p:cNvSpPr>
          <p:nvPr/>
        </p:nvSpPr>
        <p:spPr>
          <a:xfrm>
            <a:off x="4913122" y="3480936"/>
            <a:ext cx="664851" cy="226959"/>
          </a:xfrm>
          <a:prstGeom prst="rect">
            <a:avLst/>
          </a:prstGeom>
        </p:spPr>
        <p:txBody>
          <a:bodyPr spcFirstLastPara="1" vert="horz" wrap="square" lIns="91425" tIns="91425" rIns="91425" bIns="91425" rtlCol="0" anchor="ctr"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spcBef>
                <a:spcPts val="0"/>
              </a:spcBef>
            </a:pPr>
            <a:r>
              <a:rPr lang="en-US" sz="600" dirty="0">
                <a:solidFill>
                  <a:srgbClr val="C5277F"/>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rPr>
              <a:t>&lt;&lt; deploy&gt;&gt;</a:t>
            </a:r>
          </a:p>
        </p:txBody>
      </p:sp>
      <p:sp>
        <p:nvSpPr>
          <p:cNvPr id="234" name="Google Shape;61;p12">
            <a:extLst>
              <a:ext uri="{FF2B5EF4-FFF2-40B4-BE49-F238E27FC236}">
                <a16:creationId xmlns:a16="http://schemas.microsoft.com/office/drawing/2014/main" id="{F4AFDF21-D41A-C248-BAEC-F26F9A01CBE4}"/>
              </a:ext>
            </a:extLst>
          </p:cNvPr>
          <p:cNvSpPr txBox="1">
            <a:spLocks/>
          </p:cNvSpPr>
          <p:nvPr/>
        </p:nvSpPr>
        <p:spPr>
          <a:xfrm>
            <a:off x="2971932" y="3691050"/>
            <a:ext cx="664851" cy="226959"/>
          </a:xfrm>
          <a:prstGeom prst="rect">
            <a:avLst/>
          </a:prstGeom>
        </p:spPr>
        <p:txBody>
          <a:bodyPr spcFirstLastPara="1" vert="horz" wrap="square" lIns="91425" tIns="91425" rIns="91425" bIns="91425" rtlCol="0" anchor="ctr"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spcBef>
                <a:spcPts val="0"/>
              </a:spcBef>
            </a:pPr>
            <a:r>
              <a:rPr lang="en-US" sz="600" dirty="0">
                <a:solidFill>
                  <a:srgbClr val="C5277F"/>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rPr>
              <a:t>&lt;&lt; use&gt;&gt;</a:t>
            </a:r>
          </a:p>
        </p:txBody>
      </p:sp>
      <p:sp>
        <p:nvSpPr>
          <p:cNvPr id="235" name="Google Shape;61;p12">
            <a:extLst>
              <a:ext uri="{FF2B5EF4-FFF2-40B4-BE49-F238E27FC236}">
                <a16:creationId xmlns:a16="http://schemas.microsoft.com/office/drawing/2014/main" id="{13A405FE-8F67-1F4E-8A0F-A6181A805098}"/>
              </a:ext>
            </a:extLst>
          </p:cNvPr>
          <p:cNvSpPr txBox="1">
            <a:spLocks/>
          </p:cNvSpPr>
          <p:nvPr/>
        </p:nvSpPr>
        <p:spPr>
          <a:xfrm>
            <a:off x="966451" y="3814160"/>
            <a:ext cx="664851" cy="226959"/>
          </a:xfrm>
          <a:prstGeom prst="rect">
            <a:avLst/>
          </a:prstGeom>
        </p:spPr>
        <p:txBody>
          <a:bodyPr spcFirstLastPara="1" vert="horz" wrap="square" lIns="91425" tIns="91425" rIns="91425" bIns="91425" rtlCol="0" anchor="ctr"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spcBef>
                <a:spcPts val="0"/>
              </a:spcBef>
            </a:pPr>
            <a:r>
              <a:rPr lang="en-US" sz="600" dirty="0">
                <a:solidFill>
                  <a:srgbClr val="C5277F"/>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rPr>
              <a:t>&lt;&lt; connect&gt;&gt;</a:t>
            </a:r>
          </a:p>
        </p:txBody>
      </p:sp>
      <p:sp>
        <p:nvSpPr>
          <p:cNvPr id="236" name="Google Shape;61;p12">
            <a:extLst>
              <a:ext uri="{FF2B5EF4-FFF2-40B4-BE49-F238E27FC236}">
                <a16:creationId xmlns:a16="http://schemas.microsoft.com/office/drawing/2014/main" id="{EE41CFAC-D638-D740-A886-EA9DA915F0AC}"/>
              </a:ext>
            </a:extLst>
          </p:cNvPr>
          <p:cNvSpPr txBox="1">
            <a:spLocks/>
          </p:cNvSpPr>
          <p:nvPr/>
        </p:nvSpPr>
        <p:spPr>
          <a:xfrm>
            <a:off x="10414931" y="3620128"/>
            <a:ext cx="664851" cy="226959"/>
          </a:xfrm>
          <a:prstGeom prst="rect">
            <a:avLst/>
          </a:prstGeom>
        </p:spPr>
        <p:txBody>
          <a:bodyPr spcFirstLastPara="1" vert="horz" wrap="square" lIns="91425" tIns="91425" rIns="91425" bIns="91425" rtlCol="0" anchor="ctr"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spcBef>
                <a:spcPts val="0"/>
              </a:spcBef>
            </a:pPr>
            <a:r>
              <a:rPr lang="en-US" sz="600" dirty="0">
                <a:solidFill>
                  <a:srgbClr val="C5277F"/>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rPr>
              <a:t>&lt;&lt; connect&gt;&gt;</a:t>
            </a:r>
          </a:p>
        </p:txBody>
      </p:sp>
      <p:cxnSp>
        <p:nvCxnSpPr>
          <p:cNvPr id="237" name="Elbow Connector 236">
            <a:extLst>
              <a:ext uri="{FF2B5EF4-FFF2-40B4-BE49-F238E27FC236}">
                <a16:creationId xmlns:a16="http://schemas.microsoft.com/office/drawing/2014/main" id="{0CCFEB4A-566F-9946-A00B-96E36977E823}"/>
              </a:ext>
            </a:extLst>
          </p:cNvPr>
          <p:cNvCxnSpPr>
            <a:cxnSpLocks/>
            <a:stCxn id="2" idx="3"/>
            <a:endCxn id="223" idx="1"/>
          </p:cNvCxnSpPr>
          <p:nvPr/>
        </p:nvCxnSpPr>
        <p:spPr>
          <a:xfrm>
            <a:off x="6149817" y="3190944"/>
            <a:ext cx="2394027" cy="695766"/>
          </a:xfrm>
          <a:prstGeom prst="bentConnector3">
            <a:avLst>
              <a:gd name="adj1" fmla="val 9514"/>
            </a:avLst>
          </a:prstGeom>
          <a:ln>
            <a:solidFill>
              <a:srgbClr val="7030A0"/>
            </a:solidFill>
            <a:headEnd type="oval"/>
            <a:tailEnd type="oval"/>
          </a:ln>
        </p:spPr>
        <p:style>
          <a:lnRef idx="1">
            <a:schemeClr val="accent1"/>
          </a:lnRef>
          <a:fillRef idx="0">
            <a:schemeClr val="accent1"/>
          </a:fillRef>
          <a:effectRef idx="0">
            <a:schemeClr val="accent1"/>
          </a:effectRef>
          <a:fontRef idx="minor">
            <a:schemeClr val="tx1"/>
          </a:fontRef>
        </p:style>
      </p:cxnSp>
      <p:sp>
        <p:nvSpPr>
          <p:cNvPr id="238" name="Google Shape;61;p12">
            <a:extLst>
              <a:ext uri="{FF2B5EF4-FFF2-40B4-BE49-F238E27FC236}">
                <a16:creationId xmlns:a16="http://schemas.microsoft.com/office/drawing/2014/main" id="{6492F721-3B2F-D442-BE09-5E488A9A29A6}"/>
              </a:ext>
            </a:extLst>
          </p:cNvPr>
          <p:cNvSpPr txBox="1">
            <a:spLocks/>
          </p:cNvSpPr>
          <p:nvPr/>
        </p:nvSpPr>
        <p:spPr>
          <a:xfrm>
            <a:off x="6594494" y="2959698"/>
            <a:ext cx="664851" cy="226959"/>
          </a:xfrm>
          <a:prstGeom prst="rect">
            <a:avLst/>
          </a:prstGeom>
        </p:spPr>
        <p:txBody>
          <a:bodyPr spcFirstLastPara="1" vert="horz" wrap="square" lIns="91425" tIns="91425" rIns="91425" bIns="91425" rtlCol="0" anchor="ctr"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spcBef>
                <a:spcPts val="0"/>
              </a:spcBef>
            </a:pPr>
            <a:r>
              <a:rPr lang="en-US" sz="600" dirty="0">
                <a:solidFill>
                  <a:srgbClr val="C5277F"/>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rPr>
              <a:t>&lt;&lt; use&gt;&gt;</a:t>
            </a:r>
          </a:p>
        </p:txBody>
      </p:sp>
      <p:sp>
        <p:nvSpPr>
          <p:cNvPr id="239" name="Google Shape;61;p12">
            <a:extLst>
              <a:ext uri="{FF2B5EF4-FFF2-40B4-BE49-F238E27FC236}">
                <a16:creationId xmlns:a16="http://schemas.microsoft.com/office/drawing/2014/main" id="{C4F2407D-8AD5-0045-8A5B-99E3C683CC15}"/>
              </a:ext>
            </a:extLst>
          </p:cNvPr>
          <p:cNvSpPr txBox="1">
            <a:spLocks/>
          </p:cNvSpPr>
          <p:nvPr/>
        </p:nvSpPr>
        <p:spPr>
          <a:xfrm>
            <a:off x="5313441" y="6141395"/>
            <a:ext cx="664851" cy="226959"/>
          </a:xfrm>
          <a:prstGeom prst="rect">
            <a:avLst/>
          </a:prstGeom>
        </p:spPr>
        <p:txBody>
          <a:bodyPr spcFirstLastPara="1" vert="horz" wrap="square" lIns="91425" tIns="91425" rIns="91425" bIns="91425" rtlCol="0" anchor="ctr"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spcBef>
                <a:spcPts val="0"/>
              </a:spcBef>
            </a:pPr>
            <a:r>
              <a:rPr lang="en-US" sz="600" dirty="0">
                <a:solidFill>
                  <a:srgbClr val="C5277F"/>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rPr>
              <a:t>&lt;&lt; use&gt;&gt;</a:t>
            </a:r>
          </a:p>
        </p:txBody>
      </p:sp>
      <p:sp>
        <p:nvSpPr>
          <p:cNvPr id="240" name="Google Shape;61;p12">
            <a:extLst>
              <a:ext uri="{FF2B5EF4-FFF2-40B4-BE49-F238E27FC236}">
                <a16:creationId xmlns:a16="http://schemas.microsoft.com/office/drawing/2014/main" id="{B03A7F85-B60F-294C-9710-DDFD39C35A88}"/>
              </a:ext>
            </a:extLst>
          </p:cNvPr>
          <p:cNvSpPr txBox="1">
            <a:spLocks/>
          </p:cNvSpPr>
          <p:nvPr/>
        </p:nvSpPr>
        <p:spPr>
          <a:xfrm>
            <a:off x="7377346" y="3885519"/>
            <a:ext cx="664851" cy="226959"/>
          </a:xfrm>
          <a:prstGeom prst="rect">
            <a:avLst/>
          </a:prstGeom>
        </p:spPr>
        <p:txBody>
          <a:bodyPr spcFirstLastPara="1" vert="horz" wrap="square" lIns="91425" tIns="91425" rIns="91425" bIns="91425" rtlCol="0" anchor="ctr"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spcBef>
                <a:spcPts val="0"/>
              </a:spcBef>
            </a:pPr>
            <a:r>
              <a:rPr lang="en-US" sz="600" dirty="0">
                <a:solidFill>
                  <a:srgbClr val="C5277F"/>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rPr>
              <a:t>&lt;&lt; use&gt;&gt;</a:t>
            </a:r>
          </a:p>
        </p:txBody>
      </p:sp>
      <p:sp>
        <p:nvSpPr>
          <p:cNvPr id="241" name="Google Shape;61;p12">
            <a:extLst>
              <a:ext uri="{FF2B5EF4-FFF2-40B4-BE49-F238E27FC236}">
                <a16:creationId xmlns:a16="http://schemas.microsoft.com/office/drawing/2014/main" id="{20CF60C8-2581-A14B-8BA2-E215C301B5A3}"/>
              </a:ext>
            </a:extLst>
          </p:cNvPr>
          <p:cNvSpPr txBox="1">
            <a:spLocks/>
          </p:cNvSpPr>
          <p:nvPr/>
        </p:nvSpPr>
        <p:spPr>
          <a:xfrm>
            <a:off x="3201787" y="1846038"/>
            <a:ext cx="664851" cy="226959"/>
          </a:xfrm>
          <a:prstGeom prst="rect">
            <a:avLst/>
          </a:prstGeom>
        </p:spPr>
        <p:txBody>
          <a:bodyPr spcFirstLastPara="1" vert="horz" wrap="square" lIns="91425" tIns="91425" rIns="91425" bIns="91425" rtlCol="0" anchor="ctr"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spcBef>
                <a:spcPts val="0"/>
              </a:spcBef>
            </a:pPr>
            <a:r>
              <a:rPr lang="en-US" sz="600" dirty="0">
                <a:solidFill>
                  <a:srgbClr val="C5277F"/>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rPr>
              <a:t>&lt;&lt; uses &gt;&gt;</a:t>
            </a:r>
          </a:p>
        </p:txBody>
      </p:sp>
      <p:sp>
        <p:nvSpPr>
          <p:cNvPr id="242" name="Google Shape;61;p12">
            <a:extLst>
              <a:ext uri="{FF2B5EF4-FFF2-40B4-BE49-F238E27FC236}">
                <a16:creationId xmlns:a16="http://schemas.microsoft.com/office/drawing/2014/main" id="{2B230520-6213-DD4C-A489-5F721C05200C}"/>
              </a:ext>
            </a:extLst>
          </p:cNvPr>
          <p:cNvSpPr txBox="1">
            <a:spLocks/>
          </p:cNvSpPr>
          <p:nvPr/>
        </p:nvSpPr>
        <p:spPr>
          <a:xfrm>
            <a:off x="8222035" y="1837051"/>
            <a:ext cx="664851" cy="226959"/>
          </a:xfrm>
          <a:prstGeom prst="rect">
            <a:avLst/>
          </a:prstGeom>
        </p:spPr>
        <p:txBody>
          <a:bodyPr spcFirstLastPara="1" vert="horz" wrap="square" lIns="91425" tIns="91425" rIns="91425" bIns="91425" rtlCol="0" anchor="ctr"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spcBef>
                <a:spcPts val="0"/>
              </a:spcBef>
            </a:pPr>
            <a:r>
              <a:rPr lang="en-US" sz="600" dirty="0">
                <a:solidFill>
                  <a:srgbClr val="C5277F"/>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rPr>
              <a:t>&lt;&lt; uses &gt;&gt;</a:t>
            </a:r>
          </a:p>
        </p:txBody>
      </p:sp>
      <p:sp>
        <p:nvSpPr>
          <p:cNvPr id="243" name="Google Shape;61;p12">
            <a:extLst>
              <a:ext uri="{FF2B5EF4-FFF2-40B4-BE49-F238E27FC236}">
                <a16:creationId xmlns:a16="http://schemas.microsoft.com/office/drawing/2014/main" id="{77ACC03F-67A4-BD44-B639-E9475DD81BB2}"/>
              </a:ext>
            </a:extLst>
          </p:cNvPr>
          <p:cNvSpPr txBox="1">
            <a:spLocks/>
          </p:cNvSpPr>
          <p:nvPr/>
        </p:nvSpPr>
        <p:spPr>
          <a:xfrm>
            <a:off x="4724631" y="2973009"/>
            <a:ext cx="664851" cy="226959"/>
          </a:xfrm>
          <a:prstGeom prst="rect">
            <a:avLst/>
          </a:prstGeom>
        </p:spPr>
        <p:txBody>
          <a:bodyPr spcFirstLastPara="1" vert="horz" wrap="square" lIns="91425" tIns="91425" rIns="91425" bIns="91425" rtlCol="0" anchor="ctr"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spcBef>
                <a:spcPts val="0"/>
              </a:spcBef>
            </a:pPr>
            <a:r>
              <a:rPr lang="en-US" sz="600" dirty="0">
                <a:solidFill>
                  <a:srgbClr val="C5277F"/>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rPr>
              <a:t>&lt;&lt; deploy&gt;</a:t>
            </a:r>
          </a:p>
        </p:txBody>
      </p:sp>
      <p:sp>
        <p:nvSpPr>
          <p:cNvPr id="244" name="Google Shape;61;p12">
            <a:extLst>
              <a:ext uri="{FF2B5EF4-FFF2-40B4-BE49-F238E27FC236}">
                <a16:creationId xmlns:a16="http://schemas.microsoft.com/office/drawing/2014/main" id="{05752B87-DFB9-2D47-9FC1-39ECA7B7F421}"/>
              </a:ext>
            </a:extLst>
          </p:cNvPr>
          <p:cNvSpPr txBox="1">
            <a:spLocks/>
          </p:cNvSpPr>
          <p:nvPr/>
        </p:nvSpPr>
        <p:spPr>
          <a:xfrm>
            <a:off x="5337113" y="4546502"/>
            <a:ext cx="664851" cy="226959"/>
          </a:xfrm>
          <a:prstGeom prst="rect">
            <a:avLst/>
          </a:prstGeom>
        </p:spPr>
        <p:txBody>
          <a:bodyPr spcFirstLastPara="1" vert="horz" wrap="square" lIns="91425" tIns="91425" rIns="91425" bIns="91425" rtlCol="0" anchor="ctr"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spcBef>
                <a:spcPts val="0"/>
              </a:spcBef>
            </a:pPr>
            <a:r>
              <a:rPr lang="en-US" sz="600" dirty="0">
                <a:solidFill>
                  <a:srgbClr val="C5277F"/>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rPr>
              <a:t>&lt;&lt; use&gt;&gt;</a:t>
            </a:r>
          </a:p>
        </p:txBody>
      </p:sp>
      <p:sp>
        <p:nvSpPr>
          <p:cNvPr id="245" name="Google Shape;61;p12">
            <a:extLst>
              <a:ext uri="{FF2B5EF4-FFF2-40B4-BE49-F238E27FC236}">
                <a16:creationId xmlns:a16="http://schemas.microsoft.com/office/drawing/2014/main" id="{D5AAAAD6-0B73-D848-98E3-6D5F9E658534}"/>
              </a:ext>
            </a:extLst>
          </p:cNvPr>
          <p:cNvSpPr txBox="1">
            <a:spLocks/>
          </p:cNvSpPr>
          <p:nvPr/>
        </p:nvSpPr>
        <p:spPr>
          <a:xfrm>
            <a:off x="3846978" y="5525388"/>
            <a:ext cx="664851" cy="226959"/>
          </a:xfrm>
          <a:prstGeom prst="rect">
            <a:avLst/>
          </a:prstGeom>
        </p:spPr>
        <p:txBody>
          <a:bodyPr spcFirstLastPara="1" vert="horz" wrap="square" lIns="91425" tIns="91425" rIns="91425" bIns="91425" rtlCol="0" anchor="ctr"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spcBef>
                <a:spcPts val="0"/>
              </a:spcBef>
            </a:pPr>
            <a:r>
              <a:rPr lang="en-US" sz="600" dirty="0">
                <a:solidFill>
                  <a:srgbClr val="C5277F"/>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rPr>
              <a:t>&lt;&lt; use&gt;&gt;</a:t>
            </a:r>
          </a:p>
        </p:txBody>
      </p:sp>
      <p:sp>
        <p:nvSpPr>
          <p:cNvPr id="246" name="Google Shape;61;p12">
            <a:extLst>
              <a:ext uri="{FF2B5EF4-FFF2-40B4-BE49-F238E27FC236}">
                <a16:creationId xmlns:a16="http://schemas.microsoft.com/office/drawing/2014/main" id="{D43495DE-E78A-F243-AD28-F62EDCCBC962}"/>
              </a:ext>
            </a:extLst>
          </p:cNvPr>
          <p:cNvSpPr txBox="1">
            <a:spLocks/>
          </p:cNvSpPr>
          <p:nvPr/>
        </p:nvSpPr>
        <p:spPr>
          <a:xfrm>
            <a:off x="9596015" y="2981737"/>
            <a:ext cx="664851" cy="226959"/>
          </a:xfrm>
          <a:prstGeom prst="rect">
            <a:avLst/>
          </a:prstGeom>
        </p:spPr>
        <p:txBody>
          <a:bodyPr spcFirstLastPara="1" vert="horz" wrap="square" lIns="91425" tIns="91425" rIns="91425" bIns="91425" rtlCol="0" anchor="ctr"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spcBef>
                <a:spcPts val="0"/>
              </a:spcBef>
            </a:pPr>
            <a:r>
              <a:rPr lang="en-US" sz="600" dirty="0">
                <a:solidFill>
                  <a:srgbClr val="C5277F"/>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rPr>
              <a:t>&lt;&lt; send&gt;&gt;</a:t>
            </a:r>
          </a:p>
        </p:txBody>
      </p:sp>
      <p:sp>
        <p:nvSpPr>
          <p:cNvPr id="247" name="Google Shape;61;p12">
            <a:extLst>
              <a:ext uri="{FF2B5EF4-FFF2-40B4-BE49-F238E27FC236}">
                <a16:creationId xmlns:a16="http://schemas.microsoft.com/office/drawing/2014/main" id="{D822F488-B2DD-A74B-9797-1465CF1579A5}"/>
              </a:ext>
            </a:extLst>
          </p:cNvPr>
          <p:cNvSpPr txBox="1">
            <a:spLocks/>
          </p:cNvSpPr>
          <p:nvPr/>
        </p:nvSpPr>
        <p:spPr>
          <a:xfrm>
            <a:off x="1892261" y="2189396"/>
            <a:ext cx="664851" cy="226959"/>
          </a:xfrm>
          <a:prstGeom prst="rect">
            <a:avLst/>
          </a:prstGeom>
        </p:spPr>
        <p:txBody>
          <a:bodyPr spcFirstLastPara="1" vert="horz" wrap="square" lIns="91425" tIns="91425" rIns="91425" bIns="91425" rtlCol="0" anchor="ctr"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spcBef>
                <a:spcPts val="0"/>
              </a:spcBef>
            </a:pPr>
            <a:r>
              <a:rPr lang="en-US" sz="600" dirty="0">
                <a:solidFill>
                  <a:srgbClr val="C5277F"/>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rPr>
              <a:t>&lt;&lt; send&gt;&gt;</a:t>
            </a:r>
          </a:p>
        </p:txBody>
      </p:sp>
      <p:grpSp>
        <p:nvGrpSpPr>
          <p:cNvPr id="221" name="90 Grupo">
            <a:extLst>
              <a:ext uri="{FF2B5EF4-FFF2-40B4-BE49-F238E27FC236}">
                <a16:creationId xmlns:a16="http://schemas.microsoft.com/office/drawing/2014/main" id="{69890844-C937-BE4E-B4BB-872048D0D27F}"/>
              </a:ext>
            </a:extLst>
          </p:cNvPr>
          <p:cNvGrpSpPr>
            <a:grpSpLocks/>
          </p:cNvGrpSpPr>
          <p:nvPr/>
        </p:nvGrpSpPr>
        <p:grpSpPr bwMode="auto">
          <a:xfrm>
            <a:off x="9075237" y="186443"/>
            <a:ext cx="2891570" cy="638175"/>
            <a:chOff x="6746875" y="1552575"/>
            <a:chExt cx="2891570" cy="638175"/>
          </a:xfrm>
        </p:grpSpPr>
        <p:sp>
          <p:nvSpPr>
            <p:cNvPr id="228" name="Text Box 114">
              <a:extLst>
                <a:ext uri="{FF2B5EF4-FFF2-40B4-BE49-F238E27FC236}">
                  <a16:creationId xmlns:a16="http://schemas.microsoft.com/office/drawing/2014/main" id="{151643B4-6D6B-7742-B778-3238DEFA195C}"/>
                </a:ext>
              </a:extLst>
            </p:cNvPr>
            <p:cNvSpPr txBox="1">
              <a:spLocks noChangeArrowheads="1"/>
            </p:cNvSpPr>
            <p:nvPr/>
          </p:nvSpPr>
          <p:spPr bwMode="auto">
            <a:xfrm>
              <a:off x="6859588" y="1649413"/>
              <a:ext cx="508000" cy="84137"/>
            </a:xfrm>
            <a:prstGeom prst="rect">
              <a:avLst/>
            </a:prstGeom>
            <a:solidFill>
              <a:srgbClr val="87CBD8">
                <a:alpha val="62000"/>
              </a:srgbClr>
            </a:solidFill>
            <a:ln w="12700">
              <a:solidFill>
                <a:srgbClr val="0067B7"/>
              </a:solidFill>
              <a:miter lim="800000"/>
              <a:headEnd/>
              <a:tailEnd/>
            </a:ln>
          </p:spPr>
          <p:txBody>
            <a:bodyPr wrap="none" lIns="108000" tIns="0" rIns="108000" bIns="0" anchor="ctr"/>
            <a:lstStyle>
              <a:defPPr>
                <a:defRPr lang="es-ES"/>
              </a:defPPr>
              <a:lvl1pPr algn="ctr" defTabSz="449263" eaLnBrk="0" hangingPunct="0">
                <a:buSzPct val="13000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600" b="1">
                  <a:solidFill>
                    <a:schemeClr val="bg1"/>
                  </a:solidFill>
                </a:defRPr>
              </a:lvl1pPr>
              <a:lvl2pPr marL="742950" indent="-28575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2pPr>
              <a:lvl3pPr marL="11430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3pPr>
              <a:lvl4pPr marL="16002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4pPr>
              <a:lvl5pPr marL="20574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5pPr>
              <a:lvl6pPr marL="25146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6pPr>
              <a:lvl7pPr marL="29718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7pPr>
              <a:lvl8pPr marL="34290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8pPr>
              <a:lvl9pPr marL="38862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9pPr>
            </a:lstStyle>
            <a:p>
              <a:pPr>
                <a:spcBef>
                  <a:spcPct val="20000"/>
                </a:spcBef>
                <a:buClr>
                  <a:schemeClr val="accent2"/>
                </a:buClr>
                <a:buFont typeface="Wingdings" panose="05000000000000000000" pitchFamily="2" charset="2"/>
                <a:buNone/>
                <a:defRPr/>
              </a:pPr>
              <a:endParaRPr lang="en-GB" altLang="pt-BR" dirty="0">
                <a:latin typeface="Arial" charset="0"/>
              </a:endParaRPr>
            </a:p>
          </p:txBody>
        </p:sp>
        <p:sp>
          <p:nvSpPr>
            <p:cNvPr id="248" name="Text Box 115">
              <a:extLst>
                <a:ext uri="{FF2B5EF4-FFF2-40B4-BE49-F238E27FC236}">
                  <a16:creationId xmlns:a16="http://schemas.microsoft.com/office/drawing/2014/main" id="{FFAE90FC-ED9D-AD40-8F9A-F1510FD5D520}"/>
                </a:ext>
              </a:extLst>
            </p:cNvPr>
            <p:cNvSpPr txBox="1">
              <a:spLocks noChangeArrowheads="1"/>
            </p:cNvSpPr>
            <p:nvPr/>
          </p:nvSpPr>
          <p:spPr bwMode="auto">
            <a:xfrm>
              <a:off x="6864350" y="1993900"/>
              <a:ext cx="501650" cy="88900"/>
            </a:xfrm>
            <a:prstGeom prst="rect">
              <a:avLst/>
            </a:prstGeom>
            <a:solidFill>
              <a:srgbClr val="C5277F">
                <a:alpha val="65000"/>
              </a:srgbClr>
            </a:solidFill>
            <a:ln w="12700">
              <a:solidFill>
                <a:srgbClr val="7C1A4D"/>
              </a:solidFill>
              <a:miter lim="800000"/>
              <a:headEnd/>
              <a:tailEnd/>
            </a:ln>
          </p:spPr>
          <p:txBody>
            <a:bodyPr wrap="none" lIns="108000" tIns="0" rIns="108000" bIns="0" anchor="ctr"/>
            <a:lstStyle>
              <a:lvl1pPr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1pPr>
              <a:lvl2pPr marL="742950" indent="-28575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2pPr>
              <a:lvl3pPr marL="11430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3pPr>
              <a:lvl4pPr marL="16002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4pPr>
              <a:lvl5pPr marL="20574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5pPr>
              <a:lvl6pPr marL="25146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6pPr>
              <a:lvl7pPr marL="29718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7pPr>
              <a:lvl8pPr marL="34290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8pPr>
              <a:lvl9pPr marL="38862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9pPr>
            </a:lstStyle>
            <a:p>
              <a:pPr algn="ctr">
                <a:spcBef>
                  <a:spcPct val="20000"/>
                </a:spcBef>
                <a:buClr>
                  <a:schemeClr val="accent2"/>
                </a:buClr>
                <a:buSzPct val="130000"/>
                <a:buFont typeface="Wingdings" panose="05000000000000000000" pitchFamily="2" charset="2"/>
                <a:buNone/>
                <a:defRPr/>
              </a:pPr>
              <a:endParaRPr lang="en-GB" altLang="pt-BR" sz="600" b="1" dirty="0">
                <a:solidFill>
                  <a:schemeClr val="bg1"/>
                </a:solidFill>
                <a:cs typeface="+mn-cs"/>
              </a:endParaRPr>
            </a:p>
          </p:txBody>
        </p:sp>
        <p:sp>
          <p:nvSpPr>
            <p:cNvPr id="249" name="Text Box 117">
              <a:extLst>
                <a:ext uri="{FF2B5EF4-FFF2-40B4-BE49-F238E27FC236}">
                  <a16:creationId xmlns:a16="http://schemas.microsoft.com/office/drawing/2014/main" id="{80E69192-E6C1-1B46-ACB8-353E8322B63F}"/>
                </a:ext>
              </a:extLst>
            </p:cNvPr>
            <p:cNvSpPr txBox="1">
              <a:spLocks noChangeArrowheads="1"/>
            </p:cNvSpPr>
            <p:nvPr/>
          </p:nvSpPr>
          <p:spPr bwMode="auto">
            <a:xfrm>
              <a:off x="7380288" y="1581150"/>
              <a:ext cx="1018227"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lr>
                  <a:srgbClr val="FF0000"/>
                </a:buClr>
                <a:buFont typeface="Wingdings" pitchFamily="2" charset="2"/>
                <a:buChar char="w"/>
                <a:defRPr sz="2400" b="1">
                  <a:solidFill>
                    <a:srgbClr val="FF0000"/>
                  </a:solidFill>
                  <a:latin typeface="Arial" panose="020B0604020202020204" pitchFamily="34" charset="0"/>
                </a:defRPr>
              </a:lvl1pPr>
              <a:lvl2pPr marL="742950" indent="-285750">
                <a:spcBef>
                  <a:spcPct val="20000"/>
                </a:spcBef>
                <a:buClr>
                  <a:schemeClr val="bg2"/>
                </a:buClr>
                <a:buFont typeface="Wingdings" pitchFamily="2" charset="2"/>
                <a:buChar char="§"/>
                <a:defRPr sz="2600">
                  <a:solidFill>
                    <a:srgbClr val="808080"/>
                  </a:solidFill>
                  <a:latin typeface="Arial" panose="020B0604020202020204" pitchFamily="34" charset="0"/>
                </a:defRPr>
              </a:lvl2pPr>
              <a:lvl3pPr marL="11430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3pPr>
              <a:lvl4pPr marL="16002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4pPr>
              <a:lvl5pPr marL="20574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9pPr>
            </a:lstStyle>
            <a:p>
              <a:pPr>
                <a:buClr>
                  <a:schemeClr val="accent2"/>
                </a:buClr>
                <a:buNone/>
              </a:pPr>
              <a:r>
                <a:rPr lang="en-US" altLang="pt-BR" sz="900" b="0" dirty="0">
                  <a:solidFill>
                    <a:schemeClr val="tx1"/>
                  </a:solidFill>
                  <a:cs typeface="Arial" panose="020B0604020202020204" pitchFamily="34" charset="0"/>
                </a:rPr>
                <a:t>New component</a:t>
              </a:r>
            </a:p>
          </p:txBody>
        </p:sp>
        <p:sp>
          <p:nvSpPr>
            <p:cNvPr id="250" name="Text Box 118">
              <a:extLst>
                <a:ext uri="{FF2B5EF4-FFF2-40B4-BE49-F238E27FC236}">
                  <a16:creationId xmlns:a16="http://schemas.microsoft.com/office/drawing/2014/main" id="{507220B2-9BD5-9747-86C6-6F8D9841F912}"/>
                </a:ext>
              </a:extLst>
            </p:cNvPr>
            <p:cNvSpPr txBox="1">
              <a:spLocks noChangeArrowheads="1"/>
            </p:cNvSpPr>
            <p:nvPr/>
          </p:nvSpPr>
          <p:spPr bwMode="auto">
            <a:xfrm>
              <a:off x="7376287" y="1952244"/>
              <a:ext cx="1697901"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lr>
                  <a:srgbClr val="FF0000"/>
                </a:buClr>
                <a:buFont typeface="Wingdings" pitchFamily="2" charset="2"/>
                <a:buChar char="w"/>
                <a:defRPr sz="2400" b="1">
                  <a:solidFill>
                    <a:srgbClr val="FF0000"/>
                  </a:solidFill>
                  <a:latin typeface="Arial" panose="020B0604020202020204" pitchFamily="34" charset="0"/>
                </a:defRPr>
              </a:lvl1pPr>
              <a:lvl2pPr marL="742950" indent="-285750">
                <a:spcBef>
                  <a:spcPct val="20000"/>
                </a:spcBef>
                <a:buClr>
                  <a:schemeClr val="bg2"/>
                </a:buClr>
                <a:buFont typeface="Wingdings" pitchFamily="2" charset="2"/>
                <a:buChar char="§"/>
                <a:defRPr sz="2600">
                  <a:solidFill>
                    <a:srgbClr val="808080"/>
                  </a:solidFill>
                  <a:latin typeface="Arial" panose="020B0604020202020204" pitchFamily="34" charset="0"/>
                </a:defRPr>
              </a:lvl2pPr>
              <a:lvl3pPr marL="11430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3pPr>
              <a:lvl4pPr marL="16002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4pPr>
              <a:lvl5pPr marL="20574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9pPr>
            </a:lstStyle>
            <a:p>
              <a:pPr>
                <a:buClr>
                  <a:schemeClr val="accent2"/>
                </a:buClr>
                <a:buNone/>
              </a:pPr>
              <a:r>
                <a:rPr lang="en-US" altLang="pt-BR" sz="900" b="0" dirty="0">
                  <a:solidFill>
                    <a:schemeClr val="tx1"/>
                  </a:solidFill>
                  <a:cs typeface="Arial" panose="020B0604020202020204" pitchFamily="34" charset="0"/>
                </a:rPr>
                <a:t>Component not contemplated</a:t>
              </a:r>
            </a:p>
          </p:txBody>
        </p:sp>
        <p:sp>
          <p:nvSpPr>
            <p:cNvPr id="251" name="Rectangle 119">
              <a:extLst>
                <a:ext uri="{FF2B5EF4-FFF2-40B4-BE49-F238E27FC236}">
                  <a16:creationId xmlns:a16="http://schemas.microsoft.com/office/drawing/2014/main" id="{0F8E6A8C-1A29-E648-B46D-FD965ADD4933}"/>
                </a:ext>
              </a:extLst>
            </p:cNvPr>
            <p:cNvSpPr>
              <a:spLocks noChangeArrowheads="1"/>
            </p:cNvSpPr>
            <p:nvPr/>
          </p:nvSpPr>
          <p:spPr bwMode="auto">
            <a:xfrm>
              <a:off x="6746875" y="1552575"/>
              <a:ext cx="2891570" cy="638175"/>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lvl1pPr>
                <a:spcBef>
                  <a:spcPct val="20000"/>
                </a:spcBef>
                <a:buClr>
                  <a:srgbClr val="FF0000"/>
                </a:buClr>
                <a:buFont typeface="Wingdings" pitchFamily="2" charset="2"/>
                <a:buChar char="w"/>
                <a:defRPr sz="2400" b="1">
                  <a:solidFill>
                    <a:srgbClr val="FF0000"/>
                  </a:solidFill>
                  <a:latin typeface="Arial" panose="020B0604020202020204" pitchFamily="34" charset="0"/>
                </a:defRPr>
              </a:lvl1pPr>
              <a:lvl2pPr marL="742950" indent="-285750">
                <a:spcBef>
                  <a:spcPct val="20000"/>
                </a:spcBef>
                <a:buClr>
                  <a:schemeClr val="bg2"/>
                </a:buClr>
                <a:buFont typeface="Wingdings" pitchFamily="2" charset="2"/>
                <a:buChar char="§"/>
                <a:defRPr sz="2600">
                  <a:solidFill>
                    <a:srgbClr val="808080"/>
                  </a:solidFill>
                  <a:latin typeface="Arial" panose="020B0604020202020204" pitchFamily="34" charset="0"/>
                </a:defRPr>
              </a:lvl2pPr>
              <a:lvl3pPr marL="11430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3pPr>
              <a:lvl4pPr marL="16002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4pPr>
              <a:lvl5pPr marL="20574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9pPr>
            </a:lstStyle>
            <a:p>
              <a:pPr eaLnBrk="1" hangingPunct="1">
                <a:buClr>
                  <a:schemeClr val="accent2"/>
                </a:buClr>
                <a:buFont typeface="Wingdings" pitchFamily="2" charset="2"/>
                <a:buNone/>
              </a:pPr>
              <a:endParaRPr lang="pt-BR" altLang="pt-BR" b="0">
                <a:solidFill>
                  <a:schemeClr val="tx1"/>
                </a:solidFill>
              </a:endParaRPr>
            </a:p>
          </p:txBody>
        </p:sp>
        <p:sp>
          <p:nvSpPr>
            <p:cNvPr id="252" name="Text Box 115">
              <a:extLst>
                <a:ext uri="{FF2B5EF4-FFF2-40B4-BE49-F238E27FC236}">
                  <a16:creationId xmlns:a16="http://schemas.microsoft.com/office/drawing/2014/main" id="{1E47E570-D12C-B742-A9F3-B84FECE2A5A7}"/>
                </a:ext>
              </a:extLst>
            </p:cNvPr>
            <p:cNvSpPr txBox="1">
              <a:spLocks noChangeArrowheads="1"/>
            </p:cNvSpPr>
            <p:nvPr/>
          </p:nvSpPr>
          <p:spPr bwMode="auto">
            <a:xfrm>
              <a:off x="6858000" y="1827213"/>
              <a:ext cx="501650" cy="88900"/>
            </a:xfrm>
            <a:prstGeom prst="rect">
              <a:avLst/>
            </a:prstGeom>
            <a:solidFill>
              <a:srgbClr val="0067B7">
                <a:alpha val="67000"/>
              </a:srgbClr>
            </a:solidFill>
            <a:ln w="12700">
              <a:solidFill>
                <a:schemeClr val="tx1"/>
              </a:solidFill>
              <a:miter lim="800000"/>
              <a:headEnd/>
              <a:tailEnd/>
            </a:ln>
          </p:spPr>
          <p:txBody>
            <a:bodyPr wrap="none" lIns="108000" tIns="0" rIns="108000" bIns="0" anchor="ctr"/>
            <a:lstStyle>
              <a:lvl1pPr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1pPr>
              <a:lvl2pPr marL="742950" indent="-28575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2pPr>
              <a:lvl3pPr marL="11430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3pPr>
              <a:lvl4pPr marL="16002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4pPr>
              <a:lvl5pPr marL="20574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5pPr>
              <a:lvl6pPr marL="25146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6pPr>
              <a:lvl7pPr marL="29718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7pPr>
              <a:lvl8pPr marL="34290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8pPr>
              <a:lvl9pPr marL="38862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9pPr>
            </a:lstStyle>
            <a:p>
              <a:pPr algn="ctr">
                <a:spcBef>
                  <a:spcPct val="20000"/>
                </a:spcBef>
                <a:buClr>
                  <a:schemeClr val="accent2"/>
                </a:buClr>
                <a:buSzPct val="130000"/>
                <a:buFont typeface="Wingdings" panose="05000000000000000000" pitchFamily="2" charset="2"/>
                <a:buNone/>
                <a:defRPr/>
              </a:pPr>
              <a:endParaRPr lang="en-GB" altLang="pt-BR" sz="600" b="1" dirty="0">
                <a:solidFill>
                  <a:schemeClr val="bg1"/>
                </a:solidFill>
                <a:cs typeface="+mn-cs"/>
              </a:endParaRPr>
            </a:p>
          </p:txBody>
        </p:sp>
        <p:sp>
          <p:nvSpPr>
            <p:cNvPr id="253" name="Text Box 117">
              <a:extLst>
                <a:ext uri="{FF2B5EF4-FFF2-40B4-BE49-F238E27FC236}">
                  <a16:creationId xmlns:a16="http://schemas.microsoft.com/office/drawing/2014/main" id="{D3610876-FEA8-494A-866F-DC7D0D10B5C8}"/>
                </a:ext>
              </a:extLst>
            </p:cNvPr>
            <p:cNvSpPr txBox="1">
              <a:spLocks noChangeArrowheads="1"/>
            </p:cNvSpPr>
            <p:nvPr/>
          </p:nvSpPr>
          <p:spPr bwMode="auto">
            <a:xfrm>
              <a:off x="7369556" y="1774063"/>
              <a:ext cx="1281120"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lr>
                  <a:srgbClr val="FF0000"/>
                </a:buClr>
                <a:buFont typeface="Wingdings" pitchFamily="2" charset="2"/>
                <a:buChar char="w"/>
                <a:defRPr sz="2400" b="1">
                  <a:solidFill>
                    <a:srgbClr val="FF0000"/>
                  </a:solidFill>
                  <a:latin typeface="Arial" panose="020B0604020202020204" pitchFamily="34" charset="0"/>
                </a:defRPr>
              </a:lvl1pPr>
              <a:lvl2pPr marL="742950" indent="-285750">
                <a:spcBef>
                  <a:spcPct val="20000"/>
                </a:spcBef>
                <a:buClr>
                  <a:schemeClr val="bg2"/>
                </a:buClr>
                <a:buFont typeface="Wingdings" pitchFamily="2" charset="2"/>
                <a:buChar char="§"/>
                <a:defRPr sz="2600">
                  <a:solidFill>
                    <a:srgbClr val="808080"/>
                  </a:solidFill>
                  <a:latin typeface="Arial" panose="020B0604020202020204" pitchFamily="34" charset="0"/>
                </a:defRPr>
              </a:lvl2pPr>
              <a:lvl3pPr marL="11430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3pPr>
              <a:lvl4pPr marL="16002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4pPr>
              <a:lvl5pPr marL="20574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9pPr>
            </a:lstStyle>
            <a:p>
              <a:pPr>
                <a:buClr>
                  <a:schemeClr val="accent2"/>
                </a:buClr>
                <a:buNone/>
              </a:pPr>
              <a:r>
                <a:rPr lang="en-US" sz="900" b="0" dirty="0">
                  <a:solidFill>
                    <a:schemeClr val="tx1"/>
                  </a:solidFill>
                  <a:cs typeface="Arial" panose="020B0604020202020204" pitchFamily="34" charset="0"/>
                </a:rPr>
                <a:t>Component to modify</a:t>
              </a:r>
              <a:endParaRPr lang="es-ES" altLang="pt-BR" sz="900" b="0" dirty="0">
                <a:solidFill>
                  <a:schemeClr val="tx1"/>
                </a:solidFill>
                <a:cs typeface="Arial" panose="020B0604020202020204" pitchFamily="34" charset="0"/>
              </a:endParaRPr>
            </a:p>
          </p:txBody>
        </p:sp>
      </p:grpSp>
      <p:sp>
        <p:nvSpPr>
          <p:cNvPr id="254" name="Rectangle 3">
            <a:extLst>
              <a:ext uri="{FF2B5EF4-FFF2-40B4-BE49-F238E27FC236}">
                <a16:creationId xmlns:a16="http://schemas.microsoft.com/office/drawing/2014/main" id="{24B4F609-7485-2A41-892D-27345D283EAA}"/>
              </a:ext>
            </a:extLst>
          </p:cNvPr>
          <p:cNvSpPr txBox="1"/>
          <p:nvPr/>
        </p:nvSpPr>
        <p:spPr>
          <a:xfrm>
            <a:off x="404806" y="82014"/>
            <a:ext cx="7585857" cy="400105"/>
          </a:xfrm>
          <a:prstGeom prst="rect">
            <a:avLst/>
          </a:prstGeom>
          <a:ln w="12700">
            <a:miter lim="400000"/>
          </a:ln>
          <a:extLst>
            <a:ext uri="{C572A759-6A51-4108-AA02-DFA0A04FC94B}">
              <ma14:wrappingTextBoxFlag xmlns:ma14="http://schemas.microsoft.com/office/mac/drawingml/2011/main" xmlns="" val="1"/>
            </a:ext>
          </a:extLst>
        </p:spPr>
        <p:txBody>
          <a:bodyPr wrap="square" lIns="45718" tIns="45718" rIns="45718" bIns="45718">
            <a:spAutoFit/>
          </a:bodyPr>
          <a:lstStyle>
            <a:lvl1pPr algn="l" defTabSz="914400">
              <a:defRPr sz="2200" b="1">
                <a:solidFill>
                  <a:srgbClr val="FFFFFF"/>
                </a:solidFill>
                <a:latin typeface="Arial"/>
                <a:ea typeface="Arial"/>
                <a:cs typeface="Arial"/>
                <a:sym typeface="Arial"/>
              </a:defRPr>
            </a:lvl1pPr>
          </a:lstStyle>
          <a:p>
            <a:r>
              <a:rPr lang="en-US" sz="2000" dirty="0">
                <a:solidFill>
                  <a:srgbClr val="016AA2"/>
                </a:solidFill>
              </a:rPr>
              <a:t>Needs and Solution Proposal (VIII)</a:t>
            </a:r>
          </a:p>
        </p:txBody>
      </p:sp>
      <p:sp>
        <p:nvSpPr>
          <p:cNvPr id="255" name="Rectangle 3">
            <a:extLst>
              <a:ext uri="{FF2B5EF4-FFF2-40B4-BE49-F238E27FC236}">
                <a16:creationId xmlns:a16="http://schemas.microsoft.com/office/drawing/2014/main" id="{7D9C900C-1129-EA43-A60C-5FDFE7E5FD8A}"/>
              </a:ext>
            </a:extLst>
          </p:cNvPr>
          <p:cNvSpPr txBox="1"/>
          <p:nvPr/>
        </p:nvSpPr>
        <p:spPr>
          <a:xfrm>
            <a:off x="404806" y="482119"/>
            <a:ext cx="7116438" cy="369328"/>
          </a:xfrm>
          <a:prstGeom prst="rect">
            <a:avLst/>
          </a:prstGeom>
          <a:ln w="12700">
            <a:miter lim="400000"/>
          </a:ln>
          <a:extLst>
            <a:ext uri="{C572A759-6A51-4108-AA02-DFA0A04FC94B}">
              <ma14:wrappingTextBoxFlag xmlns="" xmlns:ma14="http://schemas.microsoft.com/office/mac/drawingml/2011/main" val="1"/>
            </a:ext>
          </a:extLst>
        </p:spPr>
        <p:txBody>
          <a:bodyPr wrap="square" lIns="45718" tIns="45718" rIns="45718" bIns="45718">
            <a:spAutoFit/>
          </a:bodyPr>
          <a:lstStyle>
            <a:lvl1pPr algn="l" defTabSz="914400">
              <a:defRPr sz="2000">
                <a:solidFill>
                  <a:srgbClr val="104D6A"/>
                </a:solidFill>
                <a:latin typeface="Arial"/>
                <a:ea typeface="Arial"/>
                <a:cs typeface="Arial"/>
                <a:sym typeface="Arial"/>
              </a:defRPr>
            </a:lvl1pPr>
          </a:lstStyle>
          <a:p>
            <a:pPr>
              <a:defRPr/>
            </a:pPr>
            <a:r>
              <a:rPr lang="en-US" sz="1800" b="1" dirty="0">
                <a:solidFill>
                  <a:srgbClr val="73C4EF"/>
                </a:solidFill>
              </a:rPr>
              <a:t>Event Hub Architecture – Global Architecture SaaS	</a:t>
            </a:r>
          </a:p>
        </p:txBody>
      </p:sp>
      <p:grpSp>
        <p:nvGrpSpPr>
          <p:cNvPr id="278" name="Group 277">
            <a:extLst>
              <a:ext uri="{FF2B5EF4-FFF2-40B4-BE49-F238E27FC236}">
                <a16:creationId xmlns:a16="http://schemas.microsoft.com/office/drawing/2014/main" id="{182BE1CD-4162-4E41-BA3B-29C807C54928}"/>
              </a:ext>
            </a:extLst>
          </p:cNvPr>
          <p:cNvGrpSpPr/>
          <p:nvPr/>
        </p:nvGrpSpPr>
        <p:grpSpPr>
          <a:xfrm>
            <a:off x="4419049" y="4845157"/>
            <a:ext cx="1774842" cy="407914"/>
            <a:chOff x="3211574" y="2335474"/>
            <a:chExt cx="1382052" cy="663758"/>
          </a:xfrm>
        </p:grpSpPr>
        <p:sp>
          <p:nvSpPr>
            <p:cNvPr id="279" name="Rectangle 278">
              <a:extLst>
                <a:ext uri="{FF2B5EF4-FFF2-40B4-BE49-F238E27FC236}">
                  <a16:creationId xmlns:a16="http://schemas.microsoft.com/office/drawing/2014/main" id="{8D26A9AD-660B-DA42-A583-0FFD478BE86D}"/>
                </a:ext>
              </a:extLst>
            </p:cNvPr>
            <p:cNvSpPr/>
            <p:nvPr/>
          </p:nvSpPr>
          <p:spPr>
            <a:xfrm>
              <a:off x="3338853" y="2335474"/>
              <a:ext cx="1254773" cy="663758"/>
            </a:xfrm>
            <a:prstGeom prst="rect">
              <a:avLst/>
            </a:prstGeom>
            <a:solidFill>
              <a:srgbClr val="87CBD8"/>
            </a:solidFill>
            <a:ln w="9525">
              <a:solidFill>
                <a:srgbClr val="0067B7"/>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800" dirty="0" err="1">
                  <a:solidFill>
                    <a:srgbClr val="0067B7"/>
                  </a:solidFill>
                  <a:effectLst>
                    <a:outerShdw blurRad="50800" dist="50800" dir="5400000" algn="ctr" rotWithShape="0">
                      <a:srgbClr val="000000">
                        <a:alpha val="0"/>
                      </a:srgbClr>
                    </a:outerShdw>
                    <a:reflection endPos="0" dist="50800" dir="5400000" sy="-100000" algn="bl" rotWithShape="0"/>
                  </a:effectLst>
                  <a:ea typeface="Klee Medium" panose="02020600000000000000" pitchFamily="18" charset="-128"/>
                </a:rPr>
                <a:t>StreamEngie</a:t>
              </a:r>
              <a:endParaRPr lang="en-US" sz="800" dirty="0">
                <a:solidFill>
                  <a:srgbClr val="0067B7"/>
                </a:solidFill>
                <a:effectLst>
                  <a:outerShdw blurRad="50800" dist="50800" dir="5400000" algn="ctr" rotWithShape="0">
                    <a:srgbClr val="000000">
                      <a:alpha val="0"/>
                    </a:srgbClr>
                  </a:outerShdw>
                  <a:reflection endPos="0" dist="50800" dir="5400000" sy="-100000" algn="bl" rotWithShape="0"/>
                </a:effectLst>
                <a:ea typeface="Klee Medium" panose="02020600000000000000" pitchFamily="18" charset="-128"/>
              </a:endParaRPr>
            </a:p>
          </p:txBody>
        </p:sp>
        <p:cxnSp>
          <p:nvCxnSpPr>
            <p:cNvPr id="280" name="Straight Connector 279">
              <a:extLst>
                <a:ext uri="{FF2B5EF4-FFF2-40B4-BE49-F238E27FC236}">
                  <a16:creationId xmlns:a16="http://schemas.microsoft.com/office/drawing/2014/main" id="{310EFC74-4DFD-9944-AF06-0410BBC6FB38}"/>
                </a:ext>
              </a:extLst>
            </p:cNvPr>
            <p:cNvCxnSpPr/>
            <p:nvPr/>
          </p:nvCxnSpPr>
          <p:spPr>
            <a:xfrm>
              <a:off x="3696207" y="2335474"/>
              <a:ext cx="875794" cy="0"/>
            </a:xfrm>
            <a:prstGeom prst="line">
              <a:avLst/>
            </a:prstGeom>
            <a:solidFill>
              <a:srgbClr val="87CBD8"/>
            </a:solidFill>
            <a:ln w="9525">
              <a:solidFill>
                <a:srgbClr val="0067B7"/>
              </a:solidFill>
            </a:ln>
            <a:effectLst/>
          </p:spPr>
          <p:style>
            <a:lnRef idx="2">
              <a:schemeClr val="accent1">
                <a:shade val="50000"/>
              </a:schemeClr>
            </a:lnRef>
            <a:fillRef idx="1">
              <a:schemeClr val="accent1"/>
            </a:fillRef>
            <a:effectRef idx="0">
              <a:schemeClr val="accent1"/>
            </a:effectRef>
            <a:fontRef idx="minor">
              <a:schemeClr val="lt1"/>
            </a:fontRef>
          </p:style>
        </p:cxnSp>
        <p:cxnSp>
          <p:nvCxnSpPr>
            <p:cNvPr id="281" name="Straight Connector 280">
              <a:extLst>
                <a:ext uri="{FF2B5EF4-FFF2-40B4-BE49-F238E27FC236}">
                  <a16:creationId xmlns:a16="http://schemas.microsoft.com/office/drawing/2014/main" id="{BC0561C0-AC6C-1C43-BC06-EC101286493B}"/>
                </a:ext>
              </a:extLst>
            </p:cNvPr>
            <p:cNvCxnSpPr/>
            <p:nvPr/>
          </p:nvCxnSpPr>
          <p:spPr>
            <a:xfrm>
              <a:off x="3211574" y="2999232"/>
              <a:ext cx="875794" cy="0"/>
            </a:xfrm>
            <a:prstGeom prst="line">
              <a:avLst/>
            </a:prstGeom>
            <a:solidFill>
              <a:srgbClr val="87CBD8"/>
            </a:solidFill>
            <a:ln w="9525">
              <a:solidFill>
                <a:srgbClr val="0067B7"/>
              </a:solidFill>
            </a:ln>
            <a:effectLst/>
          </p:spPr>
          <p:style>
            <a:lnRef idx="2">
              <a:schemeClr val="accent1">
                <a:shade val="50000"/>
              </a:schemeClr>
            </a:lnRef>
            <a:fillRef idx="1">
              <a:schemeClr val="accent1"/>
            </a:fillRef>
            <a:effectRef idx="0">
              <a:schemeClr val="accent1"/>
            </a:effectRef>
            <a:fontRef idx="minor">
              <a:schemeClr val="lt1"/>
            </a:fontRef>
          </p:style>
        </p:cxnSp>
      </p:grpSp>
      <p:cxnSp>
        <p:nvCxnSpPr>
          <p:cNvPr id="282" name="Elbow Connector 281">
            <a:extLst>
              <a:ext uri="{FF2B5EF4-FFF2-40B4-BE49-F238E27FC236}">
                <a16:creationId xmlns:a16="http://schemas.microsoft.com/office/drawing/2014/main" id="{B47DDC96-2B16-CA45-ABF8-F9EF948E1952}"/>
              </a:ext>
            </a:extLst>
          </p:cNvPr>
          <p:cNvCxnSpPr>
            <a:cxnSpLocks/>
            <a:stCxn id="138" idx="2"/>
            <a:endCxn id="279" idx="0"/>
          </p:cNvCxnSpPr>
          <p:nvPr/>
        </p:nvCxnSpPr>
        <p:spPr>
          <a:xfrm rot="5400000">
            <a:off x="5165558" y="4620593"/>
            <a:ext cx="447204" cy="1925"/>
          </a:xfrm>
          <a:prstGeom prst="bentConnector3">
            <a:avLst>
              <a:gd name="adj1" fmla="val 50000"/>
            </a:avLst>
          </a:prstGeom>
          <a:ln>
            <a:solidFill>
              <a:srgbClr val="C5277F"/>
            </a:solidFill>
            <a:headEnd type="oval"/>
            <a:tailEnd type="oval"/>
          </a:ln>
        </p:spPr>
        <p:style>
          <a:lnRef idx="1">
            <a:schemeClr val="accent1"/>
          </a:lnRef>
          <a:fillRef idx="0">
            <a:schemeClr val="accent1"/>
          </a:fillRef>
          <a:effectRef idx="0">
            <a:schemeClr val="accent1"/>
          </a:effectRef>
          <a:fontRef idx="minor">
            <a:schemeClr val="tx1"/>
          </a:fontRef>
        </p:style>
      </p:cxnSp>
      <p:grpSp>
        <p:nvGrpSpPr>
          <p:cNvPr id="197" name="Group 196">
            <a:extLst>
              <a:ext uri="{FF2B5EF4-FFF2-40B4-BE49-F238E27FC236}">
                <a16:creationId xmlns:a16="http://schemas.microsoft.com/office/drawing/2014/main" id="{8F141941-BB85-1B46-93D4-C41FEB6D609C}"/>
              </a:ext>
            </a:extLst>
          </p:cNvPr>
          <p:cNvGrpSpPr/>
          <p:nvPr/>
        </p:nvGrpSpPr>
        <p:grpSpPr>
          <a:xfrm>
            <a:off x="5039073" y="2160212"/>
            <a:ext cx="1925781" cy="408506"/>
            <a:chOff x="3211574" y="2335474"/>
            <a:chExt cx="1360427" cy="663758"/>
          </a:xfrm>
        </p:grpSpPr>
        <p:sp>
          <p:nvSpPr>
            <p:cNvPr id="198" name="Rectangle 197">
              <a:extLst>
                <a:ext uri="{FF2B5EF4-FFF2-40B4-BE49-F238E27FC236}">
                  <a16:creationId xmlns:a16="http://schemas.microsoft.com/office/drawing/2014/main" id="{2C34BEBE-F641-FB40-B7CA-D2899F61CA3D}"/>
                </a:ext>
              </a:extLst>
            </p:cNvPr>
            <p:cNvSpPr/>
            <p:nvPr/>
          </p:nvSpPr>
          <p:spPr>
            <a:xfrm>
              <a:off x="3338853" y="2335474"/>
              <a:ext cx="1101769" cy="663758"/>
            </a:xfrm>
            <a:prstGeom prst="rect">
              <a:avLst/>
            </a:prstGeom>
            <a:solidFill>
              <a:srgbClr val="87CBD8"/>
            </a:solidFill>
            <a:ln w="9525">
              <a:solidFill>
                <a:srgbClr val="0067B7"/>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800" dirty="0" err="1">
                  <a:solidFill>
                    <a:srgbClr val="0067B7"/>
                  </a:solidFill>
                  <a:effectLst>
                    <a:outerShdw blurRad="50800" dist="50800" dir="5400000" algn="ctr" rotWithShape="0">
                      <a:srgbClr val="000000">
                        <a:alpha val="0"/>
                      </a:srgbClr>
                    </a:outerShdw>
                    <a:reflection endPos="0" dist="50800" dir="5400000" sy="-100000" algn="bl" rotWithShape="0"/>
                  </a:effectLst>
                  <a:ea typeface="Klee Medium" panose="02020600000000000000" pitchFamily="18" charset="-128"/>
                  <a:cs typeface="Ink Free" panose="020F0502020204030204" pitchFamily="34" charset="0"/>
                </a:rPr>
                <a:t>ManagmentService</a:t>
              </a:r>
              <a:endParaRPr lang="en-US" sz="800" dirty="0">
                <a:solidFill>
                  <a:srgbClr val="0067B7"/>
                </a:solidFill>
                <a:effectLst>
                  <a:outerShdw blurRad="50800" dist="50800" dir="5400000" algn="ctr" rotWithShape="0">
                    <a:srgbClr val="000000">
                      <a:alpha val="0"/>
                    </a:srgbClr>
                  </a:outerShdw>
                  <a:reflection endPos="0" dist="50800" dir="5400000" sy="-100000" algn="bl" rotWithShape="0"/>
                </a:effectLst>
                <a:ea typeface="Klee Medium" panose="02020600000000000000" pitchFamily="18" charset="-128"/>
                <a:cs typeface="Ink Free" panose="020F0502020204030204" pitchFamily="34" charset="0"/>
              </a:endParaRPr>
            </a:p>
          </p:txBody>
        </p:sp>
        <p:cxnSp>
          <p:nvCxnSpPr>
            <p:cNvPr id="199" name="Straight Connector 198">
              <a:extLst>
                <a:ext uri="{FF2B5EF4-FFF2-40B4-BE49-F238E27FC236}">
                  <a16:creationId xmlns:a16="http://schemas.microsoft.com/office/drawing/2014/main" id="{F8417583-1F41-7A47-9F45-7BF32B8AC20B}"/>
                </a:ext>
              </a:extLst>
            </p:cNvPr>
            <p:cNvCxnSpPr/>
            <p:nvPr/>
          </p:nvCxnSpPr>
          <p:spPr>
            <a:xfrm>
              <a:off x="3696207" y="2335474"/>
              <a:ext cx="875794" cy="0"/>
            </a:xfrm>
            <a:prstGeom prst="line">
              <a:avLst/>
            </a:prstGeom>
            <a:solidFill>
              <a:srgbClr val="87CBD8"/>
            </a:solidFill>
            <a:ln w="9525">
              <a:solidFill>
                <a:srgbClr val="0067B7"/>
              </a:solidFill>
            </a:ln>
            <a:effectLst/>
          </p:spPr>
          <p:style>
            <a:lnRef idx="2">
              <a:schemeClr val="accent1">
                <a:shade val="50000"/>
              </a:schemeClr>
            </a:lnRef>
            <a:fillRef idx="1">
              <a:schemeClr val="accent1"/>
            </a:fillRef>
            <a:effectRef idx="0">
              <a:schemeClr val="accent1"/>
            </a:effectRef>
            <a:fontRef idx="minor">
              <a:schemeClr val="lt1"/>
            </a:fontRef>
          </p:style>
        </p:cxnSp>
        <p:cxnSp>
          <p:nvCxnSpPr>
            <p:cNvPr id="200" name="Straight Connector 199">
              <a:extLst>
                <a:ext uri="{FF2B5EF4-FFF2-40B4-BE49-F238E27FC236}">
                  <a16:creationId xmlns:a16="http://schemas.microsoft.com/office/drawing/2014/main" id="{4BF6F9AC-D91B-1943-8234-398788AB791E}"/>
                </a:ext>
              </a:extLst>
            </p:cNvPr>
            <p:cNvCxnSpPr/>
            <p:nvPr/>
          </p:nvCxnSpPr>
          <p:spPr>
            <a:xfrm>
              <a:off x="3211574" y="2999232"/>
              <a:ext cx="875794" cy="0"/>
            </a:xfrm>
            <a:prstGeom prst="line">
              <a:avLst/>
            </a:prstGeom>
            <a:solidFill>
              <a:srgbClr val="87CBD8"/>
            </a:solidFill>
            <a:ln w="9525">
              <a:solidFill>
                <a:srgbClr val="0067B7"/>
              </a:solidFill>
            </a:ln>
            <a:effectLst/>
          </p:spPr>
          <p:style>
            <a:lnRef idx="2">
              <a:schemeClr val="accent1">
                <a:shade val="50000"/>
              </a:schemeClr>
            </a:lnRef>
            <a:fillRef idx="1">
              <a:schemeClr val="accent1"/>
            </a:fillRef>
            <a:effectRef idx="0">
              <a:schemeClr val="accent1"/>
            </a:effectRef>
            <a:fontRef idx="minor">
              <a:schemeClr val="lt1"/>
            </a:fontRef>
          </p:style>
        </p:cxnSp>
      </p:grpSp>
      <p:cxnSp>
        <p:nvCxnSpPr>
          <p:cNvPr id="202" name="Elbow Connector 201">
            <a:extLst>
              <a:ext uri="{FF2B5EF4-FFF2-40B4-BE49-F238E27FC236}">
                <a16:creationId xmlns:a16="http://schemas.microsoft.com/office/drawing/2014/main" id="{FB8ABAC0-E926-C048-A237-AE17216BC429}"/>
              </a:ext>
            </a:extLst>
          </p:cNvPr>
          <p:cNvCxnSpPr>
            <a:cxnSpLocks/>
            <a:stCxn id="198" idx="2"/>
            <a:endCxn id="2" idx="0"/>
          </p:cNvCxnSpPr>
          <p:nvPr/>
        </p:nvCxnSpPr>
        <p:spPr>
          <a:xfrm rot="5400000">
            <a:off x="5683469" y="2660810"/>
            <a:ext cx="407685" cy="223501"/>
          </a:xfrm>
          <a:prstGeom prst="bentConnector3">
            <a:avLst>
              <a:gd name="adj1" fmla="val 50000"/>
            </a:avLst>
          </a:prstGeom>
          <a:ln>
            <a:solidFill>
              <a:srgbClr val="C5277F"/>
            </a:solidFill>
            <a:headEnd type="oval"/>
            <a:tailEnd type="oval"/>
          </a:ln>
        </p:spPr>
        <p:style>
          <a:lnRef idx="1">
            <a:schemeClr val="accent1"/>
          </a:lnRef>
          <a:fillRef idx="0">
            <a:schemeClr val="accent1"/>
          </a:fillRef>
          <a:effectRef idx="0">
            <a:schemeClr val="accent1"/>
          </a:effectRef>
          <a:fontRef idx="minor">
            <a:schemeClr val="tx1"/>
          </a:fontRef>
        </p:style>
      </p:cxnSp>
      <p:grpSp>
        <p:nvGrpSpPr>
          <p:cNvPr id="203" name="Group 202">
            <a:extLst>
              <a:ext uri="{FF2B5EF4-FFF2-40B4-BE49-F238E27FC236}">
                <a16:creationId xmlns:a16="http://schemas.microsoft.com/office/drawing/2014/main" id="{FCF3FE3F-872A-6F43-8E8C-260CC2D55D74}"/>
              </a:ext>
            </a:extLst>
          </p:cNvPr>
          <p:cNvGrpSpPr/>
          <p:nvPr/>
        </p:nvGrpSpPr>
        <p:grpSpPr>
          <a:xfrm>
            <a:off x="5276195" y="1149113"/>
            <a:ext cx="1675337" cy="422732"/>
            <a:chOff x="3211574" y="2335474"/>
            <a:chExt cx="1382052" cy="663758"/>
          </a:xfrm>
        </p:grpSpPr>
        <p:sp>
          <p:nvSpPr>
            <p:cNvPr id="204" name="Rectangle 203">
              <a:extLst>
                <a:ext uri="{FF2B5EF4-FFF2-40B4-BE49-F238E27FC236}">
                  <a16:creationId xmlns:a16="http://schemas.microsoft.com/office/drawing/2014/main" id="{F16B893F-FE88-5E40-B469-5664CAC5CC50}"/>
                </a:ext>
              </a:extLst>
            </p:cNvPr>
            <p:cNvSpPr/>
            <p:nvPr/>
          </p:nvSpPr>
          <p:spPr>
            <a:xfrm>
              <a:off x="3338853" y="2335474"/>
              <a:ext cx="1254773" cy="663758"/>
            </a:xfrm>
            <a:prstGeom prst="rect">
              <a:avLst/>
            </a:prstGeom>
            <a:solidFill>
              <a:srgbClr val="C5277F"/>
            </a:solidFill>
            <a:ln w="12700">
              <a:solidFill>
                <a:srgbClr val="7C1A4D"/>
              </a:solidFill>
              <a:miter lim="800000"/>
              <a:headEnd/>
              <a:tailEnd/>
            </a:ln>
          </p:spPr>
          <p:txBody>
            <a:bodyPr wrap="none" lIns="108000" tIns="0" rIns="108000" bIns="0" anchor="ctr"/>
            <a:lstStyle/>
            <a:p>
              <a:pPr algn="ctr" defTabSz="449263" eaLnBrk="0" hangingPunct="0">
                <a:spcBef>
                  <a:spcPct val="20000"/>
                </a:spcBef>
                <a:buClr>
                  <a:schemeClr val="accent2"/>
                </a:buClr>
                <a:buSzPct val="13000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r>
                <a:rPr lang="en-US" sz="800" b="1" dirty="0">
                  <a:solidFill>
                    <a:schemeClr val="bg1"/>
                  </a:solidFill>
                </a:rPr>
                <a:t>Client</a:t>
              </a:r>
            </a:p>
          </p:txBody>
        </p:sp>
        <p:cxnSp>
          <p:nvCxnSpPr>
            <p:cNvPr id="256" name="Straight Connector 255">
              <a:extLst>
                <a:ext uri="{FF2B5EF4-FFF2-40B4-BE49-F238E27FC236}">
                  <a16:creationId xmlns:a16="http://schemas.microsoft.com/office/drawing/2014/main" id="{AC741FEF-FEF6-094D-8C2D-F1C037D4C9AB}"/>
                </a:ext>
              </a:extLst>
            </p:cNvPr>
            <p:cNvCxnSpPr/>
            <p:nvPr/>
          </p:nvCxnSpPr>
          <p:spPr>
            <a:xfrm>
              <a:off x="3696207" y="2335474"/>
              <a:ext cx="875794" cy="0"/>
            </a:xfrm>
            <a:prstGeom prst="line">
              <a:avLst/>
            </a:prstGeom>
            <a:solidFill>
              <a:srgbClr val="C5277F"/>
            </a:solidFill>
            <a:ln w="12700">
              <a:solidFill>
                <a:srgbClr val="7C1A4D"/>
              </a:solidFill>
              <a:miter lim="800000"/>
              <a:headEnd/>
              <a:tailEnd/>
            </a:ln>
          </p:spPr>
        </p:cxnSp>
        <p:cxnSp>
          <p:nvCxnSpPr>
            <p:cNvPr id="257" name="Straight Connector 256">
              <a:extLst>
                <a:ext uri="{FF2B5EF4-FFF2-40B4-BE49-F238E27FC236}">
                  <a16:creationId xmlns:a16="http://schemas.microsoft.com/office/drawing/2014/main" id="{FDBDCD84-7D2C-3744-B252-A4310225A79B}"/>
                </a:ext>
              </a:extLst>
            </p:cNvPr>
            <p:cNvCxnSpPr/>
            <p:nvPr/>
          </p:nvCxnSpPr>
          <p:spPr>
            <a:xfrm>
              <a:off x="3211574" y="2999232"/>
              <a:ext cx="875794" cy="0"/>
            </a:xfrm>
            <a:prstGeom prst="line">
              <a:avLst/>
            </a:prstGeom>
            <a:solidFill>
              <a:srgbClr val="C5277F"/>
            </a:solidFill>
            <a:ln w="12700">
              <a:solidFill>
                <a:srgbClr val="7C1A4D"/>
              </a:solidFill>
              <a:miter lim="800000"/>
              <a:headEnd/>
              <a:tailEnd/>
            </a:ln>
          </p:spPr>
        </p:cxnSp>
      </p:grpSp>
      <p:grpSp>
        <p:nvGrpSpPr>
          <p:cNvPr id="258" name="Group 257">
            <a:extLst>
              <a:ext uri="{FF2B5EF4-FFF2-40B4-BE49-F238E27FC236}">
                <a16:creationId xmlns:a16="http://schemas.microsoft.com/office/drawing/2014/main" id="{CE09A5F6-32CE-8B45-AA3E-3F7C00AC1EB6}"/>
              </a:ext>
            </a:extLst>
          </p:cNvPr>
          <p:cNvGrpSpPr/>
          <p:nvPr/>
        </p:nvGrpSpPr>
        <p:grpSpPr>
          <a:xfrm>
            <a:off x="5190502" y="1254864"/>
            <a:ext cx="1675337" cy="422732"/>
            <a:chOff x="3211574" y="2335474"/>
            <a:chExt cx="1382052" cy="663758"/>
          </a:xfrm>
        </p:grpSpPr>
        <p:sp>
          <p:nvSpPr>
            <p:cNvPr id="259" name="Rectangle 258">
              <a:extLst>
                <a:ext uri="{FF2B5EF4-FFF2-40B4-BE49-F238E27FC236}">
                  <a16:creationId xmlns:a16="http://schemas.microsoft.com/office/drawing/2014/main" id="{057C4730-5A06-534E-A472-714A30964F94}"/>
                </a:ext>
              </a:extLst>
            </p:cNvPr>
            <p:cNvSpPr/>
            <p:nvPr/>
          </p:nvSpPr>
          <p:spPr>
            <a:xfrm>
              <a:off x="3338853" y="2335474"/>
              <a:ext cx="1254773" cy="663758"/>
            </a:xfrm>
            <a:prstGeom prst="rect">
              <a:avLst/>
            </a:prstGeom>
            <a:solidFill>
              <a:srgbClr val="C5277F"/>
            </a:solidFill>
            <a:ln w="12700">
              <a:solidFill>
                <a:srgbClr val="7C1A4D"/>
              </a:solidFill>
              <a:miter lim="800000"/>
              <a:headEnd/>
              <a:tailEnd/>
            </a:ln>
          </p:spPr>
          <p:txBody>
            <a:bodyPr wrap="none" lIns="108000" tIns="0" rIns="108000" bIns="0" anchor="ctr"/>
            <a:lstStyle/>
            <a:p>
              <a:pPr algn="ctr" defTabSz="449263" eaLnBrk="0" hangingPunct="0">
                <a:spcBef>
                  <a:spcPct val="20000"/>
                </a:spcBef>
                <a:buClr>
                  <a:schemeClr val="accent2"/>
                </a:buClr>
                <a:buSzPct val="13000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r>
                <a:rPr lang="en-US" sz="800" b="1" dirty="0">
                  <a:solidFill>
                    <a:schemeClr val="bg1"/>
                  </a:solidFill>
                </a:rPr>
                <a:t>Client</a:t>
              </a:r>
            </a:p>
          </p:txBody>
        </p:sp>
        <p:cxnSp>
          <p:nvCxnSpPr>
            <p:cNvPr id="260" name="Straight Connector 259">
              <a:extLst>
                <a:ext uri="{FF2B5EF4-FFF2-40B4-BE49-F238E27FC236}">
                  <a16:creationId xmlns:a16="http://schemas.microsoft.com/office/drawing/2014/main" id="{8D965A6A-74DF-FD4B-BBA2-7F261A50D4F4}"/>
                </a:ext>
              </a:extLst>
            </p:cNvPr>
            <p:cNvCxnSpPr/>
            <p:nvPr/>
          </p:nvCxnSpPr>
          <p:spPr>
            <a:xfrm>
              <a:off x="3696207" y="2335474"/>
              <a:ext cx="875794" cy="0"/>
            </a:xfrm>
            <a:prstGeom prst="line">
              <a:avLst/>
            </a:prstGeom>
            <a:solidFill>
              <a:srgbClr val="C5277F"/>
            </a:solidFill>
            <a:ln w="12700">
              <a:solidFill>
                <a:srgbClr val="7C1A4D"/>
              </a:solidFill>
              <a:miter lim="800000"/>
              <a:headEnd/>
              <a:tailEnd/>
            </a:ln>
          </p:spPr>
        </p:cxnSp>
        <p:cxnSp>
          <p:nvCxnSpPr>
            <p:cNvPr id="261" name="Straight Connector 260">
              <a:extLst>
                <a:ext uri="{FF2B5EF4-FFF2-40B4-BE49-F238E27FC236}">
                  <a16:creationId xmlns:a16="http://schemas.microsoft.com/office/drawing/2014/main" id="{FE21CDC8-A751-1541-8E69-A15541889F38}"/>
                </a:ext>
              </a:extLst>
            </p:cNvPr>
            <p:cNvCxnSpPr/>
            <p:nvPr/>
          </p:nvCxnSpPr>
          <p:spPr>
            <a:xfrm>
              <a:off x="3211574" y="2999232"/>
              <a:ext cx="875794" cy="0"/>
            </a:xfrm>
            <a:prstGeom prst="line">
              <a:avLst/>
            </a:prstGeom>
            <a:solidFill>
              <a:srgbClr val="C5277F"/>
            </a:solidFill>
            <a:ln w="12700">
              <a:solidFill>
                <a:srgbClr val="7C1A4D"/>
              </a:solidFill>
              <a:miter lim="800000"/>
              <a:headEnd/>
              <a:tailEnd/>
            </a:ln>
          </p:spPr>
        </p:cxnSp>
      </p:grpSp>
      <p:grpSp>
        <p:nvGrpSpPr>
          <p:cNvPr id="262" name="Group 261">
            <a:extLst>
              <a:ext uri="{FF2B5EF4-FFF2-40B4-BE49-F238E27FC236}">
                <a16:creationId xmlns:a16="http://schemas.microsoft.com/office/drawing/2014/main" id="{E2F3C4EA-6F62-9949-AC04-AF10641DE6DE}"/>
              </a:ext>
            </a:extLst>
          </p:cNvPr>
          <p:cNvGrpSpPr/>
          <p:nvPr/>
        </p:nvGrpSpPr>
        <p:grpSpPr>
          <a:xfrm>
            <a:off x="5089919" y="1365030"/>
            <a:ext cx="1675337" cy="422732"/>
            <a:chOff x="3211574" y="2335474"/>
            <a:chExt cx="1382052" cy="663758"/>
          </a:xfrm>
        </p:grpSpPr>
        <p:sp>
          <p:nvSpPr>
            <p:cNvPr id="263" name="Rectangle 262">
              <a:extLst>
                <a:ext uri="{FF2B5EF4-FFF2-40B4-BE49-F238E27FC236}">
                  <a16:creationId xmlns:a16="http://schemas.microsoft.com/office/drawing/2014/main" id="{7172802F-1836-AD4F-A93B-B03A2FD9E524}"/>
                </a:ext>
              </a:extLst>
            </p:cNvPr>
            <p:cNvSpPr/>
            <p:nvPr/>
          </p:nvSpPr>
          <p:spPr>
            <a:xfrm>
              <a:off x="3338853" y="2335474"/>
              <a:ext cx="1254773" cy="663758"/>
            </a:xfrm>
            <a:prstGeom prst="rect">
              <a:avLst/>
            </a:prstGeom>
            <a:solidFill>
              <a:srgbClr val="C5277F"/>
            </a:solidFill>
            <a:ln w="12700">
              <a:solidFill>
                <a:srgbClr val="7C1A4D"/>
              </a:solidFill>
              <a:miter lim="800000"/>
              <a:headEnd/>
              <a:tailEnd/>
            </a:ln>
          </p:spPr>
          <p:txBody>
            <a:bodyPr wrap="none" lIns="108000" tIns="0" rIns="108000" bIns="0" anchor="ctr"/>
            <a:lstStyle/>
            <a:p>
              <a:pPr algn="ctr" defTabSz="449263" eaLnBrk="0" hangingPunct="0">
                <a:spcBef>
                  <a:spcPct val="20000"/>
                </a:spcBef>
                <a:buClr>
                  <a:schemeClr val="accent2"/>
                </a:buClr>
                <a:buSzPct val="13000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r>
                <a:rPr lang="en-US" sz="800" b="1" dirty="0">
                  <a:solidFill>
                    <a:schemeClr val="bg1"/>
                  </a:solidFill>
                </a:rPr>
                <a:t>Client</a:t>
              </a:r>
            </a:p>
          </p:txBody>
        </p:sp>
        <p:cxnSp>
          <p:nvCxnSpPr>
            <p:cNvPr id="264" name="Straight Connector 263">
              <a:extLst>
                <a:ext uri="{FF2B5EF4-FFF2-40B4-BE49-F238E27FC236}">
                  <a16:creationId xmlns:a16="http://schemas.microsoft.com/office/drawing/2014/main" id="{8594EC3C-6DF0-9541-BF2B-C8C93A438150}"/>
                </a:ext>
              </a:extLst>
            </p:cNvPr>
            <p:cNvCxnSpPr/>
            <p:nvPr/>
          </p:nvCxnSpPr>
          <p:spPr>
            <a:xfrm>
              <a:off x="3696207" y="2335474"/>
              <a:ext cx="875794" cy="0"/>
            </a:xfrm>
            <a:prstGeom prst="line">
              <a:avLst/>
            </a:prstGeom>
            <a:solidFill>
              <a:srgbClr val="C5277F"/>
            </a:solidFill>
            <a:ln w="12700">
              <a:solidFill>
                <a:srgbClr val="7C1A4D"/>
              </a:solidFill>
              <a:miter lim="800000"/>
              <a:headEnd/>
              <a:tailEnd/>
            </a:ln>
          </p:spPr>
        </p:cxnSp>
        <p:cxnSp>
          <p:nvCxnSpPr>
            <p:cNvPr id="265" name="Straight Connector 264">
              <a:extLst>
                <a:ext uri="{FF2B5EF4-FFF2-40B4-BE49-F238E27FC236}">
                  <a16:creationId xmlns:a16="http://schemas.microsoft.com/office/drawing/2014/main" id="{9D6373DC-1CE6-7749-BD57-897129CABEAA}"/>
                </a:ext>
              </a:extLst>
            </p:cNvPr>
            <p:cNvCxnSpPr/>
            <p:nvPr/>
          </p:nvCxnSpPr>
          <p:spPr>
            <a:xfrm>
              <a:off x="3211574" y="2999232"/>
              <a:ext cx="875794" cy="0"/>
            </a:xfrm>
            <a:prstGeom prst="line">
              <a:avLst/>
            </a:prstGeom>
            <a:solidFill>
              <a:srgbClr val="C5277F"/>
            </a:solidFill>
            <a:ln w="12700">
              <a:solidFill>
                <a:srgbClr val="7C1A4D"/>
              </a:solidFill>
              <a:miter lim="800000"/>
              <a:headEnd/>
              <a:tailEnd/>
            </a:ln>
          </p:spPr>
        </p:cxnSp>
      </p:grpSp>
      <p:cxnSp>
        <p:nvCxnSpPr>
          <p:cNvPr id="266" name="Straight Connector 265">
            <a:extLst>
              <a:ext uri="{FF2B5EF4-FFF2-40B4-BE49-F238E27FC236}">
                <a16:creationId xmlns:a16="http://schemas.microsoft.com/office/drawing/2014/main" id="{84508638-7B81-9B46-82EA-6B809D969D29}"/>
              </a:ext>
            </a:extLst>
          </p:cNvPr>
          <p:cNvCxnSpPr>
            <a:cxnSpLocks/>
            <a:stCxn id="263" idx="2"/>
            <a:endCxn id="198" idx="0"/>
          </p:cNvCxnSpPr>
          <p:nvPr/>
        </p:nvCxnSpPr>
        <p:spPr>
          <a:xfrm flipH="1">
            <a:off x="5999061" y="1787762"/>
            <a:ext cx="5671" cy="372450"/>
          </a:xfrm>
          <a:prstGeom prst="line">
            <a:avLst/>
          </a:prstGeom>
          <a:ln>
            <a:solidFill>
              <a:srgbClr val="0067B7"/>
            </a:solidFill>
            <a:headEnd type="oval"/>
            <a:tailEnd type="oval"/>
          </a:ln>
        </p:spPr>
        <p:style>
          <a:lnRef idx="1">
            <a:schemeClr val="accent1"/>
          </a:lnRef>
          <a:fillRef idx="0">
            <a:schemeClr val="accent1"/>
          </a:fillRef>
          <a:effectRef idx="0">
            <a:schemeClr val="accent1"/>
          </a:effectRef>
          <a:fontRef idx="minor">
            <a:schemeClr val="tx1"/>
          </a:fontRef>
        </p:style>
      </p:cxnSp>
      <p:sp>
        <p:nvSpPr>
          <p:cNvPr id="267" name="Google Shape;61;p12">
            <a:extLst>
              <a:ext uri="{FF2B5EF4-FFF2-40B4-BE49-F238E27FC236}">
                <a16:creationId xmlns:a16="http://schemas.microsoft.com/office/drawing/2014/main" id="{BC30A328-30FE-5540-BEDB-313D436DB918}"/>
              </a:ext>
            </a:extLst>
          </p:cNvPr>
          <p:cNvSpPr txBox="1">
            <a:spLocks/>
          </p:cNvSpPr>
          <p:nvPr/>
        </p:nvSpPr>
        <p:spPr>
          <a:xfrm>
            <a:off x="5919722" y="1842414"/>
            <a:ext cx="664851" cy="226959"/>
          </a:xfrm>
          <a:prstGeom prst="rect">
            <a:avLst/>
          </a:prstGeom>
        </p:spPr>
        <p:txBody>
          <a:bodyPr spcFirstLastPara="1" vert="horz" wrap="square" lIns="91425" tIns="91425" rIns="91425" bIns="91425" rtlCol="0" anchor="ctr"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spcBef>
                <a:spcPts val="0"/>
              </a:spcBef>
            </a:pPr>
            <a:r>
              <a:rPr lang="en-US" sz="600" dirty="0">
                <a:solidFill>
                  <a:srgbClr val="C5277F"/>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rPr>
              <a:t>&lt;&lt; uses &gt;&gt;</a:t>
            </a:r>
          </a:p>
        </p:txBody>
      </p:sp>
    </p:spTree>
    <p:extLst>
      <p:ext uri="{BB962C8B-B14F-4D97-AF65-F5344CB8AC3E}">
        <p14:creationId xmlns:p14="http://schemas.microsoft.com/office/powerpoint/2010/main" val="3074987527"/>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0BC5359-E89F-214F-BBB3-D7AC3E40CB25}"/>
              </a:ext>
            </a:extLst>
          </p:cNvPr>
          <p:cNvPicPr>
            <a:picLocks noChangeAspect="1"/>
          </p:cNvPicPr>
          <p:nvPr/>
        </p:nvPicPr>
        <p:blipFill>
          <a:blip r:embed="rId2"/>
          <a:stretch>
            <a:fillRect/>
          </a:stretch>
        </p:blipFill>
        <p:spPr>
          <a:xfrm>
            <a:off x="413951" y="1046144"/>
            <a:ext cx="11507897" cy="5174289"/>
          </a:xfrm>
          <a:prstGeom prst="rect">
            <a:avLst/>
          </a:prstGeom>
        </p:spPr>
      </p:pic>
      <p:sp>
        <p:nvSpPr>
          <p:cNvPr id="87" name="Rectangle 3">
            <a:extLst>
              <a:ext uri="{FF2B5EF4-FFF2-40B4-BE49-F238E27FC236}">
                <a16:creationId xmlns:a16="http://schemas.microsoft.com/office/drawing/2014/main" id="{A27FD23C-A522-0E4F-B70C-CC83BC4542BA}"/>
              </a:ext>
            </a:extLst>
          </p:cNvPr>
          <p:cNvSpPr txBox="1"/>
          <p:nvPr/>
        </p:nvSpPr>
        <p:spPr>
          <a:xfrm>
            <a:off x="404809" y="237462"/>
            <a:ext cx="5816248" cy="400105"/>
          </a:xfrm>
          <a:prstGeom prst="rect">
            <a:avLst/>
          </a:prstGeom>
          <a:ln w="12700">
            <a:miter lim="400000"/>
          </a:ln>
          <a:extLst>
            <a:ext uri="{C572A759-6A51-4108-AA02-DFA0A04FC94B}">
              <ma14:wrappingTextBoxFlag xmlns:ma14="http://schemas.microsoft.com/office/mac/drawingml/2011/main" xmlns="" val="1"/>
            </a:ext>
          </a:extLst>
        </p:spPr>
        <p:txBody>
          <a:bodyPr wrap="square" lIns="45718" tIns="45718" rIns="45718" bIns="45718">
            <a:spAutoFit/>
          </a:bodyPr>
          <a:lstStyle>
            <a:lvl1pPr algn="l" defTabSz="914400">
              <a:defRPr sz="2200" b="1">
                <a:solidFill>
                  <a:srgbClr val="FFFFFF"/>
                </a:solidFill>
                <a:latin typeface="Arial"/>
                <a:ea typeface="Arial"/>
                <a:cs typeface="Arial"/>
                <a:sym typeface="Arial"/>
              </a:defRPr>
            </a:lvl1pPr>
          </a:lstStyle>
          <a:p>
            <a:r>
              <a:rPr lang="en-US" sz="2000" dirty="0">
                <a:solidFill>
                  <a:srgbClr val="016AA2"/>
                </a:solidFill>
              </a:rPr>
              <a:t>Needs and Solution Proposal (IX)</a:t>
            </a:r>
          </a:p>
        </p:txBody>
      </p:sp>
      <p:sp>
        <p:nvSpPr>
          <p:cNvPr id="88" name="Rectangle 3"/>
          <p:cNvSpPr txBox="1"/>
          <p:nvPr/>
        </p:nvSpPr>
        <p:spPr>
          <a:xfrm>
            <a:off x="413951" y="637567"/>
            <a:ext cx="5695981" cy="369328"/>
          </a:xfrm>
          <a:prstGeom prst="rect">
            <a:avLst/>
          </a:prstGeom>
          <a:ln w="12700">
            <a:miter lim="400000"/>
          </a:ln>
          <a:extLst>
            <a:ext uri="{C572A759-6A51-4108-AA02-DFA0A04FC94B}">
              <ma14:wrappingTextBoxFlag xmlns="" xmlns:ma14="http://schemas.microsoft.com/office/mac/drawingml/2011/main" val="1"/>
            </a:ext>
          </a:extLst>
        </p:spPr>
        <p:txBody>
          <a:bodyPr wrap="square" lIns="45718" tIns="45718" rIns="45718" bIns="45718">
            <a:spAutoFit/>
          </a:bodyPr>
          <a:lstStyle>
            <a:lvl1pPr algn="l" defTabSz="914400">
              <a:defRPr sz="2000">
                <a:solidFill>
                  <a:srgbClr val="104D6A"/>
                </a:solidFill>
                <a:latin typeface="Arial"/>
                <a:ea typeface="Arial"/>
                <a:cs typeface="Arial"/>
                <a:sym typeface="Arial"/>
              </a:defRPr>
            </a:lvl1pPr>
          </a:lstStyle>
          <a:p>
            <a:pPr lvl="0">
              <a:defRPr/>
            </a:pPr>
            <a:r>
              <a:rPr lang="en-US" sz="1800" b="1" dirty="0">
                <a:solidFill>
                  <a:srgbClr val="73C4EF"/>
                </a:solidFill>
              </a:rPr>
              <a:t>Event Hub Architecture – Components I</a:t>
            </a:r>
          </a:p>
        </p:txBody>
      </p:sp>
      <p:grpSp>
        <p:nvGrpSpPr>
          <p:cNvPr id="197" name="90 Grupo">
            <a:extLst>
              <a:ext uri="{FF2B5EF4-FFF2-40B4-BE49-F238E27FC236}">
                <a16:creationId xmlns:a16="http://schemas.microsoft.com/office/drawing/2014/main" id="{FA203232-0A1B-1C49-AE6E-FCC35D220E41}"/>
              </a:ext>
            </a:extLst>
          </p:cNvPr>
          <p:cNvGrpSpPr>
            <a:grpSpLocks/>
          </p:cNvGrpSpPr>
          <p:nvPr/>
        </p:nvGrpSpPr>
        <p:grpSpPr bwMode="auto">
          <a:xfrm>
            <a:off x="9030278" y="237462"/>
            <a:ext cx="2891570" cy="638175"/>
            <a:chOff x="6746875" y="1552575"/>
            <a:chExt cx="2891570" cy="638175"/>
          </a:xfrm>
        </p:grpSpPr>
        <p:sp>
          <p:nvSpPr>
            <p:cNvPr id="198" name="Text Box 114">
              <a:extLst>
                <a:ext uri="{FF2B5EF4-FFF2-40B4-BE49-F238E27FC236}">
                  <a16:creationId xmlns:a16="http://schemas.microsoft.com/office/drawing/2014/main" id="{96386E02-16D9-1546-B538-1ADD7E76802E}"/>
                </a:ext>
              </a:extLst>
            </p:cNvPr>
            <p:cNvSpPr txBox="1">
              <a:spLocks noChangeArrowheads="1"/>
            </p:cNvSpPr>
            <p:nvPr/>
          </p:nvSpPr>
          <p:spPr bwMode="auto">
            <a:xfrm>
              <a:off x="6859588" y="1649413"/>
              <a:ext cx="508000" cy="84137"/>
            </a:xfrm>
            <a:prstGeom prst="rect">
              <a:avLst/>
            </a:prstGeom>
            <a:solidFill>
              <a:srgbClr val="87CBD8">
                <a:alpha val="62000"/>
              </a:srgbClr>
            </a:solidFill>
            <a:ln w="12700">
              <a:solidFill>
                <a:srgbClr val="0067B7"/>
              </a:solidFill>
              <a:miter lim="800000"/>
              <a:headEnd/>
              <a:tailEnd/>
            </a:ln>
          </p:spPr>
          <p:txBody>
            <a:bodyPr wrap="none" lIns="108000" tIns="0" rIns="108000" bIns="0" anchor="ctr"/>
            <a:lstStyle>
              <a:defPPr>
                <a:defRPr lang="es-ES"/>
              </a:defPPr>
              <a:lvl1pPr algn="ctr" defTabSz="449263" eaLnBrk="0" hangingPunct="0">
                <a:buSzPct val="13000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600" b="1">
                  <a:solidFill>
                    <a:schemeClr val="bg1"/>
                  </a:solidFill>
                </a:defRPr>
              </a:lvl1pPr>
              <a:lvl2pPr marL="742950" indent="-28575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2pPr>
              <a:lvl3pPr marL="11430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3pPr>
              <a:lvl4pPr marL="16002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4pPr>
              <a:lvl5pPr marL="20574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5pPr>
              <a:lvl6pPr marL="25146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6pPr>
              <a:lvl7pPr marL="29718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7pPr>
              <a:lvl8pPr marL="34290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8pPr>
              <a:lvl9pPr marL="38862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9pPr>
            </a:lstStyle>
            <a:p>
              <a:pPr>
                <a:spcBef>
                  <a:spcPct val="20000"/>
                </a:spcBef>
                <a:buClr>
                  <a:schemeClr val="accent2"/>
                </a:buClr>
                <a:buFont typeface="Wingdings" panose="05000000000000000000" pitchFamily="2" charset="2"/>
                <a:buNone/>
                <a:defRPr/>
              </a:pPr>
              <a:endParaRPr lang="en-GB" altLang="pt-BR" dirty="0">
                <a:latin typeface="Arial" charset="0"/>
              </a:endParaRPr>
            </a:p>
          </p:txBody>
        </p:sp>
        <p:sp>
          <p:nvSpPr>
            <p:cNvPr id="199" name="Text Box 115">
              <a:extLst>
                <a:ext uri="{FF2B5EF4-FFF2-40B4-BE49-F238E27FC236}">
                  <a16:creationId xmlns:a16="http://schemas.microsoft.com/office/drawing/2014/main" id="{FC71B91D-D4CE-0540-A4A0-406ABB86D14F}"/>
                </a:ext>
              </a:extLst>
            </p:cNvPr>
            <p:cNvSpPr txBox="1">
              <a:spLocks noChangeArrowheads="1"/>
            </p:cNvSpPr>
            <p:nvPr/>
          </p:nvSpPr>
          <p:spPr bwMode="auto">
            <a:xfrm>
              <a:off x="6864350" y="1993900"/>
              <a:ext cx="501650" cy="88900"/>
            </a:xfrm>
            <a:prstGeom prst="rect">
              <a:avLst/>
            </a:prstGeom>
            <a:solidFill>
              <a:srgbClr val="C5277F">
                <a:alpha val="65000"/>
              </a:srgbClr>
            </a:solidFill>
            <a:ln w="12700">
              <a:solidFill>
                <a:srgbClr val="7C1A4D"/>
              </a:solidFill>
              <a:miter lim="800000"/>
              <a:headEnd/>
              <a:tailEnd/>
            </a:ln>
          </p:spPr>
          <p:txBody>
            <a:bodyPr wrap="none" lIns="108000" tIns="0" rIns="108000" bIns="0" anchor="ctr"/>
            <a:lstStyle>
              <a:lvl1pPr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1pPr>
              <a:lvl2pPr marL="742950" indent="-28575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2pPr>
              <a:lvl3pPr marL="11430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3pPr>
              <a:lvl4pPr marL="16002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4pPr>
              <a:lvl5pPr marL="20574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5pPr>
              <a:lvl6pPr marL="25146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6pPr>
              <a:lvl7pPr marL="29718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7pPr>
              <a:lvl8pPr marL="34290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8pPr>
              <a:lvl9pPr marL="38862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9pPr>
            </a:lstStyle>
            <a:p>
              <a:pPr algn="ctr">
                <a:spcBef>
                  <a:spcPct val="20000"/>
                </a:spcBef>
                <a:buClr>
                  <a:schemeClr val="accent2"/>
                </a:buClr>
                <a:buSzPct val="130000"/>
                <a:buFont typeface="Wingdings" panose="05000000000000000000" pitchFamily="2" charset="2"/>
                <a:buNone/>
                <a:defRPr/>
              </a:pPr>
              <a:endParaRPr lang="en-GB" altLang="pt-BR" sz="600" b="1" dirty="0">
                <a:solidFill>
                  <a:schemeClr val="bg1"/>
                </a:solidFill>
                <a:cs typeface="+mn-cs"/>
              </a:endParaRPr>
            </a:p>
          </p:txBody>
        </p:sp>
        <p:sp>
          <p:nvSpPr>
            <p:cNvPr id="200" name="Text Box 117">
              <a:extLst>
                <a:ext uri="{FF2B5EF4-FFF2-40B4-BE49-F238E27FC236}">
                  <a16:creationId xmlns:a16="http://schemas.microsoft.com/office/drawing/2014/main" id="{DF7E7589-C05B-C542-BA82-43ECE90A406E}"/>
                </a:ext>
              </a:extLst>
            </p:cNvPr>
            <p:cNvSpPr txBox="1">
              <a:spLocks noChangeArrowheads="1"/>
            </p:cNvSpPr>
            <p:nvPr/>
          </p:nvSpPr>
          <p:spPr bwMode="auto">
            <a:xfrm>
              <a:off x="7380288" y="1581150"/>
              <a:ext cx="1018227"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lr>
                  <a:srgbClr val="FF0000"/>
                </a:buClr>
                <a:buFont typeface="Wingdings" pitchFamily="2" charset="2"/>
                <a:buChar char="w"/>
                <a:defRPr sz="2400" b="1">
                  <a:solidFill>
                    <a:srgbClr val="FF0000"/>
                  </a:solidFill>
                  <a:latin typeface="Arial" panose="020B0604020202020204" pitchFamily="34" charset="0"/>
                </a:defRPr>
              </a:lvl1pPr>
              <a:lvl2pPr marL="742950" indent="-285750">
                <a:spcBef>
                  <a:spcPct val="20000"/>
                </a:spcBef>
                <a:buClr>
                  <a:schemeClr val="bg2"/>
                </a:buClr>
                <a:buFont typeface="Wingdings" pitchFamily="2" charset="2"/>
                <a:buChar char="§"/>
                <a:defRPr sz="2600">
                  <a:solidFill>
                    <a:srgbClr val="808080"/>
                  </a:solidFill>
                  <a:latin typeface="Arial" panose="020B0604020202020204" pitchFamily="34" charset="0"/>
                </a:defRPr>
              </a:lvl2pPr>
              <a:lvl3pPr marL="11430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3pPr>
              <a:lvl4pPr marL="16002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4pPr>
              <a:lvl5pPr marL="20574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9pPr>
            </a:lstStyle>
            <a:p>
              <a:pPr>
                <a:buClr>
                  <a:schemeClr val="accent2"/>
                </a:buClr>
                <a:buNone/>
              </a:pPr>
              <a:r>
                <a:rPr lang="en-US" altLang="pt-BR" sz="900" b="0" dirty="0">
                  <a:solidFill>
                    <a:schemeClr val="tx1"/>
                  </a:solidFill>
                  <a:cs typeface="Arial" panose="020B0604020202020204" pitchFamily="34" charset="0"/>
                </a:rPr>
                <a:t>New component</a:t>
              </a:r>
            </a:p>
          </p:txBody>
        </p:sp>
        <p:sp>
          <p:nvSpPr>
            <p:cNvPr id="201" name="Text Box 118">
              <a:extLst>
                <a:ext uri="{FF2B5EF4-FFF2-40B4-BE49-F238E27FC236}">
                  <a16:creationId xmlns:a16="http://schemas.microsoft.com/office/drawing/2014/main" id="{D0D619D8-3ECB-254F-8082-E70DA802F87D}"/>
                </a:ext>
              </a:extLst>
            </p:cNvPr>
            <p:cNvSpPr txBox="1">
              <a:spLocks noChangeArrowheads="1"/>
            </p:cNvSpPr>
            <p:nvPr/>
          </p:nvSpPr>
          <p:spPr bwMode="auto">
            <a:xfrm>
              <a:off x="7376287" y="1952244"/>
              <a:ext cx="2262158"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lr>
                  <a:srgbClr val="FF0000"/>
                </a:buClr>
                <a:buFont typeface="Wingdings" pitchFamily="2" charset="2"/>
                <a:buChar char="w"/>
                <a:defRPr sz="2400" b="1">
                  <a:solidFill>
                    <a:srgbClr val="FF0000"/>
                  </a:solidFill>
                  <a:latin typeface="Arial" panose="020B0604020202020204" pitchFamily="34" charset="0"/>
                </a:defRPr>
              </a:lvl1pPr>
              <a:lvl2pPr marL="742950" indent="-285750">
                <a:spcBef>
                  <a:spcPct val="20000"/>
                </a:spcBef>
                <a:buClr>
                  <a:schemeClr val="bg2"/>
                </a:buClr>
                <a:buFont typeface="Wingdings" pitchFamily="2" charset="2"/>
                <a:buChar char="§"/>
                <a:defRPr sz="2600">
                  <a:solidFill>
                    <a:srgbClr val="808080"/>
                  </a:solidFill>
                  <a:latin typeface="Arial" panose="020B0604020202020204" pitchFamily="34" charset="0"/>
                </a:defRPr>
              </a:lvl2pPr>
              <a:lvl3pPr marL="11430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3pPr>
              <a:lvl4pPr marL="16002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4pPr>
              <a:lvl5pPr marL="20574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9pPr>
            </a:lstStyle>
            <a:p>
              <a:pPr>
                <a:buClr>
                  <a:schemeClr val="accent2"/>
                </a:buClr>
                <a:buNone/>
              </a:pPr>
              <a:r>
                <a:rPr lang="en-US" altLang="pt-BR" sz="900" b="0" dirty="0">
                  <a:solidFill>
                    <a:schemeClr val="tx1"/>
                  </a:solidFill>
                  <a:cs typeface="Arial" panose="020B0604020202020204" pitchFamily="34" charset="0"/>
                </a:rPr>
                <a:t>Component not contemplated first phase</a:t>
              </a:r>
            </a:p>
          </p:txBody>
        </p:sp>
        <p:sp>
          <p:nvSpPr>
            <p:cNvPr id="202" name="Rectangle 119">
              <a:extLst>
                <a:ext uri="{FF2B5EF4-FFF2-40B4-BE49-F238E27FC236}">
                  <a16:creationId xmlns:a16="http://schemas.microsoft.com/office/drawing/2014/main" id="{D18BCC57-252A-EC46-9025-634A80D3F213}"/>
                </a:ext>
              </a:extLst>
            </p:cNvPr>
            <p:cNvSpPr>
              <a:spLocks noChangeArrowheads="1"/>
            </p:cNvSpPr>
            <p:nvPr/>
          </p:nvSpPr>
          <p:spPr bwMode="auto">
            <a:xfrm>
              <a:off x="6746875" y="1552575"/>
              <a:ext cx="2891570" cy="638175"/>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lvl1pPr>
                <a:spcBef>
                  <a:spcPct val="20000"/>
                </a:spcBef>
                <a:buClr>
                  <a:srgbClr val="FF0000"/>
                </a:buClr>
                <a:buFont typeface="Wingdings" pitchFamily="2" charset="2"/>
                <a:buChar char="w"/>
                <a:defRPr sz="2400" b="1">
                  <a:solidFill>
                    <a:srgbClr val="FF0000"/>
                  </a:solidFill>
                  <a:latin typeface="Arial" panose="020B0604020202020204" pitchFamily="34" charset="0"/>
                </a:defRPr>
              </a:lvl1pPr>
              <a:lvl2pPr marL="742950" indent="-285750">
                <a:spcBef>
                  <a:spcPct val="20000"/>
                </a:spcBef>
                <a:buClr>
                  <a:schemeClr val="bg2"/>
                </a:buClr>
                <a:buFont typeface="Wingdings" pitchFamily="2" charset="2"/>
                <a:buChar char="§"/>
                <a:defRPr sz="2600">
                  <a:solidFill>
                    <a:srgbClr val="808080"/>
                  </a:solidFill>
                  <a:latin typeface="Arial" panose="020B0604020202020204" pitchFamily="34" charset="0"/>
                </a:defRPr>
              </a:lvl2pPr>
              <a:lvl3pPr marL="11430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3pPr>
              <a:lvl4pPr marL="16002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4pPr>
              <a:lvl5pPr marL="20574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9pPr>
            </a:lstStyle>
            <a:p>
              <a:pPr eaLnBrk="1" hangingPunct="1">
                <a:buClr>
                  <a:schemeClr val="accent2"/>
                </a:buClr>
                <a:buFont typeface="Wingdings" pitchFamily="2" charset="2"/>
                <a:buNone/>
              </a:pPr>
              <a:endParaRPr lang="pt-BR" altLang="pt-BR" b="0">
                <a:solidFill>
                  <a:schemeClr val="tx1"/>
                </a:solidFill>
              </a:endParaRPr>
            </a:p>
          </p:txBody>
        </p:sp>
        <p:sp>
          <p:nvSpPr>
            <p:cNvPr id="203" name="Text Box 115">
              <a:extLst>
                <a:ext uri="{FF2B5EF4-FFF2-40B4-BE49-F238E27FC236}">
                  <a16:creationId xmlns:a16="http://schemas.microsoft.com/office/drawing/2014/main" id="{93CE3190-1284-EA41-83F6-CCF9FF7F8137}"/>
                </a:ext>
              </a:extLst>
            </p:cNvPr>
            <p:cNvSpPr txBox="1">
              <a:spLocks noChangeArrowheads="1"/>
            </p:cNvSpPr>
            <p:nvPr/>
          </p:nvSpPr>
          <p:spPr bwMode="auto">
            <a:xfrm>
              <a:off x="6858000" y="1827213"/>
              <a:ext cx="501650" cy="88900"/>
            </a:xfrm>
            <a:prstGeom prst="rect">
              <a:avLst/>
            </a:prstGeom>
            <a:solidFill>
              <a:srgbClr val="0067B7">
                <a:alpha val="67000"/>
              </a:srgbClr>
            </a:solidFill>
            <a:ln w="12700">
              <a:solidFill>
                <a:schemeClr val="tx1"/>
              </a:solidFill>
              <a:miter lim="800000"/>
              <a:headEnd/>
              <a:tailEnd/>
            </a:ln>
          </p:spPr>
          <p:txBody>
            <a:bodyPr wrap="none" lIns="108000" tIns="0" rIns="108000" bIns="0" anchor="ctr"/>
            <a:lstStyle>
              <a:lvl1pPr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1pPr>
              <a:lvl2pPr marL="742950" indent="-28575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2pPr>
              <a:lvl3pPr marL="11430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3pPr>
              <a:lvl4pPr marL="16002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4pPr>
              <a:lvl5pPr marL="20574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5pPr>
              <a:lvl6pPr marL="25146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6pPr>
              <a:lvl7pPr marL="29718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7pPr>
              <a:lvl8pPr marL="34290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8pPr>
              <a:lvl9pPr marL="38862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9pPr>
            </a:lstStyle>
            <a:p>
              <a:pPr algn="ctr">
                <a:spcBef>
                  <a:spcPct val="20000"/>
                </a:spcBef>
                <a:buClr>
                  <a:schemeClr val="accent2"/>
                </a:buClr>
                <a:buSzPct val="130000"/>
                <a:buFont typeface="Wingdings" panose="05000000000000000000" pitchFamily="2" charset="2"/>
                <a:buNone/>
                <a:defRPr/>
              </a:pPr>
              <a:endParaRPr lang="en-GB" altLang="pt-BR" sz="600" b="1" dirty="0">
                <a:solidFill>
                  <a:schemeClr val="bg1"/>
                </a:solidFill>
                <a:cs typeface="+mn-cs"/>
              </a:endParaRPr>
            </a:p>
          </p:txBody>
        </p:sp>
        <p:sp>
          <p:nvSpPr>
            <p:cNvPr id="204" name="Text Box 117">
              <a:extLst>
                <a:ext uri="{FF2B5EF4-FFF2-40B4-BE49-F238E27FC236}">
                  <a16:creationId xmlns:a16="http://schemas.microsoft.com/office/drawing/2014/main" id="{8F9D6FE2-8A35-184F-B3C1-A7A625FD7848}"/>
                </a:ext>
              </a:extLst>
            </p:cNvPr>
            <p:cNvSpPr txBox="1">
              <a:spLocks noChangeArrowheads="1"/>
            </p:cNvSpPr>
            <p:nvPr/>
          </p:nvSpPr>
          <p:spPr bwMode="auto">
            <a:xfrm>
              <a:off x="7369556" y="1774063"/>
              <a:ext cx="1281120"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lr>
                  <a:srgbClr val="FF0000"/>
                </a:buClr>
                <a:buFont typeface="Wingdings" pitchFamily="2" charset="2"/>
                <a:buChar char="w"/>
                <a:defRPr sz="2400" b="1">
                  <a:solidFill>
                    <a:srgbClr val="FF0000"/>
                  </a:solidFill>
                  <a:latin typeface="Arial" panose="020B0604020202020204" pitchFamily="34" charset="0"/>
                </a:defRPr>
              </a:lvl1pPr>
              <a:lvl2pPr marL="742950" indent="-285750">
                <a:spcBef>
                  <a:spcPct val="20000"/>
                </a:spcBef>
                <a:buClr>
                  <a:schemeClr val="bg2"/>
                </a:buClr>
                <a:buFont typeface="Wingdings" pitchFamily="2" charset="2"/>
                <a:buChar char="§"/>
                <a:defRPr sz="2600">
                  <a:solidFill>
                    <a:srgbClr val="808080"/>
                  </a:solidFill>
                  <a:latin typeface="Arial" panose="020B0604020202020204" pitchFamily="34" charset="0"/>
                </a:defRPr>
              </a:lvl2pPr>
              <a:lvl3pPr marL="11430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3pPr>
              <a:lvl4pPr marL="16002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4pPr>
              <a:lvl5pPr marL="20574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9pPr>
            </a:lstStyle>
            <a:p>
              <a:pPr>
                <a:buClr>
                  <a:schemeClr val="accent2"/>
                </a:buClr>
                <a:buNone/>
              </a:pPr>
              <a:r>
                <a:rPr lang="en-US" sz="900" b="0" dirty="0">
                  <a:solidFill>
                    <a:schemeClr val="tx1"/>
                  </a:solidFill>
                  <a:cs typeface="Arial" panose="020B0604020202020204" pitchFamily="34" charset="0"/>
                </a:rPr>
                <a:t>Component to modify</a:t>
              </a:r>
              <a:endParaRPr lang="es-ES" altLang="pt-BR" sz="900" b="0" dirty="0">
                <a:solidFill>
                  <a:schemeClr val="tx1"/>
                </a:solidFill>
                <a:cs typeface="Arial" panose="020B0604020202020204" pitchFamily="34" charset="0"/>
              </a:endParaRPr>
            </a:p>
          </p:txBody>
        </p:sp>
      </p:grpSp>
      <p:sp>
        <p:nvSpPr>
          <p:cNvPr id="187" name="Text Box 114">
            <a:extLst>
              <a:ext uri="{FF2B5EF4-FFF2-40B4-BE49-F238E27FC236}">
                <a16:creationId xmlns:a16="http://schemas.microsoft.com/office/drawing/2014/main" id="{ED611735-B9B0-F841-9F9B-9619556AAF40}"/>
              </a:ext>
            </a:extLst>
          </p:cNvPr>
          <p:cNvSpPr txBox="1">
            <a:spLocks noChangeArrowheads="1"/>
          </p:cNvSpPr>
          <p:nvPr/>
        </p:nvSpPr>
        <p:spPr bwMode="auto">
          <a:xfrm>
            <a:off x="3429000" y="2030195"/>
            <a:ext cx="1280160" cy="432000"/>
          </a:xfrm>
          <a:prstGeom prst="rect">
            <a:avLst/>
          </a:prstGeom>
          <a:solidFill>
            <a:srgbClr val="87CBD8">
              <a:alpha val="31000"/>
            </a:srgbClr>
          </a:solidFill>
          <a:ln w="12700">
            <a:solidFill>
              <a:srgbClr val="0067B7"/>
            </a:solidFill>
            <a:miter lim="800000"/>
            <a:headEnd/>
            <a:tailEnd/>
          </a:ln>
        </p:spPr>
        <p:txBody>
          <a:bodyPr wrap="none" lIns="108000" tIns="0" rIns="108000" bIns="0" anchor="ctr"/>
          <a:lstStyle>
            <a:defPPr>
              <a:defRPr lang="es-ES"/>
            </a:defPPr>
            <a:lvl1pPr algn="ctr" defTabSz="449263" eaLnBrk="0" hangingPunct="0">
              <a:buSzPct val="13000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600" b="1">
                <a:solidFill>
                  <a:schemeClr val="bg1"/>
                </a:solidFill>
              </a:defRPr>
            </a:lvl1pPr>
            <a:lvl2pPr marL="742950" indent="-28575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2pPr>
            <a:lvl3pPr marL="11430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3pPr>
            <a:lvl4pPr marL="16002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4pPr>
            <a:lvl5pPr marL="20574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5pPr>
            <a:lvl6pPr marL="25146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6pPr>
            <a:lvl7pPr marL="29718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7pPr>
            <a:lvl8pPr marL="34290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8pPr>
            <a:lvl9pPr marL="38862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9pPr>
          </a:lstStyle>
          <a:p>
            <a:pPr>
              <a:spcBef>
                <a:spcPct val="20000"/>
              </a:spcBef>
              <a:buClr>
                <a:schemeClr val="accent2"/>
              </a:buClr>
              <a:buFont typeface="Wingdings" panose="05000000000000000000" pitchFamily="2" charset="2"/>
              <a:buNone/>
              <a:defRPr/>
            </a:pPr>
            <a:endParaRPr lang="en-GB" altLang="pt-BR" dirty="0">
              <a:latin typeface="Arial" charset="0"/>
            </a:endParaRPr>
          </a:p>
        </p:txBody>
      </p:sp>
      <p:sp>
        <p:nvSpPr>
          <p:cNvPr id="217" name="Text Box 114">
            <a:extLst>
              <a:ext uri="{FF2B5EF4-FFF2-40B4-BE49-F238E27FC236}">
                <a16:creationId xmlns:a16="http://schemas.microsoft.com/office/drawing/2014/main" id="{9CCF4792-7CFF-EE46-9450-84A765B1B303}"/>
              </a:ext>
            </a:extLst>
          </p:cNvPr>
          <p:cNvSpPr txBox="1">
            <a:spLocks noChangeArrowheads="1"/>
          </p:cNvSpPr>
          <p:nvPr/>
        </p:nvSpPr>
        <p:spPr bwMode="auto">
          <a:xfrm>
            <a:off x="5975891" y="2644154"/>
            <a:ext cx="1445063" cy="398447"/>
          </a:xfrm>
          <a:prstGeom prst="rect">
            <a:avLst/>
          </a:prstGeom>
          <a:solidFill>
            <a:srgbClr val="87CBD8">
              <a:alpha val="31000"/>
            </a:srgbClr>
          </a:solidFill>
          <a:ln w="12700">
            <a:solidFill>
              <a:srgbClr val="0067B7"/>
            </a:solidFill>
            <a:miter lim="800000"/>
            <a:headEnd/>
            <a:tailEnd/>
          </a:ln>
        </p:spPr>
        <p:txBody>
          <a:bodyPr wrap="none" lIns="108000" tIns="0" rIns="108000" bIns="0" anchor="ctr"/>
          <a:lstStyle>
            <a:defPPr>
              <a:defRPr lang="es-ES"/>
            </a:defPPr>
            <a:lvl1pPr algn="ctr" defTabSz="449263" eaLnBrk="0" hangingPunct="0">
              <a:buSzPct val="13000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600" b="1">
                <a:solidFill>
                  <a:schemeClr val="bg1"/>
                </a:solidFill>
              </a:defRPr>
            </a:lvl1pPr>
            <a:lvl2pPr marL="742950" indent="-28575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2pPr>
            <a:lvl3pPr marL="11430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3pPr>
            <a:lvl4pPr marL="16002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4pPr>
            <a:lvl5pPr marL="20574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5pPr>
            <a:lvl6pPr marL="25146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6pPr>
            <a:lvl7pPr marL="29718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7pPr>
            <a:lvl8pPr marL="34290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8pPr>
            <a:lvl9pPr marL="38862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9pPr>
          </a:lstStyle>
          <a:p>
            <a:pPr>
              <a:spcBef>
                <a:spcPct val="20000"/>
              </a:spcBef>
              <a:buClr>
                <a:schemeClr val="accent2"/>
              </a:buClr>
              <a:buFont typeface="Wingdings" panose="05000000000000000000" pitchFamily="2" charset="2"/>
              <a:buNone/>
              <a:defRPr/>
            </a:pPr>
            <a:endParaRPr lang="en-GB" altLang="pt-BR" dirty="0">
              <a:latin typeface="Arial" charset="0"/>
            </a:endParaRPr>
          </a:p>
        </p:txBody>
      </p:sp>
      <p:sp>
        <p:nvSpPr>
          <p:cNvPr id="220" name="Text Box 114">
            <a:extLst>
              <a:ext uri="{FF2B5EF4-FFF2-40B4-BE49-F238E27FC236}">
                <a16:creationId xmlns:a16="http://schemas.microsoft.com/office/drawing/2014/main" id="{6915CC91-5E20-8947-8BF6-68EC6433FE2E}"/>
              </a:ext>
            </a:extLst>
          </p:cNvPr>
          <p:cNvSpPr txBox="1">
            <a:spLocks noChangeArrowheads="1"/>
          </p:cNvSpPr>
          <p:nvPr/>
        </p:nvSpPr>
        <p:spPr bwMode="auto">
          <a:xfrm>
            <a:off x="3563350" y="4051098"/>
            <a:ext cx="1313212" cy="432000"/>
          </a:xfrm>
          <a:prstGeom prst="rect">
            <a:avLst/>
          </a:prstGeom>
          <a:solidFill>
            <a:srgbClr val="87CBD8">
              <a:alpha val="31000"/>
            </a:srgbClr>
          </a:solidFill>
          <a:ln w="12700">
            <a:solidFill>
              <a:srgbClr val="0067B7"/>
            </a:solidFill>
            <a:miter lim="800000"/>
            <a:headEnd/>
            <a:tailEnd/>
          </a:ln>
        </p:spPr>
        <p:txBody>
          <a:bodyPr wrap="none" lIns="108000" tIns="0" rIns="108000" bIns="0" anchor="ctr"/>
          <a:lstStyle>
            <a:defPPr>
              <a:defRPr lang="es-ES"/>
            </a:defPPr>
            <a:lvl1pPr algn="ctr" defTabSz="449263" eaLnBrk="0" hangingPunct="0">
              <a:buSzPct val="13000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600" b="1">
                <a:solidFill>
                  <a:schemeClr val="bg1"/>
                </a:solidFill>
              </a:defRPr>
            </a:lvl1pPr>
            <a:lvl2pPr marL="742950" indent="-28575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2pPr>
            <a:lvl3pPr marL="11430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3pPr>
            <a:lvl4pPr marL="16002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4pPr>
            <a:lvl5pPr marL="20574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5pPr>
            <a:lvl6pPr marL="25146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6pPr>
            <a:lvl7pPr marL="29718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7pPr>
            <a:lvl8pPr marL="34290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8pPr>
            <a:lvl9pPr marL="38862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9pPr>
          </a:lstStyle>
          <a:p>
            <a:pPr>
              <a:spcBef>
                <a:spcPct val="20000"/>
              </a:spcBef>
              <a:buClr>
                <a:schemeClr val="accent2"/>
              </a:buClr>
              <a:buFont typeface="Wingdings" panose="05000000000000000000" pitchFamily="2" charset="2"/>
              <a:buNone/>
              <a:defRPr/>
            </a:pPr>
            <a:endParaRPr lang="en-GB" altLang="pt-BR" dirty="0">
              <a:latin typeface="Arial" charset="0"/>
            </a:endParaRPr>
          </a:p>
        </p:txBody>
      </p:sp>
      <p:sp>
        <p:nvSpPr>
          <p:cNvPr id="221" name="Text Box 114">
            <a:extLst>
              <a:ext uri="{FF2B5EF4-FFF2-40B4-BE49-F238E27FC236}">
                <a16:creationId xmlns:a16="http://schemas.microsoft.com/office/drawing/2014/main" id="{F1BF740C-997D-EC4E-872A-61D15CC78D41}"/>
              </a:ext>
            </a:extLst>
          </p:cNvPr>
          <p:cNvSpPr txBox="1">
            <a:spLocks noChangeArrowheads="1"/>
          </p:cNvSpPr>
          <p:nvPr/>
        </p:nvSpPr>
        <p:spPr bwMode="auto">
          <a:xfrm>
            <a:off x="3383280" y="5148072"/>
            <a:ext cx="1517904" cy="354875"/>
          </a:xfrm>
          <a:prstGeom prst="rect">
            <a:avLst/>
          </a:prstGeom>
          <a:solidFill>
            <a:srgbClr val="87CBD8">
              <a:alpha val="31000"/>
            </a:srgbClr>
          </a:solidFill>
          <a:ln w="12700">
            <a:solidFill>
              <a:srgbClr val="0067B7"/>
            </a:solidFill>
            <a:miter lim="800000"/>
            <a:headEnd/>
            <a:tailEnd/>
          </a:ln>
        </p:spPr>
        <p:txBody>
          <a:bodyPr wrap="none" lIns="108000" tIns="0" rIns="108000" bIns="0" anchor="ctr"/>
          <a:lstStyle>
            <a:defPPr>
              <a:defRPr lang="es-ES"/>
            </a:defPPr>
            <a:lvl1pPr algn="ctr" defTabSz="449263" eaLnBrk="0" hangingPunct="0">
              <a:buSzPct val="13000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600" b="1">
                <a:solidFill>
                  <a:schemeClr val="bg1"/>
                </a:solidFill>
              </a:defRPr>
            </a:lvl1pPr>
            <a:lvl2pPr marL="742950" indent="-28575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2pPr>
            <a:lvl3pPr marL="11430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3pPr>
            <a:lvl4pPr marL="16002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4pPr>
            <a:lvl5pPr marL="20574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5pPr>
            <a:lvl6pPr marL="25146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6pPr>
            <a:lvl7pPr marL="29718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7pPr>
            <a:lvl8pPr marL="34290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8pPr>
            <a:lvl9pPr marL="38862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9pPr>
          </a:lstStyle>
          <a:p>
            <a:pPr>
              <a:spcBef>
                <a:spcPct val="20000"/>
              </a:spcBef>
              <a:buClr>
                <a:schemeClr val="accent2"/>
              </a:buClr>
              <a:buFont typeface="Wingdings" panose="05000000000000000000" pitchFamily="2" charset="2"/>
              <a:buNone/>
              <a:defRPr/>
            </a:pPr>
            <a:endParaRPr lang="en-GB" altLang="pt-BR" dirty="0">
              <a:latin typeface="Arial" charset="0"/>
            </a:endParaRPr>
          </a:p>
        </p:txBody>
      </p:sp>
      <p:sp>
        <p:nvSpPr>
          <p:cNvPr id="222" name="Text Box 114">
            <a:extLst>
              <a:ext uri="{FF2B5EF4-FFF2-40B4-BE49-F238E27FC236}">
                <a16:creationId xmlns:a16="http://schemas.microsoft.com/office/drawing/2014/main" id="{706867C3-11C0-2D46-81E8-3FBDFCA56C18}"/>
              </a:ext>
            </a:extLst>
          </p:cNvPr>
          <p:cNvSpPr txBox="1">
            <a:spLocks noChangeArrowheads="1"/>
          </p:cNvSpPr>
          <p:nvPr/>
        </p:nvSpPr>
        <p:spPr bwMode="auto">
          <a:xfrm>
            <a:off x="6881069" y="4342925"/>
            <a:ext cx="1476599" cy="424514"/>
          </a:xfrm>
          <a:prstGeom prst="rect">
            <a:avLst/>
          </a:prstGeom>
          <a:solidFill>
            <a:srgbClr val="87CBD8">
              <a:alpha val="31000"/>
            </a:srgbClr>
          </a:solidFill>
          <a:ln w="12700">
            <a:solidFill>
              <a:srgbClr val="0067B7"/>
            </a:solidFill>
            <a:miter lim="800000"/>
            <a:headEnd/>
            <a:tailEnd/>
          </a:ln>
        </p:spPr>
        <p:txBody>
          <a:bodyPr wrap="none" lIns="108000" tIns="0" rIns="108000" bIns="0" anchor="ctr"/>
          <a:lstStyle>
            <a:defPPr>
              <a:defRPr lang="es-ES"/>
            </a:defPPr>
            <a:lvl1pPr algn="ctr" defTabSz="449263" eaLnBrk="0" hangingPunct="0">
              <a:buSzPct val="13000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600" b="1">
                <a:solidFill>
                  <a:schemeClr val="bg1"/>
                </a:solidFill>
              </a:defRPr>
            </a:lvl1pPr>
            <a:lvl2pPr marL="742950" indent="-28575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2pPr>
            <a:lvl3pPr marL="11430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3pPr>
            <a:lvl4pPr marL="16002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4pPr>
            <a:lvl5pPr marL="20574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5pPr>
            <a:lvl6pPr marL="25146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6pPr>
            <a:lvl7pPr marL="29718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7pPr>
            <a:lvl8pPr marL="34290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8pPr>
            <a:lvl9pPr marL="38862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9pPr>
          </a:lstStyle>
          <a:p>
            <a:pPr>
              <a:spcBef>
                <a:spcPct val="20000"/>
              </a:spcBef>
              <a:buClr>
                <a:schemeClr val="accent2"/>
              </a:buClr>
              <a:buFont typeface="Wingdings" panose="05000000000000000000" pitchFamily="2" charset="2"/>
              <a:buNone/>
              <a:defRPr/>
            </a:pPr>
            <a:endParaRPr lang="en-GB" altLang="pt-BR" dirty="0">
              <a:latin typeface="Arial" charset="0"/>
            </a:endParaRPr>
          </a:p>
        </p:txBody>
      </p:sp>
      <p:sp>
        <p:nvSpPr>
          <p:cNvPr id="223" name="Text Box 114">
            <a:extLst>
              <a:ext uri="{FF2B5EF4-FFF2-40B4-BE49-F238E27FC236}">
                <a16:creationId xmlns:a16="http://schemas.microsoft.com/office/drawing/2014/main" id="{272B0278-2C7E-7543-9990-DB0ABE681E4F}"/>
              </a:ext>
            </a:extLst>
          </p:cNvPr>
          <p:cNvSpPr txBox="1">
            <a:spLocks noChangeArrowheads="1"/>
          </p:cNvSpPr>
          <p:nvPr/>
        </p:nvSpPr>
        <p:spPr bwMode="auto">
          <a:xfrm>
            <a:off x="7790688" y="2970663"/>
            <a:ext cx="1239590" cy="424514"/>
          </a:xfrm>
          <a:prstGeom prst="rect">
            <a:avLst/>
          </a:prstGeom>
          <a:solidFill>
            <a:srgbClr val="87CBD8">
              <a:alpha val="31000"/>
            </a:srgbClr>
          </a:solidFill>
          <a:ln w="12700">
            <a:solidFill>
              <a:srgbClr val="0067B7"/>
            </a:solidFill>
            <a:miter lim="800000"/>
            <a:headEnd/>
            <a:tailEnd/>
          </a:ln>
        </p:spPr>
        <p:txBody>
          <a:bodyPr wrap="none" lIns="108000" tIns="0" rIns="108000" bIns="0" anchor="ctr"/>
          <a:lstStyle>
            <a:defPPr>
              <a:defRPr lang="es-ES"/>
            </a:defPPr>
            <a:lvl1pPr algn="ctr" defTabSz="449263" eaLnBrk="0" hangingPunct="0">
              <a:buSzPct val="13000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600" b="1">
                <a:solidFill>
                  <a:schemeClr val="bg1"/>
                </a:solidFill>
              </a:defRPr>
            </a:lvl1pPr>
            <a:lvl2pPr marL="742950" indent="-28575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2pPr>
            <a:lvl3pPr marL="11430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3pPr>
            <a:lvl4pPr marL="16002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4pPr>
            <a:lvl5pPr marL="20574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5pPr>
            <a:lvl6pPr marL="25146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6pPr>
            <a:lvl7pPr marL="29718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7pPr>
            <a:lvl8pPr marL="34290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8pPr>
            <a:lvl9pPr marL="38862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9pPr>
          </a:lstStyle>
          <a:p>
            <a:pPr>
              <a:spcBef>
                <a:spcPct val="20000"/>
              </a:spcBef>
              <a:buClr>
                <a:schemeClr val="accent2"/>
              </a:buClr>
              <a:buFont typeface="Wingdings" panose="05000000000000000000" pitchFamily="2" charset="2"/>
              <a:buNone/>
              <a:defRPr/>
            </a:pPr>
            <a:endParaRPr lang="en-GB" altLang="pt-BR" dirty="0">
              <a:latin typeface="Arial" charset="0"/>
            </a:endParaRPr>
          </a:p>
        </p:txBody>
      </p:sp>
      <p:sp>
        <p:nvSpPr>
          <p:cNvPr id="224" name="Text Box 114">
            <a:extLst>
              <a:ext uri="{FF2B5EF4-FFF2-40B4-BE49-F238E27FC236}">
                <a16:creationId xmlns:a16="http://schemas.microsoft.com/office/drawing/2014/main" id="{FC10BBD8-7654-A54F-9F08-05F39433B95A}"/>
              </a:ext>
            </a:extLst>
          </p:cNvPr>
          <p:cNvSpPr txBox="1">
            <a:spLocks noChangeArrowheads="1"/>
          </p:cNvSpPr>
          <p:nvPr/>
        </p:nvSpPr>
        <p:spPr bwMode="auto">
          <a:xfrm>
            <a:off x="10056015" y="3123795"/>
            <a:ext cx="1424410" cy="398447"/>
          </a:xfrm>
          <a:prstGeom prst="rect">
            <a:avLst/>
          </a:prstGeom>
          <a:solidFill>
            <a:srgbClr val="87CBD8">
              <a:alpha val="31000"/>
            </a:srgbClr>
          </a:solidFill>
          <a:ln w="12700">
            <a:solidFill>
              <a:srgbClr val="0067B7"/>
            </a:solidFill>
            <a:miter lim="800000"/>
            <a:headEnd/>
            <a:tailEnd/>
          </a:ln>
        </p:spPr>
        <p:txBody>
          <a:bodyPr wrap="none" lIns="108000" tIns="0" rIns="108000" bIns="0" anchor="ctr"/>
          <a:lstStyle>
            <a:defPPr>
              <a:defRPr lang="es-ES"/>
            </a:defPPr>
            <a:lvl1pPr algn="ctr" defTabSz="449263" eaLnBrk="0" hangingPunct="0">
              <a:buSzPct val="13000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600" b="1">
                <a:solidFill>
                  <a:schemeClr val="bg1"/>
                </a:solidFill>
              </a:defRPr>
            </a:lvl1pPr>
            <a:lvl2pPr marL="742950" indent="-28575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2pPr>
            <a:lvl3pPr marL="11430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3pPr>
            <a:lvl4pPr marL="16002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4pPr>
            <a:lvl5pPr marL="20574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5pPr>
            <a:lvl6pPr marL="25146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6pPr>
            <a:lvl7pPr marL="29718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7pPr>
            <a:lvl8pPr marL="34290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8pPr>
            <a:lvl9pPr marL="38862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9pPr>
          </a:lstStyle>
          <a:p>
            <a:pPr>
              <a:spcBef>
                <a:spcPct val="20000"/>
              </a:spcBef>
              <a:buClr>
                <a:schemeClr val="accent2"/>
              </a:buClr>
              <a:buFont typeface="Wingdings" panose="05000000000000000000" pitchFamily="2" charset="2"/>
              <a:buNone/>
              <a:defRPr/>
            </a:pPr>
            <a:endParaRPr lang="en-GB" altLang="pt-BR" dirty="0">
              <a:latin typeface="Arial" charset="0"/>
            </a:endParaRPr>
          </a:p>
        </p:txBody>
      </p:sp>
      <p:sp>
        <p:nvSpPr>
          <p:cNvPr id="225" name="Text Box 114">
            <a:extLst>
              <a:ext uri="{FF2B5EF4-FFF2-40B4-BE49-F238E27FC236}">
                <a16:creationId xmlns:a16="http://schemas.microsoft.com/office/drawing/2014/main" id="{51666D09-279B-D245-B9E0-77395E6062D3}"/>
              </a:ext>
            </a:extLst>
          </p:cNvPr>
          <p:cNvSpPr txBox="1">
            <a:spLocks noChangeArrowheads="1"/>
          </p:cNvSpPr>
          <p:nvPr/>
        </p:nvSpPr>
        <p:spPr bwMode="auto">
          <a:xfrm>
            <a:off x="7015812" y="1565871"/>
            <a:ext cx="1476599" cy="424514"/>
          </a:xfrm>
          <a:prstGeom prst="rect">
            <a:avLst/>
          </a:prstGeom>
          <a:solidFill>
            <a:srgbClr val="87CBD8">
              <a:alpha val="31000"/>
            </a:srgbClr>
          </a:solidFill>
          <a:ln w="12700">
            <a:solidFill>
              <a:srgbClr val="0067B7"/>
            </a:solidFill>
            <a:miter lim="800000"/>
            <a:headEnd/>
            <a:tailEnd/>
          </a:ln>
        </p:spPr>
        <p:txBody>
          <a:bodyPr wrap="none" lIns="108000" tIns="0" rIns="108000" bIns="0" anchor="ctr"/>
          <a:lstStyle>
            <a:defPPr>
              <a:defRPr lang="es-ES"/>
            </a:defPPr>
            <a:lvl1pPr algn="ctr" defTabSz="449263" eaLnBrk="0" hangingPunct="0">
              <a:buSzPct val="13000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600" b="1">
                <a:solidFill>
                  <a:schemeClr val="bg1"/>
                </a:solidFill>
              </a:defRPr>
            </a:lvl1pPr>
            <a:lvl2pPr marL="742950" indent="-28575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2pPr>
            <a:lvl3pPr marL="11430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3pPr>
            <a:lvl4pPr marL="16002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4pPr>
            <a:lvl5pPr marL="20574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5pPr>
            <a:lvl6pPr marL="25146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6pPr>
            <a:lvl7pPr marL="29718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7pPr>
            <a:lvl8pPr marL="34290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8pPr>
            <a:lvl9pPr marL="38862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9pPr>
          </a:lstStyle>
          <a:p>
            <a:pPr>
              <a:spcBef>
                <a:spcPct val="20000"/>
              </a:spcBef>
              <a:buClr>
                <a:schemeClr val="accent2"/>
              </a:buClr>
              <a:buFont typeface="Wingdings" panose="05000000000000000000" pitchFamily="2" charset="2"/>
              <a:buNone/>
              <a:defRPr/>
            </a:pPr>
            <a:endParaRPr lang="en-GB" altLang="pt-BR" dirty="0">
              <a:latin typeface="Arial" charset="0"/>
            </a:endParaRPr>
          </a:p>
        </p:txBody>
      </p:sp>
      <p:sp>
        <p:nvSpPr>
          <p:cNvPr id="23" name="Text Box 114">
            <a:extLst>
              <a:ext uri="{FF2B5EF4-FFF2-40B4-BE49-F238E27FC236}">
                <a16:creationId xmlns:a16="http://schemas.microsoft.com/office/drawing/2014/main" id="{51CCF208-F10C-C64C-82A6-AA084371D4D1}"/>
              </a:ext>
            </a:extLst>
          </p:cNvPr>
          <p:cNvSpPr txBox="1">
            <a:spLocks noChangeArrowheads="1"/>
          </p:cNvSpPr>
          <p:nvPr/>
        </p:nvSpPr>
        <p:spPr bwMode="auto">
          <a:xfrm>
            <a:off x="6519672" y="5138927"/>
            <a:ext cx="1600200" cy="398447"/>
          </a:xfrm>
          <a:prstGeom prst="rect">
            <a:avLst/>
          </a:prstGeom>
          <a:solidFill>
            <a:srgbClr val="87CBD8">
              <a:alpha val="31000"/>
            </a:srgbClr>
          </a:solidFill>
          <a:ln w="12700">
            <a:solidFill>
              <a:srgbClr val="0067B7"/>
            </a:solidFill>
            <a:miter lim="800000"/>
            <a:headEnd/>
            <a:tailEnd/>
          </a:ln>
        </p:spPr>
        <p:txBody>
          <a:bodyPr wrap="none" lIns="108000" tIns="0" rIns="108000" bIns="0" anchor="ctr"/>
          <a:lstStyle>
            <a:defPPr>
              <a:defRPr lang="es-ES"/>
            </a:defPPr>
            <a:lvl1pPr algn="ctr" defTabSz="449263" eaLnBrk="0" hangingPunct="0">
              <a:buSzPct val="13000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600" b="1">
                <a:solidFill>
                  <a:schemeClr val="bg1"/>
                </a:solidFill>
              </a:defRPr>
            </a:lvl1pPr>
            <a:lvl2pPr marL="742950" indent="-28575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2pPr>
            <a:lvl3pPr marL="11430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3pPr>
            <a:lvl4pPr marL="16002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4pPr>
            <a:lvl5pPr marL="20574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5pPr>
            <a:lvl6pPr marL="25146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6pPr>
            <a:lvl7pPr marL="29718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7pPr>
            <a:lvl8pPr marL="34290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8pPr>
            <a:lvl9pPr marL="38862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9pPr>
          </a:lstStyle>
          <a:p>
            <a:pPr>
              <a:spcBef>
                <a:spcPct val="20000"/>
              </a:spcBef>
              <a:buClr>
                <a:schemeClr val="accent2"/>
              </a:buClr>
              <a:buFont typeface="Wingdings" panose="05000000000000000000" pitchFamily="2" charset="2"/>
              <a:buNone/>
              <a:defRPr/>
            </a:pPr>
            <a:endParaRPr lang="en-GB" altLang="pt-BR" dirty="0">
              <a:latin typeface="Arial" charset="0"/>
            </a:endParaRPr>
          </a:p>
        </p:txBody>
      </p:sp>
      <p:sp>
        <p:nvSpPr>
          <p:cNvPr id="26" name="Text Box 114">
            <a:extLst>
              <a:ext uri="{FF2B5EF4-FFF2-40B4-BE49-F238E27FC236}">
                <a16:creationId xmlns:a16="http://schemas.microsoft.com/office/drawing/2014/main" id="{A1686FD8-27B1-7B45-85FC-EAB285B57FE9}"/>
              </a:ext>
            </a:extLst>
          </p:cNvPr>
          <p:cNvSpPr txBox="1">
            <a:spLocks noChangeArrowheads="1"/>
          </p:cNvSpPr>
          <p:nvPr/>
        </p:nvSpPr>
        <p:spPr bwMode="auto">
          <a:xfrm>
            <a:off x="5904202" y="3359435"/>
            <a:ext cx="1445063" cy="398447"/>
          </a:xfrm>
          <a:prstGeom prst="rect">
            <a:avLst/>
          </a:prstGeom>
          <a:solidFill>
            <a:srgbClr val="87CBD8">
              <a:alpha val="31000"/>
            </a:srgbClr>
          </a:solidFill>
          <a:ln w="12700">
            <a:solidFill>
              <a:srgbClr val="0067B7"/>
            </a:solidFill>
            <a:miter lim="800000"/>
            <a:headEnd/>
            <a:tailEnd/>
          </a:ln>
        </p:spPr>
        <p:txBody>
          <a:bodyPr wrap="none" lIns="108000" tIns="0" rIns="108000" bIns="0" anchor="ctr"/>
          <a:lstStyle>
            <a:defPPr>
              <a:defRPr lang="es-ES"/>
            </a:defPPr>
            <a:lvl1pPr algn="ctr" defTabSz="449263" eaLnBrk="0" hangingPunct="0">
              <a:buSzPct val="13000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600" b="1">
                <a:solidFill>
                  <a:schemeClr val="bg1"/>
                </a:solidFill>
              </a:defRPr>
            </a:lvl1pPr>
            <a:lvl2pPr marL="742950" indent="-28575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2pPr>
            <a:lvl3pPr marL="11430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3pPr>
            <a:lvl4pPr marL="16002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4pPr>
            <a:lvl5pPr marL="20574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5pPr>
            <a:lvl6pPr marL="25146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6pPr>
            <a:lvl7pPr marL="29718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7pPr>
            <a:lvl8pPr marL="34290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8pPr>
            <a:lvl9pPr marL="38862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9pPr>
          </a:lstStyle>
          <a:p>
            <a:pPr>
              <a:spcBef>
                <a:spcPct val="20000"/>
              </a:spcBef>
              <a:buClr>
                <a:schemeClr val="accent2"/>
              </a:buClr>
              <a:buFont typeface="Wingdings" panose="05000000000000000000" pitchFamily="2" charset="2"/>
              <a:buNone/>
              <a:defRPr/>
            </a:pPr>
            <a:endParaRPr lang="en-GB" altLang="pt-BR" dirty="0">
              <a:latin typeface="Arial" charset="0"/>
            </a:endParaRPr>
          </a:p>
        </p:txBody>
      </p:sp>
      <p:sp>
        <p:nvSpPr>
          <p:cNvPr id="27" name="Text Box 114">
            <a:extLst>
              <a:ext uri="{FF2B5EF4-FFF2-40B4-BE49-F238E27FC236}">
                <a16:creationId xmlns:a16="http://schemas.microsoft.com/office/drawing/2014/main" id="{E69B156E-09EB-1A4A-B3B2-553F54E4F4A4}"/>
              </a:ext>
            </a:extLst>
          </p:cNvPr>
          <p:cNvSpPr txBox="1">
            <a:spLocks noChangeArrowheads="1"/>
          </p:cNvSpPr>
          <p:nvPr/>
        </p:nvSpPr>
        <p:spPr bwMode="auto">
          <a:xfrm>
            <a:off x="3261941" y="3092741"/>
            <a:ext cx="1812980" cy="446424"/>
          </a:xfrm>
          <a:prstGeom prst="rect">
            <a:avLst/>
          </a:prstGeom>
          <a:solidFill>
            <a:srgbClr val="87CBD8">
              <a:alpha val="31000"/>
            </a:srgbClr>
          </a:solidFill>
          <a:ln w="12700">
            <a:solidFill>
              <a:srgbClr val="0067B7"/>
            </a:solidFill>
            <a:miter lim="800000"/>
            <a:headEnd/>
            <a:tailEnd/>
          </a:ln>
        </p:spPr>
        <p:txBody>
          <a:bodyPr wrap="none" lIns="108000" tIns="0" rIns="108000" bIns="0" anchor="ctr"/>
          <a:lstStyle>
            <a:defPPr>
              <a:defRPr lang="es-ES"/>
            </a:defPPr>
            <a:lvl1pPr algn="ctr" defTabSz="449263" eaLnBrk="0" hangingPunct="0">
              <a:buSzPct val="13000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600" b="1">
                <a:solidFill>
                  <a:schemeClr val="bg1"/>
                </a:solidFill>
              </a:defRPr>
            </a:lvl1pPr>
            <a:lvl2pPr marL="742950" indent="-28575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2pPr>
            <a:lvl3pPr marL="11430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3pPr>
            <a:lvl4pPr marL="16002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4pPr>
            <a:lvl5pPr marL="20574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5pPr>
            <a:lvl6pPr marL="25146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6pPr>
            <a:lvl7pPr marL="29718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7pPr>
            <a:lvl8pPr marL="34290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8pPr>
            <a:lvl9pPr marL="38862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9pPr>
          </a:lstStyle>
          <a:p>
            <a:pPr>
              <a:spcBef>
                <a:spcPct val="20000"/>
              </a:spcBef>
              <a:buClr>
                <a:schemeClr val="accent2"/>
              </a:buClr>
              <a:buFont typeface="Wingdings" panose="05000000000000000000" pitchFamily="2" charset="2"/>
              <a:buNone/>
              <a:defRPr/>
            </a:pPr>
            <a:endParaRPr lang="en-GB" altLang="pt-BR" dirty="0">
              <a:latin typeface="Arial" charset="0"/>
            </a:endParaRPr>
          </a:p>
        </p:txBody>
      </p:sp>
    </p:spTree>
    <p:extLst>
      <p:ext uri="{BB962C8B-B14F-4D97-AF65-F5344CB8AC3E}">
        <p14:creationId xmlns:p14="http://schemas.microsoft.com/office/powerpoint/2010/main" val="2455382302"/>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7" name="Rectangle 3">
            <a:extLst>
              <a:ext uri="{FF2B5EF4-FFF2-40B4-BE49-F238E27FC236}">
                <a16:creationId xmlns:a16="http://schemas.microsoft.com/office/drawing/2014/main" id="{A27FD23C-A522-0E4F-B70C-CC83BC4542BA}"/>
              </a:ext>
            </a:extLst>
          </p:cNvPr>
          <p:cNvSpPr txBox="1"/>
          <p:nvPr/>
        </p:nvSpPr>
        <p:spPr>
          <a:xfrm>
            <a:off x="404809" y="237462"/>
            <a:ext cx="5816248" cy="400105"/>
          </a:xfrm>
          <a:prstGeom prst="rect">
            <a:avLst/>
          </a:prstGeom>
          <a:ln w="12700">
            <a:miter lim="400000"/>
          </a:ln>
          <a:extLst>
            <a:ext uri="{C572A759-6A51-4108-AA02-DFA0A04FC94B}">
              <ma14:wrappingTextBoxFlag xmlns:ma14="http://schemas.microsoft.com/office/mac/drawingml/2011/main" xmlns="" val="1"/>
            </a:ext>
          </a:extLst>
        </p:spPr>
        <p:txBody>
          <a:bodyPr wrap="square" lIns="45718" tIns="45718" rIns="45718" bIns="45718">
            <a:spAutoFit/>
          </a:bodyPr>
          <a:lstStyle>
            <a:lvl1pPr algn="l" defTabSz="914400">
              <a:defRPr sz="2200" b="1">
                <a:solidFill>
                  <a:srgbClr val="FFFFFF"/>
                </a:solidFill>
                <a:latin typeface="Arial"/>
                <a:ea typeface="Arial"/>
                <a:cs typeface="Arial"/>
                <a:sym typeface="Arial"/>
              </a:defRPr>
            </a:lvl1pPr>
          </a:lstStyle>
          <a:p>
            <a:r>
              <a:rPr lang="en-US" sz="2000" dirty="0">
                <a:solidFill>
                  <a:srgbClr val="016AA2"/>
                </a:solidFill>
              </a:rPr>
              <a:t>Needs and Solution Proposal (X)</a:t>
            </a:r>
          </a:p>
        </p:txBody>
      </p:sp>
      <p:sp>
        <p:nvSpPr>
          <p:cNvPr id="88" name="Rectangle 3"/>
          <p:cNvSpPr txBox="1"/>
          <p:nvPr/>
        </p:nvSpPr>
        <p:spPr>
          <a:xfrm>
            <a:off x="413951" y="637567"/>
            <a:ext cx="5695981" cy="369328"/>
          </a:xfrm>
          <a:prstGeom prst="rect">
            <a:avLst/>
          </a:prstGeom>
          <a:ln w="12700">
            <a:miter lim="400000"/>
          </a:ln>
          <a:extLst>
            <a:ext uri="{C572A759-6A51-4108-AA02-DFA0A04FC94B}">
              <ma14:wrappingTextBoxFlag xmlns="" xmlns:ma14="http://schemas.microsoft.com/office/mac/drawingml/2011/main" val="1"/>
            </a:ext>
          </a:extLst>
        </p:spPr>
        <p:txBody>
          <a:bodyPr wrap="square" lIns="45718" tIns="45718" rIns="45718" bIns="45718">
            <a:spAutoFit/>
          </a:bodyPr>
          <a:lstStyle>
            <a:lvl1pPr algn="l" defTabSz="914400">
              <a:defRPr sz="2000">
                <a:solidFill>
                  <a:srgbClr val="104D6A"/>
                </a:solidFill>
                <a:latin typeface="Arial"/>
                <a:ea typeface="Arial"/>
                <a:cs typeface="Arial"/>
                <a:sym typeface="Arial"/>
              </a:defRPr>
            </a:lvl1pPr>
          </a:lstStyle>
          <a:p>
            <a:pPr lvl="0">
              <a:defRPr/>
            </a:pPr>
            <a:r>
              <a:rPr lang="en-US" sz="1800" b="1" dirty="0">
                <a:solidFill>
                  <a:srgbClr val="73C4EF"/>
                </a:solidFill>
              </a:rPr>
              <a:t>Event Hub Architecture – Components II</a:t>
            </a:r>
          </a:p>
        </p:txBody>
      </p:sp>
      <p:grpSp>
        <p:nvGrpSpPr>
          <p:cNvPr id="197" name="90 Grupo">
            <a:extLst>
              <a:ext uri="{FF2B5EF4-FFF2-40B4-BE49-F238E27FC236}">
                <a16:creationId xmlns:a16="http://schemas.microsoft.com/office/drawing/2014/main" id="{FA203232-0A1B-1C49-AE6E-FCC35D220E41}"/>
              </a:ext>
            </a:extLst>
          </p:cNvPr>
          <p:cNvGrpSpPr>
            <a:grpSpLocks/>
          </p:cNvGrpSpPr>
          <p:nvPr/>
        </p:nvGrpSpPr>
        <p:grpSpPr bwMode="auto">
          <a:xfrm>
            <a:off x="9030278" y="237462"/>
            <a:ext cx="2891570" cy="638175"/>
            <a:chOff x="6746875" y="1552575"/>
            <a:chExt cx="2891570" cy="638175"/>
          </a:xfrm>
        </p:grpSpPr>
        <p:sp>
          <p:nvSpPr>
            <p:cNvPr id="198" name="Text Box 114">
              <a:extLst>
                <a:ext uri="{FF2B5EF4-FFF2-40B4-BE49-F238E27FC236}">
                  <a16:creationId xmlns:a16="http://schemas.microsoft.com/office/drawing/2014/main" id="{96386E02-16D9-1546-B538-1ADD7E76802E}"/>
                </a:ext>
              </a:extLst>
            </p:cNvPr>
            <p:cNvSpPr txBox="1">
              <a:spLocks noChangeArrowheads="1"/>
            </p:cNvSpPr>
            <p:nvPr/>
          </p:nvSpPr>
          <p:spPr bwMode="auto">
            <a:xfrm>
              <a:off x="6859588" y="1649413"/>
              <a:ext cx="508000" cy="84137"/>
            </a:xfrm>
            <a:prstGeom prst="rect">
              <a:avLst/>
            </a:prstGeom>
            <a:solidFill>
              <a:srgbClr val="87CBD8">
                <a:alpha val="62000"/>
              </a:srgbClr>
            </a:solidFill>
            <a:ln w="12700">
              <a:solidFill>
                <a:srgbClr val="0067B7"/>
              </a:solidFill>
              <a:miter lim="800000"/>
              <a:headEnd/>
              <a:tailEnd/>
            </a:ln>
          </p:spPr>
          <p:txBody>
            <a:bodyPr wrap="none" lIns="108000" tIns="0" rIns="108000" bIns="0" anchor="ctr"/>
            <a:lstStyle>
              <a:defPPr>
                <a:defRPr lang="es-ES"/>
              </a:defPPr>
              <a:lvl1pPr algn="ctr" defTabSz="449263" eaLnBrk="0" hangingPunct="0">
                <a:buSzPct val="13000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600" b="1">
                  <a:solidFill>
                    <a:schemeClr val="bg1"/>
                  </a:solidFill>
                </a:defRPr>
              </a:lvl1pPr>
              <a:lvl2pPr marL="742950" indent="-28575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2pPr>
              <a:lvl3pPr marL="11430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3pPr>
              <a:lvl4pPr marL="16002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4pPr>
              <a:lvl5pPr marL="20574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5pPr>
              <a:lvl6pPr marL="25146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6pPr>
              <a:lvl7pPr marL="29718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7pPr>
              <a:lvl8pPr marL="34290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8pPr>
              <a:lvl9pPr marL="38862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9pPr>
            </a:lstStyle>
            <a:p>
              <a:pPr>
                <a:spcBef>
                  <a:spcPct val="20000"/>
                </a:spcBef>
                <a:buClr>
                  <a:schemeClr val="accent2"/>
                </a:buClr>
                <a:buFont typeface="Wingdings" panose="05000000000000000000" pitchFamily="2" charset="2"/>
                <a:buNone/>
                <a:defRPr/>
              </a:pPr>
              <a:endParaRPr lang="en-GB" altLang="pt-BR" dirty="0">
                <a:latin typeface="Arial" charset="0"/>
              </a:endParaRPr>
            </a:p>
          </p:txBody>
        </p:sp>
        <p:sp>
          <p:nvSpPr>
            <p:cNvPr id="199" name="Text Box 115">
              <a:extLst>
                <a:ext uri="{FF2B5EF4-FFF2-40B4-BE49-F238E27FC236}">
                  <a16:creationId xmlns:a16="http://schemas.microsoft.com/office/drawing/2014/main" id="{FC71B91D-D4CE-0540-A4A0-406ABB86D14F}"/>
                </a:ext>
              </a:extLst>
            </p:cNvPr>
            <p:cNvSpPr txBox="1">
              <a:spLocks noChangeArrowheads="1"/>
            </p:cNvSpPr>
            <p:nvPr/>
          </p:nvSpPr>
          <p:spPr bwMode="auto">
            <a:xfrm>
              <a:off x="6864350" y="1993900"/>
              <a:ext cx="501650" cy="88900"/>
            </a:xfrm>
            <a:prstGeom prst="rect">
              <a:avLst/>
            </a:prstGeom>
            <a:solidFill>
              <a:srgbClr val="C5277F">
                <a:alpha val="65000"/>
              </a:srgbClr>
            </a:solidFill>
            <a:ln w="12700">
              <a:solidFill>
                <a:srgbClr val="7C1A4D"/>
              </a:solidFill>
              <a:miter lim="800000"/>
              <a:headEnd/>
              <a:tailEnd/>
            </a:ln>
          </p:spPr>
          <p:txBody>
            <a:bodyPr wrap="none" lIns="108000" tIns="0" rIns="108000" bIns="0" anchor="ctr"/>
            <a:lstStyle>
              <a:lvl1pPr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1pPr>
              <a:lvl2pPr marL="742950" indent="-28575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2pPr>
              <a:lvl3pPr marL="11430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3pPr>
              <a:lvl4pPr marL="16002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4pPr>
              <a:lvl5pPr marL="20574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5pPr>
              <a:lvl6pPr marL="25146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6pPr>
              <a:lvl7pPr marL="29718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7pPr>
              <a:lvl8pPr marL="34290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8pPr>
              <a:lvl9pPr marL="38862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9pPr>
            </a:lstStyle>
            <a:p>
              <a:pPr algn="ctr">
                <a:spcBef>
                  <a:spcPct val="20000"/>
                </a:spcBef>
                <a:buClr>
                  <a:schemeClr val="accent2"/>
                </a:buClr>
                <a:buSzPct val="130000"/>
                <a:buFont typeface="Wingdings" panose="05000000000000000000" pitchFamily="2" charset="2"/>
                <a:buNone/>
                <a:defRPr/>
              </a:pPr>
              <a:endParaRPr lang="en-GB" altLang="pt-BR" sz="600" b="1" dirty="0">
                <a:solidFill>
                  <a:schemeClr val="bg1"/>
                </a:solidFill>
                <a:cs typeface="+mn-cs"/>
              </a:endParaRPr>
            </a:p>
          </p:txBody>
        </p:sp>
        <p:sp>
          <p:nvSpPr>
            <p:cNvPr id="200" name="Text Box 117">
              <a:extLst>
                <a:ext uri="{FF2B5EF4-FFF2-40B4-BE49-F238E27FC236}">
                  <a16:creationId xmlns:a16="http://schemas.microsoft.com/office/drawing/2014/main" id="{DF7E7589-C05B-C542-BA82-43ECE90A406E}"/>
                </a:ext>
              </a:extLst>
            </p:cNvPr>
            <p:cNvSpPr txBox="1">
              <a:spLocks noChangeArrowheads="1"/>
            </p:cNvSpPr>
            <p:nvPr/>
          </p:nvSpPr>
          <p:spPr bwMode="auto">
            <a:xfrm>
              <a:off x="7380288" y="1581150"/>
              <a:ext cx="1018227"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lr>
                  <a:srgbClr val="FF0000"/>
                </a:buClr>
                <a:buFont typeface="Wingdings" pitchFamily="2" charset="2"/>
                <a:buChar char="w"/>
                <a:defRPr sz="2400" b="1">
                  <a:solidFill>
                    <a:srgbClr val="FF0000"/>
                  </a:solidFill>
                  <a:latin typeface="Arial" panose="020B0604020202020204" pitchFamily="34" charset="0"/>
                </a:defRPr>
              </a:lvl1pPr>
              <a:lvl2pPr marL="742950" indent="-285750">
                <a:spcBef>
                  <a:spcPct val="20000"/>
                </a:spcBef>
                <a:buClr>
                  <a:schemeClr val="bg2"/>
                </a:buClr>
                <a:buFont typeface="Wingdings" pitchFamily="2" charset="2"/>
                <a:buChar char="§"/>
                <a:defRPr sz="2600">
                  <a:solidFill>
                    <a:srgbClr val="808080"/>
                  </a:solidFill>
                  <a:latin typeface="Arial" panose="020B0604020202020204" pitchFamily="34" charset="0"/>
                </a:defRPr>
              </a:lvl2pPr>
              <a:lvl3pPr marL="11430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3pPr>
              <a:lvl4pPr marL="16002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4pPr>
              <a:lvl5pPr marL="20574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9pPr>
            </a:lstStyle>
            <a:p>
              <a:pPr>
                <a:buClr>
                  <a:schemeClr val="accent2"/>
                </a:buClr>
                <a:buNone/>
              </a:pPr>
              <a:r>
                <a:rPr lang="en-US" altLang="pt-BR" sz="900" b="0" dirty="0">
                  <a:solidFill>
                    <a:schemeClr val="tx1"/>
                  </a:solidFill>
                  <a:cs typeface="Arial" panose="020B0604020202020204" pitchFamily="34" charset="0"/>
                </a:rPr>
                <a:t>New component</a:t>
              </a:r>
            </a:p>
          </p:txBody>
        </p:sp>
        <p:sp>
          <p:nvSpPr>
            <p:cNvPr id="201" name="Text Box 118">
              <a:extLst>
                <a:ext uri="{FF2B5EF4-FFF2-40B4-BE49-F238E27FC236}">
                  <a16:creationId xmlns:a16="http://schemas.microsoft.com/office/drawing/2014/main" id="{D0D619D8-3ECB-254F-8082-E70DA802F87D}"/>
                </a:ext>
              </a:extLst>
            </p:cNvPr>
            <p:cNvSpPr txBox="1">
              <a:spLocks noChangeArrowheads="1"/>
            </p:cNvSpPr>
            <p:nvPr/>
          </p:nvSpPr>
          <p:spPr bwMode="auto">
            <a:xfrm>
              <a:off x="7376287" y="1952244"/>
              <a:ext cx="2262158"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lr>
                  <a:srgbClr val="FF0000"/>
                </a:buClr>
                <a:buFont typeface="Wingdings" pitchFamily="2" charset="2"/>
                <a:buChar char="w"/>
                <a:defRPr sz="2400" b="1">
                  <a:solidFill>
                    <a:srgbClr val="FF0000"/>
                  </a:solidFill>
                  <a:latin typeface="Arial" panose="020B0604020202020204" pitchFamily="34" charset="0"/>
                </a:defRPr>
              </a:lvl1pPr>
              <a:lvl2pPr marL="742950" indent="-285750">
                <a:spcBef>
                  <a:spcPct val="20000"/>
                </a:spcBef>
                <a:buClr>
                  <a:schemeClr val="bg2"/>
                </a:buClr>
                <a:buFont typeface="Wingdings" pitchFamily="2" charset="2"/>
                <a:buChar char="§"/>
                <a:defRPr sz="2600">
                  <a:solidFill>
                    <a:srgbClr val="808080"/>
                  </a:solidFill>
                  <a:latin typeface="Arial" panose="020B0604020202020204" pitchFamily="34" charset="0"/>
                </a:defRPr>
              </a:lvl2pPr>
              <a:lvl3pPr marL="11430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3pPr>
              <a:lvl4pPr marL="16002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4pPr>
              <a:lvl5pPr marL="20574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9pPr>
            </a:lstStyle>
            <a:p>
              <a:pPr>
                <a:buClr>
                  <a:schemeClr val="accent2"/>
                </a:buClr>
                <a:buNone/>
              </a:pPr>
              <a:r>
                <a:rPr lang="en-US" altLang="pt-BR" sz="900" b="0" dirty="0">
                  <a:solidFill>
                    <a:schemeClr val="tx1"/>
                  </a:solidFill>
                  <a:cs typeface="Arial" panose="020B0604020202020204" pitchFamily="34" charset="0"/>
                </a:rPr>
                <a:t>Component not contemplated first phase</a:t>
              </a:r>
            </a:p>
          </p:txBody>
        </p:sp>
        <p:sp>
          <p:nvSpPr>
            <p:cNvPr id="202" name="Rectangle 119">
              <a:extLst>
                <a:ext uri="{FF2B5EF4-FFF2-40B4-BE49-F238E27FC236}">
                  <a16:creationId xmlns:a16="http://schemas.microsoft.com/office/drawing/2014/main" id="{D18BCC57-252A-EC46-9025-634A80D3F213}"/>
                </a:ext>
              </a:extLst>
            </p:cNvPr>
            <p:cNvSpPr>
              <a:spLocks noChangeArrowheads="1"/>
            </p:cNvSpPr>
            <p:nvPr/>
          </p:nvSpPr>
          <p:spPr bwMode="auto">
            <a:xfrm>
              <a:off x="6746875" y="1552575"/>
              <a:ext cx="2891570" cy="638175"/>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lvl1pPr>
                <a:spcBef>
                  <a:spcPct val="20000"/>
                </a:spcBef>
                <a:buClr>
                  <a:srgbClr val="FF0000"/>
                </a:buClr>
                <a:buFont typeface="Wingdings" pitchFamily="2" charset="2"/>
                <a:buChar char="w"/>
                <a:defRPr sz="2400" b="1">
                  <a:solidFill>
                    <a:srgbClr val="FF0000"/>
                  </a:solidFill>
                  <a:latin typeface="Arial" panose="020B0604020202020204" pitchFamily="34" charset="0"/>
                </a:defRPr>
              </a:lvl1pPr>
              <a:lvl2pPr marL="742950" indent="-285750">
                <a:spcBef>
                  <a:spcPct val="20000"/>
                </a:spcBef>
                <a:buClr>
                  <a:schemeClr val="bg2"/>
                </a:buClr>
                <a:buFont typeface="Wingdings" pitchFamily="2" charset="2"/>
                <a:buChar char="§"/>
                <a:defRPr sz="2600">
                  <a:solidFill>
                    <a:srgbClr val="808080"/>
                  </a:solidFill>
                  <a:latin typeface="Arial" panose="020B0604020202020204" pitchFamily="34" charset="0"/>
                </a:defRPr>
              </a:lvl2pPr>
              <a:lvl3pPr marL="11430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3pPr>
              <a:lvl4pPr marL="16002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4pPr>
              <a:lvl5pPr marL="20574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9pPr>
            </a:lstStyle>
            <a:p>
              <a:pPr eaLnBrk="1" hangingPunct="1">
                <a:buClr>
                  <a:schemeClr val="accent2"/>
                </a:buClr>
                <a:buFont typeface="Wingdings" pitchFamily="2" charset="2"/>
                <a:buNone/>
              </a:pPr>
              <a:endParaRPr lang="pt-BR" altLang="pt-BR" b="0">
                <a:solidFill>
                  <a:schemeClr val="tx1"/>
                </a:solidFill>
              </a:endParaRPr>
            </a:p>
          </p:txBody>
        </p:sp>
        <p:sp>
          <p:nvSpPr>
            <p:cNvPr id="203" name="Text Box 115">
              <a:extLst>
                <a:ext uri="{FF2B5EF4-FFF2-40B4-BE49-F238E27FC236}">
                  <a16:creationId xmlns:a16="http://schemas.microsoft.com/office/drawing/2014/main" id="{93CE3190-1284-EA41-83F6-CCF9FF7F8137}"/>
                </a:ext>
              </a:extLst>
            </p:cNvPr>
            <p:cNvSpPr txBox="1">
              <a:spLocks noChangeArrowheads="1"/>
            </p:cNvSpPr>
            <p:nvPr/>
          </p:nvSpPr>
          <p:spPr bwMode="auto">
            <a:xfrm>
              <a:off x="6858000" y="1827213"/>
              <a:ext cx="501650" cy="88900"/>
            </a:xfrm>
            <a:prstGeom prst="rect">
              <a:avLst/>
            </a:prstGeom>
            <a:solidFill>
              <a:srgbClr val="0067B7">
                <a:alpha val="67000"/>
              </a:srgbClr>
            </a:solidFill>
            <a:ln w="12700">
              <a:solidFill>
                <a:schemeClr val="tx1"/>
              </a:solidFill>
              <a:miter lim="800000"/>
              <a:headEnd/>
              <a:tailEnd/>
            </a:ln>
          </p:spPr>
          <p:txBody>
            <a:bodyPr wrap="none" lIns="108000" tIns="0" rIns="108000" bIns="0" anchor="ctr"/>
            <a:lstStyle>
              <a:lvl1pPr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1pPr>
              <a:lvl2pPr marL="742950" indent="-28575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2pPr>
              <a:lvl3pPr marL="11430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3pPr>
              <a:lvl4pPr marL="16002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4pPr>
              <a:lvl5pPr marL="20574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5pPr>
              <a:lvl6pPr marL="25146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6pPr>
              <a:lvl7pPr marL="29718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7pPr>
              <a:lvl8pPr marL="34290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8pPr>
              <a:lvl9pPr marL="38862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9pPr>
            </a:lstStyle>
            <a:p>
              <a:pPr algn="ctr">
                <a:spcBef>
                  <a:spcPct val="20000"/>
                </a:spcBef>
                <a:buClr>
                  <a:schemeClr val="accent2"/>
                </a:buClr>
                <a:buSzPct val="130000"/>
                <a:buFont typeface="Wingdings" panose="05000000000000000000" pitchFamily="2" charset="2"/>
                <a:buNone/>
                <a:defRPr/>
              </a:pPr>
              <a:endParaRPr lang="en-GB" altLang="pt-BR" sz="600" b="1" dirty="0">
                <a:solidFill>
                  <a:schemeClr val="bg1"/>
                </a:solidFill>
                <a:cs typeface="+mn-cs"/>
              </a:endParaRPr>
            </a:p>
          </p:txBody>
        </p:sp>
        <p:sp>
          <p:nvSpPr>
            <p:cNvPr id="204" name="Text Box 117">
              <a:extLst>
                <a:ext uri="{FF2B5EF4-FFF2-40B4-BE49-F238E27FC236}">
                  <a16:creationId xmlns:a16="http://schemas.microsoft.com/office/drawing/2014/main" id="{8F9D6FE2-8A35-184F-B3C1-A7A625FD7848}"/>
                </a:ext>
              </a:extLst>
            </p:cNvPr>
            <p:cNvSpPr txBox="1">
              <a:spLocks noChangeArrowheads="1"/>
            </p:cNvSpPr>
            <p:nvPr/>
          </p:nvSpPr>
          <p:spPr bwMode="auto">
            <a:xfrm>
              <a:off x="7369556" y="1774063"/>
              <a:ext cx="1281120"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lr>
                  <a:srgbClr val="FF0000"/>
                </a:buClr>
                <a:buFont typeface="Wingdings" pitchFamily="2" charset="2"/>
                <a:buChar char="w"/>
                <a:defRPr sz="2400" b="1">
                  <a:solidFill>
                    <a:srgbClr val="FF0000"/>
                  </a:solidFill>
                  <a:latin typeface="Arial" panose="020B0604020202020204" pitchFamily="34" charset="0"/>
                </a:defRPr>
              </a:lvl1pPr>
              <a:lvl2pPr marL="742950" indent="-285750">
                <a:spcBef>
                  <a:spcPct val="20000"/>
                </a:spcBef>
                <a:buClr>
                  <a:schemeClr val="bg2"/>
                </a:buClr>
                <a:buFont typeface="Wingdings" pitchFamily="2" charset="2"/>
                <a:buChar char="§"/>
                <a:defRPr sz="2600">
                  <a:solidFill>
                    <a:srgbClr val="808080"/>
                  </a:solidFill>
                  <a:latin typeface="Arial" panose="020B0604020202020204" pitchFamily="34" charset="0"/>
                </a:defRPr>
              </a:lvl2pPr>
              <a:lvl3pPr marL="11430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3pPr>
              <a:lvl4pPr marL="16002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4pPr>
              <a:lvl5pPr marL="20574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9pPr>
            </a:lstStyle>
            <a:p>
              <a:pPr>
                <a:buClr>
                  <a:schemeClr val="accent2"/>
                </a:buClr>
                <a:buNone/>
              </a:pPr>
              <a:r>
                <a:rPr lang="en-US" sz="900" b="0" dirty="0">
                  <a:solidFill>
                    <a:schemeClr val="tx1"/>
                  </a:solidFill>
                  <a:cs typeface="Arial" panose="020B0604020202020204" pitchFamily="34" charset="0"/>
                </a:rPr>
                <a:t>Component to modify</a:t>
              </a:r>
              <a:endParaRPr lang="es-ES" altLang="pt-BR" sz="900" b="0" dirty="0">
                <a:solidFill>
                  <a:schemeClr val="tx1"/>
                </a:solidFill>
                <a:cs typeface="Arial" panose="020B0604020202020204" pitchFamily="34" charset="0"/>
              </a:endParaRPr>
            </a:p>
          </p:txBody>
        </p:sp>
      </p:grpSp>
      <p:grpSp>
        <p:nvGrpSpPr>
          <p:cNvPr id="16" name="Group 15">
            <a:extLst>
              <a:ext uri="{FF2B5EF4-FFF2-40B4-BE49-F238E27FC236}">
                <a16:creationId xmlns:a16="http://schemas.microsoft.com/office/drawing/2014/main" id="{97474540-0B03-DF49-A155-FD6AE25E4C45}"/>
              </a:ext>
            </a:extLst>
          </p:cNvPr>
          <p:cNvGrpSpPr/>
          <p:nvPr/>
        </p:nvGrpSpPr>
        <p:grpSpPr>
          <a:xfrm>
            <a:off x="2151285" y="1601978"/>
            <a:ext cx="7354608" cy="1434451"/>
            <a:chOff x="3353016" y="1591707"/>
            <a:chExt cx="6177470" cy="1096551"/>
          </a:xfrm>
        </p:grpSpPr>
        <p:sp>
          <p:nvSpPr>
            <p:cNvPr id="10" name="Rectangle 9">
              <a:extLst>
                <a:ext uri="{FF2B5EF4-FFF2-40B4-BE49-F238E27FC236}">
                  <a16:creationId xmlns:a16="http://schemas.microsoft.com/office/drawing/2014/main" id="{423A06A5-0455-D24F-9CB5-7044E59CDE91}"/>
                </a:ext>
              </a:extLst>
            </p:cNvPr>
            <p:cNvSpPr/>
            <p:nvPr/>
          </p:nvSpPr>
          <p:spPr>
            <a:xfrm>
              <a:off x="3353016" y="1591707"/>
              <a:ext cx="5513832" cy="1096551"/>
            </a:xfrm>
            <a:prstGeom prst="rect">
              <a:avLst/>
            </a:prstGeom>
            <a:solidFill>
              <a:schemeClr val="bg1"/>
            </a:solidFill>
            <a:ln w="9525">
              <a:solidFill>
                <a:schemeClr val="bg1">
                  <a:lumMod val="50000"/>
                </a:schemeClr>
              </a:solidFill>
              <a:prstDash val="dash"/>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a:solidFill>
                  <a:srgbClr val="002D72"/>
                </a:solidFill>
                <a:latin typeface="Arial" pitchFamily="34" charset="0"/>
                <a:cs typeface="Arial" pitchFamily="34" charset="0"/>
              </a:endParaRPr>
            </a:p>
          </p:txBody>
        </p:sp>
        <p:sp>
          <p:nvSpPr>
            <p:cNvPr id="39" name="Text Box 117">
              <a:extLst>
                <a:ext uri="{FF2B5EF4-FFF2-40B4-BE49-F238E27FC236}">
                  <a16:creationId xmlns:a16="http://schemas.microsoft.com/office/drawing/2014/main" id="{45F9AFAD-CDC9-F94B-823F-20BB2DDCF7D3}"/>
                </a:ext>
              </a:extLst>
            </p:cNvPr>
            <p:cNvSpPr txBox="1">
              <a:spLocks noChangeArrowheads="1"/>
            </p:cNvSpPr>
            <p:nvPr/>
          </p:nvSpPr>
          <p:spPr bwMode="auto">
            <a:xfrm rot="16200000">
              <a:off x="3267915" y="2101533"/>
              <a:ext cx="453553" cy="1938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lr>
                  <a:srgbClr val="FF0000"/>
                </a:buClr>
                <a:buFont typeface="Wingdings" pitchFamily="2" charset="2"/>
                <a:buChar char="w"/>
                <a:defRPr sz="2400" b="1">
                  <a:solidFill>
                    <a:srgbClr val="FF0000"/>
                  </a:solidFill>
                  <a:latin typeface="Arial" panose="020B0604020202020204" pitchFamily="34" charset="0"/>
                </a:defRPr>
              </a:lvl1pPr>
              <a:lvl2pPr marL="742950" indent="-285750">
                <a:spcBef>
                  <a:spcPct val="20000"/>
                </a:spcBef>
                <a:buClr>
                  <a:schemeClr val="bg2"/>
                </a:buClr>
                <a:buFont typeface="Wingdings" pitchFamily="2" charset="2"/>
                <a:buChar char="§"/>
                <a:defRPr sz="2600">
                  <a:solidFill>
                    <a:srgbClr val="808080"/>
                  </a:solidFill>
                  <a:latin typeface="Arial" panose="020B0604020202020204" pitchFamily="34" charset="0"/>
                </a:defRPr>
              </a:lvl2pPr>
              <a:lvl3pPr marL="11430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3pPr>
              <a:lvl4pPr marL="16002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4pPr>
              <a:lvl5pPr marL="20574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9pPr>
            </a:lstStyle>
            <a:p>
              <a:pPr algn="ctr">
                <a:buClr>
                  <a:schemeClr val="accent2"/>
                </a:buClr>
                <a:buNone/>
              </a:pPr>
              <a:r>
                <a:rPr lang="en-US" altLang="pt-BR" sz="900" b="0" dirty="0">
                  <a:solidFill>
                    <a:schemeClr val="tx1"/>
                  </a:solidFill>
                  <a:cs typeface="Arial" panose="020B0604020202020204" pitchFamily="34" charset="0"/>
                </a:rPr>
                <a:t>API Layer</a:t>
              </a:r>
            </a:p>
          </p:txBody>
        </p:sp>
        <p:sp>
          <p:nvSpPr>
            <p:cNvPr id="40" name="Rectangle 39">
              <a:extLst>
                <a:ext uri="{FF2B5EF4-FFF2-40B4-BE49-F238E27FC236}">
                  <a16:creationId xmlns:a16="http://schemas.microsoft.com/office/drawing/2014/main" id="{D964619C-CBD0-3143-B2C1-115F7C04880C}"/>
                </a:ext>
              </a:extLst>
            </p:cNvPr>
            <p:cNvSpPr/>
            <p:nvPr/>
          </p:nvSpPr>
          <p:spPr>
            <a:xfrm>
              <a:off x="3627571" y="1591707"/>
              <a:ext cx="5902915" cy="1096551"/>
            </a:xfrm>
            <a:prstGeom prst="rect">
              <a:avLst/>
            </a:prstGeom>
            <a:solidFill>
              <a:schemeClr val="bg1"/>
            </a:solidFill>
            <a:ln w="9525">
              <a:solidFill>
                <a:schemeClr val="bg1">
                  <a:lumMod val="50000"/>
                </a:schemeClr>
              </a:solidFill>
              <a:prstDash val="dash"/>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a:solidFill>
                  <a:srgbClr val="002D72"/>
                </a:solidFill>
                <a:latin typeface="Arial" pitchFamily="34" charset="0"/>
                <a:cs typeface="Arial" pitchFamily="34" charset="0"/>
              </a:endParaRPr>
            </a:p>
          </p:txBody>
        </p:sp>
      </p:grpSp>
      <p:grpSp>
        <p:nvGrpSpPr>
          <p:cNvPr id="14" name="Group 13">
            <a:extLst>
              <a:ext uri="{FF2B5EF4-FFF2-40B4-BE49-F238E27FC236}">
                <a16:creationId xmlns:a16="http://schemas.microsoft.com/office/drawing/2014/main" id="{2CC35B56-674B-CD44-A6D8-4D16A1C4B194}"/>
              </a:ext>
            </a:extLst>
          </p:cNvPr>
          <p:cNvGrpSpPr/>
          <p:nvPr/>
        </p:nvGrpSpPr>
        <p:grpSpPr>
          <a:xfrm>
            <a:off x="2151285" y="3096828"/>
            <a:ext cx="7354608" cy="1276019"/>
            <a:chOff x="3353016" y="2738557"/>
            <a:chExt cx="5509948" cy="1276019"/>
          </a:xfrm>
        </p:grpSpPr>
        <p:sp>
          <p:nvSpPr>
            <p:cNvPr id="34" name="Rectangle 33">
              <a:extLst>
                <a:ext uri="{FF2B5EF4-FFF2-40B4-BE49-F238E27FC236}">
                  <a16:creationId xmlns:a16="http://schemas.microsoft.com/office/drawing/2014/main" id="{2717A084-688F-3945-99B9-F01B16BD3CE5}"/>
                </a:ext>
              </a:extLst>
            </p:cNvPr>
            <p:cNvSpPr/>
            <p:nvPr/>
          </p:nvSpPr>
          <p:spPr>
            <a:xfrm>
              <a:off x="3353016" y="2738557"/>
              <a:ext cx="5509948" cy="1276019"/>
            </a:xfrm>
            <a:prstGeom prst="rect">
              <a:avLst/>
            </a:prstGeom>
            <a:solidFill>
              <a:schemeClr val="bg1"/>
            </a:solidFill>
            <a:ln w="9525">
              <a:solidFill>
                <a:schemeClr val="bg1">
                  <a:lumMod val="50000"/>
                </a:schemeClr>
              </a:solidFill>
              <a:prstDash val="dash"/>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b="1" dirty="0">
                <a:solidFill>
                  <a:srgbClr val="002D72"/>
                </a:solidFill>
                <a:latin typeface="Arial" pitchFamily="34" charset="0"/>
                <a:cs typeface="Arial" pitchFamily="34" charset="0"/>
              </a:endParaRPr>
            </a:p>
          </p:txBody>
        </p:sp>
        <p:sp>
          <p:nvSpPr>
            <p:cNvPr id="41" name="Rectangle 40">
              <a:extLst>
                <a:ext uri="{FF2B5EF4-FFF2-40B4-BE49-F238E27FC236}">
                  <a16:creationId xmlns:a16="http://schemas.microsoft.com/office/drawing/2014/main" id="{DD703F75-99C5-A246-B268-65B06329871E}"/>
                </a:ext>
              </a:extLst>
            </p:cNvPr>
            <p:cNvSpPr/>
            <p:nvPr/>
          </p:nvSpPr>
          <p:spPr>
            <a:xfrm>
              <a:off x="3619802" y="2738557"/>
              <a:ext cx="5243162" cy="1276019"/>
            </a:xfrm>
            <a:prstGeom prst="rect">
              <a:avLst/>
            </a:prstGeom>
            <a:solidFill>
              <a:schemeClr val="bg1"/>
            </a:solidFill>
            <a:ln w="9525">
              <a:solidFill>
                <a:schemeClr val="bg1">
                  <a:lumMod val="50000"/>
                </a:schemeClr>
              </a:solidFill>
              <a:prstDash val="dash"/>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a:solidFill>
                  <a:srgbClr val="002D72"/>
                </a:solidFill>
                <a:latin typeface="Arial" pitchFamily="34" charset="0"/>
                <a:cs typeface="Arial" pitchFamily="34" charset="0"/>
              </a:endParaRPr>
            </a:p>
          </p:txBody>
        </p:sp>
        <p:sp>
          <p:nvSpPr>
            <p:cNvPr id="42" name="Text Box 117">
              <a:extLst>
                <a:ext uri="{FF2B5EF4-FFF2-40B4-BE49-F238E27FC236}">
                  <a16:creationId xmlns:a16="http://schemas.microsoft.com/office/drawing/2014/main" id="{234D25FB-BCF1-4041-9F9D-1020E3154484}"/>
                </a:ext>
              </a:extLst>
            </p:cNvPr>
            <p:cNvSpPr txBox="1">
              <a:spLocks noChangeArrowheads="1"/>
            </p:cNvSpPr>
            <p:nvPr/>
          </p:nvSpPr>
          <p:spPr bwMode="auto">
            <a:xfrm rot="16200000">
              <a:off x="3008021" y="3286573"/>
              <a:ext cx="973343"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lr>
                  <a:srgbClr val="FF0000"/>
                </a:buClr>
                <a:buFont typeface="Wingdings" pitchFamily="2" charset="2"/>
                <a:buChar char="w"/>
                <a:defRPr sz="2400" b="1">
                  <a:solidFill>
                    <a:srgbClr val="FF0000"/>
                  </a:solidFill>
                  <a:latin typeface="Arial" panose="020B0604020202020204" pitchFamily="34" charset="0"/>
                </a:defRPr>
              </a:lvl1pPr>
              <a:lvl2pPr marL="742950" indent="-285750">
                <a:spcBef>
                  <a:spcPct val="20000"/>
                </a:spcBef>
                <a:buClr>
                  <a:schemeClr val="bg2"/>
                </a:buClr>
                <a:buFont typeface="Wingdings" pitchFamily="2" charset="2"/>
                <a:buChar char="§"/>
                <a:defRPr sz="2600">
                  <a:solidFill>
                    <a:srgbClr val="808080"/>
                  </a:solidFill>
                  <a:latin typeface="Arial" panose="020B0604020202020204" pitchFamily="34" charset="0"/>
                </a:defRPr>
              </a:lvl2pPr>
              <a:lvl3pPr marL="11430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3pPr>
              <a:lvl4pPr marL="16002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4pPr>
              <a:lvl5pPr marL="20574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9pPr>
            </a:lstStyle>
            <a:p>
              <a:pPr>
                <a:buClr>
                  <a:schemeClr val="accent2"/>
                </a:buClr>
                <a:buNone/>
              </a:pPr>
              <a:r>
                <a:rPr lang="en-US" altLang="pt-BR" sz="900" b="0" dirty="0">
                  <a:solidFill>
                    <a:schemeClr val="tx1"/>
                  </a:solidFill>
                  <a:cs typeface="Arial" panose="020B0604020202020204" pitchFamily="34" charset="0"/>
                </a:rPr>
                <a:t>Business Layer</a:t>
              </a:r>
            </a:p>
          </p:txBody>
        </p:sp>
      </p:grpSp>
      <p:grpSp>
        <p:nvGrpSpPr>
          <p:cNvPr id="15" name="Group 14">
            <a:extLst>
              <a:ext uri="{FF2B5EF4-FFF2-40B4-BE49-F238E27FC236}">
                <a16:creationId xmlns:a16="http://schemas.microsoft.com/office/drawing/2014/main" id="{15058970-7F8F-8C45-8F3C-1851AF43B573}"/>
              </a:ext>
            </a:extLst>
          </p:cNvPr>
          <p:cNvGrpSpPr/>
          <p:nvPr/>
        </p:nvGrpSpPr>
        <p:grpSpPr>
          <a:xfrm>
            <a:off x="2156544" y="4433245"/>
            <a:ext cx="7349349" cy="1096885"/>
            <a:chOff x="3349132" y="3882950"/>
            <a:chExt cx="5513832" cy="1096885"/>
          </a:xfrm>
        </p:grpSpPr>
        <p:sp>
          <p:nvSpPr>
            <p:cNvPr id="37" name="Rectangle 36">
              <a:extLst>
                <a:ext uri="{FF2B5EF4-FFF2-40B4-BE49-F238E27FC236}">
                  <a16:creationId xmlns:a16="http://schemas.microsoft.com/office/drawing/2014/main" id="{C3F98E92-2F18-0F4A-BB90-8D9C71927949}"/>
                </a:ext>
              </a:extLst>
            </p:cNvPr>
            <p:cNvSpPr/>
            <p:nvPr/>
          </p:nvSpPr>
          <p:spPr>
            <a:xfrm>
              <a:off x="3349132" y="3882950"/>
              <a:ext cx="5513832" cy="1096551"/>
            </a:xfrm>
            <a:prstGeom prst="rect">
              <a:avLst/>
            </a:prstGeom>
            <a:solidFill>
              <a:schemeClr val="bg1"/>
            </a:solidFill>
            <a:ln w="9525">
              <a:solidFill>
                <a:schemeClr val="bg1">
                  <a:lumMod val="50000"/>
                </a:schemeClr>
              </a:solidFill>
              <a:prstDash val="dash"/>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algn="ctr"/>
              <a:endParaRPr lang="en-US" sz="1400" b="1" dirty="0">
                <a:solidFill>
                  <a:srgbClr val="002D72"/>
                </a:solidFill>
                <a:latin typeface="Arial" pitchFamily="34" charset="0"/>
                <a:cs typeface="Arial" pitchFamily="34" charset="0"/>
              </a:endParaRPr>
            </a:p>
          </p:txBody>
        </p:sp>
        <p:sp>
          <p:nvSpPr>
            <p:cNvPr id="43" name="Rectangle 42">
              <a:extLst>
                <a:ext uri="{FF2B5EF4-FFF2-40B4-BE49-F238E27FC236}">
                  <a16:creationId xmlns:a16="http://schemas.microsoft.com/office/drawing/2014/main" id="{5809F949-176E-E34E-9235-ABCA17DC3895}"/>
                </a:ext>
              </a:extLst>
            </p:cNvPr>
            <p:cNvSpPr/>
            <p:nvPr/>
          </p:nvSpPr>
          <p:spPr>
            <a:xfrm>
              <a:off x="3627571" y="3883284"/>
              <a:ext cx="5235393" cy="1096551"/>
            </a:xfrm>
            <a:prstGeom prst="rect">
              <a:avLst/>
            </a:prstGeom>
            <a:solidFill>
              <a:schemeClr val="bg1"/>
            </a:solidFill>
            <a:ln w="9525">
              <a:solidFill>
                <a:schemeClr val="bg1">
                  <a:lumMod val="50000"/>
                </a:schemeClr>
              </a:solidFill>
              <a:prstDash val="dash"/>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a:solidFill>
                  <a:srgbClr val="002D72"/>
                </a:solidFill>
                <a:latin typeface="Arial" pitchFamily="34" charset="0"/>
                <a:cs typeface="Arial" pitchFamily="34" charset="0"/>
              </a:endParaRPr>
            </a:p>
          </p:txBody>
        </p:sp>
        <p:sp>
          <p:nvSpPr>
            <p:cNvPr id="44" name="Text Box 117">
              <a:extLst>
                <a:ext uri="{FF2B5EF4-FFF2-40B4-BE49-F238E27FC236}">
                  <a16:creationId xmlns:a16="http://schemas.microsoft.com/office/drawing/2014/main" id="{48193460-A45B-FF4C-9EEA-CD6C4C1F2D22}"/>
                </a:ext>
              </a:extLst>
            </p:cNvPr>
            <p:cNvSpPr txBox="1">
              <a:spLocks noChangeArrowheads="1"/>
            </p:cNvSpPr>
            <p:nvPr/>
          </p:nvSpPr>
          <p:spPr bwMode="auto">
            <a:xfrm rot="16200000">
              <a:off x="3035026" y="4284805"/>
              <a:ext cx="934871" cy="2978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lr>
                  <a:srgbClr val="FF0000"/>
                </a:buClr>
                <a:buFont typeface="Wingdings" pitchFamily="2" charset="2"/>
                <a:buChar char="w"/>
                <a:defRPr sz="2400" b="1">
                  <a:solidFill>
                    <a:srgbClr val="FF0000"/>
                  </a:solidFill>
                  <a:latin typeface="Arial" panose="020B0604020202020204" pitchFamily="34" charset="0"/>
                </a:defRPr>
              </a:lvl1pPr>
              <a:lvl2pPr marL="742950" indent="-285750">
                <a:spcBef>
                  <a:spcPct val="20000"/>
                </a:spcBef>
                <a:buClr>
                  <a:schemeClr val="bg2"/>
                </a:buClr>
                <a:buFont typeface="Wingdings" pitchFamily="2" charset="2"/>
                <a:buChar char="§"/>
                <a:defRPr sz="2600">
                  <a:solidFill>
                    <a:srgbClr val="808080"/>
                  </a:solidFill>
                  <a:latin typeface="Arial" panose="020B0604020202020204" pitchFamily="34" charset="0"/>
                </a:defRPr>
              </a:lvl2pPr>
              <a:lvl3pPr marL="11430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3pPr>
              <a:lvl4pPr marL="16002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4pPr>
              <a:lvl5pPr marL="20574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9pPr>
            </a:lstStyle>
            <a:p>
              <a:pPr algn="ctr">
                <a:buClr>
                  <a:schemeClr val="accent2"/>
                </a:buClr>
                <a:buNone/>
              </a:pPr>
              <a:r>
                <a:rPr lang="en-US" altLang="pt-BR" sz="900" b="0" dirty="0">
                  <a:solidFill>
                    <a:schemeClr val="tx1"/>
                  </a:solidFill>
                  <a:cs typeface="Arial" panose="020B0604020202020204" pitchFamily="34" charset="0"/>
                </a:rPr>
                <a:t>Source &amp; Data</a:t>
              </a:r>
            </a:p>
            <a:p>
              <a:pPr algn="ctr">
                <a:buClr>
                  <a:schemeClr val="accent2"/>
                </a:buClr>
                <a:buNone/>
              </a:pPr>
              <a:r>
                <a:rPr lang="en-US" altLang="pt-BR" sz="900" b="0" dirty="0">
                  <a:solidFill>
                    <a:schemeClr val="tx1"/>
                  </a:solidFill>
                  <a:cs typeface="Arial" panose="020B0604020202020204" pitchFamily="34" charset="0"/>
                </a:rPr>
                <a:t> Layer</a:t>
              </a:r>
            </a:p>
          </p:txBody>
        </p:sp>
      </p:grpSp>
      <p:grpSp>
        <p:nvGrpSpPr>
          <p:cNvPr id="70" name="Group 69">
            <a:extLst>
              <a:ext uri="{FF2B5EF4-FFF2-40B4-BE49-F238E27FC236}">
                <a16:creationId xmlns:a16="http://schemas.microsoft.com/office/drawing/2014/main" id="{076A682E-2E42-9447-9DBD-8EEAB7A3DF54}"/>
              </a:ext>
            </a:extLst>
          </p:cNvPr>
          <p:cNvGrpSpPr/>
          <p:nvPr/>
        </p:nvGrpSpPr>
        <p:grpSpPr>
          <a:xfrm>
            <a:off x="6490037" y="2250779"/>
            <a:ext cx="1097217" cy="460228"/>
            <a:chOff x="8957625" y="2854995"/>
            <a:chExt cx="1097217" cy="460228"/>
          </a:xfrm>
        </p:grpSpPr>
        <p:sp>
          <p:nvSpPr>
            <p:cNvPr id="71" name="Rectangle 70">
              <a:extLst>
                <a:ext uri="{FF2B5EF4-FFF2-40B4-BE49-F238E27FC236}">
                  <a16:creationId xmlns:a16="http://schemas.microsoft.com/office/drawing/2014/main" id="{A8E80E73-CF9C-054F-A52E-EA2BBA8D8F9F}"/>
                </a:ext>
              </a:extLst>
            </p:cNvPr>
            <p:cNvSpPr/>
            <p:nvPr/>
          </p:nvSpPr>
          <p:spPr>
            <a:xfrm>
              <a:off x="8957625" y="2854995"/>
              <a:ext cx="1097217" cy="460228"/>
            </a:xfrm>
            <a:prstGeom prst="rect">
              <a:avLst/>
            </a:prstGeom>
            <a:solidFill>
              <a:srgbClr val="87CBD8">
                <a:alpha val="31000"/>
              </a:srgbClr>
            </a:solidFill>
            <a:ln w="12700">
              <a:solidFill>
                <a:srgbClr val="0067B7"/>
              </a:solidFill>
              <a:miter lim="800000"/>
              <a:headEnd/>
              <a:tailEnd/>
            </a:ln>
          </p:spPr>
          <p:txBody>
            <a:bodyPr rot="0" spcFirstLastPara="0" vertOverflow="overflow" horzOverflow="overflow" vert="horz" wrap="none" lIns="108000" tIns="0" rIns="108000" bIns="0" numCol="1" spcCol="0" rtlCol="0" fromWordArt="0" anchor="ctr" anchorCtr="0" forceAA="0" compatLnSpc="1">
              <a:prstTxWarp prst="textNoShape">
                <a:avLst/>
              </a:prstTxWarp>
              <a:noAutofit/>
            </a:bodyPr>
            <a:lstStyle/>
            <a:p>
              <a:pPr algn="ctr" defTabSz="449263" eaLnBrk="0" hangingPunct="0">
                <a:spcBef>
                  <a:spcPct val="20000"/>
                </a:spcBef>
                <a:buClr>
                  <a:schemeClr val="accent2"/>
                </a:buClr>
                <a:buSzPct val="13000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endParaRPr lang="en-US" sz="900" b="1" dirty="0">
                <a:solidFill>
                  <a:srgbClr val="0067B7"/>
                </a:solidFill>
                <a:latin typeface="Arial" charset="0"/>
              </a:endParaRPr>
            </a:p>
            <a:p>
              <a:pPr algn="ctr" defTabSz="449263" eaLnBrk="0" hangingPunct="0">
                <a:spcBef>
                  <a:spcPct val="20000"/>
                </a:spcBef>
                <a:buClr>
                  <a:schemeClr val="accent2"/>
                </a:buClr>
                <a:buSzPct val="13000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endParaRPr lang="en-US" sz="900" b="1" dirty="0">
                <a:solidFill>
                  <a:srgbClr val="0067B7"/>
                </a:solidFill>
                <a:latin typeface="Arial" charset="0"/>
              </a:endParaRPr>
            </a:p>
            <a:p>
              <a:pPr algn="ctr" defTabSz="449263" eaLnBrk="0" hangingPunct="0">
                <a:spcBef>
                  <a:spcPct val="20000"/>
                </a:spcBef>
                <a:buClr>
                  <a:schemeClr val="accent2"/>
                </a:buClr>
                <a:buSzPct val="13000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r>
                <a:rPr lang="en-US" sz="800" b="1" dirty="0" err="1">
                  <a:solidFill>
                    <a:srgbClr val="0067B7"/>
                  </a:solidFill>
                  <a:latin typeface="Arial" charset="0"/>
                </a:rPr>
                <a:t>StreamService</a:t>
              </a:r>
              <a:endParaRPr lang="en-US" sz="800" b="1" dirty="0">
                <a:solidFill>
                  <a:srgbClr val="0067B7"/>
                </a:solidFill>
                <a:latin typeface="Arial" charset="0"/>
              </a:endParaRPr>
            </a:p>
            <a:p>
              <a:pPr algn="ctr" defTabSz="449263" eaLnBrk="0" hangingPunct="0">
                <a:spcBef>
                  <a:spcPct val="20000"/>
                </a:spcBef>
                <a:buClr>
                  <a:schemeClr val="accent2"/>
                </a:buClr>
                <a:buSzPct val="13000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endParaRPr lang="en-US" sz="800" b="1" dirty="0">
                <a:solidFill>
                  <a:srgbClr val="0067B7"/>
                </a:solidFill>
                <a:latin typeface="Arial" charset="0"/>
              </a:endParaRPr>
            </a:p>
          </p:txBody>
        </p:sp>
        <p:grpSp>
          <p:nvGrpSpPr>
            <p:cNvPr id="72" name="Group 71">
              <a:extLst>
                <a:ext uri="{FF2B5EF4-FFF2-40B4-BE49-F238E27FC236}">
                  <a16:creationId xmlns:a16="http://schemas.microsoft.com/office/drawing/2014/main" id="{B919A311-AD42-D34A-8FEC-B422A841085B}"/>
                </a:ext>
              </a:extLst>
            </p:cNvPr>
            <p:cNvGrpSpPr/>
            <p:nvPr/>
          </p:nvGrpSpPr>
          <p:grpSpPr>
            <a:xfrm>
              <a:off x="9799593" y="2906249"/>
              <a:ext cx="198209" cy="142185"/>
              <a:chOff x="10863517" y="2372849"/>
              <a:chExt cx="198209" cy="142185"/>
            </a:xfrm>
          </p:grpSpPr>
          <p:sp>
            <p:nvSpPr>
              <p:cNvPr id="73" name="Rectangle 72">
                <a:extLst>
                  <a:ext uri="{FF2B5EF4-FFF2-40B4-BE49-F238E27FC236}">
                    <a16:creationId xmlns:a16="http://schemas.microsoft.com/office/drawing/2014/main" id="{F4FD1C13-227A-7E41-9EFE-557981429930}"/>
                  </a:ext>
                </a:extLst>
              </p:cNvPr>
              <p:cNvSpPr/>
              <p:nvPr/>
            </p:nvSpPr>
            <p:spPr>
              <a:xfrm>
                <a:off x="10918955" y="2372849"/>
                <a:ext cx="142771" cy="142185"/>
              </a:xfrm>
              <a:prstGeom prst="rect">
                <a:avLst/>
              </a:prstGeom>
              <a:solidFill>
                <a:srgbClr val="87CBD8">
                  <a:alpha val="31000"/>
                </a:srgbClr>
              </a:solidFill>
              <a:ln w="12700">
                <a:solidFill>
                  <a:srgbClr val="0067B7"/>
                </a:solidFill>
                <a:miter lim="800000"/>
                <a:headEnd/>
                <a:tailEnd/>
              </a:ln>
            </p:spPr>
            <p:txBody>
              <a:bodyPr rot="0" spcFirstLastPara="0" vertOverflow="overflow" horzOverflow="overflow" vert="horz" wrap="none" lIns="108000" tIns="0" rIns="108000" bIns="0" numCol="1" spcCol="0" rtlCol="0" fromWordArt="0" anchor="ctr" anchorCtr="0" forceAA="0" compatLnSpc="1">
                <a:prstTxWarp prst="textNoShape">
                  <a:avLst/>
                </a:prstTxWarp>
                <a:noAutofit/>
              </a:bodyPr>
              <a:lstStyle/>
              <a:p>
                <a:pPr algn="ctr" defTabSz="449263" eaLnBrk="0" hangingPunct="0">
                  <a:spcBef>
                    <a:spcPct val="20000"/>
                  </a:spcBef>
                  <a:buClr>
                    <a:schemeClr val="accent2"/>
                  </a:buClr>
                  <a:buSzPct val="13000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endParaRPr lang="en-US" sz="900" b="1" dirty="0">
                  <a:solidFill>
                    <a:srgbClr val="0067B7"/>
                  </a:solidFill>
                  <a:latin typeface="Arial" charset="0"/>
                </a:endParaRPr>
              </a:p>
            </p:txBody>
          </p:sp>
          <p:sp>
            <p:nvSpPr>
              <p:cNvPr id="74" name="Rectangle 73">
                <a:extLst>
                  <a:ext uri="{FF2B5EF4-FFF2-40B4-BE49-F238E27FC236}">
                    <a16:creationId xmlns:a16="http://schemas.microsoft.com/office/drawing/2014/main" id="{BA814EA3-91E8-4542-AC3C-E537CEEB834B}"/>
                  </a:ext>
                </a:extLst>
              </p:cNvPr>
              <p:cNvSpPr/>
              <p:nvPr/>
            </p:nvSpPr>
            <p:spPr>
              <a:xfrm flipV="1">
                <a:off x="10868226" y="2454157"/>
                <a:ext cx="98130" cy="36000"/>
              </a:xfrm>
              <a:prstGeom prst="rect">
                <a:avLst/>
              </a:prstGeom>
              <a:solidFill>
                <a:srgbClr val="87CBD8">
                  <a:alpha val="31000"/>
                </a:srgbClr>
              </a:solidFill>
              <a:ln w="12700">
                <a:solidFill>
                  <a:srgbClr val="0067B7"/>
                </a:solidFill>
                <a:miter lim="800000"/>
                <a:headEnd/>
                <a:tailEnd/>
              </a:ln>
            </p:spPr>
            <p:txBody>
              <a:bodyPr rot="0" spcFirstLastPara="0" vertOverflow="overflow" horzOverflow="overflow" vert="horz" wrap="none" lIns="108000" tIns="0" rIns="108000" bIns="0" numCol="1" spcCol="0" rtlCol="0" fromWordArt="0" anchor="ctr" anchorCtr="0" forceAA="0" compatLnSpc="1">
                <a:prstTxWarp prst="textNoShape">
                  <a:avLst/>
                </a:prstTxWarp>
                <a:noAutofit/>
              </a:bodyPr>
              <a:lstStyle/>
              <a:p>
                <a:pPr algn="ctr" defTabSz="449263" eaLnBrk="0" hangingPunct="0">
                  <a:spcBef>
                    <a:spcPct val="20000"/>
                  </a:spcBef>
                  <a:buClr>
                    <a:schemeClr val="accent2"/>
                  </a:buClr>
                  <a:buSzPct val="13000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endParaRPr lang="en-US" sz="900" b="1" dirty="0">
                  <a:solidFill>
                    <a:srgbClr val="0067B7"/>
                  </a:solidFill>
                  <a:latin typeface="Arial" charset="0"/>
                </a:endParaRPr>
              </a:p>
            </p:txBody>
          </p:sp>
          <p:sp>
            <p:nvSpPr>
              <p:cNvPr id="75" name="Rectangle 74">
                <a:extLst>
                  <a:ext uri="{FF2B5EF4-FFF2-40B4-BE49-F238E27FC236}">
                    <a16:creationId xmlns:a16="http://schemas.microsoft.com/office/drawing/2014/main" id="{EBDFB494-9A21-344D-ADEA-B15413213899}"/>
                  </a:ext>
                </a:extLst>
              </p:cNvPr>
              <p:cNvSpPr/>
              <p:nvPr/>
            </p:nvSpPr>
            <p:spPr>
              <a:xfrm flipV="1">
                <a:off x="10863517" y="2393280"/>
                <a:ext cx="98130" cy="36000"/>
              </a:xfrm>
              <a:prstGeom prst="rect">
                <a:avLst/>
              </a:prstGeom>
              <a:solidFill>
                <a:srgbClr val="87CBD8">
                  <a:alpha val="31000"/>
                </a:srgbClr>
              </a:solidFill>
              <a:ln w="12700">
                <a:solidFill>
                  <a:srgbClr val="0067B7"/>
                </a:solidFill>
                <a:miter lim="800000"/>
                <a:headEnd/>
                <a:tailEnd/>
              </a:ln>
            </p:spPr>
            <p:txBody>
              <a:bodyPr rot="0" spcFirstLastPara="0" vertOverflow="overflow" horzOverflow="overflow" vert="horz" wrap="none" lIns="108000" tIns="0" rIns="108000" bIns="0" numCol="1" spcCol="0" rtlCol="0" fromWordArt="0" anchor="ctr" anchorCtr="0" forceAA="0" compatLnSpc="1">
                <a:prstTxWarp prst="textNoShape">
                  <a:avLst/>
                </a:prstTxWarp>
                <a:noAutofit/>
              </a:bodyPr>
              <a:lstStyle/>
              <a:p>
                <a:pPr algn="ctr" defTabSz="449263" eaLnBrk="0" hangingPunct="0">
                  <a:spcBef>
                    <a:spcPct val="20000"/>
                  </a:spcBef>
                  <a:buClr>
                    <a:schemeClr val="accent2"/>
                  </a:buClr>
                  <a:buSzPct val="13000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endParaRPr lang="en-US" sz="900" b="1" dirty="0">
                  <a:solidFill>
                    <a:srgbClr val="0067B7"/>
                  </a:solidFill>
                  <a:latin typeface="Arial" charset="0"/>
                </a:endParaRPr>
              </a:p>
            </p:txBody>
          </p:sp>
        </p:grpSp>
      </p:grpSp>
      <p:grpSp>
        <p:nvGrpSpPr>
          <p:cNvPr id="76" name="Group 75">
            <a:extLst>
              <a:ext uri="{FF2B5EF4-FFF2-40B4-BE49-F238E27FC236}">
                <a16:creationId xmlns:a16="http://schemas.microsoft.com/office/drawing/2014/main" id="{FB892838-F7AB-F04D-88D0-7F9A78FD48E9}"/>
              </a:ext>
            </a:extLst>
          </p:cNvPr>
          <p:cNvGrpSpPr/>
          <p:nvPr/>
        </p:nvGrpSpPr>
        <p:grpSpPr>
          <a:xfrm>
            <a:off x="8161302" y="2250779"/>
            <a:ext cx="1097217" cy="460228"/>
            <a:chOff x="8957625" y="2854995"/>
            <a:chExt cx="1097217" cy="460228"/>
          </a:xfrm>
        </p:grpSpPr>
        <p:sp>
          <p:nvSpPr>
            <p:cNvPr id="77" name="Rectangle 76">
              <a:extLst>
                <a:ext uri="{FF2B5EF4-FFF2-40B4-BE49-F238E27FC236}">
                  <a16:creationId xmlns:a16="http://schemas.microsoft.com/office/drawing/2014/main" id="{28C25A84-00BD-C841-BD10-21F4F340A468}"/>
                </a:ext>
              </a:extLst>
            </p:cNvPr>
            <p:cNvSpPr/>
            <p:nvPr/>
          </p:nvSpPr>
          <p:spPr>
            <a:xfrm>
              <a:off x="8957625" y="2854995"/>
              <a:ext cx="1097217" cy="460228"/>
            </a:xfrm>
            <a:prstGeom prst="rect">
              <a:avLst/>
            </a:prstGeom>
            <a:solidFill>
              <a:srgbClr val="87CBD8">
                <a:alpha val="31000"/>
              </a:srgbClr>
            </a:solidFill>
            <a:ln w="12700">
              <a:solidFill>
                <a:srgbClr val="0067B7"/>
              </a:solidFill>
              <a:miter lim="800000"/>
              <a:headEnd/>
              <a:tailEnd/>
            </a:ln>
          </p:spPr>
          <p:txBody>
            <a:bodyPr rot="0" spcFirstLastPara="0" vertOverflow="overflow" horzOverflow="overflow" vert="horz" wrap="none" lIns="108000" tIns="0" rIns="108000" bIns="0" numCol="1" spcCol="0" rtlCol="0" fromWordArt="0" anchor="ctr" anchorCtr="0" forceAA="0" compatLnSpc="1">
              <a:prstTxWarp prst="textNoShape">
                <a:avLst/>
              </a:prstTxWarp>
              <a:noAutofit/>
            </a:bodyPr>
            <a:lstStyle/>
            <a:p>
              <a:pPr algn="ctr" defTabSz="449263" eaLnBrk="0" hangingPunct="0">
                <a:spcBef>
                  <a:spcPct val="20000"/>
                </a:spcBef>
                <a:buClr>
                  <a:schemeClr val="accent2"/>
                </a:buClr>
                <a:buSzPct val="13000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endParaRPr lang="en-US" sz="900" b="1" dirty="0">
                <a:solidFill>
                  <a:srgbClr val="0067B7"/>
                </a:solidFill>
                <a:latin typeface="Arial" charset="0"/>
              </a:endParaRPr>
            </a:p>
            <a:p>
              <a:pPr algn="ctr" defTabSz="449263" eaLnBrk="0" hangingPunct="0">
                <a:spcBef>
                  <a:spcPct val="20000"/>
                </a:spcBef>
                <a:buClr>
                  <a:schemeClr val="accent2"/>
                </a:buClr>
                <a:buSzPct val="13000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endParaRPr lang="en-US" sz="900" b="1" dirty="0">
                <a:solidFill>
                  <a:srgbClr val="0067B7"/>
                </a:solidFill>
                <a:latin typeface="Arial" charset="0"/>
              </a:endParaRPr>
            </a:p>
            <a:p>
              <a:pPr algn="ctr" defTabSz="449263" eaLnBrk="0" hangingPunct="0">
                <a:spcBef>
                  <a:spcPct val="20000"/>
                </a:spcBef>
                <a:buClr>
                  <a:schemeClr val="accent2"/>
                </a:buClr>
                <a:buSzPct val="13000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r>
                <a:rPr lang="en-US" sz="800" b="1" dirty="0" err="1">
                  <a:solidFill>
                    <a:srgbClr val="0067B7"/>
                  </a:solidFill>
                  <a:latin typeface="Arial" charset="0"/>
                </a:rPr>
                <a:t>ConsumerService</a:t>
              </a:r>
              <a:endParaRPr lang="en-US" sz="800" b="1" dirty="0">
                <a:solidFill>
                  <a:srgbClr val="0067B7"/>
                </a:solidFill>
                <a:latin typeface="Arial" charset="0"/>
              </a:endParaRPr>
            </a:p>
            <a:p>
              <a:pPr algn="ctr" defTabSz="449263" eaLnBrk="0" hangingPunct="0">
                <a:spcBef>
                  <a:spcPct val="20000"/>
                </a:spcBef>
                <a:buClr>
                  <a:schemeClr val="accent2"/>
                </a:buClr>
                <a:buSzPct val="13000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endParaRPr lang="en-US" sz="800" b="1" dirty="0">
                <a:solidFill>
                  <a:srgbClr val="0067B7"/>
                </a:solidFill>
                <a:latin typeface="Arial" charset="0"/>
              </a:endParaRPr>
            </a:p>
          </p:txBody>
        </p:sp>
        <p:grpSp>
          <p:nvGrpSpPr>
            <p:cNvPr id="78" name="Group 77">
              <a:extLst>
                <a:ext uri="{FF2B5EF4-FFF2-40B4-BE49-F238E27FC236}">
                  <a16:creationId xmlns:a16="http://schemas.microsoft.com/office/drawing/2014/main" id="{4A7D16B9-BA4E-6840-AD65-7EAF6345D755}"/>
                </a:ext>
              </a:extLst>
            </p:cNvPr>
            <p:cNvGrpSpPr/>
            <p:nvPr/>
          </p:nvGrpSpPr>
          <p:grpSpPr>
            <a:xfrm>
              <a:off x="9799593" y="2906249"/>
              <a:ext cx="198209" cy="142185"/>
              <a:chOff x="10863517" y="2372849"/>
              <a:chExt cx="198209" cy="142185"/>
            </a:xfrm>
          </p:grpSpPr>
          <p:sp>
            <p:nvSpPr>
              <p:cNvPr id="79" name="Rectangle 78">
                <a:extLst>
                  <a:ext uri="{FF2B5EF4-FFF2-40B4-BE49-F238E27FC236}">
                    <a16:creationId xmlns:a16="http://schemas.microsoft.com/office/drawing/2014/main" id="{EE773184-29B9-0044-8801-1E58FF0C8F4F}"/>
                  </a:ext>
                </a:extLst>
              </p:cNvPr>
              <p:cNvSpPr/>
              <p:nvPr/>
            </p:nvSpPr>
            <p:spPr>
              <a:xfrm>
                <a:off x="10918955" y="2372849"/>
                <a:ext cx="142771" cy="142185"/>
              </a:xfrm>
              <a:prstGeom prst="rect">
                <a:avLst/>
              </a:prstGeom>
              <a:solidFill>
                <a:srgbClr val="87CBD8">
                  <a:alpha val="31000"/>
                </a:srgbClr>
              </a:solidFill>
              <a:ln w="12700">
                <a:solidFill>
                  <a:srgbClr val="0067B7"/>
                </a:solidFill>
                <a:miter lim="800000"/>
                <a:headEnd/>
                <a:tailEnd/>
              </a:ln>
            </p:spPr>
            <p:txBody>
              <a:bodyPr rot="0" spcFirstLastPara="0" vertOverflow="overflow" horzOverflow="overflow" vert="horz" wrap="none" lIns="108000" tIns="0" rIns="108000" bIns="0" numCol="1" spcCol="0" rtlCol="0" fromWordArt="0" anchor="ctr" anchorCtr="0" forceAA="0" compatLnSpc="1">
                <a:prstTxWarp prst="textNoShape">
                  <a:avLst/>
                </a:prstTxWarp>
                <a:noAutofit/>
              </a:bodyPr>
              <a:lstStyle/>
              <a:p>
                <a:pPr algn="ctr" defTabSz="449263" eaLnBrk="0" hangingPunct="0">
                  <a:spcBef>
                    <a:spcPct val="20000"/>
                  </a:spcBef>
                  <a:buClr>
                    <a:schemeClr val="accent2"/>
                  </a:buClr>
                  <a:buSzPct val="13000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endParaRPr lang="en-US" sz="900" b="1" dirty="0">
                  <a:solidFill>
                    <a:srgbClr val="0067B7"/>
                  </a:solidFill>
                  <a:latin typeface="Arial" charset="0"/>
                </a:endParaRPr>
              </a:p>
            </p:txBody>
          </p:sp>
          <p:sp>
            <p:nvSpPr>
              <p:cNvPr id="80" name="Rectangle 79">
                <a:extLst>
                  <a:ext uri="{FF2B5EF4-FFF2-40B4-BE49-F238E27FC236}">
                    <a16:creationId xmlns:a16="http://schemas.microsoft.com/office/drawing/2014/main" id="{CF3B38D4-E4CD-A74F-8746-BEC273670FD1}"/>
                  </a:ext>
                </a:extLst>
              </p:cNvPr>
              <p:cNvSpPr/>
              <p:nvPr/>
            </p:nvSpPr>
            <p:spPr>
              <a:xfrm flipV="1">
                <a:off x="10868226" y="2454157"/>
                <a:ext cx="98130" cy="36000"/>
              </a:xfrm>
              <a:prstGeom prst="rect">
                <a:avLst/>
              </a:prstGeom>
              <a:solidFill>
                <a:srgbClr val="87CBD8">
                  <a:alpha val="31000"/>
                </a:srgbClr>
              </a:solidFill>
              <a:ln w="12700">
                <a:solidFill>
                  <a:srgbClr val="0067B7"/>
                </a:solidFill>
                <a:miter lim="800000"/>
                <a:headEnd/>
                <a:tailEnd/>
              </a:ln>
            </p:spPr>
            <p:txBody>
              <a:bodyPr rot="0" spcFirstLastPara="0" vertOverflow="overflow" horzOverflow="overflow" vert="horz" wrap="none" lIns="108000" tIns="0" rIns="108000" bIns="0" numCol="1" spcCol="0" rtlCol="0" fromWordArt="0" anchor="ctr" anchorCtr="0" forceAA="0" compatLnSpc="1">
                <a:prstTxWarp prst="textNoShape">
                  <a:avLst/>
                </a:prstTxWarp>
                <a:noAutofit/>
              </a:bodyPr>
              <a:lstStyle/>
              <a:p>
                <a:pPr algn="ctr" defTabSz="449263" eaLnBrk="0" hangingPunct="0">
                  <a:spcBef>
                    <a:spcPct val="20000"/>
                  </a:spcBef>
                  <a:buClr>
                    <a:schemeClr val="accent2"/>
                  </a:buClr>
                  <a:buSzPct val="13000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endParaRPr lang="en-US" sz="900" b="1" dirty="0">
                  <a:solidFill>
                    <a:srgbClr val="0067B7"/>
                  </a:solidFill>
                  <a:latin typeface="Arial" charset="0"/>
                </a:endParaRPr>
              </a:p>
            </p:txBody>
          </p:sp>
          <p:sp>
            <p:nvSpPr>
              <p:cNvPr id="81" name="Rectangle 80">
                <a:extLst>
                  <a:ext uri="{FF2B5EF4-FFF2-40B4-BE49-F238E27FC236}">
                    <a16:creationId xmlns:a16="http://schemas.microsoft.com/office/drawing/2014/main" id="{6AD414B9-7405-C543-80B2-20FF0DC6B2C1}"/>
                  </a:ext>
                </a:extLst>
              </p:cNvPr>
              <p:cNvSpPr/>
              <p:nvPr/>
            </p:nvSpPr>
            <p:spPr>
              <a:xfrm flipV="1">
                <a:off x="10863517" y="2393280"/>
                <a:ext cx="98130" cy="36000"/>
              </a:xfrm>
              <a:prstGeom prst="rect">
                <a:avLst/>
              </a:prstGeom>
              <a:solidFill>
                <a:srgbClr val="87CBD8">
                  <a:alpha val="31000"/>
                </a:srgbClr>
              </a:solidFill>
              <a:ln w="12700">
                <a:solidFill>
                  <a:srgbClr val="0067B7"/>
                </a:solidFill>
                <a:miter lim="800000"/>
                <a:headEnd/>
                <a:tailEnd/>
              </a:ln>
            </p:spPr>
            <p:txBody>
              <a:bodyPr rot="0" spcFirstLastPara="0" vertOverflow="overflow" horzOverflow="overflow" vert="horz" wrap="none" lIns="108000" tIns="0" rIns="108000" bIns="0" numCol="1" spcCol="0" rtlCol="0" fromWordArt="0" anchor="ctr" anchorCtr="0" forceAA="0" compatLnSpc="1">
                <a:prstTxWarp prst="textNoShape">
                  <a:avLst/>
                </a:prstTxWarp>
                <a:noAutofit/>
              </a:bodyPr>
              <a:lstStyle/>
              <a:p>
                <a:pPr algn="ctr" defTabSz="449263" eaLnBrk="0" hangingPunct="0">
                  <a:spcBef>
                    <a:spcPct val="20000"/>
                  </a:spcBef>
                  <a:buClr>
                    <a:schemeClr val="accent2"/>
                  </a:buClr>
                  <a:buSzPct val="13000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endParaRPr lang="en-US" sz="900" b="1" dirty="0">
                  <a:solidFill>
                    <a:srgbClr val="0067B7"/>
                  </a:solidFill>
                  <a:latin typeface="Arial" charset="0"/>
                </a:endParaRPr>
              </a:p>
            </p:txBody>
          </p:sp>
        </p:grpSp>
      </p:grpSp>
      <p:grpSp>
        <p:nvGrpSpPr>
          <p:cNvPr id="90" name="Group 89">
            <a:extLst>
              <a:ext uri="{FF2B5EF4-FFF2-40B4-BE49-F238E27FC236}">
                <a16:creationId xmlns:a16="http://schemas.microsoft.com/office/drawing/2014/main" id="{6419920A-4828-F74F-8742-FF3C293D5666}"/>
              </a:ext>
            </a:extLst>
          </p:cNvPr>
          <p:cNvGrpSpPr/>
          <p:nvPr/>
        </p:nvGrpSpPr>
        <p:grpSpPr>
          <a:xfrm>
            <a:off x="7612619" y="4750885"/>
            <a:ext cx="1097217" cy="460228"/>
            <a:chOff x="8957625" y="2854995"/>
            <a:chExt cx="1097217" cy="460228"/>
          </a:xfrm>
        </p:grpSpPr>
        <p:sp>
          <p:nvSpPr>
            <p:cNvPr id="91" name="Rectangle 90">
              <a:extLst>
                <a:ext uri="{FF2B5EF4-FFF2-40B4-BE49-F238E27FC236}">
                  <a16:creationId xmlns:a16="http://schemas.microsoft.com/office/drawing/2014/main" id="{BF8DA2F2-FA7A-AF45-974E-8984E185D79C}"/>
                </a:ext>
              </a:extLst>
            </p:cNvPr>
            <p:cNvSpPr/>
            <p:nvPr/>
          </p:nvSpPr>
          <p:spPr>
            <a:xfrm>
              <a:off x="8957625" y="2854995"/>
              <a:ext cx="1097217" cy="460228"/>
            </a:xfrm>
            <a:prstGeom prst="rect">
              <a:avLst/>
            </a:prstGeom>
            <a:solidFill>
              <a:srgbClr val="87CBD8">
                <a:alpha val="31000"/>
              </a:srgbClr>
            </a:solidFill>
            <a:ln w="12700">
              <a:solidFill>
                <a:srgbClr val="0067B7"/>
              </a:solidFill>
              <a:miter lim="800000"/>
              <a:headEnd/>
              <a:tailEnd/>
            </a:ln>
          </p:spPr>
          <p:txBody>
            <a:bodyPr rot="0" spcFirstLastPara="0" vertOverflow="overflow" horzOverflow="overflow" vert="horz" wrap="none" lIns="108000" tIns="0" rIns="108000" bIns="0" numCol="1" spcCol="0" rtlCol="0" fromWordArt="0" anchor="ctr" anchorCtr="0" forceAA="0" compatLnSpc="1">
              <a:prstTxWarp prst="textNoShape">
                <a:avLst/>
              </a:prstTxWarp>
              <a:noAutofit/>
            </a:bodyPr>
            <a:lstStyle/>
            <a:p>
              <a:pPr algn="ctr" defTabSz="449263" eaLnBrk="0" hangingPunct="0">
                <a:spcBef>
                  <a:spcPct val="20000"/>
                </a:spcBef>
                <a:buClr>
                  <a:schemeClr val="accent2"/>
                </a:buClr>
                <a:buSzPct val="13000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endParaRPr lang="en-US" sz="900" b="1" dirty="0">
                <a:solidFill>
                  <a:srgbClr val="0067B7"/>
                </a:solidFill>
                <a:latin typeface="Arial" charset="0"/>
              </a:endParaRPr>
            </a:p>
            <a:p>
              <a:pPr algn="ctr" defTabSz="449263" eaLnBrk="0" hangingPunct="0">
                <a:spcBef>
                  <a:spcPct val="20000"/>
                </a:spcBef>
                <a:buClr>
                  <a:schemeClr val="accent2"/>
                </a:buClr>
                <a:buSzPct val="13000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endParaRPr lang="en-US" sz="900" b="1" dirty="0">
                <a:solidFill>
                  <a:srgbClr val="0067B7"/>
                </a:solidFill>
                <a:latin typeface="Arial" charset="0"/>
              </a:endParaRPr>
            </a:p>
            <a:p>
              <a:pPr algn="ctr" defTabSz="449263" eaLnBrk="0" hangingPunct="0">
                <a:spcBef>
                  <a:spcPct val="20000"/>
                </a:spcBef>
                <a:buClr>
                  <a:schemeClr val="accent2"/>
                </a:buClr>
                <a:buSzPct val="13000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r>
                <a:rPr lang="en-US" sz="800" b="1" dirty="0" err="1">
                  <a:solidFill>
                    <a:srgbClr val="0067B7"/>
                  </a:solidFill>
                  <a:latin typeface="Arial" charset="0"/>
                </a:rPr>
                <a:t>SinkService</a:t>
              </a:r>
              <a:endParaRPr lang="en-US" sz="800" b="1" dirty="0">
                <a:solidFill>
                  <a:srgbClr val="0067B7"/>
                </a:solidFill>
                <a:latin typeface="Arial" charset="0"/>
              </a:endParaRPr>
            </a:p>
            <a:p>
              <a:pPr algn="ctr" defTabSz="449263" eaLnBrk="0" hangingPunct="0">
                <a:spcBef>
                  <a:spcPct val="20000"/>
                </a:spcBef>
                <a:buClr>
                  <a:schemeClr val="accent2"/>
                </a:buClr>
                <a:buSzPct val="13000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endParaRPr lang="en-US" sz="800" b="1" dirty="0">
                <a:solidFill>
                  <a:srgbClr val="0067B7"/>
                </a:solidFill>
                <a:latin typeface="Arial" charset="0"/>
              </a:endParaRPr>
            </a:p>
          </p:txBody>
        </p:sp>
        <p:grpSp>
          <p:nvGrpSpPr>
            <p:cNvPr id="92" name="Group 91">
              <a:extLst>
                <a:ext uri="{FF2B5EF4-FFF2-40B4-BE49-F238E27FC236}">
                  <a16:creationId xmlns:a16="http://schemas.microsoft.com/office/drawing/2014/main" id="{9BA376CD-3CE3-3E48-BD19-1215DBBE3C84}"/>
                </a:ext>
              </a:extLst>
            </p:cNvPr>
            <p:cNvGrpSpPr/>
            <p:nvPr/>
          </p:nvGrpSpPr>
          <p:grpSpPr>
            <a:xfrm>
              <a:off x="9799593" y="2906249"/>
              <a:ext cx="198209" cy="142185"/>
              <a:chOff x="10863517" y="2372849"/>
              <a:chExt cx="198209" cy="142185"/>
            </a:xfrm>
          </p:grpSpPr>
          <p:sp>
            <p:nvSpPr>
              <p:cNvPr id="93" name="Rectangle 92">
                <a:extLst>
                  <a:ext uri="{FF2B5EF4-FFF2-40B4-BE49-F238E27FC236}">
                    <a16:creationId xmlns:a16="http://schemas.microsoft.com/office/drawing/2014/main" id="{BD08DB2C-24A2-904A-9107-F7AE08C5B2F4}"/>
                  </a:ext>
                </a:extLst>
              </p:cNvPr>
              <p:cNvSpPr/>
              <p:nvPr/>
            </p:nvSpPr>
            <p:spPr>
              <a:xfrm>
                <a:off x="10918955" y="2372849"/>
                <a:ext cx="142771" cy="142185"/>
              </a:xfrm>
              <a:prstGeom prst="rect">
                <a:avLst/>
              </a:prstGeom>
              <a:solidFill>
                <a:srgbClr val="87CBD8">
                  <a:alpha val="31000"/>
                </a:srgbClr>
              </a:solidFill>
              <a:ln w="12700">
                <a:solidFill>
                  <a:srgbClr val="0067B7"/>
                </a:solidFill>
                <a:miter lim="800000"/>
                <a:headEnd/>
                <a:tailEnd/>
              </a:ln>
            </p:spPr>
            <p:txBody>
              <a:bodyPr rot="0" spcFirstLastPara="0" vertOverflow="overflow" horzOverflow="overflow" vert="horz" wrap="none" lIns="108000" tIns="0" rIns="108000" bIns="0" numCol="1" spcCol="0" rtlCol="0" fromWordArt="0" anchor="ctr" anchorCtr="0" forceAA="0" compatLnSpc="1">
                <a:prstTxWarp prst="textNoShape">
                  <a:avLst/>
                </a:prstTxWarp>
                <a:noAutofit/>
              </a:bodyPr>
              <a:lstStyle/>
              <a:p>
                <a:pPr algn="ctr" defTabSz="449263" eaLnBrk="0" hangingPunct="0">
                  <a:spcBef>
                    <a:spcPct val="20000"/>
                  </a:spcBef>
                  <a:buClr>
                    <a:schemeClr val="accent2"/>
                  </a:buClr>
                  <a:buSzPct val="13000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endParaRPr lang="en-US" sz="900" b="1" dirty="0">
                  <a:solidFill>
                    <a:srgbClr val="0067B7"/>
                  </a:solidFill>
                  <a:latin typeface="Arial" charset="0"/>
                </a:endParaRPr>
              </a:p>
            </p:txBody>
          </p:sp>
          <p:sp>
            <p:nvSpPr>
              <p:cNvPr id="94" name="Rectangle 93">
                <a:extLst>
                  <a:ext uri="{FF2B5EF4-FFF2-40B4-BE49-F238E27FC236}">
                    <a16:creationId xmlns:a16="http://schemas.microsoft.com/office/drawing/2014/main" id="{6D8FAEBF-56F0-5841-B79D-954B75D806C4}"/>
                  </a:ext>
                </a:extLst>
              </p:cNvPr>
              <p:cNvSpPr/>
              <p:nvPr/>
            </p:nvSpPr>
            <p:spPr>
              <a:xfrm flipV="1">
                <a:off x="10868226" y="2454157"/>
                <a:ext cx="98130" cy="36000"/>
              </a:xfrm>
              <a:prstGeom prst="rect">
                <a:avLst/>
              </a:prstGeom>
              <a:solidFill>
                <a:srgbClr val="87CBD8">
                  <a:alpha val="31000"/>
                </a:srgbClr>
              </a:solidFill>
              <a:ln w="12700">
                <a:solidFill>
                  <a:srgbClr val="0067B7"/>
                </a:solidFill>
                <a:miter lim="800000"/>
                <a:headEnd/>
                <a:tailEnd/>
              </a:ln>
            </p:spPr>
            <p:txBody>
              <a:bodyPr rot="0" spcFirstLastPara="0" vertOverflow="overflow" horzOverflow="overflow" vert="horz" wrap="none" lIns="108000" tIns="0" rIns="108000" bIns="0" numCol="1" spcCol="0" rtlCol="0" fromWordArt="0" anchor="ctr" anchorCtr="0" forceAA="0" compatLnSpc="1">
                <a:prstTxWarp prst="textNoShape">
                  <a:avLst/>
                </a:prstTxWarp>
                <a:noAutofit/>
              </a:bodyPr>
              <a:lstStyle/>
              <a:p>
                <a:pPr algn="ctr" defTabSz="449263" eaLnBrk="0" hangingPunct="0">
                  <a:spcBef>
                    <a:spcPct val="20000"/>
                  </a:spcBef>
                  <a:buClr>
                    <a:schemeClr val="accent2"/>
                  </a:buClr>
                  <a:buSzPct val="13000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endParaRPr lang="en-US" sz="900" b="1" dirty="0">
                  <a:solidFill>
                    <a:srgbClr val="0067B7"/>
                  </a:solidFill>
                  <a:latin typeface="Arial" charset="0"/>
                </a:endParaRPr>
              </a:p>
            </p:txBody>
          </p:sp>
          <p:sp>
            <p:nvSpPr>
              <p:cNvPr id="95" name="Rectangle 94">
                <a:extLst>
                  <a:ext uri="{FF2B5EF4-FFF2-40B4-BE49-F238E27FC236}">
                    <a16:creationId xmlns:a16="http://schemas.microsoft.com/office/drawing/2014/main" id="{E2924479-1F8D-6E49-8188-E91911314C06}"/>
                  </a:ext>
                </a:extLst>
              </p:cNvPr>
              <p:cNvSpPr/>
              <p:nvPr/>
            </p:nvSpPr>
            <p:spPr>
              <a:xfrm flipV="1">
                <a:off x="10863517" y="2393280"/>
                <a:ext cx="98130" cy="36000"/>
              </a:xfrm>
              <a:prstGeom prst="rect">
                <a:avLst/>
              </a:prstGeom>
              <a:solidFill>
                <a:srgbClr val="87CBD8">
                  <a:alpha val="31000"/>
                </a:srgbClr>
              </a:solidFill>
              <a:ln w="12700">
                <a:solidFill>
                  <a:srgbClr val="0067B7"/>
                </a:solidFill>
                <a:miter lim="800000"/>
                <a:headEnd/>
                <a:tailEnd/>
              </a:ln>
            </p:spPr>
            <p:txBody>
              <a:bodyPr rot="0" spcFirstLastPara="0" vertOverflow="overflow" horzOverflow="overflow" vert="horz" wrap="none" lIns="108000" tIns="0" rIns="108000" bIns="0" numCol="1" spcCol="0" rtlCol="0" fromWordArt="0" anchor="ctr" anchorCtr="0" forceAA="0" compatLnSpc="1">
                <a:prstTxWarp prst="textNoShape">
                  <a:avLst/>
                </a:prstTxWarp>
                <a:noAutofit/>
              </a:bodyPr>
              <a:lstStyle/>
              <a:p>
                <a:pPr algn="ctr" defTabSz="449263" eaLnBrk="0" hangingPunct="0">
                  <a:spcBef>
                    <a:spcPct val="20000"/>
                  </a:spcBef>
                  <a:buClr>
                    <a:schemeClr val="accent2"/>
                  </a:buClr>
                  <a:buSzPct val="13000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endParaRPr lang="en-US" sz="900" b="1" dirty="0">
                  <a:solidFill>
                    <a:srgbClr val="0067B7"/>
                  </a:solidFill>
                  <a:latin typeface="Arial" charset="0"/>
                </a:endParaRPr>
              </a:p>
            </p:txBody>
          </p:sp>
        </p:grpSp>
      </p:grpSp>
      <p:grpSp>
        <p:nvGrpSpPr>
          <p:cNvPr id="96" name="Group 95">
            <a:extLst>
              <a:ext uri="{FF2B5EF4-FFF2-40B4-BE49-F238E27FC236}">
                <a16:creationId xmlns:a16="http://schemas.microsoft.com/office/drawing/2014/main" id="{9604FC18-D9C7-2F46-9344-55DC767F4535}"/>
              </a:ext>
            </a:extLst>
          </p:cNvPr>
          <p:cNvGrpSpPr/>
          <p:nvPr/>
        </p:nvGrpSpPr>
        <p:grpSpPr>
          <a:xfrm>
            <a:off x="4964351" y="3459003"/>
            <a:ext cx="1097217" cy="460228"/>
            <a:chOff x="8957625" y="2854995"/>
            <a:chExt cx="1097217" cy="460228"/>
          </a:xfrm>
        </p:grpSpPr>
        <p:sp>
          <p:nvSpPr>
            <p:cNvPr id="97" name="Rectangle 96">
              <a:extLst>
                <a:ext uri="{FF2B5EF4-FFF2-40B4-BE49-F238E27FC236}">
                  <a16:creationId xmlns:a16="http://schemas.microsoft.com/office/drawing/2014/main" id="{1A716F8C-A547-3049-A80A-BB2351F804D5}"/>
                </a:ext>
              </a:extLst>
            </p:cNvPr>
            <p:cNvSpPr/>
            <p:nvPr/>
          </p:nvSpPr>
          <p:spPr>
            <a:xfrm>
              <a:off x="8957625" y="2854995"/>
              <a:ext cx="1097217" cy="460228"/>
            </a:xfrm>
            <a:prstGeom prst="rect">
              <a:avLst/>
            </a:prstGeom>
            <a:solidFill>
              <a:srgbClr val="87CBD8">
                <a:alpha val="31000"/>
              </a:srgbClr>
            </a:solidFill>
            <a:ln w="12700">
              <a:solidFill>
                <a:srgbClr val="0067B7"/>
              </a:solidFill>
              <a:miter lim="800000"/>
              <a:headEnd/>
              <a:tailEnd/>
            </a:ln>
          </p:spPr>
          <p:txBody>
            <a:bodyPr rot="0" spcFirstLastPara="0" vertOverflow="overflow" horzOverflow="overflow" vert="horz" wrap="none" lIns="108000" tIns="0" rIns="108000" bIns="0" numCol="1" spcCol="0" rtlCol="0" fromWordArt="0" anchor="ctr" anchorCtr="0" forceAA="0" compatLnSpc="1">
              <a:prstTxWarp prst="textNoShape">
                <a:avLst/>
              </a:prstTxWarp>
              <a:noAutofit/>
            </a:bodyPr>
            <a:lstStyle/>
            <a:p>
              <a:pPr algn="ctr" defTabSz="449263" eaLnBrk="0" hangingPunct="0">
                <a:spcBef>
                  <a:spcPct val="20000"/>
                </a:spcBef>
                <a:buClr>
                  <a:schemeClr val="accent2"/>
                </a:buClr>
                <a:buSzPct val="13000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endParaRPr lang="en-US" sz="900" b="1" dirty="0">
                <a:solidFill>
                  <a:srgbClr val="0067B7"/>
                </a:solidFill>
                <a:latin typeface="Arial" charset="0"/>
              </a:endParaRPr>
            </a:p>
            <a:p>
              <a:pPr algn="ctr" defTabSz="449263" eaLnBrk="0" hangingPunct="0">
                <a:spcBef>
                  <a:spcPct val="20000"/>
                </a:spcBef>
                <a:buClr>
                  <a:schemeClr val="accent2"/>
                </a:buClr>
                <a:buSzPct val="13000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endParaRPr lang="en-US" sz="900" b="1" dirty="0">
                <a:solidFill>
                  <a:srgbClr val="0067B7"/>
                </a:solidFill>
                <a:latin typeface="Arial" charset="0"/>
              </a:endParaRPr>
            </a:p>
            <a:p>
              <a:pPr algn="ctr" defTabSz="449263" eaLnBrk="0" hangingPunct="0">
                <a:spcBef>
                  <a:spcPct val="20000"/>
                </a:spcBef>
                <a:buClr>
                  <a:schemeClr val="accent2"/>
                </a:buClr>
                <a:buSzPct val="13000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r>
                <a:rPr lang="en-US" sz="800" b="1" dirty="0" err="1">
                  <a:solidFill>
                    <a:srgbClr val="0067B7"/>
                  </a:solidFill>
                  <a:latin typeface="Arial" charset="0"/>
                </a:rPr>
                <a:t>SecurityService</a:t>
              </a:r>
              <a:endParaRPr lang="en-US" sz="800" b="1" dirty="0">
                <a:solidFill>
                  <a:srgbClr val="0067B7"/>
                </a:solidFill>
                <a:latin typeface="Arial" charset="0"/>
              </a:endParaRPr>
            </a:p>
            <a:p>
              <a:pPr algn="ctr" defTabSz="449263" eaLnBrk="0" hangingPunct="0">
                <a:spcBef>
                  <a:spcPct val="20000"/>
                </a:spcBef>
                <a:buClr>
                  <a:schemeClr val="accent2"/>
                </a:buClr>
                <a:buSzPct val="13000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endParaRPr lang="en-US" sz="800" b="1" dirty="0">
                <a:solidFill>
                  <a:srgbClr val="0067B7"/>
                </a:solidFill>
                <a:latin typeface="Arial" charset="0"/>
              </a:endParaRPr>
            </a:p>
          </p:txBody>
        </p:sp>
        <p:grpSp>
          <p:nvGrpSpPr>
            <p:cNvPr id="98" name="Group 97">
              <a:extLst>
                <a:ext uri="{FF2B5EF4-FFF2-40B4-BE49-F238E27FC236}">
                  <a16:creationId xmlns:a16="http://schemas.microsoft.com/office/drawing/2014/main" id="{1C5D1A51-FF76-0144-9A2E-2580B1EB03A1}"/>
                </a:ext>
              </a:extLst>
            </p:cNvPr>
            <p:cNvGrpSpPr/>
            <p:nvPr/>
          </p:nvGrpSpPr>
          <p:grpSpPr>
            <a:xfrm>
              <a:off x="9799593" y="2906249"/>
              <a:ext cx="198209" cy="142185"/>
              <a:chOff x="10863517" y="2372849"/>
              <a:chExt cx="198209" cy="142185"/>
            </a:xfrm>
          </p:grpSpPr>
          <p:sp>
            <p:nvSpPr>
              <p:cNvPr id="99" name="Rectangle 98">
                <a:extLst>
                  <a:ext uri="{FF2B5EF4-FFF2-40B4-BE49-F238E27FC236}">
                    <a16:creationId xmlns:a16="http://schemas.microsoft.com/office/drawing/2014/main" id="{2B97928F-D3D5-5F40-894A-EB0165E67E1C}"/>
                  </a:ext>
                </a:extLst>
              </p:cNvPr>
              <p:cNvSpPr/>
              <p:nvPr/>
            </p:nvSpPr>
            <p:spPr>
              <a:xfrm>
                <a:off x="10918955" y="2372849"/>
                <a:ext cx="142771" cy="142185"/>
              </a:xfrm>
              <a:prstGeom prst="rect">
                <a:avLst/>
              </a:prstGeom>
              <a:solidFill>
                <a:srgbClr val="87CBD8">
                  <a:alpha val="31000"/>
                </a:srgbClr>
              </a:solidFill>
              <a:ln w="12700">
                <a:solidFill>
                  <a:srgbClr val="0067B7"/>
                </a:solidFill>
                <a:miter lim="800000"/>
                <a:headEnd/>
                <a:tailEnd/>
              </a:ln>
            </p:spPr>
            <p:txBody>
              <a:bodyPr rot="0" spcFirstLastPara="0" vertOverflow="overflow" horzOverflow="overflow" vert="horz" wrap="none" lIns="108000" tIns="0" rIns="108000" bIns="0" numCol="1" spcCol="0" rtlCol="0" fromWordArt="0" anchor="ctr" anchorCtr="0" forceAA="0" compatLnSpc="1">
                <a:prstTxWarp prst="textNoShape">
                  <a:avLst/>
                </a:prstTxWarp>
                <a:noAutofit/>
              </a:bodyPr>
              <a:lstStyle/>
              <a:p>
                <a:pPr algn="ctr" defTabSz="449263" eaLnBrk="0" hangingPunct="0">
                  <a:spcBef>
                    <a:spcPct val="20000"/>
                  </a:spcBef>
                  <a:buClr>
                    <a:schemeClr val="accent2"/>
                  </a:buClr>
                  <a:buSzPct val="13000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endParaRPr lang="en-US" sz="900" b="1" dirty="0">
                  <a:solidFill>
                    <a:srgbClr val="0067B7"/>
                  </a:solidFill>
                  <a:latin typeface="Arial" charset="0"/>
                </a:endParaRPr>
              </a:p>
            </p:txBody>
          </p:sp>
          <p:sp>
            <p:nvSpPr>
              <p:cNvPr id="100" name="Rectangle 99">
                <a:extLst>
                  <a:ext uri="{FF2B5EF4-FFF2-40B4-BE49-F238E27FC236}">
                    <a16:creationId xmlns:a16="http://schemas.microsoft.com/office/drawing/2014/main" id="{F67BCE9F-DE66-9C44-9079-1FC96AEECBA3}"/>
                  </a:ext>
                </a:extLst>
              </p:cNvPr>
              <p:cNvSpPr/>
              <p:nvPr/>
            </p:nvSpPr>
            <p:spPr>
              <a:xfrm flipV="1">
                <a:off x="10868226" y="2454157"/>
                <a:ext cx="98130" cy="36000"/>
              </a:xfrm>
              <a:prstGeom prst="rect">
                <a:avLst/>
              </a:prstGeom>
              <a:solidFill>
                <a:srgbClr val="87CBD8">
                  <a:alpha val="31000"/>
                </a:srgbClr>
              </a:solidFill>
              <a:ln w="12700">
                <a:solidFill>
                  <a:srgbClr val="0067B7"/>
                </a:solidFill>
                <a:miter lim="800000"/>
                <a:headEnd/>
                <a:tailEnd/>
              </a:ln>
            </p:spPr>
            <p:txBody>
              <a:bodyPr rot="0" spcFirstLastPara="0" vertOverflow="overflow" horzOverflow="overflow" vert="horz" wrap="none" lIns="108000" tIns="0" rIns="108000" bIns="0" numCol="1" spcCol="0" rtlCol="0" fromWordArt="0" anchor="ctr" anchorCtr="0" forceAA="0" compatLnSpc="1">
                <a:prstTxWarp prst="textNoShape">
                  <a:avLst/>
                </a:prstTxWarp>
                <a:noAutofit/>
              </a:bodyPr>
              <a:lstStyle/>
              <a:p>
                <a:pPr algn="ctr" defTabSz="449263" eaLnBrk="0" hangingPunct="0">
                  <a:spcBef>
                    <a:spcPct val="20000"/>
                  </a:spcBef>
                  <a:buClr>
                    <a:schemeClr val="accent2"/>
                  </a:buClr>
                  <a:buSzPct val="13000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endParaRPr lang="en-US" sz="900" b="1" dirty="0">
                  <a:solidFill>
                    <a:srgbClr val="0067B7"/>
                  </a:solidFill>
                  <a:latin typeface="Arial" charset="0"/>
                </a:endParaRPr>
              </a:p>
            </p:txBody>
          </p:sp>
          <p:sp>
            <p:nvSpPr>
              <p:cNvPr id="101" name="Rectangle 100">
                <a:extLst>
                  <a:ext uri="{FF2B5EF4-FFF2-40B4-BE49-F238E27FC236}">
                    <a16:creationId xmlns:a16="http://schemas.microsoft.com/office/drawing/2014/main" id="{68C79026-7C3F-A24C-91CD-71B32B63D207}"/>
                  </a:ext>
                </a:extLst>
              </p:cNvPr>
              <p:cNvSpPr/>
              <p:nvPr/>
            </p:nvSpPr>
            <p:spPr>
              <a:xfrm flipV="1">
                <a:off x="10863517" y="2393280"/>
                <a:ext cx="98130" cy="36000"/>
              </a:xfrm>
              <a:prstGeom prst="rect">
                <a:avLst/>
              </a:prstGeom>
              <a:solidFill>
                <a:srgbClr val="87CBD8">
                  <a:alpha val="31000"/>
                </a:srgbClr>
              </a:solidFill>
              <a:ln w="12700">
                <a:solidFill>
                  <a:srgbClr val="0067B7"/>
                </a:solidFill>
                <a:miter lim="800000"/>
                <a:headEnd/>
                <a:tailEnd/>
              </a:ln>
            </p:spPr>
            <p:txBody>
              <a:bodyPr rot="0" spcFirstLastPara="0" vertOverflow="overflow" horzOverflow="overflow" vert="horz" wrap="none" lIns="108000" tIns="0" rIns="108000" bIns="0" numCol="1" spcCol="0" rtlCol="0" fromWordArt="0" anchor="ctr" anchorCtr="0" forceAA="0" compatLnSpc="1">
                <a:prstTxWarp prst="textNoShape">
                  <a:avLst/>
                </a:prstTxWarp>
                <a:noAutofit/>
              </a:bodyPr>
              <a:lstStyle/>
              <a:p>
                <a:pPr algn="ctr" defTabSz="449263" eaLnBrk="0" hangingPunct="0">
                  <a:spcBef>
                    <a:spcPct val="20000"/>
                  </a:spcBef>
                  <a:buClr>
                    <a:schemeClr val="accent2"/>
                  </a:buClr>
                  <a:buSzPct val="13000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endParaRPr lang="en-US" sz="900" b="1" dirty="0">
                  <a:solidFill>
                    <a:srgbClr val="0067B7"/>
                  </a:solidFill>
                  <a:latin typeface="Arial" charset="0"/>
                </a:endParaRPr>
              </a:p>
            </p:txBody>
          </p:sp>
        </p:grpSp>
      </p:grpSp>
      <p:grpSp>
        <p:nvGrpSpPr>
          <p:cNvPr id="102" name="Group 101">
            <a:extLst>
              <a:ext uri="{FF2B5EF4-FFF2-40B4-BE49-F238E27FC236}">
                <a16:creationId xmlns:a16="http://schemas.microsoft.com/office/drawing/2014/main" id="{931DA791-9547-7D40-AD3F-1843E4E84F28}"/>
              </a:ext>
            </a:extLst>
          </p:cNvPr>
          <p:cNvGrpSpPr/>
          <p:nvPr/>
        </p:nvGrpSpPr>
        <p:grpSpPr>
          <a:xfrm>
            <a:off x="3902208" y="4750885"/>
            <a:ext cx="1139509" cy="460228"/>
            <a:chOff x="8957625" y="2854995"/>
            <a:chExt cx="1097217" cy="460228"/>
          </a:xfrm>
        </p:grpSpPr>
        <p:sp>
          <p:nvSpPr>
            <p:cNvPr id="103" name="Rectangle 102">
              <a:extLst>
                <a:ext uri="{FF2B5EF4-FFF2-40B4-BE49-F238E27FC236}">
                  <a16:creationId xmlns:a16="http://schemas.microsoft.com/office/drawing/2014/main" id="{532E9A92-F537-604F-A2DD-5C0992CC0BD6}"/>
                </a:ext>
              </a:extLst>
            </p:cNvPr>
            <p:cNvSpPr/>
            <p:nvPr/>
          </p:nvSpPr>
          <p:spPr>
            <a:xfrm>
              <a:off x="8957625" y="2854995"/>
              <a:ext cx="1097217" cy="460228"/>
            </a:xfrm>
            <a:prstGeom prst="rect">
              <a:avLst/>
            </a:prstGeom>
            <a:solidFill>
              <a:srgbClr val="87CBD8">
                <a:alpha val="31000"/>
              </a:srgbClr>
            </a:solidFill>
            <a:ln w="12700">
              <a:solidFill>
                <a:srgbClr val="0067B7"/>
              </a:solidFill>
              <a:miter lim="800000"/>
              <a:headEnd/>
              <a:tailEnd/>
            </a:ln>
          </p:spPr>
          <p:txBody>
            <a:bodyPr rot="0" spcFirstLastPara="0" vertOverflow="overflow" horzOverflow="overflow" vert="horz" wrap="none" lIns="108000" tIns="0" rIns="108000" bIns="0" numCol="1" spcCol="0" rtlCol="0" fromWordArt="0" anchor="ctr" anchorCtr="0" forceAA="0" compatLnSpc="1">
              <a:prstTxWarp prst="textNoShape">
                <a:avLst/>
              </a:prstTxWarp>
              <a:noAutofit/>
            </a:bodyPr>
            <a:lstStyle/>
            <a:p>
              <a:pPr algn="ctr" defTabSz="449263" eaLnBrk="0" hangingPunct="0">
                <a:spcBef>
                  <a:spcPct val="20000"/>
                </a:spcBef>
                <a:buClr>
                  <a:schemeClr val="accent2"/>
                </a:buClr>
                <a:buSzPct val="13000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endParaRPr lang="en-US" sz="900" b="1" dirty="0">
                <a:solidFill>
                  <a:srgbClr val="0067B7"/>
                </a:solidFill>
                <a:latin typeface="Arial" charset="0"/>
              </a:endParaRPr>
            </a:p>
            <a:p>
              <a:pPr algn="ctr" defTabSz="449263" eaLnBrk="0" hangingPunct="0">
                <a:spcBef>
                  <a:spcPct val="20000"/>
                </a:spcBef>
                <a:buClr>
                  <a:schemeClr val="accent2"/>
                </a:buClr>
                <a:buSzPct val="13000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endParaRPr lang="en-US" sz="900" b="1" dirty="0">
                <a:solidFill>
                  <a:srgbClr val="0067B7"/>
                </a:solidFill>
                <a:latin typeface="Arial" charset="0"/>
              </a:endParaRPr>
            </a:p>
            <a:p>
              <a:pPr algn="ctr" defTabSz="449263" eaLnBrk="0" hangingPunct="0">
                <a:spcBef>
                  <a:spcPct val="20000"/>
                </a:spcBef>
                <a:buClr>
                  <a:schemeClr val="accent2"/>
                </a:buClr>
                <a:buSzPct val="13000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r>
                <a:rPr lang="en-US" sz="800" b="1" dirty="0" err="1">
                  <a:solidFill>
                    <a:srgbClr val="0067B7"/>
                  </a:solidFill>
                  <a:latin typeface="Arial" charset="0"/>
                </a:rPr>
                <a:t>SourceService</a:t>
              </a:r>
              <a:endParaRPr lang="en-US" sz="800" b="1" dirty="0">
                <a:solidFill>
                  <a:srgbClr val="0067B7"/>
                </a:solidFill>
                <a:latin typeface="Arial" charset="0"/>
              </a:endParaRPr>
            </a:p>
            <a:p>
              <a:pPr algn="ctr" defTabSz="449263" eaLnBrk="0" hangingPunct="0">
                <a:spcBef>
                  <a:spcPct val="20000"/>
                </a:spcBef>
                <a:buClr>
                  <a:schemeClr val="accent2"/>
                </a:buClr>
                <a:buSzPct val="13000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endParaRPr lang="en-US" sz="800" b="1" dirty="0">
                <a:solidFill>
                  <a:srgbClr val="0067B7"/>
                </a:solidFill>
                <a:latin typeface="Arial" charset="0"/>
              </a:endParaRPr>
            </a:p>
          </p:txBody>
        </p:sp>
        <p:grpSp>
          <p:nvGrpSpPr>
            <p:cNvPr id="104" name="Group 103">
              <a:extLst>
                <a:ext uri="{FF2B5EF4-FFF2-40B4-BE49-F238E27FC236}">
                  <a16:creationId xmlns:a16="http://schemas.microsoft.com/office/drawing/2014/main" id="{76BCAA11-B4D6-7A48-B4BD-5CF209CD02A8}"/>
                </a:ext>
              </a:extLst>
            </p:cNvPr>
            <p:cNvGrpSpPr/>
            <p:nvPr/>
          </p:nvGrpSpPr>
          <p:grpSpPr>
            <a:xfrm>
              <a:off x="9799593" y="2906249"/>
              <a:ext cx="198209" cy="142185"/>
              <a:chOff x="10863517" y="2372849"/>
              <a:chExt cx="198209" cy="142185"/>
            </a:xfrm>
          </p:grpSpPr>
          <p:sp>
            <p:nvSpPr>
              <p:cNvPr id="105" name="Rectangle 104">
                <a:extLst>
                  <a:ext uri="{FF2B5EF4-FFF2-40B4-BE49-F238E27FC236}">
                    <a16:creationId xmlns:a16="http://schemas.microsoft.com/office/drawing/2014/main" id="{3E8C1C63-BD3B-AC42-9847-5CE853965362}"/>
                  </a:ext>
                </a:extLst>
              </p:cNvPr>
              <p:cNvSpPr/>
              <p:nvPr/>
            </p:nvSpPr>
            <p:spPr>
              <a:xfrm>
                <a:off x="10918955" y="2372849"/>
                <a:ext cx="142771" cy="142185"/>
              </a:xfrm>
              <a:prstGeom prst="rect">
                <a:avLst/>
              </a:prstGeom>
              <a:solidFill>
                <a:srgbClr val="87CBD8">
                  <a:alpha val="31000"/>
                </a:srgbClr>
              </a:solidFill>
              <a:ln w="12700">
                <a:solidFill>
                  <a:srgbClr val="0067B7"/>
                </a:solidFill>
                <a:miter lim="800000"/>
                <a:headEnd/>
                <a:tailEnd/>
              </a:ln>
            </p:spPr>
            <p:txBody>
              <a:bodyPr rot="0" spcFirstLastPara="0" vertOverflow="overflow" horzOverflow="overflow" vert="horz" wrap="none" lIns="108000" tIns="0" rIns="108000" bIns="0" numCol="1" spcCol="0" rtlCol="0" fromWordArt="0" anchor="ctr" anchorCtr="0" forceAA="0" compatLnSpc="1">
                <a:prstTxWarp prst="textNoShape">
                  <a:avLst/>
                </a:prstTxWarp>
                <a:noAutofit/>
              </a:bodyPr>
              <a:lstStyle/>
              <a:p>
                <a:pPr algn="ctr" defTabSz="449263" eaLnBrk="0" hangingPunct="0">
                  <a:spcBef>
                    <a:spcPct val="20000"/>
                  </a:spcBef>
                  <a:buClr>
                    <a:schemeClr val="accent2"/>
                  </a:buClr>
                  <a:buSzPct val="13000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endParaRPr lang="en-US" sz="900" b="1" dirty="0">
                  <a:solidFill>
                    <a:srgbClr val="0067B7"/>
                  </a:solidFill>
                  <a:latin typeface="Arial" charset="0"/>
                </a:endParaRPr>
              </a:p>
            </p:txBody>
          </p:sp>
          <p:sp>
            <p:nvSpPr>
              <p:cNvPr id="106" name="Rectangle 105">
                <a:extLst>
                  <a:ext uri="{FF2B5EF4-FFF2-40B4-BE49-F238E27FC236}">
                    <a16:creationId xmlns:a16="http://schemas.microsoft.com/office/drawing/2014/main" id="{B53A1C76-90A9-214D-B8DC-419548925ABB}"/>
                  </a:ext>
                </a:extLst>
              </p:cNvPr>
              <p:cNvSpPr/>
              <p:nvPr/>
            </p:nvSpPr>
            <p:spPr>
              <a:xfrm flipV="1">
                <a:off x="10868226" y="2454157"/>
                <a:ext cx="98130" cy="36000"/>
              </a:xfrm>
              <a:prstGeom prst="rect">
                <a:avLst/>
              </a:prstGeom>
              <a:solidFill>
                <a:srgbClr val="87CBD8">
                  <a:alpha val="31000"/>
                </a:srgbClr>
              </a:solidFill>
              <a:ln w="12700">
                <a:solidFill>
                  <a:srgbClr val="0067B7"/>
                </a:solidFill>
                <a:miter lim="800000"/>
                <a:headEnd/>
                <a:tailEnd/>
              </a:ln>
            </p:spPr>
            <p:txBody>
              <a:bodyPr rot="0" spcFirstLastPara="0" vertOverflow="overflow" horzOverflow="overflow" vert="horz" wrap="none" lIns="108000" tIns="0" rIns="108000" bIns="0" numCol="1" spcCol="0" rtlCol="0" fromWordArt="0" anchor="ctr" anchorCtr="0" forceAA="0" compatLnSpc="1">
                <a:prstTxWarp prst="textNoShape">
                  <a:avLst/>
                </a:prstTxWarp>
                <a:noAutofit/>
              </a:bodyPr>
              <a:lstStyle/>
              <a:p>
                <a:pPr algn="ctr" defTabSz="449263" eaLnBrk="0" hangingPunct="0">
                  <a:spcBef>
                    <a:spcPct val="20000"/>
                  </a:spcBef>
                  <a:buClr>
                    <a:schemeClr val="accent2"/>
                  </a:buClr>
                  <a:buSzPct val="13000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endParaRPr lang="en-US" sz="900" b="1" dirty="0">
                  <a:solidFill>
                    <a:srgbClr val="0067B7"/>
                  </a:solidFill>
                  <a:latin typeface="Arial" charset="0"/>
                </a:endParaRPr>
              </a:p>
            </p:txBody>
          </p:sp>
          <p:sp>
            <p:nvSpPr>
              <p:cNvPr id="107" name="Rectangle 106">
                <a:extLst>
                  <a:ext uri="{FF2B5EF4-FFF2-40B4-BE49-F238E27FC236}">
                    <a16:creationId xmlns:a16="http://schemas.microsoft.com/office/drawing/2014/main" id="{51864CFC-CA6B-BE4A-9E22-86FAAF733620}"/>
                  </a:ext>
                </a:extLst>
              </p:cNvPr>
              <p:cNvSpPr/>
              <p:nvPr/>
            </p:nvSpPr>
            <p:spPr>
              <a:xfrm flipV="1">
                <a:off x="10863517" y="2393280"/>
                <a:ext cx="98130" cy="36000"/>
              </a:xfrm>
              <a:prstGeom prst="rect">
                <a:avLst/>
              </a:prstGeom>
              <a:solidFill>
                <a:srgbClr val="87CBD8">
                  <a:alpha val="31000"/>
                </a:srgbClr>
              </a:solidFill>
              <a:ln w="12700">
                <a:solidFill>
                  <a:srgbClr val="0067B7"/>
                </a:solidFill>
                <a:miter lim="800000"/>
                <a:headEnd/>
                <a:tailEnd/>
              </a:ln>
            </p:spPr>
            <p:txBody>
              <a:bodyPr rot="0" spcFirstLastPara="0" vertOverflow="overflow" horzOverflow="overflow" vert="horz" wrap="none" lIns="108000" tIns="0" rIns="108000" bIns="0" numCol="1" spcCol="0" rtlCol="0" fromWordArt="0" anchor="ctr" anchorCtr="0" forceAA="0" compatLnSpc="1">
                <a:prstTxWarp prst="textNoShape">
                  <a:avLst/>
                </a:prstTxWarp>
                <a:noAutofit/>
              </a:bodyPr>
              <a:lstStyle/>
              <a:p>
                <a:pPr algn="ctr" defTabSz="449263" eaLnBrk="0" hangingPunct="0">
                  <a:spcBef>
                    <a:spcPct val="20000"/>
                  </a:spcBef>
                  <a:buClr>
                    <a:schemeClr val="accent2"/>
                  </a:buClr>
                  <a:buSzPct val="13000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endParaRPr lang="en-US" sz="900" b="1" dirty="0">
                  <a:solidFill>
                    <a:srgbClr val="0067B7"/>
                  </a:solidFill>
                  <a:latin typeface="Arial" charset="0"/>
                </a:endParaRPr>
              </a:p>
            </p:txBody>
          </p:sp>
        </p:grpSp>
      </p:grpSp>
      <p:cxnSp>
        <p:nvCxnSpPr>
          <p:cNvPr id="48" name="Straight Arrow Connector 47">
            <a:extLst>
              <a:ext uri="{FF2B5EF4-FFF2-40B4-BE49-F238E27FC236}">
                <a16:creationId xmlns:a16="http://schemas.microsoft.com/office/drawing/2014/main" id="{03E46470-B08A-DC43-855E-34450F1095BB}"/>
              </a:ext>
            </a:extLst>
          </p:cNvPr>
          <p:cNvCxnSpPr>
            <a:cxnSpLocks/>
            <a:stCxn id="110" idx="2"/>
          </p:cNvCxnSpPr>
          <p:nvPr/>
        </p:nvCxnSpPr>
        <p:spPr>
          <a:xfrm flipH="1">
            <a:off x="6277722" y="3928375"/>
            <a:ext cx="2393833" cy="831654"/>
          </a:xfrm>
          <a:prstGeom prst="straightConnector1">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grpSp>
        <p:nvGrpSpPr>
          <p:cNvPr id="127" name="Group 126">
            <a:extLst>
              <a:ext uri="{FF2B5EF4-FFF2-40B4-BE49-F238E27FC236}">
                <a16:creationId xmlns:a16="http://schemas.microsoft.com/office/drawing/2014/main" id="{CB7A4544-BF28-9F4F-82FB-866FA3C1EE09}"/>
              </a:ext>
            </a:extLst>
          </p:cNvPr>
          <p:cNvGrpSpPr/>
          <p:nvPr/>
        </p:nvGrpSpPr>
        <p:grpSpPr>
          <a:xfrm>
            <a:off x="4960731" y="2250779"/>
            <a:ext cx="1097217" cy="460228"/>
            <a:chOff x="8957625" y="2854995"/>
            <a:chExt cx="1097217" cy="460228"/>
          </a:xfrm>
        </p:grpSpPr>
        <p:sp>
          <p:nvSpPr>
            <p:cNvPr id="128" name="Rectangle 127">
              <a:extLst>
                <a:ext uri="{FF2B5EF4-FFF2-40B4-BE49-F238E27FC236}">
                  <a16:creationId xmlns:a16="http://schemas.microsoft.com/office/drawing/2014/main" id="{99F1937B-CF47-8E4D-91C9-A5C90E7160DA}"/>
                </a:ext>
              </a:extLst>
            </p:cNvPr>
            <p:cNvSpPr/>
            <p:nvPr/>
          </p:nvSpPr>
          <p:spPr>
            <a:xfrm>
              <a:off x="8957625" y="2854995"/>
              <a:ext cx="1097217" cy="460228"/>
            </a:xfrm>
            <a:prstGeom prst="rect">
              <a:avLst/>
            </a:prstGeom>
            <a:solidFill>
              <a:srgbClr val="87CBD8">
                <a:alpha val="31000"/>
              </a:srgbClr>
            </a:solidFill>
            <a:ln w="12700">
              <a:solidFill>
                <a:srgbClr val="0067B7"/>
              </a:solidFill>
              <a:miter lim="800000"/>
              <a:headEnd/>
              <a:tailEnd/>
            </a:ln>
          </p:spPr>
          <p:txBody>
            <a:bodyPr rot="0" spcFirstLastPara="0" vertOverflow="overflow" horzOverflow="overflow" vert="horz" wrap="none" lIns="108000" tIns="0" rIns="108000" bIns="0" numCol="1" spcCol="0" rtlCol="0" fromWordArt="0" anchor="ctr" anchorCtr="0" forceAA="0" compatLnSpc="1">
              <a:prstTxWarp prst="textNoShape">
                <a:avLst/>
              </a:prstTxWarp>
              <a:noAutofit/>
            </a:bodyPr>
            <a:lstStyle/>
            <a:p>
              <a:pPr algn="ctr" defTabSz="449263" eaLnBrk="0" hangingPunct="0">
                <a:spcBef>
                  <a:spcPct val="20000"/>
                </a:spcBef>
                <a:buClr>
                  <a:schemeClr val="accent2"/>
                </a:buClr>
                <a:buSzPct val="13000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endParaRPr lang="en-US" sz="900" b="1" dirty="0">
                <a:solidFill>
                  <a:srgbClr val="0067B7"/>
                </a:solidFill>
                <a:latin typeface="Arial" charset="0"/>
              </a:endParaRPr>
            </a:p>
            <a:p>
              <a:pPr algn="ctr" defTabSz="449263" eaLnBrk="0" hangingPunct="0">
                <a:spcBef>
                  <a:spcPct val="20000"/>
                </a:spcBef>
                <a:buClr>
                  <a:schemeClr val="accent2"/>
                </a:buClr>
                <a:buSzPct val="13000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endParaRPr lang="en-US" sz="900" b="1" dirty="0">
                <a:solidFill>
                  <a:srgbClr val="0067B7"/>
                </a:solidFill>
                <a:latin typeface="Arial" charset="0"/>
              </a:endParaRPr>
            </a:p>
            <a:p>
              <a:pPr algn="ctr" defTabSz="449263" eaLnBrk="0" hangingPunct="0">
                <a:spcBef>
                  <a:spcPct val="20000"/>
                </a:spcBef>
                <a:buClr>
                  <a:schemeClr val="accent2"/>
                </a:buClr>
                <a:buSzPct val="13000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r>
                <a:rPr lang="en-US" sz="800" b="1" dirty="0" err="1">
                  <a:solidFill>
                    <a:srgbClr val="0067B7"/>
                  </a:solidFill>
                  <a:latin typeface="Arial" charset="0"/>
                </a:rPr>
                <a:t>ProducerService</a:t>
              </a:r>
              <a:endParaRPr lang="en-US" sz="800" b="1" dirty="0">
                <a:solidFill>
                  <a:srgbClr val="0067B7"/>
                </a:solidFill>
                <a:latin typeface="Arial" charset="0"/>
              </a:endParaRPr>
            </a:p>
            <a:p>
              <a:pPr algn="ctr" defTabSz="449263" eaLnBrk="0" hangingPunct="0">
                <a:spcBef>
                  <a:spcPct val="20000"/>
                </a:spcBef>
                <a:buClr>
                  <a:schemeClr val="accent2"/>
                </a:buClr>
                <a:buSzPct val="13000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endParaRPr lang="en-US" sz="800" b="1" dirty="0">
                <a:solidFill>
                  <a:srgbClr val="0067B7"/>
                </a:solidFill>
                <a:latin typeface="Arial" charset="0"/>
              </a:endParaRPr>
            </a:p>
          </p:txBody>
        </p:sp>
        <p:grpSp>
          <p:nvGrpSpPr>
            <p:cNvPr id="129" name="Group 128">
              <a:extLst>
                <a:ext uri="{FF2B5EF4-FFF2-40B4-BE49-F238E27FC236}">
                  <a16:creationId xmlns:a16="http://schemas.microsoft.com/office/drawing/2014/main" id="{B79AA8AA-C314-F54E-9B3D-84152E4E5250}"/>
                </a:ext>
              </a:extLst>
            </p:cNvPr>
            <p:cNvGrpSpPr/>
            <p:nvPr/>
          </p:nvGrpSpPr>
          <p:grpSpPr>
            <a:xfrm>
              <a:off x="9799593" y="2906249"/>
              <a:ext cx="198209" cy="142185"/>
              <a:chOff x="10863517" y="2372849"/>
              <a:chExt cx="198209" cy="142185"/>
            </a:xfrm>
          </p:grpSpPr>
          <p:sp>
            <p:nvSpPr>
              <p:cNvPr id="130" name="Rectangle 129">
                <a:extLst>
                  <a:ext uri="{FF2B5EF4-FFF2-40B4-BE49-F238E27FC236}">
                    <a16:creationId xmlns:a16="http://schemas.microsoft.com/office/drawing/2014/main" id="{CC469E04-E80E-BA43-9583-2F2FD512DA42}"/>
                  </a:ext>
                </a:extLst>
              </p:cNvPr>
              <p:cNvSpPr/>
              <p:nvPr/>
            </p:nvSpPr>
            <p:spPr>
              <a:xfrm>
                <a:off x="10918955" y="2372849"/>
                <a:ext cx="142771" cy="142185"/>
              </a:xfrm>
              <a:prstGeom prst="rect">
                <a:avLst/>
              </a:prstGeom>
              <a:solidFill>
                <a:srgbClr val="87CBD8">
                  <a:alpha val="31000"/>
                </a:srgbClr>
              </a:solidFill>
              <a:ln w="12700">
                <a:solidFill>
                  <a:srgbClr val="0067B7"/>
                </a:solidFill>
                <a:miter lim="800000"/>
                <a:headEnd/>
                <a:tailEnd/>
              </a:ln>
            </p:spPr>
            <p:txBody>
              <a:bodyPr rot="0" spcFirstLastPara="0" vertOverflow="overflow" horzOverflow="overflow" vert="horz" wrap="none" lIns="108000" tIns="0" rIns="108000" bIns="0" numCol="1" spcCol="0" rtlCol="0" fromWordArt="0" anchor="ctr" anchorCtr="0" forceAA="0" compatLnSpc="1">
                <a:prstTxWarp prst="textNoShape">
                  <a:avLst/>
                </a:prstTxWarp>
                <a:noAutofit/>
              </a:bodyPr>
              <a:lstStyle/>
              <a:p>
                <a:pPr algn="ctr" defTabSz="449263" eaLnBrk="0" hangingPunct="0">
                  <a:spcBef>
                    <a:spcPct val="20000"/>
                  </a:spcBef>
                  <a:buClr>
                    <a:schemeClr val="accent2"/>
                  </a:buClr>
                  <a:buSzPct val="13000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endParaRPr lang="en-US" sz="900" b="1" dirty="0">
                  <a:solidFill>
                    <a:srgbClr val="0067B7"/>
                  </a:solidFill>
                  <a:latin typeface="Arial" charset="0"/>
                </a:endParaRPr>
              </a:p>
            </p:txBody>
          </p:sp>
          <p:sp>
            <p:nvSpPr>
              <p:cNvPr id="131" name="Rectangle 130">
                <a:extLst>
                  <a:ext uri="{FF2B5EF4-FFF2-40B4-BE49-F238E27FC236}">
                    <a16:creationId xmlns:a16="http://schemas.microsoft.com/office/drawing/2014/main" id="{F9949AE1-0D47-1A4A-9D34-DD502FA2147C}"/>
                  </a:ext>
                </a:extLst>
              </p:cNvPr>
              <p:cNvSpPr/>
              <p:nvPr/>
            </p:nvSpPr>
            <p:spPr>
              <a:xfrm flipV="1">
                <a:off x="10868226" y="2454157"/>
                <a:ext cx="98130" cy="36000"/>
              </a:xfrm>
              <a:prstGeom prst="rect">
                <a:avLst/>
              </a:prstGeom>
              <a:solidFill>
                <a:srgbClr val="87CBD8">
                  <a:alpha val="31000"/>
                </a:srgbClr>
              </a:solidFill>
              <a:ln w="12700">
                <a:solidFill>
                  <a:srgbClr val="0067B7"/>
                </a:solidFill>
                <a:miter lim="800000"/>
                <a:headEnd/>
                <a:tailEnd/>
              </a:ln>
            </p:spPr>
            <p:txBody>
              <a:bodyPr rot="0" spcFirstLastPara="0" vertOverflow="overflow" horzOverflow="overflow" vert="horz" wrap="none" lIns="108000" tIns="0" rIns="108000" bIns="0" numCol="1" spcCol="0" rtlCol="0" fromWordArt="0" anchor="ctr" anchorCtr="0" forceAA="0" compatLnSpc="1">
                <a:prstTxWarp prst="textNoShape">
                  <a:avLst/>
                </a:prstTxWarp>
                <a:noAutofit/>
              </a:bodyPr>
              <a:lstStyle/>
              <a:p>
                <a:pPr algn="ctr" defTabSz="449263" eaLnBrk="0" hangingPunct="0">
                  <a:spcBef>
                    <a:spcPct val="20000"/>
                  </a:spcBef>
                  <a:buClr>
                    <a:schemeClr val="accent2"/>
                  </a:buClr>
                  <a:buSzPct val="13000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endParaRPr lang="en-US" sz="900" b="1" dirty="0">
                  <a:solidFill>
                    <a:srgbClr val="0067B7"/>
                  </a:solidFill>
                  <a:latin typeface="Arial" charset="0"/>
                </a:endParaRPr>
              </a:p>
            </p:txBody>
          </p:sp>
          <p:sp>
            <p:nvSpPr>
              <p:cNvPr id="132" name="Rectangle 131">
                <a:extLst>
                  <a:ext uri="{FF2B5EF4-FFF2-40B4-BE49-F238E27FC236}">
                    <a16:creationId xmlns:a16="http://schemas.microsoft.com/office/drawing/2014/main" id="{E4FA00D9-431C-E740-B80C-B90B1979F966}"/>
                  </a:ext>
                </a:extLst>
              </p:cNvPr>
              <p:cNvSpPr/>
              <p:nvPr/>
            </p:nvSpPr>
            <p:spPr>
              <a:xfrm flipV="1">
                <a:off x="10863517" y="2393280"/>
                <a:ext cx="98130" cy="36000"/>
              </a:xfrm>
              <a:prstGeom prst="rect">
                <a:avLst/>
              </a:prstGeom>
              <a:solidFill>
                <a:srgbClr val="87CBD8">
                  <a:alpha val="31000"/>
                </a:srgbClr>
              </a:solidFill>
              <a:ln w="12700">
                <a:solidFill>
                  <a:srgbClr val="0067B7"/>
                </a:solidFill>
                <a:miter lim="800000"/>
                <a:headEnd/>
                <a:tailEnd/>
              </a:ln>
            </p:spPr>
            <p:txBody>
              <a:bodyPr rot="0" spcFirstLastPara="0" vertOverflow="overflow" horzOverflow="overflow" vert="horz" wrap="none" lIns="108000" tIns="0" rIns="108000" bIns="0" numCol="1" spcCol="0" rtlCol="0" fromWordArt="0" anchor="ctr" anchorCtr="0" forceAA="0" compatLnSpc="1">
                <a:prstTxWarp prst="textNoShape">
                  <a:avLst/>
                </a:prstTxWarp>
                <a:noAutofit/>
              </a:bodyPr>
              <a:lstStyle/>
              <a:p>
                <a:pPr algn="ctr" defTabSz="449263" eaLnBrk="0" hangingPunct="0">
                  <a:spcBef>
                    <a:spcPct val="20000"/>
                  </a:spcBef>
                  <a:buClr>
                    <a:schemeClr val="accent2"/>
                  </a:buClr>
                  <a:buSzPct val="13000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endParaRPr lang="en-US" sz="900" b="1" dirty="0">
                  <a:solidFill>
                    <a:srgbClr val="0067B7"/>
                  </a:solidFill>
                  <a:latin typeface="Arial" charset="0"/>
                </a:endParaRPr>
              </a:p>
            </p:txBody>
          </p:sp>
        </p:grpSp>
      </p:grpSp>
      <p:grpSp>
        <p:nvGrpSpPr>
          <p:cNvPr id="139" name="Group 138">
            <a:extLst>
              <a:ext uri="{FF2B5EF4-FFF2-40B4-BE49-F238E27FC236}">
                <a16:creationId xmlns:a16="http://schemas.microsoft.com/office/drawing/2014/main" id="{BC722997-D4A1-D54B-9159-E128C7308FFE}"/>
              </a:ext>
            </a:extLst>
          </p:cNvPr>
          <p:cNvGrpSpPr/>
          <p:nvPr/>
        </p:nvGrpSpPr>
        <p:grpSpPr>
          <a:xfrm>
            <a:off x="6563190" y="3466613"/>
            <a:ext cx="1097217" cy="460228"/>
            <a:chOff x="8957625" y="2854995"/>
            <a:chExt cx="1097217" cy="460228"/>
          </a:xfrm>
        </p:grpSpPr>
        <p:sp>
          <p:nvSpPr>
            <p:cNvPr id="140" name="Rectangle 139">
              <a:extLst>
                <a:ext uri="{FF2B5EF4-FFF2-40B4-BE49-F238E27FC236}">
                  <a16:creationId xmlns:a16="http://schemas.microsoft.com/office/drawing/2014/main" id="{E0754C1B-9FBE-5B4C-BF46-DC3A1FAEE4E3}"/>
                </a:ext>
              </a:extLst>
            </p:cNvPr>
            <p:cNvSpPr/>
            <p:nvPr/>
          </p:nvSpPr>
          <p:spPr>
            <a:xfrm>
              <a:off x="8957625" y="2854995"/>
              <a:ext cx="1097217" cy="460228"/>
            </a:xfrm>
            <a:prstGeom prst="rect">
              <a:avLst/>
            </a:prstGeom>
            <a:solidFill>
              <a:srgbClr val="87CBD8">
                <a:alpha val="31000"/>
              </a:srgbClr>
            </a:solidFill>
            <a:ln w="12700">
              <a:solidFill>
                <a:srgbClr val="0067B7"/>
              </a:solidFill>
              <a:miter lim="800000"/>
              <a:headEnd/>
              <a:tailEnd/>
            </a:ln>
          </p:spPr>
          <p:txBody>
            <a:bodyPr rot="0" spcFirstLastPara="0" vertOverflow="overflow" horzOverflow="overflow" vert="horz" wrap="none" lIns="108000" tIns="0" rIns="108000" bIns="0" numCol="1" spcCol="0" rtlCol="0" fromWordArt="0" anchor="ctr" anchorCtr="0" forceAA="0" compatLnSpc="1">
              <a:prstTxWarp prst="textNoShape">
                <a:avLst/>
              </a:prstTxWarp>
              <a:noAutofit/>
            </a:bodyPr>
            <a:lstStyle/>
            <a:p>
              <a:pPr algn="ctr" defTabSz="449263" eaLnBrk="0" hangingPunct="0">
                <a:spcBef>
                  <a:spcPct val="20000"/>
                </a:spcBef>
                <a:buClr>
                  <a:schemeClr val="accent2"/>
                </a:buClr>
                <a:buSzPct val="13000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endParaRPr lang="en-US" sz="900" b="1" dirty="0">
                <a:solidFill>
                  <a:srgbClr val="0067B7"/>
                </a:solidFill>
                <a:latin typeface="Arial" charset="0"/>
              </a:endParaRPr>
            </a:p>
            <a:p>
              <a:pPr algn="ctr" defTabSz="449263" eaLnBrk="0" hangingPunct="0">
                <a:spcBef>
                  <a:spcPct val="20000"/>
                </a:spcBef>
                <a:buClr>
                  <a:schemeClr val="accent2"/>
                </a:buClr>
                <a:buSzPct val="13000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endParaRPr lang="en-US" sz="900" b="1" dirty="0">
                <a:solidFill>
                  <a:srgbClr val="0067B7"/>
                </a:solidFill>
                <a:latin typeface="Arial" charset="0"/>
              </a:endParaRPr>
            </a:p>
            <a:p>
              <a:pPr algn="ctr" defTabSz="449263" eaLnBrk="0" hangingPunct="0">
                <a:spcBef>
                  <a:spcPct val="20000"/>
                </a:spcBef>
                <a:buClr>
                  <a:schemeClr val="accent2"/>
                </a:buClr>
                <a:buSzPct val="13000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r>
                <a:rPr lang="en-US" sz="800" b="1" dirty="0" err="1">
                  <a:solidFill>
                    <a:srgbClr val="0067B7"/>
                  </a:solidFill>
                  <a:latin typeface="Arial" charset="0"/>
                </a:rPr>
                <a:t>StreamEngie</a:t>
              </a:r>
              <a:endParaRPr lang="en-US" sz="800" b="1" dirty="0">
                <a:solidFill>
                  <a:srgbClr val="0067B7"/>
                </a:solidFill>
                <a:latin typeface="Arial" charset="0"/>
              </a:endParaRPr>
            </a:p>
            <a:p>
              <a:pPr algn="ctr" defTabSz="449263" eaLnBrk="0" hangingPunct="0">
                <a:spcBef>
                  <a:spcPct val="20000"/>
                </a:spcBef>
                <a:buClr>
                  <a:schemeClr val="accent2"/>
                </a:buClr>
                <a:buSzPct val="13000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endParaRPr lang="en-US" sz="800" b="1" dirty="0">
                <a:solidFill>
                  <a:srgbClr val="0067B7"/>
                </a:solidFill>
                <a:latin typeface="Arial" charset="0"/>
              </a:endParaRPr>
            </a:p>
          </p:txBody>
        </p:sp>
        <p:grpSp>
          <p:nvGrpSpPr>
            <p:cNvPr id="141" name="Group 140">
              <a:extLst>
                <a:ext uri="{FF2B5EF4-FFF2-40B4-BE49-F238E27FC236}">
                  <a16:creationId xmlns:a16="http://schemas.microsoft.com/office/drawing/2014/main" id="{BA29D851-4971-2946-982E-ADC7C65AEE08}"/>
                </a:ext>
              </a:extLst>
            </p:cNvPr>
            <p:cNvGrpSpPr/>
            <p:nvPr/>
          </p:nvGrpSpPr>
          <p:grpSpPr>
            <a:xfrm>
              <a:off x="9799593" y="2906249"/>
              <a:ext cx="198209" cy="142185"/>
              <a:chOff x="10863517" y="2372849"/>
              <a:chExt cx="198209" cy="142185"/>
            </a:xfrm>
          </p:grpSpPr>
          <p:sp>
            <p:nvSpPr>
              <p:cNvPr id="142" name="Rectangle 141">
                <a:extLst>
                  <a:ext uri="{FF2B5EF4-FFF2-40B4-BE49-F238E27FC236}">
                    <a16:creationId xmlns:a16="http://schemas.microsoft.com/office/drawing/2014/main" id="{3E855E79-2805-7344-BE93-D7C6148F18DC}"/>
                  </a:ext>
                </a:extLst>
              </p:cNvPr>
              <p:cNvSpPr/>
              <p:nvPr/>
            </p:nvSpPr>
            <p:spPr>
              <a:xfrm>
                <a:off x="10918955" y="2372849"/>
                <a:ext cx="142771" cy="142185"/>
              </a:xfrm>
              <a:prstGeom prst="rect">
                <a:avLst/>
              </a:prstGeom>
              <a:solidFill>
                <a:srgbClr val="87CBD8">
                  <a:alpha val="31000"/>
                </a:srgbClr>
              </a:solidFill>
              <a:ln w="12700">
                <a:solidFill>
                  <a:srgbClr val="0067B7"/>
                </a:solidFill>
                <a:miter lim="800000"/>
                <a:headEnd/>
                <a:tailEnd/>
              </a:ln>
            </p:spPr>
            <p:txBody>
              <a:bodyPr rot="0" spcFirstLastPara="0" vertOverflow="overflow" horzOverflow="overflow" vert="horz" wrap="none" lIns="108000" tIns="0" rIns="108000" bIns="0" numCol="1" spcCol="0" rtlCol="0" fromWordArt="0" anchor="ctr" anchorCtr="0" forceAA="0" compatLnSpc="1">
                <a:prstTxWarp prst="textNoShape">
                  <a:avLst/>
                </a:prstTxWarp>
                <a:noAutofit/>
              </a:bodyPr>
              <a:lstStyle/>
              <a:p>
                <a:pPr algn="ctr" defTabSz="449263" eaLnBrk="0" hangingPunct="0">
                  <a:spcBef>
                    <a:spcPct val="20000"/>
                  </a:spcBef>
                  <a:buClr>
                    <a:schemeClr val="accent2"/>
                  </a:buClr>
                  <a:buSzPct val="13000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endParaRPr lang="en-US" sz="900" b="1" dirty="0">
                  <a:solidFill>
                    <a:srgbClr val="0067B7"/>
                  </a:solidFill>
                  <a:latin typeface="Arial" charset="0"/>
                </a:endParaRPr>
              </a:p>
            </p:txBody>
          </p:sp>
          <p:sp>
            <p:nvSpPr>
              <p:cNvPr id="143" name="Rectangle 142">
                <a:extLst>
                  <a:ext uri="{FF2B5EF4-FFF2-40B4-BE49-F238E27FC236}">
                    <a16:creationId xmlns:a16="http://schemas.microsoft.com/office/drawing/2014/main" id="{D4FF02F9-0223-7E40-9B1C-1E3A9F7B3C3A}"/>
                  </a:ext>
                </a:extLst>
              </p:cNvPr>
              <p:cNvSpPr/>
              <p:nvPr/>
            </p:nvSpPr>
            <p:spPr>
              <a:xfrm flipV="1">
                <a:off x="10868226" y="2454157"/>
                <a:ext cx="98130" cy="36000"/>
              </a:xfrm>
              <a:prstGeom prst="rect">
                <a:avLst/>
              </a:prstGeom>
              <a:solidFill>
                <a:srgbClr val="87CBD8">
                  <a:alpha val="31000"/>
                </a:srgbClr>
              </a:solidFill>
              <a:ln w="12700">
                <a:solidFill>
                  <a:srgbClr val="0067B7"/>
                </a:solidFill>
                <a:miter lim="800000"/>
                <a:headEnd/>
                <a:tailEnd/>
              </a:ln>
            </p:spPr>
            <p:txBody>
              <a:bodyPr rot="0" spcFirstLastPara="0" vertOverflow="overflow" horzOverflow="overflow" vert="horz" wrap="none" lIns="108000" tIns="0" rIns="108000" bIns="0" numCol="1" spcCol="0" rtlCol="0" fromWordArt="0" anchor="ctr" anchorCtr="0" forceAA="0" compatLnSpc="1">
                <a:prstTxWarp prst="textNoShape">
                  <a:avLst/>
                </a:prstTxWarp>
                <a:noAutofit/>
              </a:bodyPr>
              <a:lstStyle/>
              <a:p>
                <a:pPr algn="ctr" defTabSz="449263" eaLnBrk="0" hangingPunct="0">
                  <a:spcBef>
                    <a:spcPct val="20000"/>
                  </a:spcBef>
                  <a:buClr>
                    <a:schemeClr val="accent2"/>
                  </a:buClr>
                  <a:buSzPct val="13000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endParaRPr lang="en-US" sz="900" b="1" dirty="0">
                  <a:solidFill>
                    <a:srgbClr val="0067B7"/>
                  </a:solidFill>
                  <a:latin typeface="Arial" charset="0"/>
                </a:endParaRPr>
              </a:p>
            </p:txBody>
          </p:sp>
          <p:sp>
            <p:nvSpPr>
              <p:cNvPr id="144" name="Rectangle 143">
                <a:extLst>
                  <a:ext uri="{FF2B5EF4-FFF2-40B4-BE49-F238E27FC236}">
                    <a16:creationId xmlns:a16="http://schemas.microsoft.com/office/drawing/2014/main" id="{047EC61B-E2B6-D44F-8854-6D381787A569}"/>
                  </a:ext>
                </a:extLst>
              </p:cNvPr>
              <p:cNvSpPr/>
              <p:nvPr/>
            </p:nvSpPr>
            <p:spPr>
              <a:xfrm flipV="1">
                <a:off x="10863517" y="2393280"/>
                <a:ext cx="98130" cy="36000"/>
              </a:xfrm>
              <a:prstGeom prst="rect">
                <a:avLst/>
              </a:prstGeom>
              <a:solidFill>
                <a:srgbClr val="87CBD8">
                  <a:alpha val="31000"/>
                </a:srgbClr>
              </a:solidFill>
              <a:ln w="12700">
                <a:solidFill>
                  <a:srgbClr val="0067B7"/>
                </a:solidFill>
                <a:miter lim="800000"/>
                <a:headEnd/>
                <a:tailEnd/>
              </a:ln>
            </p:spPr>
            <p:txBody>
              <a:bodyPr rot="0" spcFirstLastPara="0" vertOverflow="overflow" horzOverflow="overflow" vert="horz" wrap="none" lIns="108000" tIns="0" rIns="108000" bIns="0" numCol="1" spcCol="0" rtlCol="0" fromWordArt="0" anchor="ctr" anchorCtr="0" forceAA="0" compatLnSpc="1">
                <a:prstTxWarp prst="textNoShape">
                  <a:avLst/>
                </a:prstTxWarp>
                <a:noAutofit/>
              </a:bodyPr>
              <a:lstStyle/>
              <a:p>
                <a:pPr algn="ctr" defTabSz="449263" eaLnBrk="0" hangingPunct="0">
                  <a:spcBef>
                    <a:spcPct val="20000"/>
                  </a:spcBef>
                  <a:buClr>
                    <a:schemeClr val="accent2"/>
                  </a:buClr>
                  <a:buSzPct val="13000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endParaRPr lang="en-US" sz="900" b="1" dirty="0">
                  <a:solidFill>
                    <a:srgbClr val="0067B7"/>
                  </a:solidFill>
                  <a:latin typeface="Arial" charset="0"/>
                </a:endParaRPr>
              </a:p>
            </p:txBody>
          </p:sp>
        </p:grpSp>
      </p:grpSp>
      <p:grpSp>
        <p:nvGrpSpPr>
          <p:cNvPr id="83" name="Group 82">
            <a:extLst>
              <a:ext uri="{FF2B5EF4-FFF2-40B4-BE49-F238E27FC236}">
                <a16:creationId xmlns:a16="http://schemas.microsoft.com/office/drawing/2014/main" id="{F8227113-2273-F54D-830F-D59A9FB50517}"/>
              </a:ext>
            </a:extLst>
          </p:cNvPr>
          <p:cNvGrpSpPr/>
          <p:nvPr/>
        </p:nvGrpSpPr>
        <p:grpSpPr>
          <a:xfrm>
            <a:off x="5729113" y="4750885"/>
            <a:ext cx="1097217" cy="460228"/>
            <a:chOff x="8957625" y="2854995"/>
            <a:chExt cx="1097217" cy="460228"/>
          </a:xfrm>
        </p:grpSpPr>
        <p:sp>
          <p:nvSpPr>
            <p:cNvPr id="84" name="Rectangle 83">
              <a:extLst>
                <a:ext uri="{FF2B5EF4-FFF2-40B4-BE49-F238E27FC236}">
                  <a16:creationId xmlns:a16="http://schemas.microsoft.com/office/drawing/2014/main" id="{C59AD40C-CE95-A84E-B6F8-6443F7BC0267}"/>
                </a:ext>
              </a:extLst>
            </p:cNvPr>
            <p:cNvSpPr/>
            <p:nvPr/>
          </p:nvSpPr>
          <p:spPr>
            <a:xfrm>
              <a:off x="8957625" y="2854995"/>
              <a:ext cx="1097217" cy="460228"/>
            </a:xfrm>
            <a:prstGeom prst="rect">
              <a:avLst/>
            </a:prstGeom>
            <a:solidFill>
              <a:srgbClr val="87CBD8">
                <a:alpha val="31000"/>
              </a:srgbClr>
            </a:solidFill>
            <a:ln w="12700">
              <a:solidFill>
                <a:srgbClr val="0067B7"/>
              </a:solidFill>
              <a:miter lim="800000"/>
              <a:headEnd/>
              <a:tailEnd/>
            </a:ln>
          </p:spPr>
          <p:txBody>
            <a:bodyPr rot="0" spcFirstLastPara="0" vertOverflow="overflow" horzOverflow="overflow" vert="horz" wrap="none" lIns="108000" tIns="0" rIns="108000" bIns="0" numCol="1" spcCol="0" rtlCol="0" fromWordArt="0" anchor="ctr" anchorCtr="0" forceAA="0" compatLnSpc="1">
              <a:prstTxWarp prst="textNoShape">
                <a:avLst/>
              </a:prstTxWarp>
              <a:noAutofit/>
            </a:bodyPr>
            <a:lstStyle/>
            <a:p>
              <a:pPr algn="ctr" defTabSz="449263" eaLnBrk="0" hangingPunct="0">
                <a:spcBef>
                  <a:spcPct val="20000"/>
                </a:spcBef>
                <a:buClr>
                  <a:schemeClr val="accent2"/>
                </a:buClr>
                <a:buSzPct val="13000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endParaRPr lang="en-US" sz="900" b="1" dirty="0">
                <a:solidFill>
                  <a:srgbClr val="0067B7"/>
                </a:solidFill>
                <a:latin typeface="Arial" charset="0"/>
              </a:endParaRPr>
            </a:p>
            <a:p>
              <a:pPr algn="ctr" defTabSz="449263" eaLnBrk="0" hangingPunct="0">
                <a:spcBef>
                  <a:spcPct val="20000"/>
                </a:spcBef>
                <a:buClr>
                  <a:schemeClr val="accent2"/>
                </a:buClr>
                <a:buSzPct val="13000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endParaRPr lang="en-US" sz="900" b="1" dirty="0">
                <a:solidFill>
                  <a:srgbClr val="0067B7"/>
                </a:solidFill>
                <a:latin typeface="Arial" charset="0"/>
              </a:endParaRPr>
            </a:p>
            <a:p>
              <a:pPr algn="ctr" defTabSz="449263" eaLnBrk="0" hangingPunct="0">
                <a:spcBef>
                  <a:spcPct val="20000"/>
                </a:spcBef>
                <a:buClr>
                  <a:schemeClr val="accent2"/>
                </a:buClr>
                <a:buSzPct val="13000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r>
                <a:rPr lang="en-US" sz="800" b="1" dirty="0" err="1">
                  <a:solidFill>
                    <a:srgbClr val="0067B7"/>
                  </a:solidFill>
                  <a:latin typeface="Arial" charset="0"/>
                </a:rPr>
                <a:t>CommandService</a:t>
              </a:r>
              <a:endParaRPr lang="en-US" sz="800" b="1" dirty="0">
                <a:solidFill>
                  <a:srgbClr val="0067B7"/>
                </a:solidFill>
                <a:latin typeface="Arial" charset="0"/>
              </a:endParaRPr>
            </a:p>
            <a:p>
              <a:pPr algn="ctr" defTabSz="449263" eaLnBrk="0" hangingPunct="0">
                <a:spcBef>
                  <a:spcPct val="20000"/>
                </a:spcBef>
                <a:buClr>
                  <a:schemeClr val="accent2"/>
                </a:buClr>
                <a:buSzPct val="13000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endParaRPr lang="en-US" sz="800" b="1" dirty="0">
                <a:solidFill>
                  <a:srgbClr val="0067B7"/>
                </a:solidFill>
                <a:latin typeface="Arial" charset="0"/>
              </a:endParaRPr>
            </a:p>
          </p:txBody>
        </p:sp>
        <p:grpSp>
          <p:nvGrpSpPr>
            <p:cNvPr id="85" name="Group 84">
              <a:extLst>
                <a:ext uri="{FF2B5EF4-FFF2-40B4-BE49-F238E27FC236}">
                  <a16:creationId xmlns:a16="http://schemas.microsoft.com/office/drawing/2014/main" id="{71A37C38-A607-A441-B4D2-ED4BDE0382A7}"/>
                </a:ext>
              </a:extLst>
            </p:cNvPr>
            <p:cNvGrpSpPr/>
            <p:nvPr/>
          </p:nvGrpSpPr>
          <p:grpSpPr>
            <a:xfrm>
              <a:off x="9799593" y="2906249"/>
              <a:ext cx="198209" cy="142185"/>
              <a:chOff x="10863517" y="2372849"/>
              <a:chExt cx="198209" cy="142185"/>
            </a:xfrm>
          </p:grpSpPr>
          <p:sp>
            <p:nvSpPr>
              <p:cNvPr id="86" name="Rectangle 85">
                <a:extLst>
                  <a:ext uri="{FF2B5EF4-FFF2-40B4-BE49-F238E27FC236}">
                    <a16:creationId xmlns:a16="http://schemas.microsoft.com/office/drawing/2014/main" id="{348518A3-0009-9747-8871-A117ADCCBA0C}"/>
                  </a:ext>
                </a:extLst>
              </p:cNvPr>
              <p:cNvSpPr/>
              <p:nvPr/>
            </p:nvSpPr>
            <p:spPr>
              <a:xfrm>
                <a:off x="10918955" y="2372849"/>
                <a:ext cx="142771" cy="142185"/>
              </a:xfrm>
              <a:prstGeom prst="rect">
                <a:avLst/>
              </a:prstGeom>
              <a:solidFill>
                <a:srgbClr val="87CBD8">
                  <a:alpha val="31000"/>
                </a:srgbClr>
              </a:solidFill>
              <a:ln w="12700">
                <a:solidFill>
                  <a:srgbClr val="0067B7"/>
                </a:solidFill>
                <a:miter lim="800000"/>
                <a:headEnd/>
                <a:tailEnd/>
              </a:ln>
            </p:spPr>
            <p:txBody>
              <a:bodyPr rot="0" spcFirstLastPara="0" vertOverflow="overflow" horzOverflow="overflow" vert="horz" wrap="none" lIns="108000" tIns="0" rIns="108000" bIns="0" numCol="1" spcCol="0" rtlCol="0" fromWordArt="0" anchor="ctr" anchorCtr="0" forceAA="0" compatLnSpc="1">
                <a:prstTxWarp prst="textNoShape">
                  <a:avLst/>
                </a:prstTxWarp>
                <a:noAutofit/>
              </a:bodyPr>
              <a:lstStyle/>
              <a:p>
                <a:pPr algn="ctr" defTabSz="449263" eaLnBrk="0" hangingPunct="0">
                  <a:spcBef>
                    <a:spcPct val="20000"/>
                  </a:spcBef>
                  <a:buClr>
                    <a:schemeClr val="accent2"/>
                  </a:buClr>
                  <a:buSzPct val="13000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endParaRPr lang="en-US" sz="900" b="1" dirty="0">
                  <a:solidFill>
                    <a:srgbClr val="0067B7"/>
                  </a:solidFill>
                  <a:latin typeface="Arial" charset="0"/>
                </a:endParaRPr>
              </a:p>
            </p:txBody>
          </p:sp>
          <p:sp>
            <p:nvSpPr>
              <p:cNvPr id="89" name="Rectangle 88">
                <a:extLst>
                  <a:ext uri="{FF2B5EF4-FFF2-40B4-BE49-F238E27FC236}">
                    <a16:creationId xmlns:a16="http://schemas.microsoft.com/office/drawing/2014/main" id="{531AFA66-C73D-A944-8036-F5269873A2B1}"/>
                  </a:ext>
                </a:extLst>
              </p:cNvPr>
              <p:cNvSpPr/>
              <p:nvPr/>
            </p:nvSpPr>
            <p:spPr>
              <a:xfrm flipV="1">
                <a:off x="10868226" y="2454157"/>
                <a:ext cx="98130" cy="36000"/>
              </a:xfrm>
              <a:prstGeom prst="rect">
                <a:avLst/>
              </a:prstGeom>
              <a:solidFill>
                <a:srgbClr val="87CBD8">
                  <a:alpha val="31000"/>
                </a:srgbClr>
              </a:solidFill>
              <a:ln w="12700">
                <a:solidFill>
                  <a:srgbClr val="0067B7"/>
                </a:solidFill>
                <a:miter lim="800000"/>
                <a:headEnd/>
                <a:tailEnd/>
              </a:ln>
            </p:spPr>
            <p:txBody>
              <a:bodyPr rot="0" spcFirstLastPara="0" vertOverflow="overflow" horzOverflow="overflow" vert="horz" wrap="none" lIns="108000" tIns="0" rIns="108000" bIns="0" numCol="1" spcCol="0" rtlCol="0" fromWordArt="0" anchor="ctr" anchorCtr="0" forceAA="0" compatLnSpc="1">
                <a:prstTxWarp prst="textNoShape">
                  <a:avLst/>
                </a:prstTxWarp>
                <a:noAutofit/>
              </a:bodyPr>
              <a:lstStyle/>
              <a:p>
                <a:pPr algn="ctr" defTabSz="449263" eaLnBrk="0" hangingPunct="0">
                  <a:spcBef>
                    <a:spcPct val="20000"/>
                  </a:spcBef>
                  <a:buClr>
                    <a:schemeClr val="accent2"/>
                  </a:buClr>
                  <a:buSzPct val="13000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endParaRPr lang="en-US" sz="900" b="1" dirty="0">
                  <a:solidFill>
                    <a:srgbClr val="0067B7"/>
                  </a:solidFill>
                  <a:latin typeface="Arial" charset="0"/>
                </a:endParaRPr>
              </a:p>
            </p:txBody>
          </p:sp>
          <p:sp>
            <p:nvSpPr>
              <p:cNvPr id="108" name="Rectangle 107">
                <a:extLst>
                  <a:ext uri="{FF2B5EF4-FFF2-40B4-BE49-F238E27FC236}">
                    <a16:creationId xmlns:a16="http://schemas.microsoft.com/office/drawing/2014/main" id="{7F862281-04B0-934B-B8A6-57F779D3FFB4}"/>
                  </a:ext>
                </a:extLst>
              </p:cNvPr>
              <p:cNvSpPr/>
              <p:nvPr/>
            </p:nvSpPr>
            <p:spPr>
              <a:xfrm flipV="1">
                <a:off x="10863517" y="2393280"/>
                <a:ext cx="98130" cy="36000"/>
              </a:xfrm>
              <a:prstGeom prst="rect">
                <a:avLst/>
              </a:prstGeom>
              <a:solidFill>
                <a:srgbClr val="87CBD8">
                  <a:alpha val="31000"/>
                </a:srgbClr>
              </a:solidFill>
              <a:ln w="12700">
                <a:solidFill>
                  <a:srgbClr val="0067B7"/>
                </a:solidFill>
                <a:miter lim="800000"/>
                <a:headEnd/>
                <a:tailEnd/>
              </a:ln>
            </p:spPr>
            <p:txBody>
              <a:bodyPr rot="0" spcFirstLastPara="0" vertOverflow="overflow" horzOverflow="overflow" vert="horz" wrap="none" lIns="108000" tIns="0" rIns="108000" bIns="0" numCol="1" spcCol="0" rtlCol="0" fromWordArt="0" anchor="ctr" anchorCtr="0" forceAA="0" compatLnSpc="1">
                <a:prstTxWarp prst="textNoShape">
                  <a:avLst/>
                </a:prstTxWarp>
                <a:noAutofit/>
              </a:bodyPr>
              <a:lstStyle/>
              <a:p>
                <a:pPr algn="ctr" defTabSz="449263" eaLnBrk="0" hangingPunct="0">
                  <a:spcBef>
                    <a:spcPct val="20000"/>
                  </a:spcBef>
                  <a:buClr>
                    <a:schemeClr val="accent2"/>
                  </a:buClr>
                  <a:buSzPct val="13000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endParaRPr lang="en-US" sz="900" b="1" dirty="0">
                  <a:solidFill>
                    <a:srgbClr val="0067B7"/>
                  </a:solidFill>
                  <a:latin typeface="Arial" charset="0"/>
                </a:endParaRPr>
              </a:p>
            </p:txBody>
          </p:sp>
        </p:grpSp>
      </p:grpSp>
      <p:grpSp>
        <p:nvGrpSpPr>
          <p:cNvPr id="109" name="Group 108">
            <a:extLst>
              <a:ext uri="{FF2B5EF4-FFF2-40B4-BE49-F238E27FC236}">
                <a16:creationId xmlns:a16="http://schemas.microsoft.com/office/drawing/2014/main" id="{C58FDE07-8A95-0340-AA34-596586094E85}"/>
              </a:ext>
            </a:extLst>
          </p:cNvPr>
          <p:cNvGrpSpPr/>
          <p:nvPr/>
        </p:nvGrpSpPr>
        <p:grpSpPr>
          <a:xfrm>
            <a:off x="8122946" y="3468147"/>
            <a:ext cx="1097217" cy="460228"/>
            <a:chOff x="8957625" y="2854995"/>
            <a:chExt cx="1097217" cy="460228"/>
          </a:xfrm>
        </p:grpSpPr>
        <p:sp>
          <p:nvSpPr>
            <p:cNvPr id="110" name="Rectangle 109">
              <a:extLst>
                <a:ext uri="{FF2B5EF4-FFF2-40B4-BE49-F238E27FC236}">
                  <a16:creationId xmlns:a16="http://schemas.microsoft.com/office/drawing/2014/main" id="{42A6F05B-3337-644E-9FD0-572FDC979416}"/>
                </a:ext>
              </a:extLst>
            </p:cNvPr>
            <p:cNvSpPr/>
            <p:nvPr/>
          </p:nvSpPr>
          <p:spPr>
            <a:xfrm>
              <a:off x="8957625" y="2854995"/>
              <a:ext cx="1097217" cy="460228"/>
            </a:xfrm>
            <a:prstGeom prst="rect">
              <a:avLst/>
            </a:prstGeom>
            <a:solidFill>
              <a:srgbClr val="87CBD8">
                <a:alpha val="31000"/>
              </a:srgbClr>
            </a:solidFill>
            <a:ln w="12700">
              <a:solidFill>
                <a:srgbClr val="0067B7"/>
              </a:solidFill>
              <a:miter lim="800000"/>
              <a:headEnd/>
              <a:tailEnd/>
            </a:ln>
          </p:spPr>
          <p:txBody>
            <a:bodyPr rot="0" spcFirstLastPara="0" vertOverflow="overflow" horzOverflow="overflow" vert="horz" wrap="none" lIns="108000" tIns="0" rIns="108000" bIns="0" numCol="1" spcCol="0" rtlCol="0" fromWordArt="0" anchor="ctr" anchorCtr="0" forceAA="0" compatLnSpc="1">
              <a:prstTxWarp prst="textNoShape">
                <a:avLst/>
              </a:prstTxWarp>
              <a:noAutofit/>
            </a:bodyPr>
            <a:lstStyle/>
            <a:p>
              <a:pPr algn="ctr" defTabSz="449263" eaLnBrk="0" hangingPunct="0">
                <a:spcBef>
                  <a:spcPct val="20000"/>
                </a:spcBef>
                <a:buClr>
                  <a:schemeClr val="accent2"/>
                </a:buClr>
                <a:buSzPct val="13000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endParaRPr lang="en-US" sz="900" b="1" dirty="0">
                <a:solidFill>
                  <a:srgbClr val="0067B7"/>
                </a:solidFill>
                <a:latin typeface="Arial" charset="0"/>
              </a:endParaRPr>
            </a:p>
            <a:p>
              <a:pPr algn="ctr" defTabSz="449263" eaLnBrk="0" hangingPunct="0">
                <a:spcBef>
                  <a:spcPct val="20000"/>
                </a:spcBef>
                <a:buClr>
                  <a:schemeClr val="accent2"/>
                </a:buClr>
                <a:buSzPct val="13000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endParaRPr lang="en-US" sz="900" b="1" dirty="0">
                <a:solidFill>
                  <a:srgbClr val="0067B7"/>
                </a:solidFill>
                <a:latin typeface="Arial" charset="0"/>
              </a:endParaRPr>
            </a:p>
            <a:p>
              <a:pPr algn="ctr" defTabSz="449263" eaLnBrk="0" hangingPunct="0">
                <a:spcBef>
                  <a:spcPct val="20000"/>
                </a:spcBef>
                <a:buClr>
                  <a:schemeClr val="accent2"/>
                </a:buClr>
                <a:buSzPct val="13000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r>
                <a:rPr lang="en-US" sz="800" b="1" dirty="0" err="1">
                  <a:solidFill>
                    <a:srgbClr val="0067B7"/>
                  </a:solidFill>
                  <a:latin typeface="Arial" charset="0"/>
                </a:rPr>
                <a:t>ConsumerEngie</a:t>
              </a:r>
              <a:endParaRPr lang="en-US" sz="800" b="1" dirty="0">
                <a:solidFill>
                  <a:srgbClr val="0067B7"/>
                </a:solidFill>
                <a:latin typeface="Arial" charset="0"/>
              </a:endParaRPr>
            </a:p>
            <a:p>
              <a:pPr algn="ctr" defTabSz="449263" eaLnBrk="0" hangingPunct="0">
                <a:spcBef>
                  <a:spcPct val="20000"/>
                </a:spcBef>
                <a:buClr>
                  <a:schemeClr val="accent2"/>
                </a:buClr>
                <a:buSzPct val="13000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endParaRPr lang="en-US" sz="800" b="1" dirty="0">
                <a:solidFill>
                  <a:srgbClr val="0067B7"/>
                </a:solidFill>
                <a:latin typeface="Arial" charset="0"/>
              </a:endParaRPr>
            </a:p>
          </p:txBody>
        </p:sp>
        <p:grpSp>
          <p:nvGrpSpPr>
            <p:cNvPr id="111" name="Group 110">
              <a:extLst>
                <a:ext uri="{FF2B5EF4-FFF2-40B4-BE49-F238E27FC236}">
                  <a16:creationId xmlns:a16="http://schemas.microsoft.com/office/drawing/2014/main" id="{E73D6059-D800-FA43-9723-73FD7F52681C}"/>
                </a:ext>
              </a:extLst>
            </p:cNvPr>
            <p:cNvGrpSpPr/>
            <p:nvPr/>
          </p:nvGrpSpPr>
          <p:grpSpPr>
            <a:xfrm>
              <a:off x="9799593" y="2906249"/>
              <a:ext cx="198209" cy="142185"/>
              <a:chOff x="10863517" y="2372849"/>
              <a:chExt cx="198209" cy="142185"/>
            </a:xfrm>
          </p:grpSpPr>
          <p:sp>
            <p:nvSpPr>
              <p:cNvPr id="112" name="Rectangle 111">
                <a:extLst>
                  <a:ext uri="{FF2B5EF4-FFF2-40B4-BE49-F238E27FC236}">
                    <a16:creationId xmlns:a16="http://schemas.microsoft.com/office/drawing/2014/main" id="{47452DA1-37EA-3D42-82E8-75B8CF36E880}"/>
                  </a:ext>
                </a:extLst>
              </p:cNvPr>
              <p:cNvSpPr/>
              <p:nvPr/>
            </p:nvSpPr>
            <p:spPr>
              <a:xfrm>
                <a:off x="10918955" y="2372849"/>
                <a:ext cx="142771" cy="142185"/>
              </a:xfrm>
              <a:prstGeom prst="rect">
                <a:avLst/>
              </a:prstGeom>
              <a:solidFill>
                <a:srgbClr val="87CBD8">
                  <a:alpha val="31000"/>
                </a:srgbClr>
              </a:solidFill>
              <a:ln w="12700">
                <a:solidFill>
                  <a:srgbClr val="0067B7"/>
                </a:solidFill>
                <a:miter lim="800000"/>
                <a:headEnd/>
                <a:tailEnd/>
              </a:ln>
            </p:spPr>
            <p:txBody>
              <a:bodyPr rot="0" spcFirstLastPara="0" vertOverflow="overflow" horzOverflow="overflow" vert="horz" wrap="none" lIns="108000" tIns="0" rIns="108000" bIns="0" numCol="1" spcCol="0" rtlCol="0" fromWordArt="0" anchor="ctr" anchorCtr="0" forceAA="0" compatLnSpc="1">
                <a:prstTxWarp prst="textNoShape">
                  <a:avLst/>
                </a:prstTxWarp>
                <a:noAutofit/>
              </a:bodyPr>
              <a:lstStyle/>
              <a:p>
                <a:pPr algn="ctr" defTabSz="449263" eaLnBrk="0" hangingPunct="0">
                  <a:spcBef>
                    <a:spcPct val="20000"/>
                  </a:spcBef>
                  <a:buClr>
                    <a:schemeClr val="accent2"/>
                  </a:buClr>
                  <a:buSzPct val="13000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endParaRPr lang="en-US" sz="900" b="1" dirty="0">
                  <a:solidFill>
                    <a:srgbClr val="0067B7"/>
                  </a:solidFill>
                  <a:latin typeface="Arial" charset="0"/>
                </a:endParaRPr>
              </a:p>
            </p:txBody>
          </p:sp>
          <p:sp>
            <p:nvSpPr>
              <p:cNvPr id="113" name="Rectangle 112">
                <a:extLst>
                  <a:ext uri="{FF2B5EF4-FFF2-40B4-BE49-F238E27FC236}">
                    <a16:creationId xmlns:a16="http://schemas.microsoft.com/office/drawing/2014/main" id="{9D4E0521-DB27-1D47-B1AC-6035112F0374}"/>
                  </a:ext>
                </a:extLst>
              </p:cNvPr>
              <p:cNvSpPr/>
              <p:nvPr/>
            </p:nvSpPr>
            <p:spPr>
              <a:xfrm flipV="1">
                <a:off x="10868226" y="2454157"/>
                <a:ext cx="98130" cy="36000"/>
              </a:xfrm>
              <a:prstGeom prst="rect">
                <a:avLst/>
              </a:prstGeom>
              <a:solidFill>
                <a:srgbClr val="87CBD8">
                  <a:alpha val="31000"/>
                </a:srgbClr>
              </a:solidFill>
              <a:ln w="12700">
                <a:solidFill>
                  <a:srgbClr val="0067B7"/>
                </a:solidFill>
                <a:miter lim="800000"/>
                <a:headEnd/>
                <a:tailEnd/>
              </a:ln>
            </p:spPr>
            <p:txBody>
              <a:bodyPr rot="0" spcFirstLastPara="0" vertOverflow="overflow" horzOverflow="overflow" vert="horz" wrap="none" lIns="108000" tIns="0" rIns="108000" bIns="0" numCol="1" spcCol="0" rtlCol="0" fromWordArt="0" anchor="ctr" anchorCtr="0" forceAA="0" compatLnSpc="1">
                <a:prstTxWarp prst="textNoShape">
                  <a:avLst/>
                </a:prstTxWarp>
                <a:noAutofit/>
              </a:bodyPr>
              <a:lstStyle/>
              <a:p>
                <a:pPr algn="ctr" defTabSz="449263" eaLnBrk="0" hangingPunct="0">
                  <a:spcBef>
                    <a:spcPct val="20000"/>
                  </a:spcBef>
                  <a:buClr>
                    <a:schemeClr val="accent2"/>
                  </a:buClr>
                  <a:buSzPct val="13000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endParaRPr lang="en-US" sz="900" b="1" dirty="0">
                  <a:solidFill>
                    <a:srgbClr val="0067B7"/>
                  </a:solidFill>
                  <a:latin typeface="Arial" charset="0"/>
                </a:endParaRPr>
              </a:p>
            </p:txBody>
          </p:sp>
          <p:sp>
            <p:nvSpPr>
              <p:cNvPr id="114" name="Rectangle 113">
                <a:extLst>
                  <a:ext uri="{FF2B5EF4-FFF2-40B4-BE49-F238E27FC236}">
                    <a16:creationId xmlns:a16="http://schemas.microsoft.com/office/drawing/2014/main" id="{6E8EEC18-E1BD-A447-8786-00240AB7224A}"/>
                  </a:ext>
                </a:extLst>
              </p:cNvPr>
              <p:cNvSpPr/>
              <p:nvPr/>
            </p:nvSpPr>
            <p:spPr>
              <a:xfrm flipV="1">
                <a:off x="10863517" y="2393280"/>
                <a:ext cx="98130" cy="36000"/>
              </a:xfrm>
              <a:prstGeom prst="rect">
                <a:avLst/>
              </a:prstGeom>
              <a:solidFill>
                <a:srgbClr val="87CBD8">
                  <a:alpha val="31000"/>
                </a:srgbClr>
              </a:solidFill>
              <a:ln w="12700">
                <a:solidFill>
                  <a:srgbClr val="0067B7"/>
                </a:solidFill>
                <a:miter lim="800000"/>
                <a:headEnd/>
                <a:tailEnd/>
              </a:ln>
            </p:spPr>
            <p:txBody>
              <a:bodyPr rot="0" spcFirstLastPara="0" vertOverflow="overflow" horzOverflow="overflow" vert="horz" wrap="none" lIns="108000" tIns="0" rIns="108000" bIns="0" numCol="1" spcCol="0" rtlCol="0" fromWordArt="0" anchor="ctr" anchorCtr="0" forceAA="0" compatLnSpc="1">
                <a:prstTxWarp prst="textNoShape">
                  <a:avLst/>
                </a:prstTxWarp>
                <a:noAutofit/>
              </a:bodyPr>
              <a:lstStyle/>
              <a:p>
                <a:pPr algn="ctr" defTabSz="449263" eaLnBrk="0" hangingPunct="0">
                  <a:spcBef>
                    <a:spcPct val="20000"/>
                  </a:spcBef>
                  <a:buClr>
                    <a:schemeClr val="accent2"/>
                  </a:buClr>
                  <a:buSzPct val="13000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endParaRPr lang="en-US" sz="900" b="1" dirty="0">
                  <a:solidFill>
                    <a:srgbClr val="0067B7"/>
                  </a:solidFill>
                  <a:latin typeface="Arial" charset="0"/>
                </a:endParaRPr>
              </a:p>
            </p:txBody>
          </p:sp>
        </p:grpSp>
      </p:grpSp>
      <p:cxnSp>
        <p:nvCxnSpPr>
          <p:cNvPr id="116" name="Straight Arrow Connector 115">
            <a:extLst>
              <a:ext uri="{FF2B5EF4-FFF2-40B4-BE49-F238E27FC236}">
                <a16:creationId xmlns:a16="http://schemas.microsoft.com/office/drawing/2014/main" id="{2CE1A4D6-56C4-3F4F-801F-7DDB61A8A82E}"/>
              </a:ext>
            </a:extLst>
          </p:cNvPr>
          <p:cNvCxnSpPr>
            <a:cxnSpLocks/>
            <a:stCxn id="110" idx="2"/>
          </p:cNvCxnSpPr>
          <p:nvPr/>
        </p:nvCxnSpPr>
        <p:spPr>
          <a:xfrm flipH="1">
            <a:off x="8161228" y="3928375"/>
            <a:ext cx="510327" cy="831654"/>
          </a:xfrm>
          <a:prstGeom prst="straightConnector1">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grpSp>
        <p:nvGrpSpPr>
          <p:cNvPr id="117" name="Group 116">
            <a:extLst>
              <a:ext uri="{FF2B5EF4-FFF2-40B4-BE49-F238E27FC236}">
                <a16:creationId xmlns:a16="http://schemas.microsoft.com/office/drawing/2014/main" id="{EA067A95-C96C-4C4E-AADC-C682AA6D51CA}"/>
              </a:ext>
            </a:extLst>
          </p:cNvPr>
          <p:cNvGrpSpPr/>
          <p:nvPr/>
        </p:nvGrpSpPr>
        <p:grpSpPr>
          <a:xfrm>
            <a:off x="3339878" y="3464260"/>
            <a:ext cx="1097217" cy="460228"/>
            <a:chOff x="8957625" y="2854995"/>
            <a:chExt cx="1097217" cy="460228"/>
          </a:xfrm>
        </p:grpSpPr>
        <p:sp>
          <p:nvSpPr>
            <p:cNvPr id="118" name="Rectangle 117">
              <a:extLst>
                <a:ext uri="{FF2B5EF4-FFF2-40B4-BE49-F238E27FC236}">
                  <a16:creationId xmlns:a16="http://schemas.microsoft.com/office/drawing/2014/main" id="{61090CD3-35F0-F24A-95D9-96EF7ECC8A93}"/>
                </a:ext>
              </a:extLst>
            </p:cNvPr>
            <p:cNvSpPr/>
            <p:nvPr/>
          </p:nvSpPr>
          <p:spPr>
            <a:xfrm>
              <a:off x="8957625" y="2854995"/>
              <a:ext cx="1097217" cy="460228"/>
            </a:xfrm>
            <a:prstGeom prst="rect">
              <a:avLst/>
            </a:prstGeom>
            <a:solidFill>
              <a:srgbClr val="87CBD8">
                <a:alpha val="31000"/>
              </a:srgbClr>
            </a:solidFill>
            <a:ln w="12700">
              <a:solidFill>
                <a:srgbClr val="0067B7"/>
              </a:solidFill>
              <a:miter lim="800000"/>
              <a:headEnd/>
              <a:tailEnd/>
            </a:ln>
          </p:spPr>
          <p:txBody>
            <a:bodyPr rot="0" spcFirstLastPara="0" vertOverflow="overflow" horzOverflow="overflow" vert="horz" wrap="none" lIns="108000" tIns="0" rIns="108000" bIns="0" numCol="1" spcCol="0" rtlCol="0" fromWordArt="0" anchor="ctr" anchorCtr="0" forceAA="0" compatLnSpc="1">
              <a:prstTxWarp prst="textNoShape">
                <a:avLst/>
              </a:prstTxWarp>
              <a:noAutofit/>
            </a:bodyPr>
            <a:lstStyle/>
            <a:p>
              <a:pPr algn="ctr" defTabSz="449263" eaLnBrk="0" hangingPunct="0">
                <a:spcBef>
                  <a:spcPct val="20000"/>
                </a:spcBef>
                <a:buClr>
                  <a:schemeClr val="accent2"/>
                </a:buClr>
                <a:buSzPct val="13000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endParaRPr lang="en-US" sz="900" b="1" dirty="0">
                <a:solidFill>
                  <a:srgbClr val="0067B7"/>
                </a:solidFill>
                <a:latin typeface="Arial" charset="0"/>
              </a:endParaRPr>
            </a:p>
            <a:p>
              <a:pPr algn="ctr" defTabSz="449263" eaLnBrk="0" hangingPunct="0">
                <a:spcBef>
                  <a:spcPct val="20000"/>
                </a:spcBef>
                <a:buClr>
                  <a:schemeClr val="accent2"/>
                </a:buClr>
                <a:buSzPct val="13000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endParaRPr lang="en-US" sz="900" b="1" dirty="0">
                <a:solidFill>
                  <a:srgbClr val="0067B7"/>
                </a:solidFill>
                <a:latin typeface="Arial" charset="0"/>
              </a:endParaRPr>
            </a:p>
            <a:p>
              <a:pPr algn="ctr" defTabSz="449263" eaLnBrk="0" hangingPunct="0">
                <a:spcBef>
                  <a:spcPct val="20000"/>
                </a:spcBef>
                <a:buClr>
                  <a:schemeClr val="accent2"/>
                </a:buClr>
                <a:buSzPct val="13000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r>
                <a:rPr lang="en-US" sz="800" b="1" dirty="0" err="1">
                  <a:solidFill>
                    <a:srgbClr val="0067B7"/>
                  </a:solidFill>
                  <a:latin typeface="Arial" charset="0"/>
                </a:rPr>
                <a:t>ProducerEngine</a:t>
              </a:r>
              <a:endParaRPr lang="en-US" sz="800" b="1" dirty="0">
                <a:solidFill>
                  <a:srgbClr val="0067B7"/>
                </a:solidFill>
                <a:latin typeface="Arial" charset="0"/>
              </a:endParaRPr>
            </a:p>
            <a:p>
              <a:pPr algn="ctr" defTabSz="449263" eaLnBrk="0" hangingPunct="0">
                <a:spcBef>
                  <a:spcPct val="20000"/>
                </a:spcBef>
                <a:buClr>
                  <a:schemeClr val="accent2"/>
                </a:buClr>
                <a:buSzPct val="13000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endParaRPr lang="en-US" sz="800" b="1" dirty="0">
                <a:solidFill>
                  <a:srgbClr val="0067B7"/>
                </a:solidFill>
                <a:latin typeface="Arial" charset="0"/>
              </a:endParaRPr>
            </a:p>
          </p:txBody>
        </p:sp>
        <p:grpSp>
          <p:nvGrpSpPr>
            <p:cNvPr id="119" name="Group 118">
              <a:extLst>
                <a:ext uri="{FF2B5EF4-FFF2-40B4-BE49-F238E27FC236}">
                  <a16:creationId xmlns:a16="http://schemas.microsoft.com/office/drawing/2014/main" id="{64509D85-8209-B24A-8A6B-E42E529E479C}"/>
                </a:ext>
              </a:extLst>
            </p:cNvPr>
            <p:cNvGrpSpPr/>
            <p:nvPr/>
          </p:nvGrpSpPr>
          <p:grpSpPr>
            <a:xfrm>
              <a:off x="9799593" y="2906249"/>
              <a:ext cx="198209" cy="142185"/>
              <a:chOff x="10863517" y="2372849"/>
              <a:chExt cx="198209" cy="142185"/>
            </a:xfrm>
          </p:grpSpPr>
          <p:sp>
            <p:nvSpPr>
              <p:cNvPr id="120" name="Rectangle 119">
                <a:extLst>
                  <a:ext uri="{FF2B5EF4-FFF2-40B4-BE49-F238E27FC236}">
                    <a16:creationId xmlns:a16="http://schemas.microsoft.com/office/drawing/2014/main" id="{C1BB76BF-F6F1-2340-BEA4-47E71640A260}"/>
                  </a:ext>
                </a:extLst>
              </p:cNvPr>
              <p:cNvSpPr/>
              <p:nvPr/>
            </p:nvSpPr>
            <p:spPr>
              <a:xfrm>
                <a:off x="10918955" y="2372849"/>
                <a:ext cx="142771" cy="142185"/>
              </a:xfrm>
              <a:prstGeom prst="rect">
                <a:avLst/>
              </a:prstGeom>
              <a:solidFill>
                <a:srgbClr val="87CBD8">
                  <a:alpha val="31000"/>
                </a:srgbClr>
              </a:solidFill>
              <a:ln w="12700">
                <a:solidFill>
                  <a:srgbClr val="0067B7"/>
                </a:solidFill>
                <a:miter lim="800000"/>
                <a:headEnd/>
                <a:tailEnd/>
              </a:ln>
            </p:spPr>
            <p:txBody>
              <a:bodyPr rot="0" spcFirstLastPara="0" vertOverflow="overflow" horzOverflow="overflow" vert="horz" wrap="none" lIns="108000" tIns="0" rIns="108000" bIns="0" numCol="1" spcCol="0" rtlCol="0" fromWordArt="0" anchor="ctr" anchorCtr="0" forceAA="0" compatLnSpc="1">
                <a:prstTxWarp prst="textNoShape">
                  <a:avLst/>
                </a:prstTxWarp>
                <a:noAutofit/>
              </a:bodyPr>
              <a:lstStyle/>
              <a:p>
                <a:pPr algn="ctr" defTabSz="449263" eaLnBrk="0" hangingPunct="0">
                  <a:spcBef>
                    <a:spcPct val="20000"/>
                  </a:spcBef>
                  <a:buClr>
                    <a:schemeClr val="accent2"/>
                  </a:buClr>
                  <a:buSzPct val="13000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endParaRPr lang="en-US" sz="900" b="1" dirty="0">
                  <a:solidFill>
                    <a:srgbClr val="0067B7"/>
                  </a:solidFill>
                  <a:latin typeface="Arial" charset="0"/>
                </a:endParaRPr>
              </a:p>
            </p:txBody>
          </p:sp>
          <p:sp>
            <p:nvSpPr>
              <p:cNvPr id="121" name="Rectangle 120">
                <a:extLst>
                  <a:ext uri="{FF2B5EF4-FFF2-40B4-BE49-F238E27FC236}">
                    <a16:creationId xmlns:a16="http://schemas.microsoft.com/office/drawing/2014/main" id="{E174E20A-EEB5-D14B-9039-DF70F59E17C6}"/>
                  </a:ext>
                </a:extLst>
              </p:cNvPr>
              <p:cNvSpPr/>
              <p:nvPr/>
            </p:nvSpPr>
            <p:spPr>
              <a:xfrm flipV="1">
                <a:off x="10868226" y="2454157"/>
                <a:ext cx="98130" cy="36000"/>
              </a:xfrm>
              <a:prstGeom prst="rect">
                <a:avLst/>
              </a:prstGeom>
              <a:solidFill>
                <a:srgbClr val="87CBD8">
                  <a:alpha val="31000"/>
                </a:srgbClr>
              </a:solidFill>
              <a:ln w="12700">
                <a:solidFill>
                  <a:srgbClr val="0067B7"/>
                </a:solidFill>
                <a:miter lim="800000"/>
                <a:headEnd/>
                <a:tailEnd/>
              </a:ln>
            </p:spPr>
            <p:txBody>
              <a:bodyPr rot="0" spcFirstLastPara="0" vertOverflow="overflow" horzOverflow="overflow" vert="horz" wrap="none" lIns="108000" tIns="0" rIns="108000" bIns="0" numCol="1" spcCol="0" rtlCol="0" fromWordArt="0" anchor="ctr" anchorCtr="0" forceAA="0" compatLnSpc="1">
                <a:prstTxWarp prst="textNoShape">
                  <a:avLst/>
                </a:prstTxWarp>
                <a:noAutofit/>
              </a:bodyPr>
              <a:lstStyle/>
              <a:p>
                <a:pPr algn="ctr" defTabSz="449263" eaLnBrk="0" hangingPunct="0">
                  <a:spcBef>
                    <a:spcPct val="20000"/>
                  </a:spcBef>
                  <a:buClr>
                    <a:schemeClr val="accent2"/>
                  </a:buClr>
                  <a:buSzPct val="13000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endParaRPr lang="en-US" sz="900" b="1" dirty="0">
                  <a:solidFill>
                    <a:srgbClr val="0067B7"/>
                  </a:solidFill>
                  <a:latin typeface="Arial" charset="0"/>
                </a:endParaRPr>
              </a:p>
            </p:txBody>
          </p:sp>
          <p:sp>
            <p:nvSpPr>
              <p:cNvPr id="122" name="Rectangle 121">
                <a:extLst>
                  <a:ext uri="{FF2B5EF4-FFF2-40B4-BE49-F238E27FC236}">
                    <a16:creationId xmlns:a16="http://schemas.microsoft.com/office/drawing/2014/main" id="{6176CFA3-CF64-F34A-ACB4-7AFBD0EC1A1B}"/>
                  </a:ext>
                </a:extLst>
              </p:cNvPr>
              <p:cNvSpPr/>
              <p:nvPr/>
            </p:nvSpPr>
            <p:spPr>
              <a:xfrm flipV="1">
                <a:off x="10863517" y="2393280"/>
                <a:ext cx="98130" cy="36000"/>
              </a:xfrm>
              <a:prstGeom prst="rect">
                <a:avLst/>
              </a:prstGeom>
              <a:solidFill>
                <a:srgbClr val="87CBD8">
                  <a:alpha val="31000"/>
                </a:srgbClr>
              </a:solidFill>
              <a:ln w="12700">
                <a:solidFill>
                  <a:srgbClr val="0067B7"/>
                </a:solidFill>
                <a:miter lim="800000"/>
                <a:headEnd/>
                <a:tailEnd/>
              </a:ln>
            </p:spPr>
            <p:txBody>
              <a:bodyPr rot="0" spcFirstLastPara="0" vertOverflow="overflow" horzOverflow="overflow" vert="horz" wrap="none" lIns="108000" tIns="0" rIns="108000" bIns="0" numCol="1" spcCol="0" rtlCol="0" fromWordArt="0" anchor="ctr" anchorCtr="0" forceAA="0" compatLnSpc="1">
                <a:prstTxWarp prst="textNoShape">
                  <a:avLst/>
                </a:prstTxWarp>
                <a:noAutofit/>
              </a:bodyPr>
              <a:lstStyle/>
              <a:p>
                <a:pPr algn="ctr" defTabSz="449263" eaLnBrk="0" hangingPunct="0">
                  <a:spcBef>
                    <a:spcPct val="20000"/>
                  </a:spcBef>
                  <a:buClr>
                    <a:schemeClr val="accent2"/>
                  </a:buClr>
                  <a:buSzPct val="13000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endParaRPr lang="en-US" sz="900" b="1" dirty="0">
                  <a:solidFill>
                    <a:srgbClr val="0067B7"/>
                  </a:solidFill>
                  <a:latin typeface="Arial" charset="0"/>
                </a:endParaRPr>
              </a:p>
            </p:txBody>
          </p:sp>
        </p:grpSp>
      </p:grpSp>
      <p:cxnSp>
        <p:nvCxnSpPr>
          <p:cNvPr id="123" name="Straight Arrow Connector 122">
            <a:extLst>
              <a:ext uri="{FF2B5EF4-FFF2-40B4-BE49-F238E27FC236}">
                <a16:creationId xmlns:a16="http://schemas.microsoft.com/office/drawing/2014/main" id="{7CCCBB6A-E934-B84F-BEA1-8BA275BFB240}"/>
              </a:ext>
            </a:extLst>
          </p:cNvPr>
          <p:cNvCxnSpPr>
            <a:cxnSpLocks/>
            <a:stCxn id="128" idx="2"/>
            <a:endCxn id="118" idx="0"/>
          </p:cNvCxnSpPr>
          <p:nvPr/>
        </p:nvCxnSpPr>
        <p:spPr>
          <a:xfrm flipH="1">
            <a:off x="3888487" y="2711007"/>
            <a:ext cx="1620853" cy="753253"/>
          </a:xfrm>
          <a:prstGeom prst="straightConnector1">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25" name="Straight Arrow Connector 124">
            <a:extLst>
              <a:ext uri="{FF2B5EF4-FFF2-40B4-BE49-F238E27FC236}">
                <a16:creationId xmlns:a16="http://schemas.microsoft.com/office/drawing/2014/main" id="{B4C9D6F6-658B-564A-AFDF-D74A1D08434C}"/>
              </a:ext>
            </a:extLst>
          </p:cNvPr>
          <p:cNvCxnSpPr>
            <a:cxnSpLocks/>
            <a:stCxn id="77" idx="1"/>
            <a:endCxn id="71" idx="3"/>
          </p:cNvCxnSpPr>
          <p:nvPr/>
        </p:nvCxnSpPr>
        <p:spPr>
          <a:xfrm flipH="1">
            <a:off x="7587254" y="2480893"/>
            <a:ext cx="574048" cy="0"/>
          </a:xfrm>
          <a:prstGeom prst="straightConnector1">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38" name="Straight Arrow Connector 137">
            <a:extLst>
              <a:ext uri="{FF2B5EF4-FFF2-40B4-BE49-F238E27FC236}">
                <a16:creationId xmlns:a16="http://schemas.microsoft.com/office/drawing/2014/main" id="{F089B80F-97FD-5149-882E-818A0A23D5C4}"/>
              </a:ext>
            </a:extLst>
          </p:cNvPr>
          <p:cNvCxnSpPr>
            <a:cxnSpLocks/>
          </p:cNvCxnSpPr>
          <p:nvPr/>
        </p:nvCxnSpPr>
        <p:spPr>
          <a:xfrm>
            <a:off x="5050861" y="4990143"/>
            <a:ext cx="687396" cy="0"/>
          </a:xfrm>
          <a:prstGeom prst="straightConnector1">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45" name="Straight Arrow Connector 144">
            <a:extLst>
              <a:ext uri="{FF2B5EF4-FFF2-40B4-BE49-F238E27FC236}">
                <a16:creationId xmlns:a16="http://schemas.microsoft.com/office/drawing/2014/main" id="{F4BDCDE8-9DB9-3240-844D-490267829176}"/>
              </a:ext>
            </a:extLst>
          </p:cNvPr>
          <p:cNvCxnSpPr>
            <a:cxnSpLocks/>
          </p:cNvCxnSpPr>
          <p:nvPr/>
        </p:nvCxnSpPr>
        <p:spPr>
          <a:xfrm flipH="1">
            <a:off x="6835474" y="4990143"/>
            <a:ext cx="786289" cy="0"/>
          </a:xfrm>
          <a:prstGeom prst="straightConnector1">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26" name="Straight Arrow Connector 125">
            <a:extLst>
              <a:ext uri="{FF2B5EF4-FFF2-40B4-BE49-F238E27FC236}">
                <a16:creationId xmlns:a16="http://schemas.microsoft.com/office/drawing/2014/main" id="{4667BBC9-AB57-5B48-B9B4-B2582B0896C7}"/>
              </a:ext>
            </a:extLst>
          </p:cNvPr>
          <p:cNvCxnSpPr>
            <a:cxnSpLocks/>
            <a:stCxn id="140" idx="1"/>
            <a:endCxn id="97" idx="3"/>
          </p:cNvCxnSpPr>
          <p:nvPr/>
        </p:nvCxnSpPr>
        <p:spPr>
          <a:xfrm flipH="1" flipV="1">
            <a:off x="6061568" y="3689117"/>
            <a:ext cx="501622" cy="7610"/>
          </a:xfrm>
          <a:prstGeom prst="straightConnector1">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33" name="Straight Arrow Connector 132">
            <a:extLst>
              <a:ext uri="{FF2B5EF4-FFF2-40B4-BE49-F238E27FC236}">
                <a16:creationId xmlns:a16="http://schemas.microsoft.com/office/drawing/2014/main" id="{CB2787BF-271B-CD46-B47F-1D3FDB0C816B}"/>
              </a:ext>
            </a:extLst>
          </p:cNvPr>
          <p:cNvCxnSpPr>
            <a:cxnSpLocks/>
            <a:stCxn id="71" idx="2"/>
            <a:endCxn id="140" idx="0"/>
          </p:cNvCxnSpPr>
          <p:nvPr/>
        </p:nvCxnSpPr>
        <p:spPr>
          <a:xfrm>
            <a:off x="7038646" y="2711007"/>
            <a:ext cx="73153" cy="755606"/>
          </a:xfrm>
          <a:prstGeom prst="straightConnector1">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34" name="Straight Arrow Connector 133">
            <a:extLst>
              <a:ext uri="{FF2B5EF4-FFF2-40B4-BE49-F238E27FC236}">
                <a16:creationId xmlns:a16="http://schemas.microsoft.com/office/drawing/2014/main" id="{D0F61E10-50D1-7643-99F2-30BD16657571}"/>
              </a:ext>
            </a:extLst>
          </p:cNvPr>
          <p:cNvCxnSpPr>
            <a:cxnSpLocks/>
            <a:stCxn id="118" idx="3"/>
            <a:endCxn id="97" idx="1"/>
          </p:cNvCxnSpPr>
          <p:nvPr/>
        </p:nvCxnSpPr>
        <p:spPr>
          <a:xfrm flipV="1">
            <a:off x="4437095" y="3689117"/>
            <a:ext cx="527256" cy="5257"/>
          </a:xfrm>
          <a:prstGeom prst="straightConnector1">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grpSp>
        <p:nvGrpSpPr>
          <p:cNvPr id="146" name="Group 145">
            <a:extLst>
              <a:ext uri="{FF2B5EF4-FFF2-40B4-BE49-F238E27FC236}">
                <a16:creationId xmlns:a16="http://schemas.microsoft.com/office/drawing/2014/main" id="{7D68F981-9B0B-DC40-B6FE-C948CC1337BD}"/>
              </a:ext>
            </a:extLst>
          </p:cNvPr>
          <p:cNvGrpSpPr/>
          <p:nvPr/>
        </p:nvGrpSpPr>
        <p:grpSpPr>
          <a:xfrm>
            <a:off x="2770420" y="2250779"/>
            <a:ext cx="1587843" cy="460228"/>
            <a:chOff x="8957625" y="2854995"/>
            <a:chExt cx="1097217" cy="460228"/>
          </a:xfrm>
        </p:grpSpPr>
        <p:sp>
          <p:nvSpPr>
            <p:cNvPr id="147" name="Rectangle 146">
              <a:extLst>
                <a:ext uri="{FF2B5EF4-FFF2-40B4-BE49-F238E27FC236}">
                  <a16:creationId xmlns:a16="http://schemas.microsoft.com/office/drawing/2014/main" id="{97EF9B29-4AF4-7348-8226-B32FC8D65E8B}"/>
                </a:ext>
              </a:extLst>
            </p:cNvPr>
            <p:cNvSpPr/>
            <p:nvPr/>
          </p:nvSpPr>
          <p:spPr>
            <a:xfrm>
              <a:off x="8957625" y="2854995"/>
              <a:ext cx="1097217" cy="460228"/>
            </a:xfrm>
            <a:prstGeom prst="rect">
              <a:avLst/>
            </a:prstGeom>
            <a:solidFill>
              <a:srgbClr val="87CBD8">
                <a:alpha val="31000"/>
              </a:srgbClr>
            </a:solidFill>
            <a:ln w="12700">
              <a:solidFill>
                <a:srgbClr val="0067B7"/>
              </a:solidFill>
              <a:miter lim="800000"/>
              <a:headEnd/>
              <a:tailEnd/>
            </a:ln>
          </p:spPr>
          <p:txBody>
            <a:bodyPr rot="0" spcFirstLastPara="0" vertOverflow="overflow" horzOverflow="overflow" vert="horz" wrap="none" lIns="108000" tIns="0" rIns="108000" bIns="0" numCol="1" spcCol="0" rtlCol="0" fromWordArt="0" anchor="ctr" anchorCtr="0" forceAA="0" compatLnSpc="1">
              <a:prstTxWarp prst="textNoShape">
                <a:avLst/>
              </a:prstTxWarp>
              <a:noAutofit/>
            </a:bodyPr>
            <a:lstStyle/>
            <a:p>
              <a:pPr algn="ctr" defTabSz="449263" eaLnBrk="0" hangingPunct="0">
                <a:spcBef>
                  <a:spcPct val="20000"/>
                </a:spcBef>
                <a:buClr>
                  <a:schemeClr val="accent2"/>
                </a:buClr>
                <a:buSzPct val="13000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endParaRPr lang="en-US" sz="900" b="1" dirty="0">
                <a:solidFill>
                  <a:srgbClr val="0067B7"/>
                </a:solidFill>
                <a:latin typeface="Arial" charset="0"/>
              </a:endParaRPr>
            </a:p>
            <a:p>
              <a:pPr algn="ctr" defTabSz="449263" eaLnBrk="0" hangingPunct="0">
                <a:spcBef>
                  <a:spcPct val="20000"/>
                </a:spcBef>
                <a:buClr>
                  <a:schemeClr val="accent2"/>
                </a:buClr>
                <a:buSzPct val="13000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endParaRPr lang="en-US" sz="900" b="1" dirty="0">
                <a:solidFill>
                  <a:srgbClr val="0067B7"/>
                </a:solidFill>
                <a:latin typeface="Arial" charset="0"/>
              </a:endParaRPr>
            </a:p>
            <a:p>
              <a:pPr algn="ctr" defTabSz="449263" eaLnBrk="0" hangingPunct="0">
                <a:spcBef>
                  <a:spcPct val="20000"/>
                </a:spcBef>
                <a:buClr>
                  <a:schemeClr val="accent2"/>
                </a:buClr>
                <a:buSzPct val="13000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r>
                <a:rPr lang="en-US" sz="800" b="1" dirty="0" err="1">
                  <a:solidFill>
                    <a:srgbClr val="0067B7"/>
                  </a:solidFill>
                  <a:latin typeface="Arial" charset="0"/>
                </a:rPr>
                <a:t>EvenHubManagmentServices</a:t>
              </a:r>
              <a:endParaRPr lang="en-US" sz="800" b="1" dirty="0">
                <a:solidFill>
                  <a:srgbClr val="0067B7"/>
                </a:solidFill>
                <a:latin typeface="Arial" charset="0"/>
              </a:endParaRPr>
            </a:p>
            <a:p>
              <a:pPr algn="ctr" defTabSz="449263" eaLnBrk="0" hangingPunct="0">
                <a:spcBef>
                  <a:spcPct val="20000"/>
                </a:spcBef>
                <a:buClr>
                  <a:schemeClr val="accent2"/>
                </a:buClr>
                <a:buSzPct val="13000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endParaRPr lang="en-US" sz="800" b="1" dirty="0">
                <a:solidFill>
                  <a:srgbClr val="0067B7"/>
                </a:solidFill>
                <a:latin typeface="Arial" charset="0"/>
              </a:endParaRPr>
            </a:p>
          </p:txBody>
        </p:sp>
        <p:grpSp>
          <p:nvGrpSpPr>
            <p:cNvPr id="148" name="Group 147">
              <a:extLst>
                <a:ext uri="{FF2B5EF4-FFF2-40B4-BE49-F238E27FC236}">
                  <a16:creationId xmlns:a16="http://schemas.microsoft.com/office/drawing/2014/main" id="{3E8E5687-D3F3-6E48-BA25-A99BC81D7425}"/>
                </a:ext>
              </a:extLst>
            </p:cNvPr>
            <p:cNvGrpSpPr/>
            <p:nvPr/>
          </p:nvGrpSpPr>
          <p:grpSpPr>
            <a:xfrm>
              <a:off x="9799593" y="2906249"/>
              <a:ext cx="198209" cy="142185"/>
              <a:chOff x="10863517" y="2372849"/>
              <a:chExt cx="198209" cy="142185"/>
            </a:xfrm>
          </p:grpSpPr>
          <p:sp>
            <p:nvSpPr>
              <p:cNvPr id="152" name="Rectangle 151">
                <a:extLst>
                  <a:ext uri="{FF2B5EF4-FFF2-40B4-BE49-F238E27FC236}">
                    <a16:creationId xmlns:a16="http://schemas.microsoft.com/office/drawing/2014/main" id="{BFBACC18-72DE-764A-B2C5-7B5BB97BA480}"/>
                  </a:ext>
                </a:extLst>
              </p:cNvPr>
              <p:cNvSpPr/>
              <p:nvPr/>
            </p:nvSpPr>
            <p:spPr>
              <a:xfrm>
                <a:off x="10918955" y="2372849"/>
                <a:ext cx="142771" cy="142185"/>
              </a:xfrm>
              <a:prstGeom prst="rect">
                <a:avLst/>
              </a:prstGeom>
              <a:solidFill>
                <a:srgbClr val="87CBD8">
                  <a:alpha val="31000"/>
                </a:srgbClr>
              </a:solidFill>
              <a:ln w="12700">
                <a:solidFill>
                  <a:srgbClr val="0067B7"/>
                </a:solidFill>
                <a:miter lim="800000"/>
                <a:headEnd/>
                <a:tailEnd/>
              </a:ln>
            </p:spPr>
            <p:txBody>
              <a:bodyPr rot="0" spcFirstLastPara="0" vertOverflow="overflow" horzOverflow="overflow" vert="horz" wrap="none" lIns="108000" tIns="0" rIns="108000" bIns="0" numCol="1" spcCol="0" rtlCol="0" fromWordArt="0" anchor="ctr" anchorCtr="0" forceAA="0" compatLnSpc="1">
                <a:prstTxWarp prst="textNoShape">
                  <a:avLst/>
                </a:prstTxWarp>
                <a:noAutofit/>
              </a:bodyPr>
              <a:lstStyle/>
              <a:p>
                <a:pPr algn="ctr" defTabSz="449263" eaLnBrk="0" hangingPunct="0">
                  <a:spcBef>
                    <a:spcPct val="20000"/>
                  </a:spcBef>
                  <a:buClr>
                    <a:schemeClr val="accent2"/>
                  </a:buClr>
                  <a:buSzPct val="13000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endParaRPr lang="en-US" sz="900" b="1" dirty="0">
                  <a:solidFill>
                    <a:srgbClr val="0067B7"/>
                  </a:solidFill>
                  <a:latin typeface="Arial" charset="0"/>
                </a:endParaRPr>
              </a:p>
            </p:txBody>
          </p:sp>
          <p:sp>
            <p:nvSpPr>
              <p:cNvPr id="153" name="Rectangle 152">
                <a:extLst>
                  <a:ext uri="{FF2B5EF4-FFF2-40B4-BE49-F238E27FC236}">
                    <a16:creationId xmlns:a16="http://schemas.microsoft.com/office/drawing/2014/main" id="{06E2AE4D-11AE-E542-87FA-F8CD84733429}"/>
                  </a:ext>
                </a:extLst>
              </p:cNvPr>
              <p:cNvSpPr/>
              <p:nvPr/>
            </p:nvSpPr>
            <p:spPr>
              <a:xfrm flipV="1">
                <a:off x="10868226" y="2454157"/>
                <a:ext cx="98130" cy="36000"/>
              </a:xfrm>
              <a:prstGeom prst="rect">
                <a:avLst/>
              </a:prstGeom>
              <a:solidFill>
                <a:srgbClr val="87CBD8">
                  <a:alpha val="31000"/>
                </a:srgbClr>
              </a:solidFill>
              <a:ln w="12700">
                <a:solidFill>
                  <a:srgbClr val="0067B7"/>
                </a:solidFill>
                <a:miter lim="800000"/>
                <a:headEnd/>
                <a:tailEnd/>
              </a:ln>
            </p:spPr>
            <p:txBody>
              <a:bodyPr rot="0" spcFirstLastPara="0" vertOverflow="overflow" horzOverflow="overflow" vert="horz" wrap="none" lIns="108000" tIns="0" rIns="108000" bIns="0" numCol="1" spcCol="0" rtlCol="0" fromWordArt="0" anchor="ctr" anchorCtr="0" forceAA="0" compatLnSpc="1">
                <a:prstTxWarp prst="textNoShape">
                  <a:avLst/>
                </a:prstTxWarp>
                <a:noAutofit/>
              </a:bodyPr>
              <a:lstStyle/>
              <a:p>
                <a:pPr algn="ctr" defTabSz="449263" eaLnBrk="0" hangingPunct="0">
                  <a:spcBef>
                    <a:spcPct val="20000"/>
                  </a:spcBef>
                  <a:buClr>
                    <a:schemeClr val="accent2"/>
                  </a:buClr>
                  <a:buSzPct val="13000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endParaRPr lang="en-US" sz="900" b="1" dirty="0">
                  <a:solidFill>
                    <a:srgbClr val="0067B7"/>
                  </a:solidFill>
                  <a:latin typeface="Arial" charset="0"/>
                </a:endParaRPr>
              </a:p>
            </p:txBody>
          </p:sp>
          <p:sp>
            <p:nvSpPr>
              <p:cNvPr id="158" name="Rectangle 157">
                <a:extLst>
                  <a:ext uri="{FF2B5EF4-FFF2-40B4-BE49-F238E27FC236}">
                    <a16:creationId xmlns:a16="http://schemas.microsoft.com/office/drawing/2014/main" id="{9186CC0A-13F2-E34F-BD20-87B393355220}"/>
                  </a:ext>
                </a:extLst>
              </p:cNvPr>
              <p:cNvSpPr/>
              <p:nvPr/>
            </p:nvSpPr>
            <p:spPr>
              <a:xfrm flipV="1">
                <a:off x="10863517" y="2393280"/>
                <a:ext cx="98130" cy="36000"/>
              </a:xfrm>
              <a:prstGeom prst="rect">
                <a:avLst/>
              </a:prstGeom>
              <a:solidFill>
                <a:srgbClr val="87CBD8">
                  <a:alpha val="31000"/>
                </a:srgbClr>
              </a:solidFill>
              <a:ln w="12700">
                <a:solidFill>
                  <a:srgbClr val="0067B7"/>
                </a:solidFill>
                <a:miter lim="800000"/>
                <a:headEnd/>
                <a:tailEnd/>
              </a:ln>
            </p:spPr>
            <p:txBody>
              <a:bodyPr rot="0" spcFirstLastPara="0" vertOverflow="overflow" horzOverflow="overflow" vert="horz" wrap="none" lIns="108000" tIns="0" rIns="108000" bIns="0" numCol="1" spcCol="0" rtlCol="0" fromWordArt="0" anchor="ctr" anchorCtr="0" forceAA="0" compatLnSpc="1">
                <a:prstTxWarp prst="textNoShape">
                  <a:avLst/>
                </a:prstTxWarp>
                <a:noAutofit/>
              </a:bodyPr>
              <a:lstStyle/>
              <a:p>
                <a:pPr algn="ctr" defTabSz="449263" eaLnBrk="0" hangingPunct="0">
                  <a:spcBef>
                    <a:spcPct val="20000"/>
                  </a:spcBef>
                  <a:buClr>
                    <a:schemeClr val="accent2"/>
                  </a:buClr>
                  <a:buSzPct val="13000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endParaRPr lang="en-US" sz="900" b="1" dirty="0">
                  <a:solidFill>
                    <a:srgbClr val="0067B7"/>
                  </a:solidFill>
                  <a:latin typeface="Arial" charset="0"/>
                </a:endParaRPr>
              </a:p>
            </p:txBody>
          </p:sp>
        </p:grpSp>
      </p:grpSp>
      <p:cxnSp>
        <p:nvCxnSpPr>
          <p:cNvPr id="159" name="Straight Arrow Connector 158">
            <a:extLst>
              <a:ext uri="{FF2B5EF4-FFF2-40B4-BE49-F238E27FC236}">
                <a16:creationId xmlns:a16="http://schemas.microsoft.com/office/drawing/2014/main" id="{DF6FA28D-FEA3-2D42-B1ED-BEA67F473CBF}"/>
              </a:ext>
            </a:extLst>
          </p:cNvPr>
          <p:cNvCxnSpPr>
            <a:cxnSpLocks/>
            <a:stCxn id="128" idx="1"/>
            <a:endCxn id="147" idx="3"/>
          </p:cNvCxnSpPr>
          <p:nvPr/>
        </p:nvCxnSpPr>
        <p:spPr>
          <a:xfrm flipH="1">
            <a:off x="4358263" y="2480893"/>
            <a:ext cx="602468" cy="0"/>
          </a:xfrm>
          <a:prstGeom prst="straightConnector1">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19527082"/>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7" name="Rectangle 3">
            <a:extLst>
              <a:ext uri="{FF2B5EF4-FFF2-40B4-BE49-F238E27FC236}">
                <a16:creationId xmlns:a16="http://schemas.microsoft.com/office/drawing/2014/main" id="{A27FD23C-A522-0E4F-B70C-CC83BC4542BA}"/>
              </a:ext>
            </a:extLst>
          </p:cNvPr>
          <p:cNvSpPr txBox="1"/>
          <p:nvPr/>
        </p:nvSpPr>
        <p:spPr>
          <a:xfrm>
            <a:off x="404809" y="237462"/>
            <a:ext cx="5816248" cy="400105"/>
          </a:xfrm>
          <a:prstGeom prst="rect">
            <a:avLst/>
          </a:prstGeom>
          <a:ln w="12700">
            <a:miter lim="400000"/>
          </a:ln>
          <a:extLst>
            <a:ext uri="{C572A759-6A51-4108-AA02-DFA0A04FC94B}">
              <ma14:wrappingTextBoxFlag xmlns:ma14="http://schemas.microsoft.com/office/mac/drawingml/2011/main" xmlns="" val="1"/>
            </a:ext>
          </a:extLst>
        </p:spPr>
        <p:txBody>
          <a:bodyPr wrap="square" lIns="45718" tIns="45718" rIns="45718" bIns="45718">
            <a:spAutoFit/>
          </a:bodyPr>
          <a:lstStyle>
            <a:lvl1pPr algn="l" defTabSz="914400">
              <a:defRPr sz="2200" b="1">
                <a:solidFill>
                  <a:srgbClr val="FFFFFF"/>
                </a:solidFill>
                <a:latin typeface="Arial"/>
                <a:ea typeface="Arial"/>
                <a:cs typeface="Arial"/>
                <a:sym typeface="Arial"/>
              </a:defRPr>
            </a:lvl1pPr>
          </a:lstStyle>
          <a:p>
            <a:r>
              <a:rPr lang="en-US" sz="2000" dirty="0">
                <a:solidFill>
                  <a:srgbClr val="016AA2"/>
                </a:solidFill>
              </a:rPr>
              <a:t>Needs and Solution Proposal (XI)</a:t>
            </a:r>
          </a:p>
        </p:txBody>
      </p:sp>
      <p:sp>
        <p:nvSpPr>
          <p:cNvPr id="88" name="Rectangle 3"/>
          <p:cNvSpPr txBox="1"/>
          <p:nvPr/>
        </p:nvSpPr>
        <p:spPr>
          <a:xfrm>
            <a:off x="413951" y="637567"/>
            <a:ext cx="5695981" cy="369328"/>
          </a:xfrm>
          <a:prstGeom prst="rect">
            <a:avLst/>
          </a:prstGeom>
          <a:ln w="12700">
            <a:miter lim="400000"/>
          </a:ln>
          <a:extLst>
            <a:ext uri="{C572A759-6A51-4108-AA02-DFA0A04FC94B}">
              <ma14:wrappingTextBoxFlag xmlns="" xmlns:ma14="http://schemas.microsoft.com/office/mac/drawingml/2011/main" val="1"/>
            </a:ext>
          </a:extLst>
        </p:spPr>
        <p:txBody>
          <a:bodyPr wrap="square" lIns="45718" tIns="45718" rIns="45718" bIns="45718">
            <a:spAutoFit/>
          </a:bodyPr>
          <a:lstStyle>
            <a:lvl1pPr algn="l" defTabSz="914400">
              <a:defRPr sz="2000">
                <a:solidFill>
                  <a:srgbClr val="104D6A"/>
                </a:solidFill>
                <a:latin typeface="Arial"/>
                <a:ea typeface="Arial"/>
                <a:cs typeface="Arial"/>
                <a:sym typeface="Arial"/>
              </a:defRPr>
            </a:lvl1pPr>
          </a:lstStyle>
          <a:p>
            <a:pPr lvl="0">
              <a:defRPr/>
            </a:pPr>
            <a:r>
              <a:rPr lang="en-US" sz="1800" b="1" dirty="0">
                <a:solidFill>
                  <a:srgbClr val="73C4EF"/>
                </a:solidFill>
              </a:rPr>
              <a:t>Event Hub Architecture – Components III</a:t>
            </a:r>
          </a:p>
        </p:txBody>
      </p:sp>
      <p:sp>
        <p:nvSpPr>
          <p:cNvPr id="18" name="Google Shape;61;p12">
            <a:extLst>
              <a:ext uri="{FF2B5EF4-FFF2-40B4-BE49-F238E27FC236}">
                <a16:creationId xmlns:a16="http://schemas.microsoft.com/office/drawing/2014/main" id="{AEF96D00-4921-6E43-BF66-0D80497B1905}"/>
              </a:ext>
            </a:extLst>
          </p:cNvPr>
          <p:cNvSpPr txBox="1">
            <a:spLocks/>
          </p:cNvSpPr>
          <p:nvPr/>
        </p:nvSpPr>
        <p:spPr>
          <a:xfrm>
            <a:off x="2556906" y="1629182"/>
            <a:ext cx="9055974" cy="525119"/>
          </a:xfrm>
          <a:prstGeom prst="rect">
            <a:avLst/>
          </a:prstGeom>
        </p:spPr>
        <p:txBody>
          <a:bodyPr spcFirstLastPara="1" vert="horz" wrap="square" lIns="91425" tIns="91425" rIns="91425" bIns="91425" rtlCol="0" anchor="ctr"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lgn="l">
              <a:spcBef>
                <a:spcPts val="0"/>
              </a:spcBef>
            </a:pPr>
            <a:r>
              <a:rPr lang="en-US" sz="900" dirty="0">
                <a:solidFill>
                  <a:srgbClr val="0067B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It is the component that has the responsibility of exposing its clients the functionality of sending messages to one or more topics of Kafka. Integrates with </a:t>
            </a:r>
            <a:r>
              <a:rPr lang="en-US" sz="900" dirty="0" err="1">
                <a:solidFill>
                  <a:srgbClr val="C5277F"/>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ProducerEngine</a:t>
            </a:r>
            <a:endParaRPr lang="en-US" sz="900" dirty="0">
              <a:solidFill>
                <a:srgbClr val="0067B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endParaRPr>
          </a:p>
        </p:txBody>
      </p:sp>
      <p:grpSp>
        <p:nvGrpSpPr>
          <p:cNvPr id="6" name="Group 5">
            <a:extLst>
              <a:ext uri="{FF2B5EF4-FFF2-40B4-BE49-F238E27FC236}">
                <a16:creationId xmlns:a16="http://schemas.microsoft.com/office/drawing/2014/main" id="{25F6FE15-8D20-C847-B66D-EF6D7FA33669}"/>
              </a:ext>
            </a:extLst>
          </p:cNvPr>
          <p:cNvGrpSpPr/>
          <p:nvPr/>
        </p:nvGrpSpPr>
        <p:grpSpPr>
          <a:xfrm>
            <a:off x="722377" y="1617352"/>
            <a:ext cx="1427970" cy="460228"/>
            <a:chOff x="1082487" y="1334954"/>
            <a:chExt cx="1067859" cy="460228"/>
          </a:xfrm>
        </p:grpSpPr>
        <p:sp>
          <p:nvSpPr>
            <p:cNvPr id="2" name="Rectangle 1">
              <a:extLst>
                <a:ext uri="{FF2B5EF4-FFF2-40B4-BE49-F238E27FC236}">
                  <a16:creationId xmlns:a16="http://schemas.microsoft.com/office/drawing/2014/main" id="{4E9AC7D6-1FEE-C54E-B132-04896A138DE5}"/>
                </a:ext>
              </a:extLst>
            </p:cNvPr>
            <p:cNvSpPr/>
            <p:nvPr/>
          </p:nvSpPr>
          <p:spPr>
            <a:xfrm>
              <a:off x="1082487" y="1334954"/>
              <a:ext cx="1067859" cy="460228"/>
            </a:xfrm>
            <a:prstGeom prst="rect">
              <a:avLst/>
            </a:prstGeom>
            <a:solidFill>
              <a:schemeClr val="bg1"/>
            </a:solidFill>
            <a:ln w="9525">
              <a:solidFill>
                <a:srgbClr val="0067B7"/>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800" dirty="0">
                <a:solidFill>
                  <a:srgbClr val="0067B7"/>
                </a:solidFill>
                <a:latin typeface="Arial" pitchFamily="34" charset="0"/>
                <a:cs typeface="Arial" pitchFamily="34" charset="0"/>
              </a:endParaRPr>
            </a:p>
            <a:p>
              <a:pPr algn="ctr"/>
              <a:endParaRPr lang="en-US" sz="800" dirty="0">
                <a:solidFill>
                  <a:srgbClr val="0067B7"/>
                </a:solidFill>
                <a:latin typeface="Arial" pitchFamily="34" charset="0"/>
                <a:cs typeface="Arial" pitchFamily="34" charset="0"/>
              </a:endParaRPr>
            </a:p>
            <a:p>
              <a:pPr algn="ctr"/>
              <a:r>
                <a:rPr lang="en-US" sz="800" b="1" dirty="0" err="1">
                  <a:solidFill>
                    <a:srgbClr val="0067B7"/>
                  </a:solidFill>
                  <a:latin typeface="Arial" pitchFamily="34" charset="0"/>
                  <a:cs typeface="Arial" pitchFamily="34" charset="0"/>
                </a:rPr>
                <a:t>ProducerService</a:t>
              </a:r>
              <a:endParaRPr lang="en-US" sz="800" b="1" dirty="0">
                <a:solidFill>
                  <a:srgbClr val="0067B7"/>
                </a:solidFill>
                <a:latin typeface="Arial" pitchFamily="34" charset="0"/>
                <a:cs typeface="Arial" pitchFamily="34" charset="0"/>
              </a:endParaRPr>
            </a:p>
            <a:p>
              <a:pPr algn="ctr"/>
              <a:endParaRPr lang="en-US" sz="800" dirty="0">
                <a:solidFill>
                  <a:srgbClr val="0067B7"/>
                </a:solidFill>
                <a:latin typeface="Arial" pitchFamily="34" charset="0"/>
                <a:cs typeface="Arial" pitchFamily="34" charset="0"/>
              </a:endParaRPr>
            </a:p>
          </p:txBody>
        </p:sp>
        <p:grpSp>
          <p:nvGrpSpPr>
            <p:cNvPr id="4" name="Group 3">
              <a:extLst>
                <a:ext uri="{FF2B5EF4-FFF2-40B4-BE49-F238E27FC236}">
                  <a16:creationId xmlns:a16="http://schemas.microsoft.com/office/drawing/2014/main" id="{B36C9A92-916B-3849-AFEC-8D76DE5F1ADB}"/>
                </a:ext>
              </a:extLst>
            </p:cNvPr>
            <p:cNvGrpSpPr/>
            <p:nvPr/>
          </p:nvGrpSpPr>
          <p:grpSpPr>
            <a:xfrm>
              <a:off x="1936955" y="1378300"/>
              <a:ext cx="141975" cy="142185"/>
              <a:chOff x="1539214" y="2731675"/>
              <a:chExt cx="141975" cy="142185"/>
            </a:xfrm>
          </p:grpSpPr>
          <p:sp>
            <p:nvSpPr>
              <p:cNvPr id="40" name="Rectangle 39">
                <a:extLst>
                  <a:ext uri="{FF2B5EF4-FFF2-40B4-BE49-F238E27FC236}">
                    <a16:creationId xmlns:a16="http://schemas.microsoft.com/office/drawing/2014/main" id="{B2749185-B89E-424A-AB4D-8534C52E18E7}"/>
                  </a:ext>
                </a:extLst>
              </p:cNvPr>
              <p:cNvSpPr/>
              <p:nvPr/>
            </p:nvSpPr>
            <p:spPr>
              <a:xfrm>
                <a:off x="1576435" y="2731675"/>
                <a:ext cx="104754" cy="142185"/>
              </a:xfrm>
              <a:prstGeom prst="rect">
                <a:avLst/>
              </a:prstGeom>
              <a:solidFill>
                <a:schemeClr val="bg1"/>
              </a:solidFill>
              <a:ln w="9525">
                <a:solidFill>
                  <a:srgbClr val="0067B7"/>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a:solidFill>
                    <a:srgbClr val="002D72"/>
                  </a:solidFill>
                  <a:latin typeface="Arial" pitchFamily="34" charset="0"/>
                  <a:cs typeface="Arial" pitchFamily="34" charset="0"/>
                </a:endParaRPr>
              </a:p>
            </p:txBody>
          </p:sp>
          <p:sp>
            <p:nvSpPr>
              <p:cNvPr id="45" name="Rectangle 44">
                <a:extLst>
                  <a:ext uri="{FF2B5EF4-FFF2-40B4-BE49-F238E27FC236}">
                    <a16:creationId xmlns:a16="http://schemas.microsoft.com/office/drawing/2014/main" id="{E36DF9CE-1DD5-5C43-97EC-79C9C06EA096}"/>
                  </a:ext>
                </a:extLst>
              </p:cNvPr>
              <p:cNvSpPr/>
              <p:nvPr/>
            </p:nvSpPr>
            <p:spPr>
              <a:xfrm flipV="1">
                <a:off x="1539214" y="2812983"/>
                <a:ext cx="72000" cy="36000"/>
              </a:xfrm>
              <a:prstGeom prst="rect">
                <a:avLst/>
              </a:prstGeom>
              <a:solidFill>
                <a:schemeClr val="bg1"/>
              </a:solidFill>
              <a:ln w="9525">
                <a:solidFill>
                  <a:srgbClr val="0067B7"/>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a:solidFill>
                    <a:srgbClr val="002D72"/>
                  </a:solidFill>
                  <a:latin typeface="Arial" pitchFamily="34" charset="0"/>
                  <a:cs typeface="Arial" pitchFamily="34" charset="0"/>
                </a:endParaRPr>
              </a:p>
            </p:txBody>
          </p:sp>
          <p:sp>
            <p:nvSpPr>
              <p:cNvPr id="46" name="Rectangle 45">
                <a:extLst>
                  <a:ext uri="{FF2B5EF4-FFF2-40B4-BE49-F238E27FC236}">
                    <a16:creationId xmlns:a16="http://schemas.microsoft.com/office/drawing/2014/main" id="{08AFC4A5-A8D4-CA4D-BE42-0B54D9981A22}"/>
                  </a:ext>
                </a:extLst>
              </p:cNvPr>
              <p:cNvSpPr/>
              <p:nvPr/>
            </p:nvSpPr>
            <p:spPr>
              <a:xfrm flipV="1">
                <a:off x="1539214" y="2756453"/>
                <a:ext cx="72000" cy="36000"/>
              </a:xfrm>
              <a:prstGeom prst="rect">
                <a:avLst/>
              </a:prstGeom>
              <a:solidFill>
                <a:schemeClr val="bg1"/>
              </a:solidFill>
              <a:ln w="9525">
                <a:solidFill>
                  <a:srgbClr val="0067B7"/>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a:solidFill>
                    <a:srgbClr val="002D72"/>
                  </a:solidFill>
                  <a:latin typeface="Arial" pitchFamily="34" charset="0"/>
                  <a:cs typeface="Arial" pitchFamily="34" charset="0"/>
                </a:endParaRPr>
              </a:p>
            </p:txBody>
          </p:sp>
        </p:grpSp>
      </p:grpSp>
      <p:grpSp>
        <p:nvGrpSpPr>
          <p:cNvPr id="57" name="Group 56">
            <a:extLst>
              <a:ext uri="{FF2B5EF4-FFF2-40B4-BE49-F238E27FC236}">
                <a16:creationId xmlns:a16="http://schemas.microsoft.com/office/drawing/2014/main" id="{82676D7A-1E27-3542-BC4E-AA0AB5107C70}"/>
              </a:ext>
            </a:extLst>
          </p:cNvPr>
          <p:cNvGrpSpPr/>
          <p:nvPr/>
        </p:nvGrpSpPr>
        <p:grpSpPr>
          <a:xfrm>
            <a:off x="722376" y="2348845"/>
            <a:ext cx="1427969" cy="460228"/>
            <a:chOff x="1082487" y="1334954"/>
            <a:chExt cx="1067859" cy="460228"/>
          </a:xfrm>
        </p:grpSpPr>
        <p:sp>
          <p:nvSpPr>
            <p:cNvPr id="58" name="Rectangle 57">
              <a:extLst>
                <a:ext uri="{FF2B5EF4-FFF2-40B4-BE49-F238E27FC236}">
                  <a16:creationId xmlns:a16="http://schemas.microsoft.com/office/drawing/2014/main" id="{614E28DB-1AA3-4844-89A1-02849EF1A69E}"/>
                </a:ext>
              </a:extLst>
            </p:cNvPr>
            <p:cNvSpPr/>
            <p:nvPr/>
          </p:nvSpPr>
          <p:spPr>
            <a:xfrm>
              <a:off x="1082487" y="1334954"/>
              <a:ext cx="1067859" cy="460228"/>
            </a:xfrm>
            <a:prstGeom prst="rect">
              <a:avLst/>
            </a:prstGeom>
            <a:solidFill>
              <a:schemeClr val="bg1"/>
            </a:solidFill>
            <a:ln w="9525">
              <a:solidFill>
                <a:srgbClr val="0067B7"/>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800" dirty="0">
                <a:solidFill>
                  <a:srgbClr val="0067B7"/>
                </a:solidFill>
                <a:latin typeface="Arial" pitchFamily="34" charset="0"/>
                <a:cs typeface="Arial" pitchFamily="34" charset="0"/>
              </a:endParaRPr>
            </a:p>
            <a:p>
              <a:pPr algn="ctr"/>
              <a:endParaRPr lang="en-US" sz="800" dirty="0">
                <a:solidFill>
                  <a:srgbClr val="0067B7"/>
                </a:solidFill>
                <a:latin typeface="Arial" pitchFamily="34" charset="0"/>
                <a:cs typeface="Arial" pitchFamily="34" charset="0"/>
              </a:endParaRPr>
            </a:p>
            <a:p>
              <a:pPr algn="ctr"/>
              <a:r>
                <a:rPr lang="en-US" sz="800" b="1" dirty="0" err="1">
                  <a:solidFill>
                    <a:srgbClr val="0067B7"/>
                  </a:solidFill>
                  <a:latin typeface="Arial" pitchFamily="34" charset="0"/>
                  <a:cs typeface="Arial" pitchFamily="34" charset="0"/>
                </a:rPr>
                <a:t>ConsumerService</a:t>
              </a:r>
              <a:endParaRPr lang="en-US" sz="800" b="1" dirty="0">
                <a:solidFill>
                  <a:srgbClr val="0067B7"/>
                </a:solidFill>
                <a:latin typeface="Arial" pitchFamily="34" charset="0"/>
                <a:cs typeface="Arial" pitchFamily="34" charset="0"/>
              </a:endParaRPr>
            </a:p>
            <a:p>
              <a:pPr algn="ctr"/>
              <a:endParaRPr lang="en-US" sz="800" dirty="0">
                <a:solidFill>
                  <a:srgbClr val="0067B7"/>
                </a:solidFill>
                <a:latin typeface="Arial" pitchFamily="34" charset="0"/>
                <a:cs typeface="Arial" pitchFamily="34" charset="0"/>
              </a:endParaRPr>
            </a:p>
          </p:txBody>
        </p:sp>
        <p:grpSp>
          <p:nvGrpSpPr>
            <p:cNvPr id="59" name="Group 58">
              <a:extLst>
                <a:ext uri="{FF2B5EF4-FFF2-40B4-BE49-F238E27FC236}">
                  <a16:creationId xmlns:a16="http://schemas.microsoft.com/office/drawing/2014/main" id="{5D29757A-2232-2241-ACC9-6F2E1B83E36F}"/>
                </a:ext>
              </a:extLst>
            </p:cNvPr>
            <p:cNvGrpSpPr/>
            <p:nvPr/>
          </p:nvGrpSpPr>
          <p:grpSpPr>
            <a:xfrm>
              <a:off x="1936955" y="1378300"/>
              <a:ext cx="141975" cy="142185"/>
              <a:chOff x="1539214" y="2731675"/>
              <a:chExt cx="141975" cy="142185"/>
            </a:xfrm>
          </p:grpSpPr>
          <p:sp>
            <p:nvSpPr>
              <p:cNvPr id="60" name="Rectangle 59">
                <a:extLst>
                  <a:ext uri="{FF2B5EF4-FFF2-40B4-BE49-F238E27FC236}">
                    <a16:creationId xmlns:a16="http://schemas.microsoft.com/office/drawing/2014/main" id="{77ECD319-9ED3-9F4E-8971-E50B9E784087}"/>
                  </a:ext>
                </a:extLst>
              </p:cNvPr>
              <p:cNvSpPr/>
              <p:nvPr/>
            </p:nvSpPr>
            <p:spPr>
              <a:xfrm>
                <a:off x="1576435" y="2731675"/>
                <a:ext cx="104754" cy="142185"/>
              </a:xfrm>
              <a:prstGeom prst="rect">
                <a:avLst/>
              </a:prstGeom>
              <a:solidFill>
                <a:schemeClr val="bg1"/>
              </a:solidFill>
              <a:ln w="9525">
                <a:solidFill>
                  <a:srgbClr val="0067B7"/>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a:solidFill>
                    <a:srgbClr val="002D72"/>
                  </a:solidFill>
                  <a:latin typeface="Arial" pitchFamily="34" charset="0"/>
                  <a:cs typeface="Arial" pitchFamily="34" charset="0"/>
                </a:endParaRPr>
              </a:p>
            </p:txBody>
          </p:sp>
          <p:sp>
            <p:nvSpPr>
              <p:cNvPr id="61" name="Rectangle 60">
                <a:extLst>
                  <a:ext uri="{FF2B5EF4-FFF2-40B4-BE49-F238E27FC236}">
                    <a16:creationId xmlns:a16="http://schemas.microsoft.com/office/drawing/2014/main" id="{A93BFA03-0979-AB4D-B6C9-1671759E1AF6}"/>
                  </a:ext>
                </a:extLst>
              </p:cNvPr>
              <p:cNvSpPr/>
              <p:nvPr/>
            </p:nvSpPr>
            <p:spPr>
              <a:xfrm flipV="1">
                <a:off x="1539214" y="2812983"/>
                <a:ext cx="72000" cy="36000"/>
              </a:xfrm>
              <a:prstGeom prst="rect">
                <a:avLst/>
              </a:prstGeom>
              <a:solidFill>
                <a:schemeClr val="bg1"/>
              </a:solidFill>
              <a:ln w="9525">
                <a:solidFill>
                  <a:srgbClr val="0067B7"/>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a:solidFill>
                    <a:srgbClr val="002D72"/>
                  </a:solidFill>
                  <a:latin typeface="Arial" pitchFamily="34" charset="0"/>
                  <a:cs typeface="Arial" pitchFamily="34" charset="0"/>
                </a:endParaRPr>
              </a:p>
            </p:txBody>
          </p:sp>
          <p:sp>
            <p:nvSpPr>
              <p:cNvPr id="62" name="Rectangle 61">
                <a:extLst>
                  <a:ext uri="{FF2B5EF4-FFF2-40B4-BE49-F238E27FC236}">
                    <a16:creationId xmlns:a16="http://schemas.microsoft.com/office/drawing/2014/main" id="{8BCAD0FC-D1CC-9647-BC56-906739032EFE}"/>
                  </a:ext>
                </a:extLst>
              </p:cNvPr>
              <p:cNvSpPr/>
              <p:nvPr/>
            </p:nvSpPr>
            <p:spPr>
              <a:xfrm flipV="1">
                <a:off x="1539214" y="2756453"/>
                <a:ext cx="72000" cy="36000"/>
              </a:xfrm>
              <a:prstGeom prst="rect">
                <a:avLst/>
              </a:prstGeom>
              <a:solidFill>
                <a:schemeClr val="bg1"/>
              </a:solidFill>
              <a:ln w="9525">
                <a:solidFill>
                  <a:srgbClr val="0067B7"/>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a:solidFill>
                    <a:srgbClr val="002D72"/>
                  </a:solidFill>
                  <a:latin typeface="Arial" pitchFamily="34" charset="0"/>
                  <a:cs typeface="Arial" pitchFamily="34" charset="0"/>
                </a:endParaRPr>
              </a:p>
            </p:txBody>
          </p:sp>
        </p:grpSp>
      </p:grpSp>
      <p:sp>
        <p:nvSpPr>
          <p:cNvPr id="83" name="Google Shape;61;p12">
            <a:extLst>
              <a:ext uri="{FF2B5EF4-FFF2-40B4-BE49-F238E27FC236}">
                <a16:creationId xmlns:a16="http://schemas.microsoft.com/office/drawing/2014/main" id="{8E589123-30BE-3744-848C-DF14A828ABCF}"/>
              </a:ext>
            </a:extLst>
          </p:cNvPr>
          <p:cNvSpPr txBox="1">
            <a:spLocks/>
          </p:cNvSpPr>
          <p:nvPr/>
        </p:nvSpPr>
        <p:spPr>
          <a:xfrm>
            <a:off x="2556906" y="2390940"/>
            <a:ext cx="9055974" cy="525119"/>
          </a:xfrm>
          <a:prstGeom prst="rect">
            <a:avLst/>
          </a:prstGeom>
        </p:spPr>
        <p:txBody>
          <a:bodyPr spcFirstLastPara="1" vert="horz" wrap="square" lIns="91425" tIns="91425" rIns="91425" bIns="91425" rtlCol="0" anchor="ctr"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lgn="l">
              <a:spcBef>
                <a:spcPts val="0"/>
              </a:spcBef>
            </a:pPr>
            <a:r>
              <a:rPr lang="en-US" sz="900" dirty="0">
                <a:solidFill>
                  <a:srgbClr val="0067B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It is the component that has the responsibility of exposing to its customers the functionality of consuming messages from one or more topics of Kafka. Integrates with </a:t>
            </a:r>
            <a:r>
              <a:rPr lang="en-US" sz="900" dirty="0" err="1">
                <a:solidFill>
                  <a:srgbClr val="C5277F"/>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ConsumerEngine</a:t>
            </a:r>
            <a:endParaRPr lang="en-US" sz="900" dirty="0">
              <a:solidFill>
                <a:srgbClr val="C5277F"/>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endParaRPr>
          </a:p>
        </p:txBody>
      </p:sp>
      <p:sp>
        <p:nvSpPr>
          <p:cNvPr id="84" name="Google Shape;61;p12">
            <a:extLst>
              <a:ext uri="{FF2B5EF4-FFF2-40B4-BE49-F238E27FC236}">
                <a16:creationId xmlns:a16="http://schemas.microsoft.com/office/drawing/2014/main" id="{0C4FB307-D5A6-7D48-9BE1-F20D78967BE4}"/>
              </a:ext>
            </a:extLst>
          </p:cNvPr>
          <p:cNvSpPr txBox="1">
            <a:spLocks/>
          </p:cNvSpPr>
          <p:nvPr/>
        </p:nvSpPr>
        <p:spPr>
          <a:xfrm>
            <a:off x="2556906" y="3122494"/>
            <a:ext cx="9055974" cy="525119"/>
          </a:xfrm>
          <a:prstGeom prst="rect">
            <a:avLst/>
          </a:prstGeom>
        </p:spPr>
        <p:txBody>
          <a:bodyPr spcFirstLastPara="1" vert="horz" wrap="square" lIns="91425" tIns="91425" rIns="91425" bIns="91425" rtlCol="0" anchor="ctr"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lgn="l">
              <a:spcBef>
                <a:spcPts val="0"/>
              </a:spcBef>
            </a:pPr>
            <a:r>
              <a:rPr lang="en-US" sz="900" dirty="0">
                <a:solidFill>
                  <a:srgbClr val="0067B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It is the component that has the responsibility of exposing to its customers the functionality of processing events of one or more topics of Kafka. Integrates with </a:t>
            </a:r>
            <a:r>
              <a:rPr lang="en-US" sz="900" dirty="0" err="1">
                <a:solidFill>
                  <a:srgbClr val="C5277F"/>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StreamEngine</a:t>
            </a:r>
            <a:endParaRPr lang="en-US" sz="900" dirty="0">
              <a:solidFill>
                <a:srgbClr val="C5277F"/>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endParaRPr>
          </a:p>
        </p:txBody>
      </p:sp>
      <p:sp>
        <p:nvSpPr>
          <p:cNvPr id="85" name="Google Shape;61;p12">
            <a:extLst>
              <a:ext uri="{FF2B5EF4-FFF2-40B4-BE49-F238E27FC236}">
                <a16:creationId xmlns:a16="http://schemas.microsoft.com/office/drawing/2014/main" id="{C0FB6209-844F-F64D-A787-5D6F1FDCAF5F}"/>
              </a:ext>
            </a:extLst>
          </p:cNvPr>
          <p:cNvSpPr txBox="1">
            <a:spLocks/>
          </p:cNvSpPr>
          <p:nvPr/>
        </p:nvSpPr>
        <p:spPr>
          <a:xfrm>
            <a:off x="2556906" y="3870901"/>
            <a:ext cx="9055974" cy="525119"/>
          </a:xfrm>
          <a:prstGeom prst="rect">
            <a:avLst/>
          </a:prstGeom>
        </p:spPr>
        <p:txBody>
          <a:bodyPr spcFirstLastPara="1" vert="horz" wrap="square" lIns="91425" tIns="91425" rIns="91425" bIns="91425" rtlCol="0" anchor="ctr"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lgn="l">
              <a:spcBef>
                <a:spcPts val="0"/>
              </a:spcBef>
            </a:pPr>
            <a:r>
              <a:rPr lang="en-US" sz="900" dirty="0">
                <a:solidFill>
                  <a:srgbClr val="0067B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It is the component that contains the business logic to send from different send one or more events to Kafka topics. Integrates with </a:t>
            </a:r>
            <a:r>
              <a:rPr lang="en-US" sz="900" dirty="0" err="1">
                <a:solidFill>
                  <a:srgbClr val="C5277F"/>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SourceService</a:t>
            </a:r>
            <a:r>
              <a:rPr lang="en-US" sz="900" dirty="0">
                <a:solidFill>
                  <a:srgbClr val="0067B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 </a:t>
            </a:r>
            <a:r>
              <a:rPr lang="en-US" sz="900" dirty="0" err="1">
                <a:solidFill>
                  <a:srgbClr val="C5277F"/>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SecurityEngine</a:t>
            </a:r>
            <a:r>
              <a:rPr lang="en-US" sz="900" dirty="0">
                <a:solidFill>
                  <a:srgbClr val="0067B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 and </a:t>
            </a:r>
            <a:r>
              <a:rPr lang="en-US" sz="900" dirty="0" err="1">
                <a:solidFill>
                  <a:srgbClr val="C5277F"/>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CommandKafka</a:t>
            </a:r>
            <a:endParaRPr lang="en-US" sz="900" dirty="0">
              <a:solidFill>
                <a:srgbClr val="C5277F"/>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endParaRPr>
          </a:p>
        </p:txBody>
      </p:sp>
      <p:sp>
        <p:nvSpPr>
          <p:cNvPr id="86" name="Google Shape;61;p12">
            <a:extLst>
              <a:ext uri="{FF2B5EF4-FFF2-40B4-BE49-F238E27FC236}">
                <a16:creationId xmlns:a16="http://schemas.microsoft.com/office/drawing/2014/main" id="{4CCA2187-0AF5-2348-9414-741F2E1160B1}"/>
              </a:ext>
            </a:extLst>
          </p:cNvPr>
          <p:cNvSpPr txBox="1">
            <a:spLocks/>
          </p:cNvSpPr>
          <p:nvPr/>
        </p:nvSpPr>
        <p:spPr>
          <a:xfrm>
            <a:off x="2556906" y="4604785"/>
            <a:ext cx="9055974" cy="525119"/>
          </a:xfrm>
          <a:prstGeom prst="rect">
            <a:avLst/>
          </a:prstGeom>
        </p:spPr>
        <p:txBody>
          <a:bodyPr spcFirstLastPara="1" vert="horz" wrap="square" lIns="91425" tIns="91425" rIns="91425" bIns="91425" rtlCol="0" anchor="ctr"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lgn="l">
              <a:spcBef>
                <a:spcPts val="0"/>
              </a:spcBef>
            </a:pPr>
            <a:r>
              <a:rPr lang="en-US" sz="900" dirty="0">
                <a:solidFill>
                  <a:srgbClr val="0067B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It is the component that contains the business logic to send events of one or more topics of Kafka. Integrates with </a:t>
            </a:r>
            <a:r>
              <a:rPr lang="en-US" sz="900" dirty="0" err="1">
                <a:solidFill>
                  <a:srgbClr val="C5277F"/>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SinkService</a:t>
            </a:r>
            <a:r>
              <a:rPr lang="en-US" sz="900" dirty="0">
                <a:solidFill>
                  <a:srgbClr val="0067B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 </a:t>
            </a:r>
            <a:r>
              <a:rPr lang="en-US" sz="900" dirty="0" err="1">
                <a:solidFill>
                  <a:srgbClr val="C5277F"/>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ConsumerEngine</a:t>
            </a:r>
            <a:r>
              <a:rPr lang="en-US" sz="900" dirty="0">
                <a:solidFill>
                  <a:srgbClr val="0067B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 and </a:t>
            </a:r>
            <a:r>
              <a:rPr lang="en-US" sz="900" dirty="0" err="1">
                <a:solidFill>
                  <a:srgbClr val="C5277F"/>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StreamEngine</a:t>
            </a:r>
            <a:endParaRPr lang="en-US" sz="900" dirty="0">
              <a:solidFill>
                <a:srgbClr val="C5277F"/>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endParaRPr>
          </a:p>
        </p:txBody>
      </p:sp>
      <p:grpSp>
        <p:nvGrpSpPr>
          <p:cNvPr id="89" name="Group 88">
            <a:extLst>
              <a:ext uri="{FF2B5EF4-FFF2-40B4-BE49-F238E27FC236}">
                <a16:creationId xmlns:a16="http://schemas.microsoft.com/office/drawing/2014/main" id="{C0AC9D55-B0E4-C04B-88F9-0B5508FD87B2}"/>
              </a:ext>
            </a:extLst>
          </p:cNvPr>
          <p:cNvGrpSpPr/>
          <p:nvPr/>
        </p:nvGrpSpPr>
        <p:grpSpPr>
          <a:xfrm>
            <a:off x="718960" y="3104882"/>
            <a:ext cx="1427969" cy="460228"/>
            <a:chOff x="1082487" y="1334954"/>
            <a:chExt cx="1067859" cy="460228"/>
          </a:xfrm>
        </p:grpSpPr>
        <p:sp>
          <p:nvSpPr>
            <p:cNvPr id="90" name="Rectangle 89">
              <a:extLst>
                <a:ext uri="{FF2B5EF4-FFF2-40B4-BE49-F238E27FC236}">
                  <a16:creationId xmlns:a16="http://schemas.microsoft.com/office/drawing/2014/main" id="{D021528E-AE91-154B-947D-D13007CA2628}"/>
                </a:ext>
              </a:extLst>
            </p:cNvPr>
            <p:cNvSpPr/>
            <p:nvPr/>
          </p:nvSpPr>
          <p:spPr>
            <a:xfrm>
              <a:off x="1082487" y="1334954"/>
              <a:ext cx="1067859" cy="460228"/>
            </a:xfrm>
            <a:prstGeom prst="rect">
              <a:avLst/>
            </a:prstGeom>
            <a:solidFill>
              <a:schemeClr val="bg1"/>
            </a:solidFill>
            <a:ln w="9525">
              <a:solidFill>
                <a:srgbClr val="0067B7"/>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800" dirty="0">
                <a:solidFill>
                  <a:srgbClr val="0067B7"/>
                </a:solidFill>
                <a:latin typeface="Arial" pitchFamily="34" charset="0"/>
                <a:cs typeface="Arial" pitchFamily="34" charset="0"/>
              </a:endParaRPr>
            </a:p>
            <a:p>
              <a:pPr algn="ctr"/>
              <a:endParaRPr lang="en-US" sz="800" dirty="0">
                <a:solidFill>
                  <a:srgbClr val="0067B7"/>
                </a:solidFill>
                <a:latin typeface="Arial" pitchFamily="34" charset="0"/>
                <a:cs typeface="Arial" pitchFamily="34" charset="0"/>
              </a:endParaRPr>
            </a:p>
            <a:p>
              <a:pPr algn="ctr"/>
              <a:r>
                <a:rPr lang="en-US" sz="800" b="1" dirty="0" err="1">
                  <a:solidFill>
                    <a:srgbClr val="0067B7"/>
                  </a:solidFill>
                  <a:latin typeface="Arial" pitchFamily="34" charset="0"/>
                  <a:cs typeface="Arial" pitchFamily="34" charset="0"/>
                </a:rPr>
                <a:t>StreamProgressService</a:t>
              </a:r>
              <a:endParaRPr lang="en-US" sz="800" b="1" dirty="0">
                <a:solidFill>
                  <a:srgbClr val="0067B7"/>
                </a:solidFill>
                <a:latin typeface="Arial" pitchFamily="34" charset="0"/>
                <a:cs typeface="Arial" pitchFamily="34" charset="0"/>
              </a:endParaRPr>
            </a:p>
            <a:p>
              <a:pPr algn="ctr"/>
              <a:endParaRPr lang="en-US" sz="800" dirty="0">
                <a:solidFill>
                  <a:srgbClr val="0067B7"/>
                </a:solidFill>
                <a:latin typeface="Arial" pitchFamily="34" charset="0"/>
                <a:cs typeface="Arial" pitchFamily="34" charset="0"/>
              </a:endParaRPr>
            </a:p>
          </p:txBody>
        </p:sp>
        <p:grpSp>
          <p:nvGrpSpPr>
            <p:cNvPr id="91" name="Group 90">
              <a:extLst>
                <a:ext uri="{FF2B5EF4-FFF2-40B4-BE49-F238E27FC236}">
                  <a16:creationId xmlns:a16="http://schemas.microsoft.com/office/drawing/2014/main" id="{CDF7614B-A92A-A848-A506-2A974E21610E}"/>
                </a:ext>
              </a:extLst>
            </p:cNvPr>
            <p:cNvGrpSpPr/>
            <p:nvPr/>
          </p:nvGrpSpPr>
          <p:grpSpPr>
            <a:xfrm>
              <a:off x="1936955" y="1378300"/>
              <a:ext cx="141975" cy="142185"/>
              <a:chOff x="1539214" y="2731675"/>
              <a:chExt cx="141975" cy="142185"/>
            </a:xfrm>
          </p:grpSpPr>
          <p:sp>
            <p:nvSpPr>
              <p:cNvPr id="92" name="Rectangle 91">
                <a:extLst>
                  <a:ext uri="{FF2B5EF4-FFF2-40B4-BE49-F238E27FC236}">
                    <a16:creationId xmlns:a16="http://schemas.microsoft.com/office/drawing/2014/main" id="{6197B350-3808-C347-AE56-9A2BF56BC521}"/>
                  </a:ext>
                </a:extLst>
              </p:cNvPr>
              <p:cNvSpPr/>
              <p:nvPr/>
            </p:nvSpPr>
            <p:spPr>
              <a:xfrm>
                <a:off x="1576435" y="2731675"/>
                <a:ext cx="104754" cy="142185"/>
              </a:xfrm>
              <a:prstGeom prst="rect">
                <a:avLst/>
              </a:prstGeom>
              <a:solidFill>
                <a:schemeClr val="bg1"/>
              </a:solidFill>
              <a:ln w="9525">
                <a:solidFill>
                  <a:srgbClr val="0067B7"/>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a:solidFill>
                    <a:srgbClr val="002D72"/>
                  </a:solidFill>
                  <a:latin typeface="Arial" pitchFamily="34" charset="0"/>
                  <a:cs typeface="Arial" pitchFamily="34" charset="0"/>
                </a:endParaRPr>
              </a:p>
            </p:txBody>
          </p:sp>
          <p:sp>
            <p:nvSpPr>
              <p:cNvPr id="93" name="Rectangle 92">
                <a:extLst>
                  <a:ext uri="{FF2B5EF4-FFF2-40B4-BE49-F238E27FC236}">
                    <a16:creationId xmlns:a16="http://schemas.microsoft.com/office/drawing/2014/main" id="{3503FE19-0AE9-A04A-A4FE-35B43C4B06EA}"/>
                  </a:ext>
                </a:extLst>
              </p:cNvPr>
              <p:cNvSpPr/>
              <p:nvPr/>
            </p:nvSpPr>
            <p:spPr>
              <a:xfrm flipV="1">
                <a:off x="1539214" y="2812983"/>
                <a:ext cx="72000" cy="36000"/>
              </a:xfrm>
              <a:prstGeom prst="rect">
                <a:avLst/>
              </a:prstGeom>
              <a:solidFill>
                <a:schemeClr val="bg1"/>
              </a:solidFill>
              <a:ln w="9525">
                <a:solidFill>
                  <a:srgbClr val="0067B7"/>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a:solidFill>
                    <a:srgbClr val="002D72"/>
                  </a:solidFill>
                  <a:latin typeface="Arial" pitchFamily="34" charset="0"/>
                  <a:cs typeface="Arial" pitchFamily="34" charset="0"/>
                </a:endParaRPr>
              </a:p>
            </p:txBody>
          </p:sp>
          <p:sp>
            <p:nvSpPr>
              <p:cNvPr id="94" name="Rectangle 93">
                <a:extLst>
                  <a:ext uri="{FF2B5EF4-FFF2-40B4-BE49-F238E27FC236}">
                    <a16:creationId xmlns:a16="http://schemas.microsoft.com/office/drawing/2014/main" id="{AC426D89-F92F-F34F-85C5-F44D5B4AAC90}"/>
                  </a:ext>
                </a:extLst>
              </p:cNvPr>
              <p:cNvSpPr/>
              <p:nvPr/>
            </p:nvSpPr>
            <p:spPr>
              <a:xfrm flipV="1">
                <a:off x="1539214" y="2756453"/>
                <a:ext cx="72000" cy="36000"/>
              </a:xfrm>
              <a:prstGeom prst="rect">
                <a:avLst/>
              </a:prstGeom>
              <a:solidFill>
                <a:schemeClr val="bg1"/>
              </a:solidFill>
              <a:ln w="9525">
                <a:solidFill>
                  <a:srgbClr val="0067B7"/>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a:solidFill>
                    <a:srgbClr val="002D72"/>
                  </a:solidFill>
                  <a:latin typeface="Arial" pitchFamily="34" charset="0"/>
                  <a:cs typeface="Arial" pitchFamily="34" charset="0"/>
                </a:endParaRPr>
              </a:p>
            </p:txBody>
          </p:sp>
        </p:grpSp>
      </p:grpSp>
      <p:grpSp>
        <p:nvGrpSpPr>
          <p:cNvPr id="95" name="Group 94">
            <a:extLst>
              <a:ext uri="{FF2B5EF4-FFF2-40B4-BE49-F238E27FC236}">
                <a16:creationId xmlns:a16="http://schemas.microsoft.com/office/drawing/2014/main" id="{CBFB507C-FF4A-EE4B-A0A1-AEDEA2EC1821}"/>
              </a:ext>
            </a:extLst>
          </p:cNvPr>
          <p:cNvGrpSpPr/>
          <p:nvPr/>
        </p:nvGrpSpPr>
        <p:grpSpPr>
          <a:xfrm>
            <a:off x="718960" y="3900870"/>
            <a:ext cx="1427969" cy="460228"/>
            <a:chOff x="1082487" y="1334954"/>
            <a:chExt cx="1067859" cy="460228"/>
          </a:xfrm>
        </p:grpSpPr>
        <p:sp>
          <p:nvSpPr>
            <p:cNvPr id="96" name="Rectangle 95">
              <a:extLst>
                <a:ext uri="{FF2B5EF4-FFF2-40B4-BE49-F238E27FC236}">
                  <a16:creationId xmlns:a16="http://schemas.microsoft.com/office/drawing/2014/main" id="{C6E27DCA-A377-4B40-8DF1-8CAFF84CEC9D}"/>
                </a:ext>
              </a:extLst>
            </p:cNvPr>
            <p:cNvSpPr/>
            <p:nvPr/>
          </p:nvSpPr>
          <p:spPr>
            <a:xfrm>
              <a:off x="1082487" y="1334954"/>
              <a:ext cx="1067859" cy="460228"/>
            </a:xfrm>
            <a:prstGeom prst="rect">
              <a:avLst/>
            </a:prstGeom>
            <a:solidFill>
              <a:schemeClr val="bg1"/>
            </a:solidFill>
            <a:ln w="9525">
              <a:solidFill>
                <a:srgbClr val="0067B7"/>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800" dirty="0">
                <a:solidFill>
                  <a:srgbClr val="0067B7"/>
                </a:solidFill>
                <a:latin typeface="Arial" pitchFamily="34" charset="0"/>
                <a:cs typeface="Arial" pitchFamily="34" charset="0"/>
              </a:endParaRPr>
            </a:p>
            <a:p>
              <a:pPr algn="ctr"/>
              <a:endParaRPr lang="en-US" sz="800" dirty="0">
                <a:solidFill>
                  <a:srgbClr val="0067B7"/>
                </a:solidFill>
                <a:latin typeface="Arial" pitchFamily="34" charset="0"/>
                <a:cs typeface="Arial" pitchFamily="34" charset="0"/>
              </a:endParaRPr>
            </a:p>
            <a:p>
              <a:pPr algn="ctr"/>
              <a:r>
                <a:rPr lang="en-US" sz="800" b="1" dirty="0" err="1">
                  <a:solidFill>
                    <a:srgbClr val="0067B7"/>
                  </a:solidFill>
                  <a:latin typeface="Arial" pitchFamily="34" charset="0"/>
                  <a:cs typeface="Arial" pitchFamily="34" charset="0"/>
                </a:rPr>
                <a:t>ProducerEngine</a:t>
              </a:r>
              <a:endParaRPr lang="en-US" sz="800" b="1" dirty="0">
                <a:solidFill>
                  <a:srgbClr val="0067B7"/>
                </a:solidFill>
                <a:latin typeface="Arial" pitchFamily="34" charset="0"/>
                <a:cs typeface="Arial" pitchFamily="34" charset="0"/>
              </a:endParaRPr>
            </a:p>
            <a:p>
              <a:pPr algn="ctr"/>
              <a:endParaRPr lang="en-US" sz="800" dirty="0">
                <a:solidFill>
                  <a:srgbClr val="0067B7"/>
                </a:solidFill>
                <a:latin typeface="Arial" pitchFamily="34" charset="0"/>
                <a:cs typeface="Arial" pitchFamily="34" charset="0"/>
              </a:endParaRPr>
            </a:p>
          </p:txBody>
        </p:sp>
        <p:grpSp>
          <p:nvGrpSpPr>
            <p:cNvPr id="97" name="Group 96">
              <a:extLst>
                <a:ext uri="{FF2B5EF4-FFF2-40B4-BE49-F238E27FC236}">
                  <a16:creationId xmlns:a16="http://schemas.microsoft.com/office/drawing/2014/main" id="{786B8AA9-E1F3-A04C-B843-61B36A2E7413}"/>
                </a:ext>
              </a:extLst>
            </p:cNvPr>
            <p:cNvGrpSpPr/>
            <p:nvPr/>
          </p:nvGrpSpPr>
          <p:grpSpPr>
            <a:xfrm>
              <a:off x="1936955" y="1378300"/>
              <a:ext cx="141975" cy="142185"/>
              <a:chOff x="1539214" y="2731675"/>
              <a:chExt cx="141975" cy="142185"/>
            </a:xfrm>
          </p:grpSpPr>
          <p:sp>
            <p:nvSpPr>
              <p:cNvPr id="98" name="Rectangle 97">
                <a:extLst>
                  <a:ext uri="{FF2B5EF4-FFF2-40B4-BE49-F238E27FC236}">
                    <a16:creationId xmlns:a16="http://schemas.microsoft.com/office/drawing/2014/main" id="{AB4363CA-616B-7A46-B799-7E9835C4D688}"/>
                  </a:ext>
                </a:extLst>
              </p:cNvPr>
              <p:cNvSpPr/>
              <p:nvPr/>
            </p:nvSpPr>
            <p:spPr>
              <a:xfrm>
                <a:off x="1576435" y="2731675"/>
                <a:ext cx="104754" cy="142185"/>
              </a:xfrm>
              <a:prstGeom prst="rect">
                <a:avLst/>
              </a:prstGeom>
              <a:solidFill>
                <a:schemeClr val="bg1"/>
              </a:solidFill>
              <a:ln w="9525">
                <a:solidFill>
                  <a:srgbClr val="0067B7"/>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a:solidFill>
                    <a:srgbClr val="002D72"/>
                  </a:solidFill>
                  <a:latin typeface="Arial" pitchFamily="34" charset="0"/>
                  <a:cs typeface="Arial" pitchFamily="34" charset="0"/>
                </a:endParaRPr>
              </a:p>
            </p:txBody>
          </p:sp>
          <p:sp>
            <p:nvSpPr>
              <p:cNvPr id="99" name="Rectangle 98">
                <a:extLst>
                  <a:ext uri="{FF2B5EF4-FFF2-40B4-BE49-F238E27FC236}">
                    <a16:creationId xmlns:a16="http://schemas.microsoft.com/office/drawing/2014/main" id="{B837F4A6-17D1-384C-9711-5D87F4DB9B25}"/>
                  </a:ext>
                </a:extLst>
              </p:cNvPr>
              <p:cNvSpPr/>
              <p:nvPr/>
            </p:nvSpPr>
            <p:spPr>
              <a:xfrm flipV="1">
                <a:off x="1539214" y="2812983"/>
                <a:ext cx="72000" cy="36000"/>
              </a:xfrm>
              <a:prstGeom prst="rect">
                <a:avLst/>
              </a:prstGeom>
              <a:solidFill>
                <a:schemeClr val="bg1"/>
              </a:solidFill>
              <a:ln w="9525">
                <a:solidFill>
                  <a:srgbClr val="0067B7"/>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a:solidFill>
                    <a:srgbClr val="002D72"/>
                  </a:solidFill>
                  <a:latin typeface="Arial" pitchFamily="34" charset="0"/>
                  <a:cs typeface="Arial" pitchFamily="34" charset="0"/>
                </a:endParaRPr>
              </a:p>
            </p:txBody>
          </p:sp>
          <p:sp>
            <p:nvSpPr>
              <p:cNvPr id="100" name="Rectangle 99">
                <a:extLst>
                  <a:ext uri="{FF2B5EF4-FFF2-40B4-BE49-F238E27FC236}">
                    <a16:creationId xmlns:a16="http://schemas.microsoft.com/office/drawing/2014/main" id="{8A761741-6DB5-844C-819E-990BA9D268F1}"/>
                  </a:ext>
                </a:extLst>
              </p:cNvPr>
              <p:cNvSpPr/>
              <p:nvPr/>
            </p:nvSpPr>
            <p:spPr>
              <a:xfrm flipV="1">
                <a:off x="1539214" y="2756453"/>
                <a:ext cx="72000" cy="36000"/>
              </a:xfrm>
              <a:prstGeom prst="rect">
                <a:avLst/>
              </a:prstGeom>
              <a:solidFill>
                <a:schemeClr val="bg1"/>
              </a:solidFill>
              <a:ln w="9525">
                <a:solidFill>
                  <a:srgbClr val="0067B7"/>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a:solidFill>
                    <a:srgbClr val="002D72"/>
                  </a:solidFill>
                  <a:latin typeface="Arial" pitchFamily="34" charset="0"/>
                  <a:cs typeface="Arial" pitchFamily="34" charset="0"/>
                </a:endParaRPr>
              </a:p>
            </p:txBody>
          </p:sp>
        </p:grpSp>
      </p:grpSp>
      <p:grpSp>
        <p:nvGrpSpPr>
          <p:cNvPr id="101" name="Group 100">
            <a:extLst>
              <a:ext uri="{FF2B5EF4-FFF2-40B4-BE49-F238E27FC236}">
                <a16:creationId xmlns:a16="http://schemas.microsoft.com/office/drawing/2014/main" id="{7DC5A37B-20F5-8B47-BB9F-B01BAA54FDD2}"/>
              </a:ext>
            </a:extLst>
          </p:cNvPr>
          <p:cNvGrpSpPr/>
          <p:nvPr/>
        </p:nvGrpSpPr>
        <p:grpSpPr>
          <a:xfrm>
            <a:off x="718960" y="4676946"/>
            <a:ext cx="1427969" cy="460228"/>
            <a:chOff x="1082487" y="1334954"/>
            <a:chExt cx="1067859" cy="460228"/>
          </a:xfrm>
        </p:grpSpPr>
        <p:sp>
          <p:nvSpPr>
            <p:cNvPr id="102" name="Rectangle 101">
              <a:extLst>
                <a:ext uri="{FF2B5EF4-FFF2-40B4-BE49-F238E27FC236}">
                  <a16:creationId xmlns:a16="http://schemas.microsoft.com/office/drawing/2014/main" id="{1D9DCD2E-8347-D94F-9232-9ABC115AAC50}"/>
                </a:ext>
              </a:extLst>
            </p:cNvPr>
            <p:cNvSpPr/>
            <p:nvPr/>
          </p:nvSpPr>
          <p:spPr>
            <a:xfrm>
              <a:off x="1082487" y="1334954"/>
              <a:ext cx="1067859" cy="460228"/>
            </a:xfrm>
            <a:prstGeom prst="rect">
              <a:avLst/>
            </a:prstGeom>
            <a:solidFill>
              <a:schemeClr val="bg1"/>
            </a:solidFill>
            <a:ln w="9525">
              <a:solidFill>
                <a:srgbClr val="0067B7"/>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800" dirty="0">
                <a:solidFill>
                  <a:srgbClr val="0067B7"/>
                </a:solidFill>
                <a:latin typeface="Arial" pitchFamily="34" charset="0"/>
                <a:cs typeface="Arial" pitchFamily="34" charset="0"/>
              </a:endParaRPr>
            </a:p>
            <a:p>
              <a:pPr algn="ctr"/>
              <a:endParaRPr lang="en-US" sz="800" dirty="0">
                <a:solidFill>
                  <a:srgbClr val="0067B7"/>
                </a:solidFill>
                <a:latin typeface="Arial" pitchFamily="34" charset="0"/>
                <a:cs typeface="Arial" pitchFamily="34" charset="0"/>
              </a:endParaRPr>
            </a:p>
            <a:p>
              <a:pPr algn="ctr"/>
              <a:r>
                <a:rPr lang="en-US" sz="800" b="1" dirty="0" err="1">
                  <a:solidFill>
                    <a:srgbClr val="0067B7"/>
                  </a:solidFill>
                  <a:latin typeface="Arial" pitchFamily="34" charset="0"/>
                  <a:cs typeface="Arial" pitchFamily="34" charset="0"/>
                </a:rPr>
                <a:t>ConsumerEngine</a:t>
              </a:r>
              <a:endParaRPr lang="en-US" sz="800" b="1" dirty="0">
                <a:solidFill>
                  <a:srgbClr val="0067B7"/>
                </a:solidFill>
                <a:latin typeface="Arial" pitchFamily="34" charset="0"/>
                <a:cs typeface="Arial" pitchFamily="34" charset="0"/>
              </a:endParaRPr>
            </a:p>
            <a:p>
              <a:pPr algn="ctr"/>
              <a:endParaRPr lang="en-US" sz="800" dirty="0">
                <a:solidFill>
                  <a:srgbClr val="0067B7"/>
                </a:solidFill>
                <a:latin typeface="Arial" pitchFamily="34" charset="0"/>
                <a:cs typeface="Arial" pitchFamily="34" charset="0"/>
              </a:endParaRPr>
            </a:p>
          </p:txBody>
        </p:sp>
        <p:grpSp>
          <p:nvGrpSpPr>
            <p:cNvPr id="103" name="Group 102">
              <a:extLst>
                <a:ext uri="{FF2B5EF4-FFF2-40B4-BE49-F238E27FC236}">
                  <a16:creationId xmlns:a16="http://schemas.microsoft.com/office/drawing/2014/main" id="{82EA2AB9-482C-CD4D-96FF-471D35CBE21B}"/>
                </a:ext>
              </a:extLst>
            </p:cNvPr>
            <p:cNvGrpSpPr/>
            <p:nvPr/>
          </p:nvGrpSpPr>
          <p:grpSpPr>
            <a:xfrm>
              <a:off x="1936955" y="1378300"/>
              <a:ext cx="141975" cy="142185"/>
              <a:chOff x="1539214" y="2731675"/>
              <a:chExt cx="141975" cy="142185"/>
            </a:xfrm>
          </p:grpSpPr>
          <p:sp>
            <p:nvSpPr>
              <p:cNvPr id="104" name="Rectangle 103">
                <a:extLst>
                  <a:ext uri="{FF2B5EF4-FFF2-40B4-BE49-F238E27FC236}">
                    <a16:creationId xmlns:a16="http://schemas.microsoft.com/office/drawing/2014/main" id="{97423E89-B4EE-DC42-AFC5-F09138E23D9F}"/>
                  </a:ext>
                </a:extLst>
              </p:cNvPr>
              <p:cNvSpPr/>
              <p:nvPr/>
            </p:nvSpPr>
            <p:spPr>
              <a:xfrm>
                <a:off x="1576435" y="2731675"/>
                <a:ext cx="104754" cy="142185"/>
              </a:xfrm>
              <a:prstGeom prst="rect">
                <a:avLst/>
              </a:prstGeom>
              <a:solidFill>
                <a:schemeClr val="bg1"/>
              </a:solidFill>
              <a:ln w="9525">
                <a:solidFill>
                  <a:srgbClr val="0067B7"/>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a:solidFill>
                    <a:srgbClr val="002D72"/>
                  </a:solidFill>
                  <a:latin typeface="Arial" pitchFamily="34" charset="0"/>
                  <a:cs typeface="Arial" pitchFamily="34" charset="0"/>
                </a:endParaRPr>
              </a:p>
            </p:txBody>
          </p:sp>
          <p:sp>
            <p:nvSpPr>
              <p:cNvPr id="105" name="Rectangle 104">
                <a:extLst>
                  <a:ext uri="{FF2B5EF4-FFF2-40B4-BE49-F238E27FC236}">
                    <a16:creationId xmlns:a16="http://schemas.microsoft.com/office/drawing/2014/main" id="{BA54A080-2297-7E44-8644-C01A0905EA52}"/>
                  </a:ext>
                </a:extLst>
              </p:cNvPr>
              <p:cNvSpPr/>
              <p:nvPr/>
            </p:nvSpPr>
            <p:spPr>
              <a:xfrm flipV="1">
                <a:off x="1539214" y="2812983"/>
                <a:ext cx="72000" cy="36000"/>
              </a:xfrm>
              <a:prstGeom prst="rect">
                <a:avLst/>
              </a:prstGeom>
              <a:solidFill>
                <a:schemeClr val="bg1"/>
              </a:solidFill>
              <a:ln w="9525">
                <a:solidFill>
                  <a:srgbClr val="0067B7"/>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a:solidFill>
                    <a:srgbClr val="002D72"/>
                  </a:solidFill>
                  <a:latin typeface="Arial" pitchFamily="34" charset="0"/>
                  <a:cs typeface="Arial" pitchFamily="34" charset="0"/>
                </a:endParaRPr>
              </a:p>
            </p:txBody>
          </p:sp>
          <p:sp>
            <p:nvSpPr>
              <p:cNvPr id="106" name="Rectangle 105">
                <a:extLst>
                  <a:ext uri="{FF2B5EF4-FFF2-40B4-BE49-F238E27FC236}">
                    <a16:creationId xmlns:a16="http://schemas.microsoft.com/office/drawing/2014/main" id="{126B531C-682E-A544-94A7-31B386347344}"/>
                  </a:ext>
                </a:extLst>
              </p:cNvPr>
              <p:cNvSpPr/>
              <p:nvPr/>
            </p:nvSpPr>
            <p:spPr>
              <a:xfrm flipV="1">
                <a:off x="1539214" y="2756453"/>
                <a:ext cx="72000" cy="36000"/>
              </a:xfrm>
              <a:prstGeom prst="rect">
                <a:avLst/>
              </a:prstGeom>
              <a:solidFill>
                <a:schemeClr val="bg1"/>
              </a:solidFill>
              <a:ln w="9525">
                <a:solidFill>
                  <a:srgbClr val="0067B7"/>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a:solidFill>
                    <a:srgbClr val="002D72"/>
                  </a:solidFill>
                  <a:latin typeface="Arial" pitchFamily="34" charset="0"/>
                  <a:cs typeface="Arial" pitchFamily="34" charset="0"/>
                </a:endParaRPr>
              </a:p>
            </p:txBody>
          </p:sp>
        </p:grpSp>
      </p:grpSp>
    </p:spTree>
    <p:extLst>
      <p:ext uri="{BB962C8B-B14F-4D97-AF65-F5344CB8AC3E}">
        <p14:creationId xmlns:p14="http://schemas.microsoft.com/office/powerpoint/2010/main" val="178104274"/>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7" name="Rectangle 3">
            <a:extLst>
              <a:ext uri="{FF2B5EF4-FFF2-40B4-BE49-F238E27FC236}">
                <a16:creationId xmlns:a16="http://schemas.microsoft.com/office/drawing/2014/main" id="{A27FD23C-A522-0E4F-B70C-CC83BC4542BA}"/>
              </a:ext>
            </a:extLst>
          </p:cNvPr>
          <p:cNvSpPr txBox="1"/>
          <p:nvPr/>
        </p:nvSpPr>
        <p:spPr>
          <a:xfrm>
            <a:off x="404809" y="237462"/>
            <a:ext cx="5816248" cy="400105"/>
          </a:xfrm>
          <a:prstGeom prst="rect">
            <a:avLst/>
          </a:prstGeom>
          <a:ln w="12700">
            <a:miter lim="400000"/>
          </a:ln>
          <a:extLst>
            <a:ext uri="{C572A759-6A51-4108-AA02-DFA0A04FC94B}">
              <ma14:wrappingTextBoxFlag xmlns:ma14="http://schemas.microsoft.com/office/mac/drawingml/2011/main" xmlns="" val="1"/>
            </a:ext>
          </a:extLst>
        </p:spPr>
        <p:txBody>
          <a:bodyPr wrap="square" lIns="45718" tIns="45718" rIns="45718" bIns="45718">
            <a:spAutoFit/>
          </a:bodyPr>
          <a:lstStyle>
            <a:lvl1pPr algn="l" defTabSz="914400">
              <a:defRPr sz="2200" b="1">
                <a:solidFill>
                  <a:srgbClr val="FFFFFF"/>
                </a:solidFill>
                <a:latin typeface="Arial"/>
                <a:ea typeface="Arial"/>
                <a:cs typeface="Arial"/>
                <a:sym typeface="Arial"/>
              </a:defRPr>
            </a:lvl1pPr>
          </a:lstStyle>
          <a:p>
            <a:r>
              <a:rPr lang="en-US" sz="2000" dirty="0">
                <a:solidFill>
                  <a:srgbClr val="016AA2"/>
                </a:solidFill>
              </a:rPr>
              <a:t>Needs and Solution Proposal (XII)</a:t>
            </a:r>
          </a:p>
        </p:txBody>
      </p:sp>
      <p:sp>
        <p:nvSpPr>
          <p:cNvPr id="88" name="Rectangle 3"/>
          <p:cNvSpPr txBox="1"/>
          <p:nvPr/>
        </p:nvSpPr>
        <p:spPr>
          <a:xfrm>
            <a:off x="413951" y="637567"/>
            <a:ext cx="5695981" cy="369328"/>
          </a:xfrm>
          <a:prstGeom prst="rect">
            <a:avLst/>
          </a:prstGeom>
          <a:ln w="12700">
            <a:miter lim="400000"/>
          </a:ln>
          <a:extLst>
            <a:ext uri="{C572A759-6A51-4108-AA02-DFA0A04FC94B}">
              <ma14:wrappingTextBoxFlag xmlns="" xmlns:ma14="http://schemas.microsoft.com/office/mac/drawingml/2011/main" val="1"/>
            </a:ext>
          </a:extLst>
        </p:spPr>
        <p:txBody>
          <a:bodyPr wrap="square" lIns="45718" tIns="45718" rIns="45718" bIns="45718">
            <a:spAutoFit/>
          </a:bodyPr>
          <a:lstStyle>
            <a:lvl1pPr algn="l" defTabSz="914400">
              <a:defRPr sz="2000">
                <a:solidFill>
                  <a:srgbClr val="104D6A"/>
                </a:solidFill>
                <a:latin typeface="Arial"/>
                <a:ea typeface="Arial"/>
                <a:cs typeface="Arial"/>
                <a:sym typeface="Arial"/>
              </a:defRPr>
            </a:lvl1pPr>
          </a:lstStyle>
          <a:p>
            <a:pPr lvl="0">
              <a:defRPr/>
            </a:pPr>
            <a:r>
              <a:rPr lang="en-US" sz="1800" b="1" dirty="0">
                <a:solidFill>
                  <a:srgbClr val="73C4EF"/>
                </a:solidFill>
              </a:rPr>
              <a:t>Event Hub Architecture – Components IV</a:t>
            </a:r>
          </a:p>
        </p:txBody>
      </p:sp>
      <p:sp>
        <p:nvSpPr>
          <p:cNvPr id="69" name="Google Shape;61;p12">
            <a:extLst>
              <a:ext uri="{FF2B5EF4-FFF2-40B4-BE49-F238E27FC236}">
                <a16:creationId xmlns:a16="http://schemas.microsoft.com/office/drawing/2014/main" id="{FDB5DC26-F5CD-BD40-9BA6-DF64D91CAF4B}"/>
              </a:ext>
            </a:extLst>
          </p:cNvPr>
          <p:cNvSpPr txBox="1">
            <a:spLocks/>
          </p:cNvSpPr>
          <p:nvPr/>
        </p:nvSpPr>
        <p:spPr>
          <a:xfrm>
            <a:off x="2552842" y="4440266"/>
            <a:ext cx="6838046" cy="515757"/>
          </a:xfrm>
          <a:prstGeom prst="rect">
            <a:avLst/>
          </a:prstGeom>
        </p:spPr>
        <p:txBody>
          <a:bodyPr spcFirstLastPara="1" vert="horz" wrap="square" lIns="91425" tIns="91425" rIns="91425" bIns="91425" rtlCol="0" anchor="ctr" anchorCtr="0">
            <a:noAutofit/>
          </a:bodyPr>
          <a:lstStyle>
            <a:defPPr>
              <a:defRPr lang="en-US"/>
            </a:defPPr>
            <a:lvl1pPr defTabSz="457200">
              <a:spcBef>
                <a:spcPts val="0"/>
              </a:spcBef>
              <a:buNone/>
              <a:defRPr sz="1000">
                <a:solidFill>
                  <a:srgbClr val="0067B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defRPr>
            </a:lvl1pPr>
          </a:lstStyle>
          <a:p>
            <a:r>
              <a:rPr lang="en-US" sz="900" dirty="0"/>
              <a:t>It is the component that contains the business logic to execute Kafka commands and receive requests from its customers</a:t>
            </a:r>
          </a:p>
        </p:txBody>
      </p:sp>
      <p:grpSp>
        <p:nvGrpSpPr>
          <p:cNvPr id="70" name="Group 69">
            <a:extLst>
              <a:ext uri="{FF2B5EF4-FFF2-40B4-BE49-F238E27FC236}">
                <a16:creationId xmlns:a16="http://schemas.microsoft.com/office/drawing/2014/main" id="{44BB334E-E082-5C48-A430-9902F34AE5B3}"/>
              </a:ext>
            </a:extLst>
          </p:cNvPr>
          <p:cNvGrpSpPr/>
          <p:nvPr/>
        </p:nvGrpSpPr>
        <p:grpSpPr>
          <a:xfrm>
            <a:off x="745746" y="4456078"/>
            <a:ext cx="1455401" cy="460228"/>
            <a:chOff x="1082487" y="1334954"/>
            <a:chExt cx="1067859" cy="460228"/>
          </a:xfrm>
        </p:grpSpPr>
        <p:sp>
          <p:nvSpPr>
            <p:cNvPr id="71" name="Rectangle 70">
              <a:extLst>
                <a:ext uri="{FF2B5EF4-FFF2-40B4-BE49-F238E27FC236}">
                  <a16:creationId xmlns:a16="http://schemas.microsoft.com/office/drawing/2014/main" id="{18A976AB-B73D-074B-86EF-A1886F5EEE1E}"/>
                </a:ext>
              </a:extLst>
            </p:cNvPr>
            <p:cNvSpPr/>
            <p:nvPr/>
          </p:nvSpPr>
          <p:spPr>
            <a:xfrm>
              <a:off x="1082487" y="1334954"/>
              <a:ext cx="1067859" cy="460228"/>
            </a:xfrm>
            <a:prstGeom prst="rect">
              <a:avLst/>
            </a:prstGeom>
            <a:solidFill>
              <a:schemeClr val="bg1"/>
            </a:solidFill>
            <a:ln w="9525">
              <a:solidFill>
                <a:srgbClr val="0067B7"/>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800" dirty="0">
                <a:solidFill>
                  <a:srgbClr val="0067B7"/>
                </a:solidFill>
                <a:latin typeface="Arial" pitchFamily="34" charset="0"/>
                <a:cs typeface="Arial" pitchFamily="34" charset="0"/>
              </a:endParaRPr>
            </a:p>
            <a:p>
              <a:pPr algn="ctr"/>
              <a:endParaRPr lang="en-US" sz="800" dirty="0">
                <a:solidFill>
                  <a:srgbClr val="0067B7"/>
                </a:solidFill>
                <a:latin typeface="Arial" pitchFamily="34" charset="0"/>
                <a:cs typeface="Arial" pitchFamily="34" charset="0"/>
              </a:endParaRPr>
            </a:p>
            <a:p>
              <a:pPr algn="ctr"/>
              <a:r>
                <a:rPr lang="en-US" sz="800" b="1" dirty="0" err="1">
                  <a:solidFill>
                    <a:srgbClr val="0067B7"/>
                  </a:solidFill>
                  <a:latin typeface="Arial" pitchFamily="34" charset="0"/>
                  <a:cs typeface="Arial" pitchFamily="34" charset="0"/>
                </a:rPr>
                <a:t>CommandKafkaService</a:t>
              </a:r>
              <a:endParaRPr lang="en-US" sz="800" b="1" dirty="0">
                <a:solidFill>
                  <a:srgbClr val="0067B7"/>
                </a:solidFill>
                <a:latin typeface="Arial" pitchFamily="34" charset="0"/>
                <a:cs typeface="Arial" pitchFamily="34" charset="0"/>
              </a:endParaRPr>
            </a:p>
            <a:p>
              <a:pPr algn="ctr"/>
              <a:endParaRPr lang="en-US" sz="800" dirty="0">
                <a:solidFill>
                  <a:srgbClr val="0067B7"/>
                </a:solidFill>
                <a:latin typeface="Arial" pitchFamily="34" charset="0"/>
                <a:cs typeface="Arial" pitchFamily="34" charset="0"/>
              </a:endParaRPr>
            </a:p>
          </p:txBody>
        </p:sp>
        <p:grpSp>
          <p:nvGrpSpPr>
            <p:cNvPr id="72" name="Group 71">
              <a:extLst>
                <a:ext uri="{FF2B5EF4-FFF2-40B4-BE49-F238E27FC236}">
                  <a16:creationId xmlns:a16="http://schemas.microsoft.com/office/drawing/2014/main" id="{4DEB3CAB-2F21-1641-8940-61A3BD07956A}"/>
                </a:ext>
              </a:extLst>
            </p:cNvPr>
            <p:cNvGrpSpPr/>
            <p:nvPr/>
          </p:nvGrpSpPr>
          <p:grpSpPr>
            <a:xfrm>
              <a:off x="1936955" y="1378300"/>
              <a:ext cx="141975" cy="142185"/>
              <a:chOff x="1539214" y="2731675"/>
              <a:chExt cx="141975" cy="142185"/>
            </a:xfrm>
          </p:grpSpPr>
          <p:sp>
            <p:nvSpPr>
              <p:cNvPr id="73" name="Rectangle 72">
                <a:extLst>
                  <a:ext uri="{FF2B5EF4-FFF2-40B4-BE49-F238E27FC236}">
                    <a16:creationId xmlns:a16="http://schemas.microsoft.com/office/drawing/2014/main" id="{62AE1734-FDCE-FA46-9CF2-0DBE61E5802B}"/>
                  </a:ext>
                </a:extLst>
              </p:cNvPr>
              <p:cNvSpPr/>
              <p:nvPr/>
            </p:nvSpPr>
            <p:spPr>
              <a:xfrm>
                <a:off x="1576435" y="2731675"/>
                <a:ext cx="104754" cy="142185"/>
              </a:xfrm>
              <a:prstGeom prst="rect">
                <a:avLst/>
              </a:prstGeom>
              <a:solidFill>
                <a:schemeClr val="bg1"/>
              </a:solidFill>
              <a:ln w="9525">
                <a:solidFill>
                  <a:srgbClr val="0067B7"/>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a:solidFill>
                    <a:srgbClr val="002D72"/>
                  </a:solidFill>
                  <a:latin typeface="Arial" pitchFamily="34" charset="0"/>
                  <a:cs typeface="Arial" pitchFamily="34" charset="0"/>
                </a:endParaRPr>
              </a:p>
            </p:txBody>
          </p:sp>
          <p:sp>
            <p:nvSpPr>
              <p:cNvPr id="74" name="Rectangle 73">
                <a:extLst>
                  <a:ext uri="{FF2B5EF4-FFF2-40B4-BE49-F238E27FC236}">
                    <a16:creationId xmlns:a16="http://schemas.microsoft.com/office/drawing/2014/main" id="{80ABAEB2-5E22-AF48-AC2B-8ED6AFB6E77C}"/>
                  </a:ext>
                </a:extLst>
              </p:cNvPr>
              <p:cNvSpPr/>
              <p:nvPr/>
            </p:nvSpPr>
            <p:spPr>
              <a:xfrm flipV="1">
                <a:off x="1539214" y="2812983"/>
                <a:ext cx="72000" cy="36000"/>
              </a:xfrm>
              <a:prstGeom prst="rect">
                <a:avLst/>
              </a:prstGeom>
              <a:solidFill>
                <a:schemeClr val="bg1"/>
              </a:solidFill>
              <a:ln w="9525">
                <a:solidFill>
                  <a:srgbClr val="0067B7"/>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a:solidFill>
                    <a:srgbClr val="002D72"/>
                  </a:solidFill>
                  <a:latin typeface="Arial" pitchFamily="34" charset="0"/>
                  <a:cs typeface="Arial" pitchFamily="34" charset="0"/>
                </a:endParaRPr>
              </a:p>
            </p:txBody>
          </p:sp>
          <p:sp>
            <p:nvSpPr>
              <p:cNvPr id="75" name="Rectangle 74">
                <a:extLst>
                  <a:ext uri="{FF2B5EF4-FFF2-40B4-BE49-F238E27FC236}">
                    <a16:creationId xmlns:a16="http://schemas.microsoft.com/office/drawing/2014/main" id="{257AFEC5-A1A8-2C4A-AC26-867DAF16D16E}"/>
                  </a:ext>
                </a:extLst>
              </p:cNvPr>
              <p:cNvSpPr/>
              <p:nvPr/>
            </p:nvSpPr>
            <p:spPr>
              <a:xfrm flipV="1">
                <a:off x="1539214" y="2756453"/>
                <a:ext cx="72000" cy="36000"/>
              </a:xfrm>
              <a:prstGeom prst="rect">
                <a:avLst/>
              </a:prstGeom>
              <a:solidFill>
                <a:schemeClr val="bg1"/>
              </a:solidFill>
              <a:ln w="9525">
                <a:solidFill>
                  <a:srgbClr val="0067B7"/>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a:solidFill>
                    <a:srgbClr val="002D72"/>
                  </a:solidFill>
                  <a:latin typeface="Arial" pitchFamily="34" charset="0"/>
                  <a:cs typeface="Arial" pitchFamily="34" charset="0"/>
                </a:endParaRPr>
              </a:p>
            </p:txBody>
          </p:sp>
        </p:grpSp>
      </p:grpSp>
      <p:sp>
        <p:nvSpPr>
          <p:cNvPr id="47" name="Google Shape;61;p12">
            <a:extLst>
              <a:ext uri="{FF2B5EF4-FFF2-40B4-BE49-F238E27FC236}">
                <a16:creationId xmlns:a16="http://schemas.microsoft.com/office/drawing/2014/main" id="{D8F69406-B51E-EA4F-B629-15C35F2C91E3}"/>
              </a:ext>
            </a:extLst>
          </p:cNvPr>
          <p:cNvSpPr txBox="1">
            <a:spLocks/>
          </p:cNvSpPr>
          <p:nvPr/>
        </p:nvSpPr>
        <p:spPr>
          <a:xfrm>
            <a:off x="2571808" y="2156466"/>
            <a:ext cx="9055974" cy="525119"/>
          </a:xfrm>
          <a:prstGeom prst="rect">
            <a:avLst/>
          </a:prstGeom>
        </p:spPr>
        <p:txBody>
          <a:bodyPr spcFirstLastPara="1" vert="horz" wrap="square" lIns="91425" tIns="91425" rIns="91425" bIns="91425" rtlCol="0" anchor="ctr"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lgn="l">
              <a:spcBef>
                <a:spcPts val="0"/>
              </a:spcBef>
            </a:pPr>
            <a:r>
              <a:rPr lang="en-US" sz="900" dirty="0">
                <a:solidFill>
                  <a:srgbClr val="0067B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It is the component that has the responsibility of exposing its clients the functionality of sending messages to one or more topics of Kafka. Integrates with </a:t>
            </a:r>
            <a:r>
              <a:rPr lang="en-US" sz="900" dirty="0" err="1">
                <a:solidFill>
                  <a:srgbClr val="C5277F"/>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StreamEngine</a:t>
            </a:r>
            <a:r>
              <a:rPr lang="en-US" sz="900" dirty="0">
                <a:solidFill>
                  <a:srgbClr val="C5277F"/>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a:t>
            </a:r>
            <a:endParaRPr lang="en-US" sz="900" dirty="0">
              <a:solidFill>
                <a:srgbClr val="0067B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endParaRPr>
          </a:p>
        </p:txBody>
      </p:sp>
      <p:grpSp>
        <p:nvGrpSpPr>
          <p:cNvPr id="48" name="Group 47">
            <a:extLst>
              <a:ext uri="{FF2B5EF4-FFF2-40B4-BE49-F238E27FC236}">
                <a16:creationId xmlns:a16="http://schemas.microsoft.com/office/drawing/2014/main" id="{1C75C869-5C10-4C43-A565-4374813B1788}"/>
              </a:ext>
            </a:extLst>
          </p:cNvPr>
          <p:cNvGrpSpPr/>
          <p:nvPr/>
        </p:nvGrpSpPr>
        <p:grpSpPr>
          <a:xfrm>
            <a:off x="737279" y="2144636"/>
            <a:ext cx="1427970" cy="460228"/>
            <a:chOff x="1082487" y="1334954"/>
            <a:chExt cx="1067859" cy="460228"/>
          </a:xfrm>
        </p:grpSpPr>
        <p:sp>
          <p:nvSpPr>
            <p:cNvPr id="49" name="Rectangle 48">
              <a:extLst>
                <a:ext uri="{FF2B5EF4-FFF2-40B4-BE49-F238E27FC236}">
                  <a16:creationId xmlns:a16="http://schemas.microsoft.com/office/drawing/2014/main" id="{ED8A4292-0D98-7446-8EFA-BF37B0BC6C39}"/>
                </a:ext>
              </a:extLst>
            </p:cNvPr>
            <p:cNvSpPr/>
            <p:nvPr/>
          </p:nvSpPr>
          <p:spPr>
            <a:xfrm>
              <a:off x="1082487" y="1334954"/>
              <a:ext cx="1067859" cy="460228"/>
            </a:xfrm>
            <a:prstGeom prst="rect">
              <a:avLst/>
            </a:prstGeom>
            <a:solidFill>
              <a:schemeClr val="bg1"/>
            </a:solidFill>
            <a:ln w="9525">
              <a:solidFill>
                <a:srgbClr val="0067B7"/>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800" dirty="0">
                <a:solidFill>
                  <a:srgbClr val="0067B7"/>
                </a:solidFill>
                <a:latin typeface="Arial" pitchFamily="34" charset="0"/>
                <a:cs typeface="Arial" pitchFamily="34" charset="0"/>
              </a:endParaRPr>
            </a:p>
            <a:p>
              <a:pPr algn="ctr"/>
              <a:endParaRPr lang="en-US" sz="800" dirty="0">
                <a:solidFill>
                  <a:srgbClr val="0067B7"/>
                </a:solidFill>
                <a:latin typeface="Arial" pitchFamily="34" charset="0"/>
                <a:cs typeface="Arial" pitchFamily="34" charset="0"/>
              </a:endParaRPr>
            </a:p>
            <a:p>
              <a:pPr algn="ctr"/>
              <a:r>
                <a:rPr lang="en-US" sz="800" b="1" dirty="0" err="1">
                  <a:solidFill>
                    <a:srgbClr val="0067B7"/>
                  </a:solidFill>
                  <a:latin typeface="Arial" pitchFamily="34" charset="0"/>
                  <a:cs typeface="Arial" pitchFamily="34" charset="0"/>
                </a:rPr>
                <a:t>StreamEngine</a:t>
              </a:r>
              <a:endParaRPr lang="en-US" sz="800" b="1" dirty="0">
                <a:solidFill>
                  <a:srgbClr val="0067B7"/>
                </a:solidFill>
                <a:latin typeface="Arial" pitchFamily="34" charset="0"/>
                <a:cs typeface="Arial" pitchFamily="34" charset="0"/>
              </a:endParaRPr>
            </a:p>
            <a:p>
              <a:pPr algn="ctr"/>
              <a:endParaRPr lang="en-US" sz="800" dirty="0">
                <a:solidFill>
                  <a:srgbClr val="0067B7"/>
                </a:solidFill>
                <a:latin typeface="Arial" pitchFamily="34" charset="0"/>
                <a:cs typeface="Arial" pitchFamily="34" charset="0"/>
              </a:endParaRPr>
            </a:p>
          </p:txBody>
        </p:sp>
        <p:grpSp>
          <p:nvGrpSpPr>
            <p:cNvPr id="50" name="Group 49">
              <a:extLst>
                <a:ext uri="{FF2B5EF4-FFF2-40B4-BE49-F238E27FC236}">
                  <a16:creationId xmlns:a16="http://schemas.microsoft.com/office/drawing/2014/main" id="{77CFA9F7-213A-E045-AA06-9E23AB771D60}"/>
                </a:ext>
              </a:extLst>
            </p:cNvPr>
            <p:cNvGrpSpPr/>
            <p:nvPr/>
          </p:nvGrpSpPr>
          <p:grpSpPr>
            <a:xfrm>
              <a:off x="1936955" y="1378300"/>
              <a:ext cx="141975" cy="142185"/>
              <a:chOff x="1539214" y="2731675"/>
              <a:chExt cx="141975" cy="142185"/>
            </a:xfrm>
          </p:grpSpPr>
          <p:sp>
            <p:nvSpPr>
              <p:cNvPr id="51" name="Rectangle 50">
                <a:extLst>
                  <a:ext uri="{FF2B5EF4-FFF2-40B4-BE49-F238E27FC236}">
                    <a16:creationId xmlns:a16="http://schemas.microsoft.com/office/drawing/2014/main" id="{4E378426-B4D1-1949-85F2-B3F8A3CC0447}"/>
                  </a:ext>
                </a:extLst>
              </p:cNvPr>
              <p:cNvSpPr/>
              <p:nvPr/>
            </p:nvSpPr>
            <p:spPr>
              <a:xfrm>
                <a:off x="1576435" y="2731675"/>
                <a:ext cx="104754" cy="142185"/>
              </a:xfrm>
              <a:prstGeom prst="rect">
                <a:avLst/>
              </a:prstGeom>
              <a:solidFill>
                <a:schemeClr val="bg1"/>
              </a:solidFill>
              <a:ln w="9525">
                <a:solidFill>
                  <a:srgbClr val="0067B7"/>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a:solidFill>
                    <a:srgbClr val="002D72"/>
                  </a:solidFill>
                  <a:latin typeface="Arial" pitchFamily="34" charset="0"/>
                  <a:cs typeface="Arial" pitchFamily="34" charset="0"/>
                </a:endParaRPr>
              </a:p>
            </p:txBody>
          </p:sp>
          <p:sp>
            <p:nvSpPr>
              <p:cNvPr id="52" name="Rectangle 51">
                <a:extLst>
                  <a:ext uri="{FF2B5EF4-FFF2-40B4-BE49-F238E27FC236}">
                    <a16:creationId xmlns:a16="http://schemas.microsoft.com/office/drawing/2014/main" id="{4C88F01B-E09B-6441-B55F-176D5CE5A221}"/>
                  </a:ext>
                </a:extLst>
              </p:cNvPr>
              <p:cNvSpPr/>
              <p:nvPr/>
            </p:nvSpPr>
            <p:spPr>
              <a:xfrm flipV="1">
                <a:off x="1539214" y="2812983"/>
                <a:ext cx="72000" cy="36000"/>
              </a:xfrm>
              <a:prstGeom prst="rect">
                <a:avLst/>
              </a:prstGeom>
              <a:solidFill>
                <a:schemeClr val="bg1"/>
              </a:solidFill>
              <a:ln w="9525">
                <a:solidFill>
                  <a:srgbClr val="0067B7"/>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a:solidFill>
                    <a:srgbClr val="002D72"/>
                  </a:solidFill>
                  <a:latin typeface="Arial" pitchFamily="34" charset="0"/>
                  <a:cs typeface="Arial" pitchFamily="34" charset="0"/>
                </a:endParaRPr>
              </a:p>
            </p:txBody>
          </p:sp>
          <p:sp>
            <p:nvSpPr>
              <p:cNvPr id="53" name="Rectangle 52">
                <a:extLst>
                  <a:ext uri="{FF2B5EF4-FFF2-40B4-BE49-F238E27FC236}">
                    <a16:creationId xmlns:a16="http://schemas.microsoft.com/office/drawing/2014/main" id="{06FD7D82-07E4-FB41-AE34-BC0B3C3EA593}"/>
                  </a:ext>
                </a:extLst>
              </p:cNvPr>
              <p:cNvSpPr/>
              <p:nvPr/>
            </p:nvSpPr>
            <p:spPr>
              <a:xfrm flipV="1">
                <a:off x="1539214" y="2756453"/>
                <a:ext cx="72000" cy="36000"/>
              </a:xfrm>
              <a:prstGeom prst="rect">
                <a:avLst/>
              </a:prstGeom>
              <a:solidFill>
                <a:schemeClr val="bg1"/>
              </a:solidFill>
              <a:ln w="9525">
                <a:solidFill>
                  <a:srgbClr val="0067B7"/>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a:solidFill>
                    <a:srgbClr val="002D72"/>
                  </a:solidFill>
                  <a:latin typeface="Arial" pitchFamily="34" charset="0"/>
                  <a:cs typeface="Arial" pitchFamily="34" charset="0"/>
                </a:endParaRPr>
              </a:p>
            </p:txBody>
          </p:sp>
        </p:grpSp>
      </p:grpSp>
      <p:sp>
        <p:nvSpPr>
          <p:cNvPr id="56" name="Google Shape;61;p12">
            <a:extLst>
              <a:ext uri="{FF2B5EF4-FFF2-40B4-BE49-F238E27FC236}">
                <a16:creationId xmlns:a16="http://schemas.microsoft.com/office/drawing/2014/main" id="{EE4869CB-74CF-3A41-A61C-7CD05FC989CB}"/>
              </a:ext>
            </a:extLst>
          </p:cNvPr>
          <p:cNvSpPr txBox="1">
            <a:spLocks/>
          </p:cNvSpPr>
          <p:nvPr/>
        </p:nvSpPr>
        <p:spPr>
          <a:xfrm>
            <a:off x="2552843" y="1348860"/>
            <a:ext cx="6609227" cy="515757"/>
          </a:xfrm>
          <a:prstGeom prst="rect">
            <a:avLst/>
          </a:prstGeom>
        </p:spPr>
        <p:txBody>
          <a:bodyPr spcFirstLastPara="1" vert="horz" wrap="square" lIns="91425" tIns="91425" rIns="91425" bIns="91425" rtlCol="0" anchor="ctr" anchorCtr="0">
            <a:noAutofit/>
          </a:bodyPr>
          <a:lstStyle>
            <a:defPPr>
              <a:defRPr lang="en-US"/>
            </a:defPPr>
            <a:lvl1pPr defTabSz="457200">
              <a:spcBef>
                <a:spcPts val="0"/>
              </a:spcBef>
              <a:buNone/>
              <a:defRPr sz="1000">
                <a:solidFill>
                  <a:srgbClr val="0067B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defRPr>
            </a:lvl1pPr>
          </a:lstStyle>
          <a:p>
            <a:r>
              <a:rPr lang="en-US" sz="900" dirty="0"/>
              <a:t>It is the component that contains the business logic to handle the security of events (data). Integrates with </a:t>
            </a:r>
            <a:r>
              <a:rPr lang="en-US" sz="900" dirty="0" err="1">
                <a:solidFill>
                  <a:srgbClr val="C5277F"/>
                </a:solidFill>
              </a:rPr>
              <a:t>CommandKafkaService</a:t>
            </a:r>
            <a:r>
              <a:rPr lang="en-US" sz="900" dirty="0">
                <a:solidFill>
                  <a:srgbClr val="C5277F"/>
                </a:solidFill>
              </a:rPr>
              <a:t>.</a:t>
            </a:r>
            <a:endParaRPr lang="en-US" sz="900" dirty="0"/>
          </a:p>
        </p:txBody>
      </p:sp>
      <p:grpSp>
        <p:nvGrpSpPr>
          <p:cNvPr id="97" name="Group 96">
            <a:extLst>
              <a:ext uri="{FF2B5EF4-FFF2-40B4-BE49-F238E27FC236}">
                <a16:creationId xmlns:a16="http://schemas.microsoft.com/office/drawing/2014/main" id="{52BE1F06-F2AB-7F4E-B62C-9568D1E9418F}"/>
              </a:ext>
            </a:extLst>
          </p:cNvPr>
          <p:cNvGrpSpPr/>
          <p:nvPr/>
        </p:nvGrpSpPr>
        <p:grpSpPr>
          <a:xfrm>
            <a:off x="737280" y="1367065"/>
            <a:ext cx="1455399" cy="460228"/>
            <a:chOff x="1081611" y="1334954"/>
            <a:chExt cx="1067858" cy="460228"/>
          </a:xfrm>
        </p:grpSpPr>
        <p:sp>
          <p:nvSpPr>
            <p:cNvPr id="98" name="Rectangle 97">
              <a:extLst>
                <a:ext uri="{FF2B5EF4-FFF2-40B4-BE49-F238E27FC236}">
                  <a16:creationId xmlns:a16="http://schemas.microsoft.com/office/drawing/2014/main" id="{8CA205E1-8043-B44A-83E3-77ED105733D6}"/>
                </a:ext>
              </a:extLst>
            </p:cNvPr>
            <p:cNvSpPr/>
            <p:nvPr/>
          </p:nvSpPr>
          <p:spPr>
            <a:xfrm>
              <a:off x="1081611" y="1334954"/>
              <a:ext cx="1067858" cy="460228"/>
            </a:xfrm>
            <a:prstGeom prst="rect">
              <a:avLst/>
            </a:prstGeom>
            <a:solidFill>
              <a:schemeClr val="bg1"/>
            </a:solidFill>
            <a:ln w="9525">
              <a:solidFill>
                <a:srgbClr val="0067B7"/>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800" dirty="0">
                <a:solidFill>
                  <a:srgbClr val="0067B7"/>
                </a:solidFill>
                <a:latin typeface="Arial" pitchFamily="34" charset="0"/>
                <a:cs typeface="Arial" pitchFamily="34" charset="0"/>
              </a:endParaRPr>
            </a:p>
            <a:p>
              <a:pPr algn="ctr"/>
              <a:endParaRPr lang="en-US" sz="800" dirty="0">
                <a:solidFill>
                  <a:srgbClr val="0067B7"/>
                </a:solidFill>
                <a:latin typeface="Arial" pitchFamily="34" charset="0"/>
                <a:cs typeface="Arial" pitchFamily="34" charset="0"/>
              </a:endParaRPr>
            </a:p>
            <a:p>
              <a:pPr algn="ctr"/>
              <a:r>
                <a:rPr lang="en-US" sz="800" b="1" dirty="0" err="1">
                  <a:solidFill>
                    <a:srgbClr val="0067B7"/>
                  </a:solidFill>
                  <a:latin typeface="Arial" pitchFamily="34" charset="0"/>
                  <a:cs typeface="Arial" pitchFamily="34" charset="0"/>
                </a:rPr>
                <a:t>SecurityEngine</a:t>
              </a:r>
              <a:endParaRPr lang="en-US" sz="800" b="1" dirty="0">
                <a:solidFill>
                  <a:srgbClr val="0067B7"/>
                </a:solidFill>
                <a:latin typeface="Arial" pitchFamily="34" charset="0"/>
                <a:cs typeface="Arial" pitchFamily="34" charset="0"/>
              </a:endParaRPr>
            </a:p>
            <a:p>
              <a:pPr algn="ctr"/>
              <a:endParaRPr lang="en-US" sz="800" dirty="0">
                <a:solidFill>
                  <a:srgbClr val="0067B7"/>
                </a:solidFill>
                <a:latin typeface="Arial" pitchFamily="34" charset="0"/>
                <a:cs typeface="Arial" pitchFamily="34" charset="0"/>
              </a:endParaRPr>
            </a:p>
          </p:txBody>
        </p:sp>
        <p:grpSp>
          <p:nvGrpSpPr>
            <p:cNvPr id="99" name="Group 98">
              <a:extLst>
                <a:ext uri="{FF2B5EF4-FFF2-40B4-BE49-F238E27FC236}">
                  <a16:creationId xmlns:a16="http://schemas.microsoft.com/office/drawing/2014/main" id="{6AC22D66-E736-F647-BB99-E399C3F6AEE7}"/>
                </a:ext>
              </a:extLst>
            </p:cNvPr>
            <p:cNvGrpSpPr/>
            <p:nvPr/>
          </p:nvGrpSpPr>
          <p:grpSpPr>
            <a:xfrm>
              <a:off x="1936955" y="1378300"/>
              <a:ext cx="141975" cy="142185"/>
              <a:chOff x="1539214" y="2731675"/>
              <a:chExt cx="141975" cy="142185"/>
            </a:xfrm>
          </p:grpSpPr>
          <p:sp>
            <p:nvSpPr>
              <p:cNvPr id="100" name="Rectangle 99">
                <a:extLst>
                  <a:ext uri="{FF2B5EF4-FFF2-40B4-BE49-F238E27FC236}">
                    <a16:creationId xmlns:a16="http://schemas.microsoft.com/office/drawing/2014/main" id="{65A672FB-229D-C141-B5AC-BB068DB953B7}"/>
                  </a:ext>
                </a:extLst>
              </p:cNvPr>
              <p:cNvSpPr/>
              <p:nvPr/>
            </p:nvSpPr>
            <p:spPr>
              <a:xfrm>
                <a:off x="1576435" y="2731675"/>
                <a:ext cx="104754" cy="142185"/>
              </a:xfrm>
              <a:prstGeom prst="rect">
                <a:avLst/>
              </a:prstGeom>
              <a:solidFill>
                <a:schemeClr val="bg1"/>
              </a:solidFill>
              <a:ln w="9525">
                <a:solidFill>
                  <a:srgbClr val="0067B7"/>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a:solidFill>
                    <a:srgbClr val="002D72"/>
                  </a:solidFill>
                  <a:latin typeface="Arial" pitchFamily="34" charset="0"/>
                  <a:cs typeface="Arial" pitchFamily="34" charset="0"/>
                </a:endParaRPr>
              </a:p>
            </p:txBody>
          </p:sp>
          <p:sp>
            <p:nvSpPr>
              <p:cNvPr id="101" name="Rectangle 100">
                <a:extLst>
                  <a:ext uri="{FF2B5EF4-FFF2-40B4-BE49-F238E27FC236}">
                    <a16:creationId xmlns:a16="http://schemas.microsoft.com/office/drawing/2014/main" id="{92396AEC-A9CD-C74E-A56F-653D4ECAA287}"/>
                  </a:ext>
                </a:extLst>
              </p:cNvPr>
              <p:cNvSpPr/>
              <p:nvPr/>
            </p:nvSpPr>
            <p:spPr>
              <a:xfrm flipV="1">
                <a:off x="1539214" y="2812983"/>
                <a:ext cx="72000" cy="36000"/>
              </a:xfrm>
              <a:prstGeom prst="rect">
                <a:avLst/>
              </a:prstGeom>
              <a:solidFill>
                <a:schemeClr val="bg1"/>
              </a:solidFill>
              <a:ln w="9525">
                <a:solidFill>
                  <a:srgbClr val="0067B7"/>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a:solidFill>
                    <a:srgbClr val="002D72"/>
                  </a:solidFill>
                  <a:latin typeface="Arial" pitchFamily="34" charset="0"/>
                  <a:cs typeface="Arial" pitchFamily="34" charset="0"/>
                </a:endParaRPr>
              </a:p>
            </p:txBody>
          </p:sp>
          <p:sp>
            <p:nvSpPr>
              <p:cNvPr id="102" name="Rectangle 101">
                <a:extLst>
                  <a:ext uri="{FF2B5EF4-FFF2-40B4-BE49-F238E27FC236}">
                    <a16:creationId xmlns:a16="http://schemas.microsoft.com/office/drawing/2014/main" id="{B631A2F4-999A-204A-B7FA-63E575A9F8BB}"/>
                  </a:ext>
                </a:extLst>
              </p:cNvPr>
              <p:cNvSpPr/>
              <p:nvPr/>
            </p:nvSpPr>
            <p:spPr>
              <a:xfrm flipV="1">
                <a:off x="1539214" y="2756453"/>
                <a:ext cx="72000" cy="36000"/>
              </a:xfrm>
              <a:prstGeom prst="rect">
                <a:avLst/>
              </a:prstGeom>
              <a:solidFill>
                <a:schemeClr val="bg1"/>
              </a:solidFill>
              <a:ln w="9525">
                <a:solidFill>
                  <a:srgbClr val="0067B7"/>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a:solidFill>
                    <a:srgbClr val="002D72"/>
                  </a:solidFill>
                  <a:latin typeface="Arial" pitchFamily="34" charset="0"/>
                  <a:cs typeface="Arial" pitchFamily="34" charset="0"/>
                </a:endParaRPr>
              </a:p>
            </p:txBody>
          </p:sp>
        </p:grpSp>
      </p:grpSp>
      <p:sp>
        <p:nvSpPr>
          <p:cNvPr id="103" name="Google Shape;61;p12">
            <a:extLst>
              <a:ext uri="{FF2B5EF4-FFF2-40B4-BE49-F238E27FC236}">
                <a16:creationId xmlns:a16="http://schemas.microsoft.com/office/drawing/2014/main" id="{E262D08D-B009-6E4F-85D7-EEED664E4A07}"/>
              </a:ext>
            </a:extLst>
          </p:cNvPr>
          <p:cNvSpPr txBox="1">
            <a:spLocks/>
          </p:cNvSpPr>
          <p:nvPr/>
        </p:nvSpPr>
        <p:spPr>
          <a:xfrm>
            <a:off x="2597211" y="2860839"/>
            <a:ext cx="6609227" cy="525119"/>
          </a:xfrm>
          <a:prstGeom prst="rect">
            <a:avLst/>
          </a:prstGeom>
        </p:spPr>
        <p:txBody>
          <a:bodyPr spcFirstLastPara="1" vert="horz" wrap="square" lIns="91425" tIns="91425" rIns="91425" bIns="91425" rtlCol="0" anchor="ctr"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lgn="l">
              <a:spcBef>
                <a:spcPts val="0"/>
              </a:spcBef>
            </a:pPr>
            <a:r>
              <a:rPr lang="en-US" sz="900" dirty="0">
                <a:solidFill>
                  <a:srgbClr val="0067B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It is the component that contains the business logic to connect Citi (source) systems to Kafka. </a:t>
            </a:r>
            <a:r>
              <a:rPr lang="en-US" sz="900" dirty="0"/>
              <a:t>I</a:t>
            </a:r>
            <a:r>
              <a:rPr lang="en-US" sz="900" dirty="0">
                <a:solidFill>
                  <a:srgbClr val="0067B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 Integrates with </a:t>
            </a:r>
            <a:r>
              <a:rPr lang="en-US" sz="900" dirty="0" err="1">
                <a:solidFill>
                  <a:srgbClr val="C5277F"/>
                </a:solidFill>
              </a:rPr>
              <a:t>CommandKafkaService</a:t>
            </a:r>
            <a:r>
              <a:rPr lang="en-US" sz="900" dirty="0">
                <a:solidFill>
                  <a:srgbClr val="C5277F"/>
                </a:solidFill>
              </a:rPr>
              <a:t> </a:t>
            </a:r>
            <a:r>
              <a:rPr lang="en-US" sz="900" dirty="0">
                <a:solidFill>
                  <a:srgbClr val="0067B7"/>
                </a:solidFill>
              </a:rPr>
              <a:t>and</a:t>
            </a:r>
            <a:r>
              <a:rPr lang="en-US" sz="900" dirty="0">
                <a:solidFill>
                  <a:srgbClr val="C5277F"/>
                </a:solidFill>
              </a:rPr>
              <a:t> </a:t>
            </a:r>
            <a:r>
              <a:rPr lang="en-US" sz="900" dirty="0" err="1">
                <a:solidFill>
                  <a:srgbClr val="C5277F"/>
                </a:solidFill>
              </a:rPr>
              <a:t>EvenHubManagmentServices</a:t>
            </a:r>
            <a:r>
              <a:rPr lang="en-US" sz="900" dirty="0">
                <a:solidFill>
                  <a:srgbClr val="C5277F"/>
                </a:solidFill>
              </a:rPr>
              <a:t>.</a:t>
            </a:r>
            <a:endParaRPr lang="en-US" sz="900" dirty="0">
              <a:solidFill>
                <a:srgbClr val="0067B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endParaRPr>
          </a:p>
        </p:txBody>
      </p:sp>
      <p:sp>
        <p:nvSpPr>
          <p:cNvPr id="104" name="Google Shape;61;p12">
            <a:extLst>
              <a:ext uri="{FF2B5EF4-FFF2-40B4-BE49-F238E27FC236}">
                <a16:creationId xmlns:a16="http://schemas.microsoft.com/office/drawing/2014/main" id="{B98B7A06-4845-594E-BDF5-9F7B7D4BFA96}"/>
              </a:ext>
            </a:extLst>
          </p:cNvPr>
          <p:cNvSpPr txBox="1">
            <a:spLocks/>
          </p:cNvSpPr>
          <p:nvPr/>
        </p:nvSpPr>
        <p:spPr>
          <a:xfrm>
            <a:off x="2569778" y="3690995"/>
            <a:ext cx="6609227" cy="515757"/>
          </a:xfrm>
          <a:prstGeom prst="rect">
            <a:avLst/>
          </a:prstGeom>
        </p:spPr>
        <p:txBody>
          <a:bodyPr spcFirstLastPara="1" vert="horz" wrap="square" lIns="91425" tIns="91425" rIns="91425" bIns="91425" rtlCol="0" anchor="ctr" anchorCtr="0">
            <a:noAutofit/>
          </a:bodyPr>
          <a:lstStyle>
            <a:defPPr>
              <a:defRPr lang="en-US"/>
            </a:defPPr>
            <a:lvl1pPr defTabSz="457200">
              <a:spcBef>
                <a:spcPts val="0"/>
              </a:spcBef>
              <a:buNone/>
              <a:defRPr sz="1000">
                <a:solidFill>
                  <a:srgbClr val="0067B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defRPr>
            </a:lvl1pPr>
          </a:lstStyle>
          <a:p>
            <a:r>
              <a:rPr lang="en-US" sz="900" dirty="0"/>
              <a:t>It is the component that contains the business logic to connect Citi (Sink) systems to Kafka. Integrates with </a:t>
            </a:r>
            <a:r>
              <a:rPr lang="en-US" sz="900" dirty="0" err="1">
                <a:solidFill>
                  <a:srgbClr val="C5277F"/>
                </a:solidFill>
              </a:rPr>
              <a:t>CommandKafkaService</a:t>
            </a:r>
            <a:r>
              <a:rPr lang="en-US" sz="900" dirty="0">
                <a:solidFill>
                  <a:srgbClr val="C5277F"/>
                </a:solidFill>
              </a:rPr>
              <a:t> </a:t>
            </a:r>
            <a:r>
              <a:rPr lang="en-US" sz="900" dirty="0"/>
              <a:t>and</a:t>
            </a:r>
            <a:r>
              <a:rPr lang="en-US" sz="900" dirty="0">
                <a:solidFill>
                  <a:srgbClr val="C5277F"/>
                </a:solidFill>
              </a:rPr>
              <a:t> </a:t>
            </a:r>
            <a:r>
              <a:rPr lang="en-US" sz="900" dirty="0" err="1">
                <a:solidFill>
                  <a:srgbClr val="C5277F"/>
                </a:solidFill>
              </a:rPr>
              <a:t>EvenHubManagmentServices</a:t>
            </a:r>
            <a:r>
              <a:rPr lang="en-US" sz="900" dirty="0">
                <a:solidFill>
                  <a:srgbClr val="C5277F"/>
                </a:solidFill>
              </a:rPr>
              <a:t>.</a:t>
            </a:r>
            <a:endParaRPr lang="en-US" sz="900" dirty="0"/>
          </a:p>
        </p:txBody>
      </p:sp>
      <p:grpSp>
        <p:nvGrpSpPr>
          <p:cNvPr id="105" name="Group 104">
            <a:extLst>
              <a:ext uri="{FF2B5EF4-FFF2-40B4-BE49-F238E27FC236}">
                <a16:creationId xmlns:a16="http://schemas.microsoft.com/office/drawing/2014/main" id="{0F73A15C-02FE-BD4D-B36A-92737CCF6F7B}"/>
              </a:ext>
            </a:extLst>
          </p:cNvPr>
          <p:cNvGrpSpPr/>
          <p:nvPr/>
        </p:nvGrpSpPr>
        <p:grpSpPr>
          <a:xfrm>
            <a:off x="740003" y="2897421"/>
            <a:ext cx="1455402" cy="460228"/>
            <a:chOff x="1082487" y="1334954"/>
            <a:chExt cx="1067859" cy="460228"/>
          </a:xfrm>
        </p:grpSpPr>
        <p:sp>
          <p:nvSpPr>
            <p:cNvPr id="106" name="Rectangle 105">
              <a:extLst>
                <a:ext uri="{FF2B5EF4-FFF2-40B4-BE49-F238E27FC236}">
                  <a16:creationId xmlns:a16="http://schemas.microsoft.com/office/drawing/2014/main" id="{4529DB5C-FAD3-A147-9FC2-3EF7EB0820B0}"/>
                </a:ext>
              </a:extLst>
            </p:cNvPr>
            <p:cNvSpPr/>
            <p:nvPr/>
          </p:nvSpPr>
          <p:spPr>
            <a:xfrm>
              <a:off x="1082487" y="1334954"/>
              <a:ext cx="1067859" cy="460228"/>
            </a:xfrm>
            <a:prstGeom prst="rect">
              <a:avLst/>
            </a:prstGeom>
            <a:solidFill>
              <a:schemeClr val="bg1"/>
            </a:solidFill>
            <a:ln w="9525">
              <a:solidFill>
                <a:srgbClr val="0067B7"/>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800" dirty="0">
                <a:solidFill>
                  <a:srgbClr val="0067B7"/>
                </a:solidFill>
                <a:latin typeface="Arial" pitchFamily="34" charset="0"/>
                <a:cs typeface="Arial" pitchFamily="34" charset="0"/>
              </a:endParaRPr>
            </a:p>
            <a:p>
              <a:pPr algn="ctr"/>
              <a:endParaRPr lang="en-US" sz="800" dirty="0">
                <a:solidFill>
                  <a:srgbClr val="0067B7"/>
                </a:solidFill>
                <a:latin typeface="Arial" pitchFamily="34" charset="0"/>
                <a:cs typeface="Arial" pitchFamily="34" charset="0"/>
              </a:endParaRPr>
            </a:p>
            <a:p>
              <a:pPr algn="ctr"/>
              <a:r>
                <a:rPr lang="en-US" sz="800" b="1" dirty="0" err="1">
                  <a:solidFill>
                    <a:srgbClr val="0067B7"/>
                  </a:solidFill>
                  <a:latin typeface="Arial" pitchFamily="34" charset="0"/>
                  <a:cs typeface="Arial" pitchFamily="34" charset="0"/>
                </a:rPr>
                <a:t>SourceService</a:t>
              </a:r>
              <a:endParaRPr lang="en-US" sz="800" b="1" dirty="0">
                <a:solidFill>
                  <a:srgbClr val="0067B7"/>
                </a:solidFill>
                <a:latin typeface="Arial" pitchFamily="34" charset="0"/>
                <a:cs typeface="Arial" pitchFamily="34" charset="0"/>
              </a:endParaRPr>
            </a:p>
            <a:p>
              <a:pPr algn="ctr"/>
              <a:endParaRPr lang="en-US" sz="800" dirty="0">
                <a:solidFill>
                  <a:srgbClr val="0067B7"/>
                </a:solidFill>
                <a:latin typeface="Arial" pitchFamily="34" charset="0"/>
                <a:cs typeface="Arial" pitchFamily="34" charset="0"/>
              </a:endParaRPr>
            </a:p>
          </p:txBody>
        </p:sp>
        <p:grpSp>
          <p:nvGrpSpPr>
            <p:cNvPr id="107" name="Group 106">
              <a:extLst>
                <a:ext uri="{FF2B5EF4-FFF2-40B4-BE49-F238E27FC236}">
                  <a16:creationId xmlns:a16="http://schemas.microsoft.com/office/drawing/2014/main" id="{BB5F2543-6029-3B4B-A013-639B4248D901}"/>
                </a:ext>
              </a:extLst>
            </p:cNvPr>
            <p:cNvGrpSpPr/>
            <p:nvPr/>
          </p:nvGrpSpPr>
          <p:grpSpPr>
            <a:xfrm>
              <a:off x="1936955" y="1378300"/>
              <a:ext cx="141975" cy="142185"/>
              <a:chOff x="1539214" y="2731675"/>
              <a:chExt cx="141975" cy="142185"/>
            </a:xfrm>
          </p:grpSpPr>
          <p:sp>
            <p:nvSpPr>
              <p:cNvPr id="108" name="Rectangle 107">
                <a:extLst>
                  <a:ext uri="{FF2B5EF4-FFF2-40B4-BE49-F238E27FC236}">
                    <a16:creationId xmlns:a16="http://schemas.microsoft.com/office/drawing/2014/main" id="{12BF6B36-5302-AD46-9601-914F731601EE}"/>
                  </a:ext>
                </a:extLst>
              </p:cNvPr>
              <p:cNvSpPr/>
              <p:nvPr/>
            </p:nvSpPr>
            <p:spPr>
              <a:xfrm>
                <a:off x="1576435" y="2731675"/>
                <a:ext cx="104754" cy="142185"/>
              </a:xfrm>
              <a:prstGeom prst="rect">
                <a:avLst/>
              </a:prstGeom>
              <a:solidFill>
                <a:schemeClr val="bg1"/>
              </a:solidFill>
              <a:ln w="9525">
                <a:solidFill>
                  <a:srgbClr val="0067B7"/>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a:solidFill>
                    <a:srgbClr val="002D72"/>
                  </a:solidFill>
                  <a:latin typeface="Arial" pitchFamily="34" charset="0"/>
                  <a:cs typeface="Arial" pitchFamily="34" charset="0"/>
                </a:endParaRPr>
              </a:p>
            </p:txBody>
          </p:sp>
          <p:sp>
            <p:nvSpPr>
              <p:cNvPr id="109" name="Rectangle 108">
                <a:extLst>
                  <a:ext uri="{FF2B5EF4-FFF2-40B4-BE49-F238E27FC236}">
                    <a16:creationId xmlns:a16="http://schemas.microsoft.com/office/drawing/2014/main" id="{CAC57313-5046-4D40-8735-A4860B9DF13B}"/>
                  </a:ext>
                </a:extLst>
              </p:cNvPr>
              <p:cNvSpPr/>
              <p:nvPr/>
            </p:nvSpPr>
            <p:spPr>
              <a:xfrm flipV="1">
                <a:off x="1539214" y="2812983"/>
                <a:ext cx="72000" cy="36000"/>
              </a:xfrm>
              <a:prstGeom prst="rect">
                <a:avLst/>
              </a:prstGeom>
              <a:solidFill>
                <a:schemeClr val="bg1"/>
              </a:solidFill>
              <a:ln w="9525">
                <a:solidFill>
                  <a:srgbClr val="0067B7"/>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a:solidFill>
                    <a:srgbClr val="002D72"/>
                  </a:solidFill>
                  <a:latin typeface="Arial" pitchFamily="34" charset="0"/>
                  <a:cs typeface="Arial" pitchFamily="34" charset="0"/>
                </a:endParaRPr>
              </a:p>
            </p:txBody>
          </p:sp>
          <p:sp>
            <p:nvSpPr>
              <p:cNvPr id="110" name="Rectangle 109">
                <a:extLst>
                  <a:ext uri="{FF2B5EF4-FFF2-40B4-BE49-F238E27FC236}">
                    <a16:creationId xmlns:a16="http://schemas.microsoft.com/office/drawing/2014/main" id="{FFCED792-6881-DD4D-9D72-8235DDECBB9D}"/>
                  </a:ext>
                </a:extLst>
              </p:cNvPr>
              <p:cNvSpPr/>
              <p:nvPr/>
            </p:nvSpPr>
            <p:spPr>
              <a:xfrm flipV="1">
                <a:off x="1539214" y="2756453"/>
                <a:ext cx="72000" cy="36000"/>
              </a:xfrm>
              <a:prstGeom prst="rect">
                <a:avLst/>
              </a:prstGeom>
              <a:solidFill>
                <a:schemeClr val="bg1"/>
              </a:solidFill>
              <a:ln w="9525">
                <a:solidFill>
                  <a:srgbClr val="0067B7"/>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a:solidFill>
                    <a:srgbClr val="002D72"/>
                  </a:solidFill>
                  <a:latin typeface="Arial" pitchFamily="34" charset="0"/>
                  <a:cs typeface="Arial" pitchFamily="34" charset="0"/>
                </a:endParaRPr>
              </a:p>
            </p:txBody>
          </p:sp>
        </p:grpSp>
      </p:grpSp>
      <p:grpSp>
        <p:nvGrpSpPr>
          <p:cNvPr id="111" name="Group 110">
            <a:extLst>
              <a:ext uri="{FF2B5EF4-FFF2-40B4-BE49-F238E27FC236}">
                <a16:creationId xmlns:a16="http://schemas.microsoft.com/office/drawing/2014/main" id="{6EB4E00F-ACC0-C944-A3E7-0EDAABBD8341}"/>
              </a:ext>
            </a:extLst>
          </p:cNvPr>
          <p:cNvGrpSpPr/>
          <p:nvPr/>
        </p:nvGrpSpPr>
        <p:grpSpPr>
          <a:xfrm>
            <a:off x="749147" y="3686209"/>
            <a:ext cx="1455401" cy="460228"/>
            <a:chOff x="1082487" y="1334954"/>
            <a:chExt cx="1067859" cy="460228"/>
          </a:xfrm>
        </p:grpSpPr>
        <p:sp>
          <p:nvSpPr>
            <p:cNvPr id="112" name="Rectangle 111">
              <a:extLst>
                <a:ext uri="{FF2B5EF4-FFF2-40B4-BE49-F238E27FC236}">
                  <a16:creationId xmlns:a16="http://schemas.microsoft.com/office/drawing/2014/main" id="{6195156B-2007-524F-8B95-715C07C03243}"/>
                </a:ext>
              </a:extLst>
            </p:cNvPr>
            <p:cNvSpPr/>
            <p:nvPr/>
          </p:nvSpPr>
          <p:spPr>
            <a:xfrm>
              <a:off x="1082487" y="1334954"/>
              <a:ext cx="1067859" cy="460228"/>
            </a:xfrm>
            <a:prstGeom prst="rect">
              <a:avLst/>
            </a:prstGeom>
            <a:solidFill>
              <a:schemeClr val="bg1"/>
            </a:solidFill>
            <a:ln w="9525">
              <a:solidFill>
                <a:srgbClr val="0067B7"/>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800" dirty="0">
                <a:solidFill>
                  <a:srgbClr val="0067B7"/>
                </a:solidFill>
                <a:latin typeface="Arial" pitchFamily="34" charset="0"/>
                <a:cs typeface="Arial" pitchFamily="34" charset="0"/>
              </a:endParaRPr>
            </a:p>
            <a:p>
              <a:pPr algn="ctr"/>
              <a:endParaRPr lang="en-US" sz="800" dirty="0">
                <a:solidFill>
                  <a:srgbClr val="0067B7"/>
                </a:solidFill>
                <a:latin typeface="Arial" pitchFamily="34" charset="0"/>
                <a:cs typeface="Arial" pitchFamily="34" charset="0"/>
              </a:endParaRPr>
            </a:p>
            <a:p>
              <a:pPr algn="ctr"/>
              <a:r>
                <a:rPr lang="en-US" sz="800" b="1" dirty="0" err="1">
                  <a:solidFill>
                    <a:srgbClr val="0067B7"/>
                  </a:solidFill>
                  <a:latin typeface="Arial" pitchFamily="34" charset="0"/>
                  <a:cs typeface="Arial" pitchFamily="34" charset="0"/>
                </a:rPr>
                <a:t>SinkService</a:t>
              </a:r>
              <a:endParaRPr lang="en-US" sz="800" b="1" dirty="0">
                <a:solidFill>
                  <a:srgbClr val="0067B7"/>
                </a:solidFill>
                <a:latin typeface="Arial" pitchFamily="34" charset="0"/>
                <a:cs typeface="Arial" pitchFamily="34" charset="0"/>
              </a:endParaRPr>
            </a:p>
            <a:p>
              <a:pPr algn="ctr"/>
              <a:endParaRPr lang="en-US" sz="800" dirty="0">
                <a:solidFill>
                  <a:srgbClr val="0067B7"/>
                </a:solidFill>
                <a:latin typeface="Arial" pitchFamily="34" charset="0"/>
                <a:cs typeface="Arial" pitchFamily="34" charset="0"/>
              </a:endParaRPr>
            </a:p>
          </p:txBody>
        </p:sp>
        <p:grpSp>
          <p:nvGrpSpPr>
            <p:cNvPr id="113" name="Group 112">
              <a:extLst>
                <a:ext uri="{FF2B5EF4-FFF2-40B4-BE49-F238E27FC236}">
                  <a16:creationId xmlns:a16="http://schemas.microsoft.com/office/drawing/2014/main" id="{D8E48A00-8A18-B14C-8FF1-36A1AC363839}"/>
                </a:ext>
              </a:extLst>
            </p:cNvPr>
            <p:cNvGrpSpPr/>
            <p:nvPr/>
          </p:nvGrpSpPr>
          <p:grpSpPr>
            <a:xfrm>
              <a:off x="1936955" y="1378300"/>
              <a:ext cx="141975" cy="142185"/>
              <a:chOff x="1539214" y="2731675"/>
              <a:chExt cx="141975" cy="142185"/>
            </a:xfrm>
          </p:grpSpPr>
          <p:sp>
            <p:nvSpPr>
              <p:cNvPr id="114" name="Rectangle 113">
                <a:extLst>
                  <a:ext uri="{FF2B5EF4-FFF2-40B4-BE49-F238E27FC236}">
                    <a16:creationId xmlns:a16="http://schemas.microsoft.com/office/drawing/2014/main" id="{2784D64F-16B8-B040-BBDC-5354C5E80761}"/>
                  </a:ext>
                </a:extLst>
              </p:cNvPr>
              <p:cNvSpPr/>
              <p:nvPr/>
            </p:nvSpPr>
            <p:spPr>
              <a:xfrm>
                <a:off x="1576435" y="2731675"/>
                <a:ext cx="104754" cy="142185"/>
              </a:xfrm>
              <a:prstGeom prst="rect">
                <a:avLst/>
              </a:prstGeom>
              <a:solidFill>
                <a:schemeClr val="bg1"/>
              </a:solidFill>
              <a:ln w="9525">
                <a:solidFill>
                  <a:srgbClr val="0067B7"/>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a:solidFill>
                    <a:srgbClr val="002D72"/>
                  </a:solidFill>
                  <a:latin typeface="Arial" pitchFamily="34" charset="0"/>
                  <a:cs typeface="Arial" pitchFamily="34" charset="0"/>
                </a:endParaRPr>
              </a:p>
            </p:txBody>
          </p:sp>
          <p:sp>
            <p:nvSpPr>
              <p:cNvPr id="115" name="Rectangle 114">
                <a:extLst>
                  <a:ext uri="{FF2B5EF4-FFF2-40B4-BE49-F238E27FC236}">
                    <a16:creationId xmlns:a16="http://schemas.microsoft.com/office/drawing/2014/main" id="{4809C2E7-8462-5342-81EF-7270AE9810EE}"/>
                  </a:ext>
                </a:extLst>
              </p:cNvPr>
              <p:cNvSpPr/>
              <p:nvPr/>
            </p:nvSpPr>
            <p:spPr>
              <a:xfrm flipV="1">
                <a:off x="1539214" y="2812983"/>
                <a:ext cx="72000" cy="36000"/>
              </a:xfrm>
              <a:prstGeom prst="rect">
                <a:avLst/>
              </a:prstGeom>
              <a:solidFill>
                <a:schemeClr val="bg1"/>
              </a:solidFill>
              <a:ln w="9525">
                <a:solidFill>
                  <a:srgbClr val="0067B7"/>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a:solidFill>
                    <a:srgbClr val="002D72"/>
                  </a:solidFill>
                  <a:latin typeface="Arial" pitchFamily="34" charset="0"/>
                  <a:cs typeface="Arial" pitchFamily="34" charset="0"/>
                </a:endParaRPr>
              </a:p>
            </p:txBody>
          </p:sp>
          <p:sp>
            <p:nvSpPr>
              <p:cNvPr id="116" name="Rectangle 115">
                <a:extLst>
                  <a:ext uri="{FF2B5EF4-FFF2-40B4-BE49-F238E27FC236}">
                    <a16:creationId xmlns:a16="http://schemas.microsoft.com/office/drawing/2014/main" id="{E213BD44-3084-BF4B-AB6A-DAE036C69022}"/>
                  </a:ext>
                </a:extLst>
              </p:cNvPr>
              <p:cNvSpPr/>
              <p:nvPr/>
            </p:nvSpPr>
            <p:spPr>
              <a:xfrm flipV="1">
                <a:off x="1539214" y="2756453"/>
                <a:ext cx="72000" cy="36000"/>
              </a:xfrm>
              <a:prstGeom prst="rect">
                <a:avLst/>
              </a:prstGeom>
              <a:solidFill>
                <a:schemeClr val="bg1"/>
              </a:solidFill>
              <a:ln w="9525">
                <a:solidFill>
                  <a:srgbClr val="0067B7"/>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a:solidFill>
                    <a:srgbClr val="002D72"/>
                  </a:solidFill>
                  <a:latin typeface="Arial" pitchFamily="34" charset="0"/>
                  <a:cs typeface="Arial" pitchFamily="34" charset="0"/>
                </a:endParaRPr>
              </a:p>
            </p:txBody>
          </p:sp>
        </p:grpSp>
      </p:grpSp>
      <p:sp>
        <p:nvSpPr>
          <p:cNvPr id="39" name="Google Shape;61;p12">
            <a:extLst>
              <a:ext uri="{FF2B5EF4-FFF2-40B4-BE49-F238E27FC236}">
                <a16:creationId xmlns:a16="http://schemas.microsoft.com/office/drawing/2014/main" id="{0BEFB185-45BB-B84F-A850-41FB2D5011EE}"/>
              </a:ext>
            </a:extLst>
          </p:cNvPr>
          <p:cNvSpPr txBox="1">
            <a:spLocks/>
          </p:cNvSpPr>
          <p:nvPr/>
        </p:nvSpPr>
        <p:spPr>
          <a:xfrm>
            <a:off x="2569778" y="5146930"/>
            <a:ext cx="6838046" cy="515757"/>
          </a:xfrm>
          <a:prstGeom prst="rect">
            <a:avLst/>
          </a:prstGeom>
        </p:spPr>
        <p:txBody>
          <a:bodyPr spcFirstLastPara="1" vert="horz" wrap="square" lIns="91425" tIns="91425" rIns="91425" bIns="91425" rtlCol="0" anchor="ctr" anchorCtr="0">
            <a:noAutofit/>
          </a:bodyPr>
          <a:lstStyle>
            <a:defPPr>
              <a:defRPr lang="en-US"/>
            </a:defPPr>
            <a:lvl1pPr defTabSz="457200">
              <a:spcBef>
                <a:spcPts val="0"/>
              </a:spcBef>
              <a:buNone/>
              <a:defRPr sz="1000">
                <a:solidFill>
                  <a:srgbClr val="0067B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defRPr>
            </a:lvl1pPr>
          </a:lstStyle>
          <a:p>
            <a:r>
              <a:rPr lang="en-US" sz="900" dirty="0"/>
              <a:t>It is the component that provides the necessary functionality for the management of Event Hub. Integrates with </a:t>
            </a:r>
            <a:r>
              <a:rPr lang="en-US" sz="900" dirty="0" err="1">
                <a:solidFill>
                  <a:srgbClr val="C5277F"/>
                </a:solidFill>
              </a:rPr>
              <a:t>CommandKafkaService</a:t>
            </a:r>
            <a:r>
              <a:rPr lang="en-US" sz="900" dirty="0">
                <a:solidFill>
                  <a:srgbClr val="C5277F"/>
                </a:solidFill>
              </a:rPr>
              <a:t>, </a:t>
            </a:r>
            <a:r>
              <a:rPr lang="en-US" sz="900" dirty="0" err="1">
                <a:solidFill>
                  <a:srgbClr val="C5277F"/>
                </a:solidFill>
              </a:rPr>
              <a:t>SinkService</a:t>
            </a:r>
            <a:r>
              <a:rPr lang="en-US" sz="900" dirty="0">
                <a:solidFill>
                  <a:srgbClr val="C5277F"/>
                </a:solidFill>
              </a:rPr>
              <a:t>, </a:t>
            </a:r>
            <a:r>
              <a:rPr lang="en-US" sz="900" dirty="0" err="1">
                <a:solidFill>
                  <a:srgbClr val="C5277F"/>
                </a:solidFill>
              </a:rPr>
              <a:t>SourceService</a:t>
            </a:r>
            <a:r>
              <a:rPr lang="en-US" sz="900" dirty="0">
                <a:solidFill>
                  <a:srgbClr val="C5277F"/>
                </a:solidFill>
              </a:rPr>
              <a:t> </a:t>
            </a:r>
            <a:r>
              <a:rPr lang="en-US" sz="900" dirty="0"/>
              <a:t>and</a:t>
            </a:r>
            <a:r>
              <a:rPr lang="en-US" sz="900" dirty="0">
                <a:solidFill>
                  <a:srgbClr val="C5277F"/>
                </a:solidFill>
              </a:rPr>
              <a:t> </a:t>
            </a:r>
            <a:r>
              <a:rPr lang="en-US" sz="900" dirty="0" err="1">
                <a:solidFill>
                  <a:srgbClr val="C5277F"/>
                </a:solidFill>
              </a:rPr>
              <a:t>ProducerService</a:t>
            </a:r>
            <a:r>
              <a:rPr lang="en-US" sz="900" dirty="0">
                <a:solidFill>
                  <a:srgbClr val="C5277F"/>
                </a:solidFill>
              </a:rPr>
              <a:t>.</a:t>
            </a:r>
            <a:endParaRPr lang="en-US" sz="900" dirty="0"/>
          </a:p>
        </p:txBody>
      </p:sp>
      <p:grpSp>
        <p:nvGrpSpPr>
          <p:cNvPr id="40" name="Group 39">
            <a:extLst>
              <a:ext uri="{FF2B5EF4-FFF2-40B4-BE49-F238E27FC236}">
                <a16:creationId xmlns:a16="http://schemas.microsoft.com/office/drawing/2014/main" id="{AF821444-E27E-F34D-BCCB-6AD34CDE0C97}"/>
              </a:ext>
            </a:extLst>
          </p:cNvPr>
          <p:cNvGrpSpPr/>
          <p:nvPr/>
        </p:nvGrpSpPr>
        <p:grpSpPr>
          <a:xfrm>
            <a:off x="566809" y="5174694"/>
            <a:ext cx="1813274" cy="460228"/>
            <a:chOff x="1082487" y="1334954"/>
            <a:chExt cx="1067859" cy="460228"/>
          </a:xfrm>
        </p:grpSpPr>
        <p:sp>
          <p:nvSpPr>
            <p:cNvPr id="41" name="Rectangle 40">
              <a:extLst>
                <a:ext uri="{FF2B5EF4-FFF2-40B4-BE49-F238E27FC236}">
                  <a16:creationId xmlns:a16="http://schemas.microsoft.com/office/drawing/2014/main" id="{5007345F-3F1F-524B-8883-81C17B663D95}"/>
                </a:ext>
              </a:extLst>
            </p:cNvPr>
            <p:cNvSpPr/>
            <p:nvPr/>
          </p:nvSpPr>
          <p:spPr>
            <a:xfrm>
              <a:off x="1082487" y="1334954"/>
              <a:ext cx="1067859" cy="460228"/>
            </a:xfrm>
            <a:prstGeom prst="rect">
              <a:avLst/>
            </a:prstGeom>
            <a:solidFill>
              <a:schemeClr val="bg1"/>
            </a:solidFill>
            <a:ln w="9525">
              <a:solidFill>
                <a:srgbClr val="0067B7"/>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800" dirty="0">
                <a:solidFill>
                  <a:srgbClr val="0067B7"/>
                </a:solidFill>
                <a:latin typeface="Arial" pitchFamily="34" charset="0"/>
                <a:cs typeface="Arial" pitchFamily="34" charset="0"/>
              </a:endParaRPr>
            </a:p>
            <a:p>
              <a:pPr algn="ctr"/>
              <a:endParaRPr lang="en-US" sz="800" dirty="0">
                <a:solidFill>
                  <a:srgbClr val="0067B7"/>
                </a:solidFill>
                <a:latin typeface="Arial" pitchFamily="34" charset="0"/>
                <a:cs typeface="Arial" pitchFamily="34" charset="0"/>
              </a:endParaRPr>
            </a:p>
            <a:p>
              <a:pPr algn="ctr"/>
              <a:r>
                <a:rPr lang="en-US" sz="800" b="1" dirty="0" err="1">
                  <a:solidFill>
                    <a:srgbClr val="0067B7"/>
                  </a:solidFill>
                  <a:latin typeface="Arial" pitchFamily="34" charset="0"/>
                  <a:cs typeface="Arial" pitchFamily="34" charset="0"/>
                </a:rPr>
                <a:t>EvenHubManagmentServices</a:t>
              </a:r>
              <a:endParaRPr lang="en-US" sz="800" b="1" dirty="0">
                <a:solidFill>
                  <a:srgbClr val="0067B7"/>
                </a:solidFill>
                <a:latin typeface="Arial" pitchFamily="34" charset="0"/>
                <a:cs typeface="Arial" pitchFamily="34" charset="0"/>
              </a:endParaRPr>
            </a:p>
            <a:p>
              <a:pPr algn="ctr"/>
              <a:endParaRPr lang="en-US" sz="800" dirty="0">
                <a:solidFill>
                  <a:srgbClr val="0067B7"/>
                </a:solidFill>
                <a:latin typeface="Arial" pitchFamily="34" charset="0"/>
                <a:cs typeface="Arial" pitchFamily="34" charset="0"/>
              </a:endParaRPr>
            </a:p>
          </p:txBody>
        </p:sp>
        <p:grpSp>
          <p:nvGrpSpPr>
            <p:cNvPr id="42" name="Group 41">
              <a:extLst>
                <a:ext uri="{FF2B5EF4-FFF2-40B4-BE49-F238E27FC236}">
                  <a16:creationId xmlns:a16="http://schemas.microsoft.com/office/drawing/2014/main" id="{93876BC2-70BF-7341-AF12-193AC28D0E55}"/>
                </a:ext>
              </a:extLst>
            </p:cNvPr>
            <p:cNvGrpSpPr/>
            <p:nvPr/>
          </p:nvGrpSpPr>
          <p:grpSpPr>
            <a:xfrm>
              <a:off x="1936955" y="1378300"/>
              <a:ext cx="141975" cy="142185"/>
              <a:chOff x="1539214" y="2731675"/>
              <a:chExt cx="141975" cy="142185"/>
            </a:xfrm>
          </p:grpSpPr>
          <p:sp>
            <p:nvSpPr>
              <p:cNvPr id="43" name="Rectangle 42">
                <a:extLst>
                  <a:ext uri="{FF2B5EF4-FFF2-40B4-BE49-F238E27FC236}">
                    <a16:creationId xmlns:a16="http://schemas.microsoft.com/office/drawing/2014/main" id="{D232811C-8880-4B47-AA79-831AFC2D6C13}"/>
                  </a:ext>
                </a:extLst>
              </p:cNvPr>
              <p:cNvSpPr/>
              <p:nvPr/>
            </p:nvSpPr>
            <p:spPr>
              <a:xfrm>
                <a:off x="1576435" y="2731675"/>
                <a:ext cx="104754" cy="142185"/>
              </a:xfrm>
              <a:prstGeom prst="rect">
                <a:avLst/>
              </a:prstGeom>
              <a:solidFill>
                <a:schemeClr val="bg1"/>
              </a:solidFill>
              <a:ln w="9525">
                <a:solidFill>
                  <a:srgbClr val="0067B7"/>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a:solidFill>
                    <a:srgbClr val="002D72"/>
                  </a:solidFill>
                  <a:latin typeface="Arial" pitchFamily="34" charset="0"/>
                  <a:cs typeface="Arial" pitchFamily="34" charset="0"/>
                </a:endParaRPr>
              </a:p>
            </p:txBody>
          </p:sp>
          <p:sp>
            <p:nvSpPr>
              <p:cNvPr id="44" name="Rectangle 43">
                <a:extLst>
                  <a:ext uri="{FF2B5EF4-FFF2-40B4-BE49-F238E27FC236}">
                    <a16:creationId xmlns:a16="http://schemas.microsoft.com/office/drawing/2014/main" id="{503C7F29-C2B3-D84C-8D0D-E5291F65C26B}"/>
                  </a:ext>
                </a:extLst>
              </p:cNvPr>
              <p:cNvSpPr/>
              <p:nvPr/>
            </p:nvSpPr>
            <p:spPr>
              <a:xfrm flipV="1">
                <a:off x="1539214" y="2812983"/>
                <a:ext cx="72000" cy="36000"/>
              </a:xfrm>
              <a:prstGeom prst="rect">
                <a:avLst/>
              </a:prstGeom>
              <a:solidFill>
                <a:schemeClr val="bg1"/>
              </a:solidFill>
              <a:ln w="9525">
                <a:solidFill>
                  <a:srgbClr val="0067B7"/>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a:solidFill>
                    <a:srgbClr val="002D72"/>
                  </a:solidFill>
                  <a:latin typeface="Arial" pitchFamily="34" charset="0"/>
                  <a:cs typeface="Arial" pitchFamily="34" charset="0"/>
                </a:endParaRPr>
              </a:p>
            </p:txBody>
          </p:sp>
          <p:sp>
            <p:nvSpPr>
              <p:cNvPr id="45" name="Rectangle 44">
                <a:extLst>
                  <a:ext uri="{FF2B5EF4-FFF2-40B4-BE49-F238E27FC236}">
                    <a16:creationId xmlns:a16="http://schemas.microsoft.com/office/drawing/2014/main" id="{A3635E64-7FB7-A545-8A4D-345F7355F9CB}"/>
                  </a:ext>
                </a:extLst>
              </p:cNvPr>
              <p:cNvSpPr/>
              <p:nvPr/>
            </p:nvSpPr>
            <p:spPr>
              <a:xfrm flipV="1">
                <a:off x="1539214" y="2756453"/>
                <a:ext cx="72000" cy="36000"/>
              </a:xfrm>
              <a:prstGeom prst="rect">
                <a:avLst/>
              </a:prstGeom>
              <a:solidFill>
                <a:schemeClr val="bg1"/>
              </a:solidFill>
              <a:ln w="9525">
                <a:solidFill>
                  <a:srgbClr val="0067B7"/>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a:solidFill>
                    <a:srgbClr val="002D72"/>
                  </a:solidFill>
                  <a:latin typeface="Arial" pitchFamily="34" charset="0"/>
                  <a:cs typeface="Arial" pitchFamily="34" charset="0"/>
                </a:endParaRPr>
              </a:p>
            </p:txBody>
          </p:sp>
        </p:grpSp>
      </p:grpSp>
    </p:spTree>
    <p:extLst>
      <p:ext uri="{BB962C8B-B14F-4D97-AF65-F5344CB8AC3E}">
        <p14:creationId xmlns:p14="http://schemas.microsoft.com/office/powerpoint/2010/main" val="2772868984"/>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8" name="Rectangle 3"/>
          <p:cNvSpPr txBox="1"/>
          <p:nvPr/>
        </p:nvSpPr>
        <p:spPr>
          <a:xfrm>
            <a:off x="404806" y="646759"/>
            <a:ext cx="9776884" cy="369328"/>
          </a:xfrm>
          <a:prstGeom prst="rect">
            <a:avLst/>
          </a:prstGeom>
          <a:ln w="12700">
            <a:miter lim="400000"/>
          </a:ln>
          <a:extLst>
            <a:ext uri="{C572A759-6A51-4108-AA02-DFA0A04FC94B}">
              <ma14:wrappingTextBoxFlag xmlns="" xmlns:ma14="http://schemas.microsoft.com/office/mac/drawingml/2011/main" val="1"/>
            </a:ext>
          </a:extLst>
        </p:spPr>
        <p:txBody>
          <a:bodyPr wrap="square" lIns="45718" tIns="45718" rIns="45718" bIns="45718">
            <a:spAutoFit/>
          </a:bodyPr>
          <a:lstStyle>
            <a:lvl1pPr algn="l" defTabSz="914400">
              <a:defRPr sz="2000">
                <a:solidFill>
                  <a:srgbClr val="104D6A"/>
                </a:solidFill>
                <a:latin typeface="Arial"/>
                <a:ea typeface="Arial"/>
                <a:cs typeface="Arial"/>
                <a:sym typeface="Arial"/>
              </a:defRPr>
            </a:lvl1pPr>
          </a:lstStyle>
          <a:p>
            <a:pPr lvl="0">
              <a:defRPr/>
            </a:pPr>
            <a:r>
              <a:rPr lang="en-US" sz="1800" b="1" dirty="0">
                <a:solidFill>
                  <a:srgbClr val="73C4EF"/>
                </a:solidFill>
              </a:rPr>
              <a:t>Event Hub Architecture –  The steps of the architecture for the processing engine</a:t>
            </a:r>
          </a:p>
        </p:txBody>
      </p:sp>
      <p:sp>
        <p:nvSpPr>
          <p:cNvPr id="143" name="Rectangle 142">
            <a:extLst>
              <a:ext uri="{FF2B5EF4-FFF2-40B4-BE49-F238E27FC236}">
                <a16:creationId xmlns:a16="http://schemas.microsoft.com/office/drawing/2014/main" id="{4DF98521-6A6D-0242-94BE-32D54A6B57BD}"/>
              </a:ext>
            </a:extLst>
          </p:cNvPr>
          <p:cNvSpPr/>
          <p:nvPr/>
        </p:nvSpPr>
        <p:spPr>
          <a:xfrm>
            <a:off x="505394" y="1084752"/>
            <a:ext cx="11155776" cy="600164"/>
          </a:xfrm>
          <a:prstGeom prst="rect">
            <a:avLst/>
          </a:prstGeom>
        </p:spPr>
        <p:txBody>
          <a:bodyPr wrap="square">
            <a:spAutoFit/>
          </a:bodyPr>
          <a:lstStyle/>
          <a:p>
            <a:pPr marL="285750" indent="-285750">
              <a:buFont typeface="Arial" panose="020B0604020202020204" pitchFamily="34" charset="0"/>
              <a:buChar char="•"/>
            </a:pPr>
            <a:r>
              <a:rPr lang="en-US" sz="1100" dirty="0">
                <a:solidFill>
                  <a:srgbClr val="0067B7"/>
                </a:solidFill>
                <a:latin typeface="Comic Sans MS" panose="030F0902030302020204" pitchFamily="66" charset="0"/>
                <a:ea typeface="Nanum Pen Script" panose="03040600000000000000" pitchFamily="66" charset="-127"/>
              </a:rPr>
              <a:t>Read the individual events of a Kafka theme (input messages)</a:t>
            </a:r>
          </a:p>
          <a:p>
            <a:pPr marL="285750" indent="-285750">
              <a:buFont typeface="Arial" panose="020B0604020202020204" pitchFamily="34" charset="0"/>
              <a:buChar char="•"/>
            </a:pPr>
            <a:r>
              <a:rPr lang="en-US" sz="1100" dirty="0">
                <a:solidFill>
                  <a:srgbClr val="0067B7"/>
                </a:solidFill>
                <a:latin typeface="Comic Sans MS" panose="030F0902030302020204" pitchFamily="66" charset="0"/>
                <a:ea typeface="Nanum Pen Script" panose="03040600000000000000" pitchFamily="66" charset="-127"/>
              </a:rPr>
              <a:t>Validate the message and send any defective event to a topic dedicated to Kafka called invalid messages</a:t>
            </a:r>
          </a:p>
          <a:p>
            <a:pPr marL="285750" indent="-285750">
              <a:buFont typeface="Arial" panose="020B0604020202020204" pitchFamily="34" charset="0"/>
              <a:buChar char="•"/>
            </a:pPr>
            <a:r>
              <a:rPr lang="en-US" sz="1100" dirty="0">
                <a:solidFill>
                  <a:srgbClr val="0067B7"/>
                </a:solidFill>
                <a:latin typeface="Comic Sans MS" panose="030F0902030302020204" pitchFamily="66" charset="0"/>
                <a:ea typeface="Nanum Pen Script" panose="03040600000000000000" pitchFamily="66" charset="-127"/>
              </a:rPr>
              <a:t>Write the enriched messages in a Kafka theme called valid messages</a:t>
            </a:r>
          </a:p>
        </p:txBody>
      </p:sp>
      <p:grpSp>
        <p:nvGrpSpPr>
          <p:cNvPr id="211" name="Group 210">
            <a:extLst>
              <a:ext uri="{FF2B5EF4-FFF2-40B4-BE49-F238E27FC236}">
                <a16:creationId xmlns:a16="http://schemas.microsoft.com/office/drawing/2014/main" id="{7F3E7AE5-0C1F-754A-94B0-6C8CF9EA1097}"/>
              </a:ext>
            </a:extLst>
          </p:cNvPr>
          <p:cNvGrpSpPr/>
          <p:nvPr/>
        </p:nvGrpSpPr>
        <p:grpSpPr>
          <a:xfrm>
            <a:off x="3281675" y="3283907"/>
            <a:ext cx="3700548" cy="1392023"/>
            <a:chOff x="3211574" y="2335474"/>
            <a:chExt cx="1382052" cy="777440"/>
          </a:xfrm>
        </p:grpSpPr>
        <p:sp>
          <p:nvSpPr>
            <p:cNvPr id="214" name="Rectangle 213">
              <a:extLst>
                <a:ext uri="{FF2B5EF4-FFF2-40B4-BE49-F238E27FC236}">
                  <a16:creationId xmlns:a16="http://schemas.microsoft.com/office/drawing/2014/main" id="{C149FFEC-7029-9F46-A0D1-EC07B1FF8634}"/>
                </a:ext>
              </a:extLst>
            </p:cNvPr>
            <p:cNvSpPr/>
            <p:nvPr/>
          </p:nvSpPr>
          <p:spPr>
            <a:xfrm>
              <a:off x="3338853" y="2335474"/>
              <a:ext cx="1254773" cy="777440"/>
            </a:xfrm>
            <a:prstGeom prst="rect">
              <a:avLst/>
            </a:prstGeom>
            <a:solidFill>
              <a:srgbClr val="87CBD8"/>
            </a:solidFill>
            <a:ln w="9525">
              <a:solidFill>
                <a:srgbClr val="0067B7"/>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300" dirty="0">
                <a:solidFill>
                  <a:srgbClr val="0067B7"/>
                </a:solidFill>
                <a:effectLst>
                  <a:outerShdw blurRad="50800" dist="50800" dir="5400000" algn="ctr" rotWithShape="0">
                    <a:srgbClr val="000000">
                      <a:alpha val="0"/>
                    </a:srgbClr>
                  </a:outerShdw>
                  <a:reflection endPos="0" dist="50800" dir="5400000" sy="-100000" algn="bl" rotWithShape="0"/>
                </a:effectLst>
                <a:latin typeface="+mj-lt"/>
                <a:ea typeface="Klee Medium" panose="02020600000000000000" pitchFamily="18" charset="-128"/>
              </a:endParaRPr>
            </a:p>
          </p:txBody>
        </p:sp>
        <p:cxnSp>
          <p:nvCxnSpPr>
            <p:cNvPr id="215" name="Straight Connector 214">
              <a:extLst>
                <a:ext uri="{FF2B5EF4-FFF2-40B4-BE49-F238E27FC236}">
                  <a16:creationId xmlns:a16="http://schemas.microsoft.com/office/drawing/2014/main" id="{43456022-60ED-3845-BF47-243A4CE93343}"/>
                </a:ext>
              </a:extLst>
            </p:cNvPr>
            <p:cNvCxnSpPr/>
            <p:nvPr/>
          </p:nvCxnSpPr>
          <p:spPr>
            <a:xfrm>
              <a:off x="3696207" y="2335474"/>
              <a:ext cx="875794" cy="0"/>
            </a:xfrm>
            <a:prstGeom prst="line">
              <a:avLst/>
            </a:prstGeom>
            <a:solidFill>
              <a:srgbClr val="87CBD8"/>
            </a:solidFill>
            <a:ln w="9525">
              <a:solidFill>
                <a:srgbClr val="0067B7"/>
              </a:solidFill>
            </a:ln>
            <a:effectLst/>
          </p:spPr>
          <p:style>
            <a:lnRef idx="2">
              <a:schemeClr val="accent1">
                <a:shade val="50000"/>
              </a:schemeClr>
            </a:lnRef>
            <a:fillRef idx="1">
              <a:schemeClr val="accent1"/>
            </a:fillRef>
            <a:effectRef idx="0">
              <a:schemeClr val="accent1"/>
            </a:effectRef>
            <a:fontRef idx="minor">
              <a:schemeClr val="lt1"/>
            </a:fontRef>
          </p:style>
        </p:cxnSp>
        <p:cxnSp>
          <p:nvCxnSpPr>
            <p:cNvPr id="216" name="Straight Connector 215">
              <a:extLst>
                <a:ext uri="{FF2B5EF4-FFF2-40B4-BE49-F238E27FC236}">
                  <a16:creationId xmlns:a16="http://schemas.microsoft.com/office/drawing/2014/main" id="{99CD669D-C501-DE4A-86AB-EBAE1C944057}"/>
                </a:ext>
              </a:extLst>
            </p:cNvPr>
            <p:cNvCxnSpPr/>
            <p:nvPr/>
          </p:nvCxnSpPr>
          <p:spPr>
            <a:xfrm>
              <a:off x="3211574" y="3109353"/>
              <a:ext cx="875794" cy="0"/>
            </a:xfrm>
            <a:prstGeom prst="line">
              <a:avLst/>
            </a:prstGeom>
            <a:solidFill>
              <a:srgbClr val="87CBD8"/>
            </a:solidFill>
            <a:ln w="9525">
              <a:solidFill>
                <a:srgbClr val="0067B7"/>
              </a:solidFill>
            </a:ln>
            <a:effectLst/>
          </p:spPr>
          <p:style>
            <a:lnRef idx="2">
              <a:schemeClr val="accent1">
                <a:shade val="50000"/>
              </a:schemeClr>
            </a:lnRef>
            <a:fillRef idx="1">
              <a:schemeClr val="accent1"/>
            </a:fillRef>
            <a:effectRef idx="0">
              <a:schemeClr val="accent1"/>
            </a:effectRef>
            <a:fontRef idx="minor">
              <a:schemeClr val="lt1"/>
            </a:fontRef>
          </p:style>
        </p:cxnSp>
      </p:grpSp>
      <p:sp>
        <p:nvSpPr>
          <p:cNvPr id="217" name="Google Shape;61;p12">
            <a:extLst>
              <a:ext uri="{FF2B5EF4-FFF2-40B4-BE49-F238E27FC236}">
                <a16:creationId xmlns:a16="http://schemas.microsoft.com/office/drawing/2014/main" id="{CAD1B215-0F6D-BF40-8C50-2AAF2C3308EE}"/>
              </a:ext>
            </a:extLst>
          </p:cNvPr>
          <p:cNvSpPr txBox="1">
            <a:spLocks/>
          </p:cNvSpPr>
          <p:nvPr/>
        </p:nvSpPr>
        <p:spPr>
          <a:xfrm>
            <a:off x="4791099" y="2998107"/>
            <a:ext cx="1052310" cy="275128"/>
          </a:xfrm>
          <a:prstGeom prst="rect">
            <a:avLst/>
          </a:prstGeom>
        </p:spPr>
        <p:txBody>
          <a:bodyPr spcFirstLastPara="1" vert="horz" wrap="square" lIns="91425" tIns="91425" rIns="91425" bIns="91425" rtlCol="0" anchor="ctr"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spcBef>
                <a:spcPts val="0"/>
              </a:spcBef>
            </a:pPr>
            <a:r>
              <a:rPr lang="en-US" sz="800" b="1" dirty="0">
                <a:solidFill>
                  <a:srgbClr val="0067B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Processing Engine</a:t>
            </a:r>
          </a:p>
        </p:txBody>
      </p:sp>
      <p:sp>
        <p:nvSpPr>
          <p:cNvPr id="218" name="Google Shape;61;p12">
            <a:extLst>
              <a:ext uri="{FF2B5EF4-FFF2-40B4-BE49-F238E27FC236}">
                <a16:creationId xmlns:a16="http://schemas.microsoft.com/office/drawing/2014/main" id="{1CAF0BE9-2708-7449-A1DA-33841DEC0FE1}"/>
              </a:ext>
            </a:extLst>
          </p:cNvPr>
          <p:cNvSpPr txBox="1">
            <a:spLocks/>
          </p:cNvSpPr>
          <p:nvPr/>
        </p:nvSpPr>
        <p:spPr>
          <a:xfrm>
            <a:off x="4354282" y="1857217"/>
            <a:ext cx="1052310" cy="275128"/>
          </a:xfrm>
          <a:prstGeom prst="rect">
            <a:avLst/>
          </a:prstGeom>
        </p:spPr>
        <p:txBody>
          <a:bodyPr spcFirstLastPara="1" vert="horz" wrap="square" lIns="91425" tIns="91425" rIns="91425" bIns="91425" rtlCol="0" anchor="ctr"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spcBef>
                <a:spcPts val="0"/>
              </a:spcBef>
            </a:pPr>
            <a:r>
              <a:rPr lang="en-US" sz="800" b="1" dirty="0">
                <a:solidFill>
                  <a:srgbClr val="0067B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Input-messages</a:t>
            </a:r>
          </a:p>
        </p:txBody>
      </p:sp>
      <p:grpSp>
        <p:nvGrpSpPr>
          <p:cNvPr id="219" name="Group 218">
            <a:extLst>
              <a:ext uri="{FF2B5EF4-FFF2-40B4-BE49-F238E27FC236}">
                <a16:creationId xmlns:a16="http://schemas.microsoft.com/office/drawing/2014/main" id="{2E792EA3-F139-6844-B3DA-035E74C56326}"/>
              </a:ext>
            </a:extLst>
          </p:cNvPr>
          <p:cNvGrpSpPr/>
          <p:nvPr/>
        </p:nvGrpSpPr>
        <p:grpSpPr>
          <a:xfrm>
            <a:off x="4083566" y="3847678"/>
            <a:ext cx="995356" cy="287217"/>
            <a:chOff x="3358207" y="2324964"/>
            <a:chExt cx="995356" cy="444303"/>
          </a:xfrm>
        </p:grpSpPr>
        <p:grpSp>
          <p:nvGrpSpPr>
            <p:cNvPr id="220" name="Group 219">
              <a:extLst>
                <a:ext uri="{FF2B5EF4-FFF2-40B4-BE49-F238E27FC236}">
                  <a16:creationId xmlns:a16="http://schemas.microsoft.com/office/drawing/2014/main" id="{8E46B9FA-F92E-AE45-8E09-DBA42395F2A5}"/>
                </a:ext>
              </a:extLst>
            </p:cNvPr>
            <p:cNvGrpSpPr/>
            <p:nvPr/>
          </p:nvGrpSpPr>
          <p:grpSpPr>
            <a:xfrm>
              <a:off x="3358207" y="2324964"/>
              <a:ext cx="995356" cy="444303"/>
              <a:chOff x="3219292" y="2335474"/>
              <a:chExt cx="995356" cy="444303"/>
            </a:xfrm>
          </p:grpSpPr>
          <p:sp>
            <p:nvSpPr>
              <p:cNvPr id="222" name="Rectangle 221">
                <a:extLst>
                  <a:ext uri="{FF2B5EF4-FFF2-40B4-BE49-F238E27FC236}">
                    <a16:creationId xmlns:a16="http://schemas.microsoft.com/office/drawing/2014/main" id="{FC5BBFCA-0F00-3646-8815-CA6BAE69C65F}"/>
                  </a:ext>
                </a:extLst>
              </p:cNvPr>
              <p:cNvSpPr/>
              <p:nvPr/>
            </p:nvSpPr>
            <p:spPr>
              <a:xfrm>
                <a:off x="3338854" y="2335474"/>
                <a:ext cx="748514" cy="444303"/>
              </a:xfrm>
              <a:prstGeom prst="rect">
                <a:avLst/>
              </a:prstGeom>
              <a:solidFill>
                <a:schemeClr val="bg1"/>
              </a:solidFill>
              <a:ln w="9525">
                <a:solidFill>
                  <a:srgbClr val="0067B7"/>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700" b="1" dirty="0">
                  <a:solidFill>
                    <a:srgbClr val="002D72"/>
                  </a:solidFill>
                  <a:latin typeface="+mj-lt"/>
                  <a:cs typeface="Arial" pitchFamily="34" charset="0"/>
                </a:endParaRPr>
              </a:p>
            </p:txBody>
          </p:sp>
          <p:cxnSp>
            <p:nvCxnSpPr>
              <p:cNvPr id="223" name="Straight Connector 222">
                <a:extLst>
                  <a:ext uri="{FF2B5EF4-FFF2-40B4-BE49-F238E27FC236}">
                    <a16:creationId xmlns:a16="http://schemas.microsoft.com/office/drawing/2014/main" id="{4A8A516C-CBA2-2046-A862-FB924DE1E109}"/>
                  </a:ext>
                </a:extLst>
              </p:cNvPr>
              <p:cNvCxnSpPr/>
              <p:nvPr/>
            </p:nvCxnSpPr>
            <p:spPr>
              <a:xfrm>
                <a:off x="3338854" y="2335474"/>
                <a:ext cx="875794" cy="0"/>
              </a:xfrm>
              <a:prstGeom prst="line">
                <a:avLst/>
              </a:prstGeom>
              <a:ln>
                <a:solidFill>
                  <a:srgbClr val="0067B7"/>
                </a:solidFill>
              </a:ln>
            </p:spPr>
            <p:style>
              <a:lnRef idx="1">
                <a:schemeClr val="accent1"/>
              </a:lnRef>
              <a:fillRef idx="0">
                <a:schemeClr val="accent1"/>
              </a:fillRef>
              <a:effectRef idx="0">
                <a:schemeClr val="accent1"/>
              </a:effectRef>
              <a:fontRef idx="minor">
                <a:schemeClr val="tx1"/>
              </a:fontRef>
            </p:style>
          </p:cxnSp>
          <p:cxnSp>
            <p:nvCxnSpPr>
              <p:cNvPr id="224" name="Straight Connector 223">
                <a:extLst>
                  <a:ext uri="{FF2B5EF4-FFF2-40B4-BE49-F238E27FC236}">
                    <a16:creationId xmlns:a16="http://schemas.microsoft.com/office/drawing/2014/main" id="{88CFBE11-698E-554D-8294-DCE27AA9082F}"/>
                  </a:ext>
                </a:extLst>
              </p:cNvPr>
              <p:cNvCxnSpPr/>
              <p:nvPr/>
            </p:nvCxnSpPr>
            <p:spPr>
              <a:xfrm>
                <a:off x="3219292" y="2771060"/>
                <a:ext cx="875794" cy="0"/>
              </a:xfrm>
              <a:prstGeom prst="line">
                <a:avLst/>
              </a:prstGeom>
              <a:ln>
                <a:solidFill>
                  <a:srgbClr val="0067B7"/>
                </a:solidFill>
              </a:ln>
            </p:spPr>
            <p:style>
              <a:lnRef idx="1">
                <a:schemeClr val="accent1"/>
              </a:lnRef>
              <a:fillRef idx="0">
                <a:schemeClr val="accent1"/>
              </a:fillRef>
              <a:effectRef idx="0">
                <a:schemeClr val="accent1"/>
              </a:effectRef>
              <a:fontRef idx="minor">
                <a:schemeClr val="tx1"/>
              </a:fontRef>
            </p:style>
          </p:cxnSp>
        </p:grpSp>
        <p:sp>
          <p:nvSpPr>
            <p:cNvPr id="221" name="Google Shape;61;p12">
              <a:extLst>
                <a:ext uri="{FF2B5EF4-FFF2-40B4-BE49-F238E27FC236}">
                  <a16:creationId xmlns:a16="http://schemas.microsoft.com/office/drawing/2014/main" id="{D2DC3234-9A1E-FE4F-B871-7032739321AE}"/>
                </a:ext>
              </a:extLst>
            </p:cNvPr>
            <p:cNvSpPr txBox="1">
              <a:spLocks/>
            </p:cNvSpPr>
            <p:nvPr/>
          </p:nvSpPr>
          <p:spPr>
            <a:xfrm>
              <a:off x="3502783" y="2398372"/>
              <a:ext cx="691955" cy="323541"/>
            </a:xfrm>
            <a:prstGeom prst="rect">
              <a:avLst/>
            </a:prstGeom>
          </p:spPr>
          <p:txBody>
            <a:bodyPr spcFirstLastPara="1" vert="horz" wrap="square" lIns="91425" tIns="91425" rIns="91425" bIns="91425" rtlCol="0" anchor="ctr"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spcBef>
                  <a:spcPts val="0"/>
                </a:spcBef>
              </a:pPr>
              <a:r>
                <a:rPr lang="en-US" sz="800" b="1" dirty="0">
                  <a:solidFill>
                    <a:srgbClr val="0067B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Validation</a:t>
              </a:r>
            </a:p>
          </p:txBody>
        </p:sp>
      </p:grpSp>
      <p:grpSp>
        <p:nvGrpSpPr>
          <p:cNvPr id="225" name="Group 224">
            <a:extLst>
              <a:ext uri="{FF2B5EF4-FFF2-40B4-BE49-F238E27FC236}">
                <a16:creationId xmlns:a16="http://schemas.microsoft.com/office/drawing/2014/main" id="{AD3259FE-AAE8-204E-96C4-9A947EF96ABD}"/>
              </a:ext>
            </a:extLst>
          </p:cNvPr>
          <p:cNvGrpSpPr/>
          <p:nvPr/>
        </p:nvGrpSpPr>
        <p:grpSpPr>
          <a:xfrm>
            <a:off x="5524035" y="3842762"/>
            <a:ext cx="995356" cy="292601"/>
            <a:chOff x="3358207" y="2324964"/>
            <a:chExt cx="995356" cy="452632"/>
          </a:xfrm>
        </p:grpSpPr>
        <p:grpSp>
          <p:nvGrpSpPr>
            <p:cNvPr id="226" name="Group 225">
              <a:extLst>
                <a:ext uri="{FF2B5EF4-FFF2-40B4-BE49-F238E27FC236}">
                  <a16:creationId xmlns:a16="http://schemas.microsoft.com/office/drawing/2014/main" id="{7634BAF7-AB91-AB40-8A24-1FD5A7D0F788}"/>
                </a:ext>
              </a:extLst>
            </p:cNvPr>
            <p:cNvGrpSpPr/>
            <p:nvPr/>
          </p:nvGrpSpPr>
          <p:grpSpPr>
            <a:xfrm>
              <a:off x="3358207" y="2324964"/>
              <a:ext cx="995356" cy="452632"/>
              <a:chOff x="3219292" y="2335474"/>
              <a:chExt cx="995356" cy="452632"/>
            </a:xfrm>
          </p:grpSpPr>
          <p:sp>
            <p:nvSpPr>
              <p:cNvPr id="228" name="Rectangle 227">
                <a:extLst>
                  <a:ext uri="{FF2B5EF4-FFF2-40B4-BE49-F238E27FC236}">
                    <a16:creationId xmlns:a16="http://schemas.microsoft.com/office/drawing/2014/main" id="{B1012F13-71A1-BB49-946D-12AEEA3D3237}"/>
                  </a:ext>
                </a:extLst>
              </p:cNvPr>
              <p:cNvSpPr/>
              <p:nvPr/>
            </p:nvSpPr>
            <p:spPr>
              <a:xfrm>
                <a:off x="3338854" y="2335474"/>
                <a:ext cx="748514" cy="444303"/>
              </a:xfrm>
              <a:prstGeom prst="rect">
                <a:avLst/>
              </a:prstGeom>
              <a:solidFill>
                <a:schemeClr val="bg1"/>
              </a:solidFill>
              <a:ln w="9525">
                <a:solidFill>
                  <a:srgbClr val="0067B7"/>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700" b="1" dirty="0">
                  <a:solidFill>
                    <a:srgbClr val="002D72"/>
                  </a:solidFill>
                  <a:latin typeface="+mj-lt"/>
                  <a:cs typeface="Arial" pitchFamily="34" charset="0"/>
                </a:endParaRPr>
              </a:p>
            </p:txBody>
          </p:sp>
          <p:cxnSp>
            <p:nvCxnSpPr>
              <p:cNvPr id="229" name="Straight Connector 228">
                <a:extLst>
                  <a:ext uri="{FF2B5EF4-FFF2-40B4-BE49-F238E27FC236}">
                    <a16:creationId xmlns:a16="http://schemas.microsoft.com/office/drawing/2014/main" id="{F6D85FA0-CF3F-8848-B981-6E3C42E0363D}"/>
                  </a:ext>
                </a:extLst>
              </p:cNvPr>
              <p:cNvCxnSpPr/>
              <p:nvPr/>
            </p:nvCxnSpPr>
            <p:spPr>
              <a:xfrm>
                <a:off x="3338854" y="2335474"/>
                <a:ext cx="875794" cy="0"/>
              </a:xfrm>
              <a:prstGeom prst="line">
                <a:avLst/>
              </a:prstGeom>
              <a:ln>
                <a:solidFill>
                  <a:srgbClr val="0067B7"/>
                </a:solidFill>
              </a:ln>
            </p:spPr>
            <p:style>
              <a:lnRef idx="1">
                <a:schemeClr val="accent1"/>
              </a:lnRef>
              <a:fillRef idx="0">
                <a:schemeClr val="accent1"/>
              </a:fillRef>
              <a:effectRef idx="0">
                <a:schemeClr val="accent1"/>
              </a:effectRef>
              <a:fontRef idx="minor">
                <a:schemeClr val="tx1"/>
              </a:fontRef>
            </p:style>
          </p:cxnSp>
          <p:cxnSp>
            <p:nvCxnSpPr>
              <p:cNvPr id="230" name="Straight Connector 229">
                <a:extLst>
                  <a:ext uri="{FF2B5EF4-FFF2-40B4-BE49-F238E27FC236}">
                    <a16:creationId xmlns:a16="http://schemas.microsoft.com/office/drawing/2014/main" id="{152E02DB-8617-B647-BE46-B459C293130A}"/>
                  </a:ext>
                </a:extLst>
              </p:cNvPr>
              <p:cNvCxnSpPr/>
              <p:nvPr/>
            </p:nvCxnSpPr>
            <p:spPr>
              <a:xfrm>
                <a:off x="3219292" y="2788106"/>
                <a:ext cx="875794" cy="0"/>
              </a:xfrm>
              <a:prstGeom prst="line">
                <a:avLst/>
              </a:prstGeom>
              <a:ln>
                <a:solidFill>
                  <a:srgbClr val="0067B7"/>
                </a:solidFill>
              </a:ln>
            </p:spPr>
            <p:style>
              <a:lnRef idx="1">
                <a:schemeClr val="accent1"/>
              </a:lnRef>
              <a:fillRef idx="0">
                <a:schemeClr val="accent1"/>
              </a:fillRef>
              <a:effectRef idx="0">
                <a:schemeClr val="accent1"/>
              </a:effectRef>
              <a:fontRef idx="minor">
                <a:schemeClr val="tx1"/>
              </a:fontRef>
            </p:style>
          </p:cxnSp>
        </p:grpSp>
        <p:sp>
          <p:nvSpPr>
            <p:cNvPr id="227" name="Google Shape;61;p12">
              <a:extLst>
                <a:ext uri="{FF2B5EF4-FFF2-40B4-BE49-F238E27FC236}">
                  <a16:creationId xmlns:a16="http://schemas.microsoft.com/office/drawing/2014/main" id="{7F8A3BB9-AA26-5F40-80A7-6F1BAA784F26}"/>
                </a:ext>
              </a:extLst>
            </p:cNvPr>
            <p:cNvSpPr txBox="1">
              <a:spLocks/>
            </p:cNvSpPr>
            <p:nvPr/>
          </p:nvSpPr>
          <p:spPr>
            <a:xfrm>
              <a:off x="3479009" y="2430520"/>
              <a:ext cx="748513" cy="298939"/>
            </a:xfrm>
            <a:prstGeom prst="rect">
              <a:avLst/>
            </a:prstGeom>
          </p:spPr>
          <p:txBody>
            <a:bodyPr spcFirstLastPara="1" vert="horz" wrap="square" lIns="91425" tIns="91425" rIns="91425" bIns="91425" rtlCol="0" anchor="ctr"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spcBef>
                  <a:spcPts val="0"/>
                </a:spcBef>
              </a:pPr>
              <a:r>
                <a:rPr lang="en-US" sz="800" b="1" dirty="0">
                  <a:solidFill>
                    <a:srgbClr val="0067B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Enrichment</a:t>
              </a:r>
            </a:p>
          </p:txBody>
        </p:sp>
      </p:grpSp>
      <p:grpSp>
        <p:nvGrpSpPr>
          <p:cNvPr id="232" name="Group 231">
            <a:extLst>
              <a:ext uri="{FF2B5EF4-FFF2-40B4-BE49-F238E27FC236}">
                <a16:creationId xmlns:a16="http://schemas.microsoft.com/office/drawing/2014/main" id="{F9240B6E-D81A-6040-858A-C26C2E164471}"/>
              </a:ext>
            </a:extLst>
          </p:cNvPr>
          <p:cNvGrpSpPr/>
          <p:nvPr/>
        </p:nvGrpSpPr>
        <p:grpSpPr>
          <a:xfrm>
            <a:off x="6861029" y="3842968"/>
            <a:ext cx="995356" cy="292601"/>
            <a:chOff x="3358207" y="2324964"/>
            <a:chExt cx="995356" cy="452632"/>
          </a:xfrm>
        </p:grpSpPr>
        <p:grpSp>
          <p:nvGrpSpPr>
            <p:cNvPr id="233" name="Group 232">
              <a:extLst>
                <a:ext uri="{FF2B5EF4-FFF2-40B4-BE49-F238E27FC236}">
                  <a16:creationId xmlns:a16="http://schemas.microsoft.com/office/drawing/2014/main" id="{4A871F36-ED3B-4644-B341-4D81FD1EDCDD}"/>
                </a:ext>
              </a:extLst>
            </p:cNvPr>
            <p:cNvGrpSpPr/>
            <p:nvPr/>
          </p:nvGrpSpPr>
          <p:grpSpPr>
            <a:xfrm>
              <a:off x="3358207" y="2324964"/>
              <a:ext cx="995356" cy="452632"/>
              <a:chOff x="3219292" y="2335474"/>
              <a:chExt cx="995356" cy="452632"/>
            </a:xfrm>
          </p:grpSpPr>
          <p:sp>
            <p:nvSpPr>
              <p:cNvPr id="235" name="Rectangle 234">
                <a:extLst>
                  <a:ext uri="{FF2B5EF4-FFF2-40B4-BE49-F238E27FC236}">
                    <a16:creationId xmlns:a16="http://schemas.microsoft.com/office/drawing/2014/main" id="{495DEE47-6AF9-FD45-B7AA-595BEE023FBD}"/>
                  </a:ext>
                </a:extLst>
              </p:cNvPr>
              <p:cNvSpPr/>
              <p:nvPr/>
            </p:nvSpPr>
            <p:spPr>
              <a:xfrm>
                <a:off x="3338854" y="2335474"/>
                <a:ext cx="748514" cy="444303"/>
              </a:xfrm>
              <a:prstGeom prst="rect">
                <a:avLst/>
              </a:prstGeom>
              <a:solidFill>
                <a:schemeClr val="bg1"/>
              </a:solidFill>
              <a:ln w="9525">
                <a:solidFill>
                  <a:srgbClr val="0067B7"/>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700" b="1" dirty="0">
                  <a:solidFill>
                    <a:srgbClr val="002D72"/>
                  </a:solidFill>
                  <a:latin typeface="+mj-lt"/>
                  <a:cs typeface="Arial" pitchFamily="34" charset="0"/>
                </a:endParaRPr>
              </a:p>
            </p:txBody>
          </p:sp>
          <p:cxnSp>
            <p:nvCxnSpPr>
              <p:cNvPr id="236" name="Straight Connector 235">
                <a:extLst>
                  <a:ext uri="{FF2B5EF4-FFF2-40B4-BE49-F238E27FC236}">
                    <a16:creationId xmlns:a16="http://schemas.microsoft.com/office/drawing/2014/main" id="{D617C80A-11A9-BA40-9F6F-1458485D2D0B}"/>
                  </a:ext>
                </a:extLst>
              </p:cNvPr>
              <p:cNvCxnSpPr/>
              <p:nvPr/>
            </p:nvCxnSpPr>
            <p:spPr>
              <a:xfrm>
                <a:off x="3338854" y="2335474"/>
                <a:ext cx="875794" cy="0"/>
              </a:xfrm>
              <a:prstGeom prst="line">
                <a:avLst/>
              </a:prstGeom>
              <a:ln>
                <a:solidFill>
                  <a:srgbClr val="0067B7"/>
                </a:solidFill>
              </a:ln>
            </p:spPr>
            <p:style>
              <a:lnRef idx="1">
                <a:schemeClr val="accent1"/>
              </a:lnRef>
              <a:fillRef idx="0">
                <a:schemeClr val="accent1"/>
              </a:fillRef>
              <a:effectRef idx="0">
                <a:schemeClr val="accent1"/>
              </a:effectRef>
              <a:fontRef idx="minor">
                <a:schemeClr val="tx1"/>
              </a:fontRef>
            </p:style>
          </p:cxnSp>
          <p:cxnSp>
            <p:nvCxnSpPr>
              <p:cNvPr id="237" name="Straight Connector 236">
                <a:extLst>
                  <a:ext uri="{FF2B5EF4-FFF2-40B4-BE49-F238E27FC236}">
                    <a16:creationId xmlns:a16="http://schemas.microsoft.com/office/drawing/2014/main" id="{BC2F0F73-C6B1-F449-83F1-4B4F2E980748}"/>
                  </a:ext>
                </a:extLst>
              </p:cNvPr>
              <p:cNvCxnSpPr/>
              <p:nvPr/>
            </p:nvCxnSpPr>
            <p:spPr>
              <a:xfrm>
                <a:off x="3219292" y="2788106"/>
                <a:ext cx="875794" cy="0"/>
              </a:xfrm>
              <a:prstGeom prst="line">
                <a:avLst/>
              </a:prstGeom>
              <a:ln>
                <a:solidFill>
                  <a:srgbClr val="0067B7"/>
                </a:solidFill>
              </a:ln>
            </p:spPr>
            <p:style>
              <a:lnRef idx="1">
                <a:schemeClr val="accent1"/>
              </a:lnRef>
              <a:fillRef idx="0">
                <a:schemeClr val="accent1"/>
              </a:fillRef>
              <a:effectRef idx="0">
                <a:schemeClr val="accent1"/>
              </a:effectRef>
              <a:fontRef idx="minor">
                <a:schemeClr val="tx1"/>
              </a:fontRef>
            </p:style>
          </p:cxnSp>
        </p:grpSp>
        <p:sp>
          <p:nvSpPr>
            <p:cNvPr id="234" name="Google Shape;61;p12">
              <a:extLst>
                <a:ext uri="{FF2B5EF4-FFF2-40B4-BE49-F238E27FC236}">
                  <a16:creationId xmlns:a16="http://schemas.microsoft.com/office/drawing/2014/main" id="{F966BF89-8DB2-A04B-93D4-080546D6525D}"/>
                </a:ext>
              </a:extLst>
            </p:cNvPr>
            <p:cNvSpPr txBox="1">
              <a:spLocks/>
            </p:cNvSpPr>
            <p:nvPr/>
          </p:nvSpPr>
          <p:spPr>
            <a:xfrm>
              <a:off x="3479009" y="2430520"/>
              <a:ext cx="748513" cy="298939"/>
            </a:xfrm>
            <a:prstGeom prst="rect">
              <a:avLst/>
            </a:prstGeom>
          </p:spPr>
          <p:txBody>
            <a:bodyPr spcFirstLastPara="1" vert="horz" wrap="square" lIns="91425" tIns="91425" rIns="91425" bIns="91425" rtlCol="0" anchor="ctr"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spcBef>
                  <a:spcPts val="0"/>
                </a:spcBef>
              </a:pPr>
              <a:r>
                <a:rPr lang="en-US" sz="800" b="1" dirty="0">
                  <a:solidFill>
                    <a:srgbClr val="0067B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WRITE</a:t>
              </a:r>
            </a:p>
          </p:txBody>
        </p:sp>
      </p:grpSp>
      <p:grpSp>
        <p:nvGrpSpPr>
          <p:cNvPr id="238" name="Group 237">
            <a:extLst>
              <a:ext uri="{FF2B5EF4-FFF2-40B4-BE49-F238E27FC236}">
                <a16:creationId xmlns:a16="http://schemas.microsoft.com/office/drawing/2014/main" id="{4ECDBAF6-E794-9C4A-9E80-7455506A1AC2}"/>
              </a:ext>
            </a:extLst>
          </p:cNvPr>
          <p:cNvGrpSpPr/>
          <p:nvPr/>
        </p:nvGrpSpPr>
        <p:grpSpPr>
          <a:xfrm>
            <a:off x="2763147" y="3848095"/>
            <a:ext cx="995356" cy="287217"/>
            <a:chOff x="3358207" y="2324964"/>
            <a:chExt cx="995356" cy="444303"/>
          </a:xfrm>
        </p:grpSpPr>
        <p:grpSp>
          <p:nvGrpSpPr>
            <p:cNvPr id="239" name="Group 238">
              <a:extLst>
                <a:ext uri="{FF2B5EF4-FFF2-40B4-BE49-F238E27FC236}">
                  <a16:creationId xmlns:a16="http://schemas.microsoft.com/office/drawing/2014/main" id="{933065F1-E7DE-554A-ACDA-717451F72824}"/>
                </a:ext>
              </a:extLst>
            </p:cNvPr>
            <p:cNvGrpSpPr/>
            <p:nvPr/>
          </p:nvGrpSpPr>
          <p:grpSpPr>
            <a:xfrm>
              <a:off x="3358207" y="2324964"/>
              <a:ext cx="995356" cy="444303"/>
              <a:chOff x="3219292" y="2335474"/>
              <a:chExt cx="995356" cy="444303"/>
            </a:xfrm>
          </p:grpSpPr>
          <p:sp>
            <p:nvSpPr>
              <p:cNvPr id="241" name="Rectangle 240">
                <a:extLst>
                  <a:ext uri="{FF2B5EF4-FFF2-40B4-BE49-F238E27FC236}">
                    <a16:creationId xmlns:a16="http://schemas.microsoft.com/office/drawing/2014/main" id="{6F7062F3-664A-654A-86D3-D823D2AC9149}"/>
                  </a:ext>
                </a:extLst>
              </p:cNvPr>
              <p:cNvSpPr/>
              <p:nvPr/>
            </p:nvSpPr>
            <p:spPr>
              <a:xfrm>
                <a:off x="3338854" y="2335474"/>
                <a:ext cx="748514" cy="444303"/>
              </a:xfrm>
              <a:prstGeom prst="rect">
                <a:avLst/>
              </a:prstGeom>
              <a:solidFill>
                <a:schemeClr val="bg1"/>
              </a:solidFill>
              <a:ln w="9525">
                <a:solidFill>
                  <a:srgbClr val="0067B7"/>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700" b="1" dirty="0">
                  <a:solidFill>
                    <a:srgbClr val="002D72"/>
                  </a:solidFill>
                  <a:latin typeface="+mj-lt"/>
                  <a:cs typeface="Arial" pitchFamily="34" charset="0"/>
                </a:endParaRPr>
              </a:p>
            </p:txBody>
          </p:sp>
          <p:cxnSp>
            <p:nvCxnSpPr>
              <p:cNvPr id="242" name="Straight Connector 241">
                <a:extLst>
                  <a:ext uri="{FF2B5EF4-FFF2-40B4-BE49-F238E27FC236}">
                    <a16:creationId xmlns:a16="http://schemas.microsoft.com/office/drawing/2014/main" id="{29A0545F-06AB-5D4A-BA3F-460B7E2318DB}"/>
                  </a:ext>
                </a:extLst>
              </p:cNvPr>
              <p:cNvCxnSpPr/>
              <p:nvPr/>
            </p:nvCxnSpPr>
            <p:spPr>
              <a:xfrm>
                <a:off x="3338854" y="2335474"/>
                <a:ext cx="875794" cy="0"/>
              </a:xfrm>
              <a:prstGeom prst="line">
                <a:avLst/>
              </a:prstGeom>
              <a:ln>
                <a:solidFill>
                  <a:srgbClr val="0067B7"/>
                </a:solidFill>
              </a:ln>
            </p:spPr>
            <p:style>
              <a:lnRef idx="1">
                <a:schemeClr val="accent1"/>
              </a:lnRef>
              <a:fillRef idx="0">
                <a:schemeClr val="accent1"/>
              </a:fillRef>
              <a:effectRef idx="0">
                <a:schemeClr val="accent1"/>
              </a:effectRef>
              <a:fontRef idx="minor">
                <a:schemeClr val="tx1"/>
              </a:fontRef>
            </p:style>
          </p:cxnSp>
          <p:cxnSp>
            <p:nvCxnSpPr>
              <p:cNvPr id="243" name="Straight Connector 242">
                <a:extLst>
                  <a:ext uri="{FF2B5EF4-FFF2-40B4-BE49-F238E27FC236}">
                    <a16:creationId xmlns:a16="http://schemas.microsoft.com/office/drawing/2014/main" id="{CD179EDD-F44B-7D41-AE3E-59EB3CEBCDC3}"/>
                  </a:ext>
                </a:extLst>
              </p:cNvPr>
              <p:cNvCxnSpPr/>
              <p:nvPr/>
            </p:nvCxnSpPr>
            <p:spPr>
              <a:xfrm>
                <a:off x="3219292" y="2772318"/>
                <a:ext cx="875794" cy="0"/>
              </a:xfrm>
              <a:prstGeom prst="line">
                <a:avLst/>
              </a:prstGeom>
              <a:ln>
                <a:solidFill>
                  <a:srgbClr val="0067B7"/>
                </a:solidFill>
              </a:ln>
            </p:spPr>
            <p:style>
              <a:lnRef idx="1">
                <a:schemeClr val="accent1"/>
              </a:lnRef>
              <a:fillRef idx="0">
                <a:schemeClr val="accent1"/>
              </a:fillRef>
              <a:effectRef idx="0">
                <a:schemeClr val="accent1"/>
              </a:effectRef>
              <a:fontRef idx="minor">
                <a:schemeClr val="tx1"/>
              </a:fontRef>
            </p:style>
          </p:cxnSp>
        </p:grpSp>
        <p:sp>
          <p:nvSpPr>
            <p:cNvPr id="240" name="Google Shape;61;p12">
              <a:extLst>
                <a:ext uri="{FF2B5EF4-FFF2-40B4-BE49-F238E27FC236}">
                  <a16:creationId xmlns:a16="http://schemas.microsoft.com/office/drawing/2014/main" id="{F8329D31-9AAF-064B-9558-B5D867361B2B}"/>
                </a:ext>
              </a:extLst>
            </p:cNvPr>
            <p:cNvSpPr txBox="1">
              <a:spLocks/>
            </p:cNvSpPr>
            <p:nvPr/>
          </p:nvSpPr>
          <p:spPr>
            <a:xfrm>
              <a:off x="3479009" y="2414446"/>
              <a:ext cx="748513" cy="298939"/>
            </a:xfrm>
            <a:prstGeom prst="rect">
              <a:avLst/>
            </a:prstGeom>
          </p:spPr>
          <p:txBody>
            <a:bodyPr spcFirstLastPara="1" vert="horz" wrap="square" lIns="91425" tIns="91425" rIns="91425" bIns="91425" rtlCol="0" anchor="ctr"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spcBef>
                  <a:spcPts val="0"/>
                </a:spcBef>
              </a:pPr>
              <a:r>
                <a:rPr lang="en-US" sz="800" b="1" dirty="0">
                  <a:solidFill>
                    <a:srgbClr val="0067B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READ</a:t>
              </a:r>
            </a:p>
          </p:txBody>
        </p:sp>
      </p:grpSp>
      <p:grpSp>
        <p:nvGrpSpPr>
          <p:cNvPr id="244" name="Group 243">
            <a:extLst>
              <a:ext uri="{FF2B5EF4-FFF2-40B4-BE49-F238E27FC236}">
                <a16:creationId xmlns:a16="http://schemas.microsoft.com/office/drawing/2014/main" id="{D8719F4B-2191-8044-B55E-D5F2338C5FA5}"/>
              </a:ext>
            </a:extLst>
          </p:cNvPr>
          <p:cNvGrpSpPr/>
          <p:nvPr/>
        </p:nvGrpSpPr>
        <p:grpSpPr>
          <a:xfrm>
            <a:off x="4076441" y="4872053"/>
            <a:ext cx="995356" cy="287217"/>
            <a:chOff x="3358207" y="2324964"/>
            <a:chExt cx="995356" cy="444303"/>
          </a:xfrm>
        </p:grpSpPr>
        <p:grpSp>
          <p:nvGrpSpPr>
            <p:cNvPr id="245" name="Group 244">
              <a:extLst>
                <a:ext uri="{FF2B5EF4-FFF2-40B4-BE49-F238E27FC236}">
                  <a16:creationId xmlns:a16="http://schemas.microsoft.com/office/drawing/2014/main" id="{4D973911-BE25-6B49-A8AC-0D9E6B3A433A}"/>
                </a:ext>
              </a:extLst>
            </p:cNvPr>
            <p:cNvGrpSpPr/>
            <p:nvPr/>
          </p:nvGrpSpPr>
          <p:grpSpPr>
            <a:xfrm>
              <a:off x="3358207" y="2324964"/>
              <a:ext cx="995356" cy="444303"/>
              <a:chOff x="3219292" y="2335474"/>
              <a:chExt cx="995356" cy="444303"/>
            </a:xfrm>
          </p:grpSpPr>
          <p:sp>
            <p:nvSpPr>
              <p:cNvPr id="247" name="Rectangle 246">
                <a:extLst>
                  <a:ext uri="{FF2B5EF4-FFF2-40B4-BE49-F238E27FC236}">
                    <a16:creationId xmlns:a16="http://schemas.microsoft.com/office/drawing/2014/main" id="{F2FAA908-D63B-794D-B7FC-27354F1ACEEB}"/>
                  </a:ext>
                </a:extLst>
              </p:cNvPr>
              <p:cNvSpPr/>
              <p:nvPr/>
            </p:nvSpPr>
            <p:spPr>
              <a:xfrm>
                <a:off x="3338854" y="2335474"/>
                <a:ext cx="748514" cy="444303"/>
              </a:xfrm>
              <a:prstGeom prst="rect">
                <a:avLst/>
              </a:prstGeom>
              <a:solidFill>
                <a:schemeClr val="bg1"/>
              </a:solidFill>
              <a:ln w="9525">
                <a:solidFill>
                  <a:srgbClr val="0067B7"/>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700" b="1" dirty="0">
                  <a:solidFill>
                    <a:srgbClr val="002D72"/>
                  </a:solidFill>
                  <a:latin typeface="+mj-lt"/>
                  <a:cs typeface="Arial" pitchFamily="34" charset="0"/>
                </a:endParaRPr>
              </a:p>
            </p:txBody>
          </p:sp>
          <p:cxnSp>
            <p:nvCxnSpPr>
              <p:cNvPr id="248" name="Straight Connector 247">
                <a:extLst>
                  <a:ext uri="{FF2B5EF4-FFF2-40B4-BE49-F238E27FC236}">
                    <a16:creationId xmlns:a16="http://schemas.microsoft.com/office/drawing/2014/main" id="{53576E6E-4D3C-B043-AF37-E1DF23176C91}"/>
                  </a:ext>
                </a:extLst>
              </p:cNvPr>
              <p:cNvCxnSpPr/>
              <p:nvPr/>
            </p:nvCxnSpPr>
            <p:spPr>
              <a:xfrm>
                <a:off x="3338854" y="2335474"/>
                <a:ext cx="875794" cy="0"/>
              </a:xfrm>
              <a:prstGeom prst="line">
                <a:avLst/>
              </a:prstGeom>
              <a:ln>
                <a:solidFill>
                  <a:srgbClr val="0067B7"/>
                </a:solidFill>
              </a:ln>
            </p:spPr>
            <p:style>
              <a:lnRef idx="1">
                <a:schemeClr val="accent1"/>
              </a:lnRef>
              <a:fillRef idx="0">
                <a:schemeClr val="accent1"/>
              </a:fillRef>
              <a:effectRef idx="0">
                <a:schemeClr val="accent1"/>
              </a:effectRef>
              <a:fontRef idx="minor">
                <a:schemeClr val="tx1"/>
              </a:fontRef>
            </p:style>
          </p:cxnSp>
          <p:cxnSp>
            <p:nvCxnSpPr>
              <p:cNvPr id="249" name="Straight Connector 248">
                <a:extLst>
                  <a:ext uri="{FF2B5EF4-FFF2-40B4-BE49-F238E27FC236}">
                    <a16:creationId xmlns:a16="http://schemas.microsoft.com/office/drawing/2014/main" id="{43085D74-9B32-594A-92F7-C1CA6FE14692}"/>
                  </a:ext>
                </a:extLst>
              </p:cNvPr>
              <p:cNvCxnSpPr/>
              <p:nvPr/>
            </p:nvCxnSpPr>
            <p:spPr>
              <a:xfrm>
                <a:off x="3219292" y="2776174"/>
                <a:ext cx="875794" cy="0"/>
              </a:xfrm>
              <a:prstGeom prst="line">
                <a:avLst/>
              </a:prstGeom>
              <a:ln>
                <a:solidFill>
                  <a:srgbClr val="0067B7"/>
                </a:solidFill>
              </a:ln>
            </p:spPr>
            <p:style>
              <a:lnRef idx="1">
                <a:schemeClr val="accent1"/>
              </a:lnRef>
              <a:fillRef idx="0">
                <a:schemeClr val="accent1"/>
              </a:fillRef>
              <a:effectRef idx="0">
                <a:schemeClr val="accent1"/>
              </a:effectRef>
              <a:fontRef idx="minor">
                <a:schemeClr val="tx1"/>
              </a:fontRef>
            </p:style>
          </p:cxnSp>
        </p:grpSp>
        <p:sp>
          <p:nvSpPr>
            <p:cNvPr id="246" name="Google Shape;61;p12">
              <a:extLst>
                <a:ext uri="{FF2B5EF4-FFF2-40B4-BE49-F238E27FC236}">
                  <a16:creationId xmlns:a16="http://schemas.microsoft.com/office/drawing/2014/main" id="{B323D1C5-55B5-3242-82EE-6963D7CB176D}"/>
                </a:ext>
              </a:extLst>
            </p:cNvPr>
            <p:cNvSpPr txBox="1">
              <a:spLocks/>
            </p:cNvSpPr>
            <p:nvPr/>
          </p:nvSpPr>
          <p:spPr>
            <a:xfrm>
              <a:off x="3479009" y="2430520"/>
              <a:ext cx="748513" cy="298939"/>
            </a:xfrm>
            <a:prstGeom prst="rect">
              <a:avLst/>
            </a:prstGeom>
          </p:spPr>
          <p:txBody>
            <a:bodyPr spcFirstLastPara="1" vert="horz" wrap="square" lIns="91425" tIns="91425" rIns="91425" bIns="91425" rtlCol="0" anchor="ctr"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spcBef>
                  <a:spcPts val="0"/>
                </a:spcBef>
              </a:pPr>
              <a:r>
                <a:rPr lang="en-US" sz="1000" b="1" dirty="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WRITE</a:t>
              </a:r>
            </a:p>
          </p:txBody>
        </p:sp>
      </p:grpSp>
      <p:sp>
        <p:nvSpPr>
          <p:cNvPr id="250" name="Rounded Rectangle 249">
            <a:extLst>
              <a:ext uri="{FF2B5EF4-FFF2-40B4-BE49-F238E27FC236}">
                <a16:creationId xmlns:a16="http://schemas.microsoft.com/office/drawing/2014/main" id="{5C6BD0ED-FD94-6B4F-A012-430939F38C7A}"/>
              </a:ext>
            </a:extLst>
          </p:cNvPr>
          <p:cNvSpPr/>
          <p:nvPr/>
        </p:nvSpPr>
        <p:spPr>
          <a:xfrm>
            <a:off x="3908709" y="2129968"/>
            <a:ext cx="328329" cy="302721"/>
          </a:xfrm>
          <a:prstGeom prst="roundRect">
            <a:avLst/>
          </a:prstGeom>
          <a:solidFill>
            <a:schemeClr val="bg1"/>
          </a:solidFill>
          <a:ln w="12700">
            <a:solidFill>
              <a:srgbClr val="00B050">
                <a:alpha val="3900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dirty="0">
                <a:solidFill>
                  <a:schemeClr val="tx1"/>
                </a:solidFill>
                <a:latin typeface="Comic Sans MS" panose="030F0902030302020204" pitchFamily="66" charset="0"/>
                <a:ea typeface="Nanum Pen Script" panose="03040600000000000000" pitchFamily="66" charset="-127"/>
              </a:rPr>
              <a:t>r1</a:t>
            </a:r>
          </a:p>
        </p:txBody>
      </p:sp>
      <p:sp>
        <p:nvSpPr>
          <p:cNvPr id="251" name="Rounded Rectangle 250">
            <a:extLst>
              <a:ext uri="{FF2B5EF4-FFF2-40B4-BE49-F238E27FC236}">
                <a16:creationId xmlns:a16="http://schemas.microsoft.com/office/drawing/2014/main" id="{AAA82388-C888-E641-8565-7DF1BB63DC8D}"/>
              </a:ext>
            </a:extLst>
          </p:cNvPr>
          <p:cNvSpPr/>
          <p:nvPr/>
        </p:nvSpPr>
        <p:spPr>
          <a:xfrm>
            <a:off x="4233773" y="2129969"/>
            <a:ext cx="328329" cy="308928"/>
          </a:xfrm>
          <a:prstGeom prst="roundRect">
            <a:avLst/>
          </a:prstGeom>
          <a:solidFill>
            <a:schemeClr val="bg1"/>
          </a:solidFill>
          <a:ln w="12700">
            <a:solidFill>
              <a:srgbClr val="00B050">
                <a:alpha val="3900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dirty="0">
                <a:solidFill>
                  <a:schemeClr val="tx1"/>
                </a:solidFill>
                <a:latin typeface="Comic Sans MS" panose="030F0902030302020204" pitchFamily="66" charset="0"/>
                <a:ea typeface="Nanum Pen Script" panose="03040600000000000000" pitchFamily="66" charset="-127"/>
              </a:rPr>
              <a:t>r2</a:t>
            </a:r>
          </a:p>
        </p:txBody>
      </p:sp>
      <p:sp>
        <p:nvSpPr>
          <p:cNvPr id="252" name="Rounded Rectangle 251">
            <a:extLst>
              <a:ext uri="{FF2B5EF4-FFF2-40B4-BE49-F238E27FC236}">
                <a16:creationId xmlns:a16="http://schemas.microsoft.com/office/drawing/2014/main" id="{17920849-A52B-8C48-B61C-AE072B76E8C6}"/>
              </a:ext>
            </a:extLst>
          </p:cNvPr>
          <p:cNvSpPr/>
          <p:nvPr/>
        </p:nvSpPr>
        <p:spPr>
          <a:xfrm>
            <a:off x="4558837" y="2135723"/>
            <a:ext cx="328329" cy="302081"/>
          </a:xfrm>
          <a:prstGeom prst="roundRect">
            <a:avLst/>
          </a:prstGeom>
          <a:solidFill>
            <a:schemeClr val="bg1"/>
          </a:solidFill>
          <a:ln w="12700">
            <a:solidFill>
              <a:srgbClr val="00B050">
                <a:alpha val="3900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dirty="0">
                <a:solidFill>
                  <a:schemeClr val="tx1"/>
                </a:solidFill>
                <a:latin typeface="Comic Sans MS" panose="030F0902030302020204" pitchFamily="66" charset="0"/>
                <a:ea typeface="Nanum Pen Script" panose="03040600000000000000" pitchFamily="66" charset="-127"/>
              </a:rPr>
              <a:t>r3</a:t>
            </a:r>
          </a:p>
        </p:txBody>
      </p:sp>
      <p:sp>
        <p:nvSpPr>
          <p:cNvPr id="253" name="Rounded Rectangle 252">
            <a:extLst>
              <a:ext uri="{FF2B5EF4-FFF2-40B4-BE49-F238E27FC236}">
                <a16:creationId xmlns:a16="http://schemas.microsoft.com/office/drawing/2014/main" id="{778768CA-4E45-A947-9D18-C9855F463517}"/>
              </a:ext>
            </a:extLst>
          </p:cNvPr>
          <p:cNvSpPr/>
          <p:nvPr/>
        </p:nvSpPr>
        <p:spPr>
          <a:xfrm>
            <a:off x="4883901" y="2139826"/>
            <a:ext cx="328329" cy="302721"/>
          </a:xfrm>
          <a:prstGeom prst="roundRect">
            <a:avLst/>
          </a:prstGeom>
          <a:solidFill>
            <a:schemeClr val="bg1"/>
          </a:solidFill>
          <a:ln w="12700">
            <a:solidFill>
              <a:srgbClr val="00B050">
                <a:alpha val="3900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dirty="0">
                <a:solidFill>
                  <a:schemeClr val="tx1"/>
                </a:solidFill>
                <a:latin typeface="Comic Sans MS" panose="030F0902030302020204" pitchFamily="66" charset="0"/>
                <a:ea typeface="Nanum Pen Script" panose="03040600000000000000" pitchFamily="66" charset="-127"/>
              </a:rPr>
              <a:t>r4</a:t>
            </a:r>
          </a:p>
        </p:txBody>
      </p:sp>
      <p:sp>
        <p:nvSpPr>
          <p:cNvPr id="254" name="Rounded Rectangle 253">
            <a:extLst>
              <a:ext uri="{FF2B5EF4-FFF2-40B4-BE49-F238E27FC236}">
                <a16:creationId xmlns:a16="http://schemas.microsoft.com/office/drawing/2014/main" id="{4D367FD7-201F-E64F-925D-4A4C7237F74A}"/>
              </a:ext>
            </a:extLst>
          </p:cNvPr>
          <p:cNvSpPr/>
          <p:nvPr/>
        </p:nvSpPr>
        <p:spPr>
          <a:xfrm>
            <a:off x="5202236" y="2138461"/>
            <a:ext cx="328329" cy="311037"/>
          </a:xfrm>
          <a:prstGeom prst="roundRect">
            <a:avLst/>
          </a:prstGeom>
          <a:solidFill>
            <a:schemeClr val="bg1"/>
          </a:solidFill>
          <a:ln w="12700">
            <a:solidFill>
              <a:srgbClr val="00B050">
                <a:alpha val="3900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dirty="0">
                <a:solidFill>
                  <a:schemeClr val="tx1"/>
                </a:solidFill>
                <a:latin typeface="Comic Sans MS" panose="030F0902030302020204" pitchFamily="66" charset="0"/>
                <a:ea typeface="Nanum Pen Script" panose="03040600000000000000" pitchFamily="66" charset="-127"/>
              </a:rPr>
              <a:t>r5</a:t>
            </a:r>
          </a:p>
        </p:txBody>
      </p:sp>
      <p:sp>
        <p:nvSpPr>
          <p:cNvPr id="255" name="Rounded Rectangle 254">
            <a:extLst>
              <a:ext uri="{FF2B5EF4-FFF2-40B4-BE49-F238E27FC236}">
                <a16:creationId xmlns:a16="http://schemas.microsoft.com/office/drawing/2014/main" id="{6EF3E1CA-32D3-A440-A524-992507BBFE96}"/>
              </a:ext>
            </a:extLst>
          </p:cNvPr>
          <p:cNvSpPr/>
          <p:nvPr/>
        </p:nvSpPr>
        <p:spPr>
          <a:xfrm>
            <a:off x="5524035" y="2144227"/>
            <a:ext cx="328329" cy="311037"/>
          </a:xfrm>
          <a:prstGeom prst="roundRect">
            <a:avLst/>
          </a:prstGeom>
          <a:solidFill>
            <a:schemeClr val="bg1"/>
          </a:solidFill>
          <a:ln w="12700">
            <a:solidFill>
              <a:srgbClr val="00B050">
                <a:alpha val="3900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dirty="0">
                <a:solidFill>
                  <a:schemeClr val="tx1"/>
                </a:solidFill>
                <a:latin typeface="Comic Sans MS" panose="030F0902030302020204" pitchFamily="66" charset="0"/>
                <a:ea typeface="Nanum Pen Script" panose="03040600000000000000" pitchFamily="66" charset="-127"/>
              </a:rPr>
              <a:t>r6</a:t>
            </a:r>
          </a:p>
        </p:txBody>
      </p:sp>
      <p:cxnSp>
        <p:nvCxnSpPr>
          <p:cNvPr id="10" name="Curved Connector 9">
            <a:extLst>
              <a:ext uri="{FF2B5EF4-FFF2-40B4-BE49-F238E27FC236}">
                <a16:creationId xmlns:a16="http://schemas.microsoft.com/office/drawing/2014/main" id="{85568B62-A68E-4741-A5E6-C0B4AED7E7A5}"/>
              </a:ext>
            </a:extLst>
          </p:cNvPr>
          <p:cNvCxnSpPr>
            <a:stCxn id="255" idx="3"/>
            <a:endCxn id="241" idx="0"/>
          </p:cNvCxnSpPr>
          <p:nvPr/>
        </p:nvCxnSpPr>
        <p:spPr>
          <a:xfrm flipH="1">
            <a:off x="3256966" y="2299746"/>
            <a:ext cx="2595398" cy="1548349"/>
          </a:xfrm>
          <a:prstGeom prst="curvedConnector4">
            <a:avLst>
              <a:gd name="adj1" fmla="val -8808"/>
              <a:gd name="adj2" fmla="val 21360"/>
            </a:avLst>
          </a:prstGeom>
          <a:ln>
            <a:solidFill>
              <a:srgbClr val="0067B7"/>
            </a:solidFill>
            <a:tailEnd type="triangle"/>
          </a:ln>
        </p:spPr>
        <p:style>
          <a:lnRef idx="1">
            <a:schemeClr val="accent1"/>
          </a:lnRef>
          <a:fillRef idx="0">
            <a:schemeClr val="accent1"/>
          </a:fillRef>
          <a:effectRef idx="0">
            <a:schemeClr val="accent1"/>
          </a:effectRef>
          <a:fontRef idx="minor">
            <a:schemeClr val="tx1"/>
          </a:fontRef>
        </p:style>
      </p:cxnSp>
      <p:cxnSp>
        <p:nvCxnSpPr>
          <p:cNvPr id="15" name="Straight Arrow Connector 14">
            <a:extLst>
              <a:ext uri="{FF2B5EF4-FFF2-40B4-BE49-F238E27FC236}">
                <a16:creationId xmlns:a16="http://schemas.microsoft.com/office/drawing/2014/main" id="{AFC06E86-3E0F-D649-A43A-32D948BA7C9E}"/>
              </a:ext>
            </a:extLst>
          </p:cNvPr>
          <p:cNvCxnSpPr>
            <a:cxnSpLocks/>
            <a:endCxn id="250" idx="1"/>
          </p:cNvCxnSpPr>
          <p:nvPr/>
        </p:nvCxnSpPr>
        <p:spPr>
          <a:xfrm flipV="1">
            <a:off x="3437068" y="2281329"/>
            <a:ext cx="471641" cy="8492"/>
          </a:xfrm>
          <a:prstGeom prst="straightConnector1">
            <a:avLst/>
          </a:prstGeom>
          <a:ln>
            <a:solidFill>
              <a:srgbClr val="0067B7"/>
            </a:solidFill>
            <a:tailEnd type="triangle"/>
          </a:ln>
        </p:spPr>
        <p:style>
          <a:lnRef idx="1">
            <a:schemeClr val="accent1"/>
          </a:lnRef>
          <a:fillRef idx="0">
            <a:schemeClr val="accent1"/>
          </a:fillRef>
          <a:effectRef idx="0">
            <a:schemeClr val="accent1"/>
          </a:effectRef>
          <a:fontRef idx="minor">
            <a:schemeClr val="tx1"/>
          </a:fontRef>
        </p:style>
      </p:cxnSp>
      <p:cxnSp>
        <p:nvCxnSpPr>
          <p:cNvPr id="257" name="Straight Arrow Connector 256">
            <a:extLst>
              <a:ext uri="{FF2B5EF4-FFF2-40B4-BE49-F238E27FC236}">
                <a16:creationId xmlns:a16="http://schemas.microsoft.com/office/drawing/2014/main" id="{38613C82-8810-B24A-9A88-B8DBA9A12DFA}"/>
              </a:ext>
            </a:extLst>
          </p:cNvPr>
          <p:cNvCxnSpPr>
            <a:cxnSpLocks/>
            <a:stCxn id="241" idx="3"/>
            <a:endCxn id="222" idx="1"/>
          </p:cNvCxnSpPr>
          <p:nvPr/>
        </p:nvCxnSpPr>
        <p:spPr>
          <a:xfrm flipV="1">
            <a:off x="3631223" y="3991287"/>
            <a:ext cx="571905" cy="417"/>
          </a:xfrm>
          <a:prstGeom prst="straightConnector1">
            <a:avLst/>
          </a:prstGeom>
          <a:ln>
            <a:solidFill>
              <a:srgbClr val="0067B7"/>
            </a:solidFill>
            <a:tailEnd type="triangle"/>
          </a:ln>
        </p:spPr>
        <p:style>
          <a:lnRef idx="1">
            <a:schemeClr val="accent1"/>
          </a:lnRef>
          <a:fillRef idx="0">
            <a:schemeClr val="accent1"/>
          </a:fillRef>
          <a:effectRef idx="0">
            <a:schemeClr val="accent1"/>
          </a:effectRef>
          <a:fontRef idx="minor">
            <a:schemeClr val="tx1"/>
          </a:fontRef>
        </p:style>
      </p:cxnSp>
      <p:cxnSp>
        <p:nvCxnSpPr>
          <p:cNvPr id="258" name="Straight Arrow Connector 257">
            <a:extLst>
              <a:ext uri="{FF2B5EF4-FFF2-40B4-BE49-F238E27FC236}">
                <a16:creationId xmlns:a16="http://schemas.microsoft.com/office/drawing/2014/main" id="{80F87AB2-533D-7948-9D09-0A2EFE372522}"/>
              </a:ext>
            </a:extLst>
          </p:cNvPr>
          <p:cNvCxnSpPr>
            <a:cxnSpLocks/>
            <a:stCxn id="222" idx="3"/>
            <a:endCxn id="228" idx="1"/>
          </p:cNvCxnSpPr>
          <p:nvPr/>
        </p:nvCxnSpPr>
        <p:spPr>
          <a:xfrm flipV="1">
            <a:off x="4951642" y="3986372"/>
            <a:ext cx="691955" cy="4915"/>
          </a:xfrm>
          <a:prstGeom prst="straightConnector1">
            <a:avLst/>
          </a:prstGeom>
          <a:ln>
            <a:solidFill>
              <a:srgbClr val="0067B7"/>
            </a:solidFill>
            <a:tailEnd type="triangle"/>
          </a:ln>
        </p:spPr>
        <p:style>
          <a:lnRef idx="1">
            <a:schemeClr val="accent1"/>
          </a:lnRef>
          <a:fillRef idx="0">
            <a:schemeClr val="accent1"/>
          </a:fillRef>
          <a:effectRef idx="0">
            <a:schemeClr val="accent1"/>
          </a:effectRef>
          <a:fontRef idx="minor">
            <a:schemeClr val="tx1"/>
          </a:fontRef>
        </p:style>
      </p:cxnSp>
      <p:cxnSp>
        <p:nvCxnSpPr>
          <p:cNvPr id="259" name="Straight Arrow Connector 258">
            <a:extLst>
              <a:ext uri="{FF2B5EF4-FFF2-40B4-BE49-F238E27FC236}">
                <a16:creationId xmlns:a16="http://schemas.microsoft.com/office/drawing/2014/main" id="{9F7EF2F0-81F1-A84E-95EA-9F061B256773}"/>
              </a:ext>
            </a:extLst>
          </p:cNvPr>
          <p:cNvCxnSpPr>
            <a:cxnSpLocks/>
            <a:stCxn id="228" idx="3"/>
            <a:endCxn id="235" idx="1"/>
          </p:cNvCxnSpPr>
          <p:nvPr/>
        </p:nvCxnSpPr>
        <p:spPr>
          <a:xfrm>
            <a:off x="6392111" y="3986372"/>
            <a:ext cx="588480" cy="206"/>
          </a:xfrm>
          <a:prstGeom prst="straightConnector1">
            <a:avLst/>
          </a:prstGeom>
          <a:ln>
            <a:solidFill>
              <a:srgbClr val="0067B7"/>
            </a:solidFill>
            <a:tailEnd type="triangle"/>
          </a:ln>
        </p:spPr>
        <p:style>
          <a:lnRef idx="1">
            <a:schemeClr val="accent1"/>
          </a:lnRef>
          <a:fillRef idx="0">
            <a:schemeClr val="accent1"/>
          </a:fillRef>
          <a:effectRef idx="0">
            <a:schemeClr val="accent1"/>
          </a:effectRef>
          <a:fontRef idx="minor">
            <a:schemeClr val="tx1"/>
          </a:fontRef>
        </p:style>
      </p:cxnSp>
      <p:sp>
        <p:nvSpPr>
          <p:cNvPr id="260" name="Google Shape;61;p12">
            <a:extLst>
              <a:ext uri="{FF2B5EF4-FFF2-40B4-BE49-F238E27FC236}">
                <a16:creationId xmlns:a16="http://schemas.microsoft.com/office/drawing/2014/main" id="{175BD33B-AED1-2343-83CC-633DA1E1EEF8}"/>
              </a:ext>
            </a:extLst>
          </p:cNvPr>
          <p:cNvSpPr txBox="1">
            <a:spLocks/>
          </p:cNvSpPr>
          <p:nvPr/>
        </p:nvSpPr>
        <p:spPr>
          <a:xfrm>
            <a:off x="4972662" y="5441247"/>
            <a:ext cx="1052310" cy="275128"/>
          </a:xfrm>
          <a:prstGeom prst="rect">
            <a:avLst/>
          </a:prstGeom>
        </p:spPr>
        <p:txBody>
          <a:bodyPr spcFirstLastPara="1" vert="horz" wrap="square" lIns="91425" tIns="91425" rIns="91425" bIns="91425" rtlCol="0" anchor="ctr"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spcBef>
                <a:spcPts val="0"/>
              </a:spcBef>
            </a:pPr>
            <a:r>
              <a:rPr lang="en-US" sz="800" b="1" dirty="0">
                <a:solidFill>
                  <a:srgbClr val="0067B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invalid-messages</a:t>
            </a:r>
          </a:p>
        </p:txBody>
      </p:sp>
      <p:sp>
        <p:nvSpPr>
          <p:cNvPr id="261" name="Rounded Rectangle 260">
            <a:extLst>
              <a:ext uri="{FF2B5EF4-FFF2-40B4-BE49-F238E27FC236}">
                <a16:creationId xmlns:a16="http://schemas.microsoft.com/office/drawing/2014/main" id="{08156DBD-D35A-1E47-BFB3-02C4F4DDDE56}"/>
              </a:ext>
            </a:extLst>
          </p:cNvPr>
          <p:cNvSpPr/>
          <p:nvPr/>
        </p:nvSpPr>
        <p:spPr>
          <a:xfrm>
            <a:off x="4527089" y="5713998"/>
            <a:ext cx="328329" cy="302721"/>
          </a:xfrm>
          <a:prstGeom prst="roundRect">
            <a:avLst/>
          </a:prstGeom>
          <a:solidFill>
            <a:schemeClr val="bg1"/>
          </a:solidFill>
          <a:ln w="12700">
            <a:solidFill>
              <a:srgbClr val="FFC000">
                <a:alpha val="3900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dirty="0">
                <a:solidFill>
                  <a:schemeClr val="tx1"/>
                </a:solidFill>
                <a:latin typeface="Comic Sans MS" panose="030F0902030302020204" pitchFamily="66" charset="0"/>
                <a:ea typeface="Nanum Pen Script" panose="03040600000000000000" pitchFamily="66" charset="-127"/>
              </a:rPr>
              <a:t>i1</a:t>
            </a:r>
          </a:p>
        </p:txBody>
      </p:sp>
      <p:sp>
        <p:nvSpPr>
          <p:cNvPr id="262" name="Rounded Rectangle 261">
            <a:extLst>
              <a:ext uri="{FF2B5EF4-FFF2-40B4-BE49-F238E27FC236}">
                <a16:creationId xmlns:a16="http://schemas.microsoft.com/office/drawing/2014/main" id="{86BBEFAE-7728-A540-8F73-C989F4FEB33B}"/>
              </a:ext>
            </a:extLst>
          </p:cNvPr>
          <p:cNvSpPr/>
          <p:nvPr/>
        </p:nvSpPr>
        <p:spPr>
          <a:xfrm>
            <a:off x="4852153" y="5722491"/>
            <a:ext cx="328329" cy="302721"/>
          </a:xfrm>
          <a:prstGeom prst="roundRect">
            <a:avLst/>
          </a:prstGeom>
          <a:solidFill>
            <a:schemeClr val="bg1"/>
          </a:solidFill>
          <a:ln w="12700">
            <a:solidFill>
              <a:srgbClr val="FFC000">
                <a:alpha val="3900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dirty="0">
                <a:solidFill>
                  <a:schemeClr val="tx1"/>
                </a:solidFill>
                <a:latin typeface="Comic Sans MS" panose="030F0902030302020204" pitchFamily="66" charset="0"/>
                <a:ea typeface="Nanum Pen Script" panose="03040600000000000000" pitchFamily="66" charset="-127"/>
              </a:rPr>
              <a:t>i2</a:t>
            </a:r>
          </a:p>
        </p:txBody>
      </p:sp>
      <p:sp>
        <p:nvSpPr>
          <p:cNvPr id="263" name="Rounded Rectangle 262">
            <a:extLst>
              <a:ext uri="{FF2B5EF4-FFF2-40B4-BE49-F238E27FC236}">
                <a16:creationId xmlns:a16="http://schemas.microsoft.com/office/drawing/2014/main" id="{39776932-A34D-9F4F-8C4C-9199B1BFF6FD}"/>
              </a:ext>
            </a:extLst>
          </p:cNvPr>
          <p:cNvSpPr/>
          <p:nvPr/>
        </p:nvSpPr>
        <p:spPr>
          <a:xfrm>
            <a:off x="5177217" y="5719113"/>
            <a:ext cx="328329" cy="302721"/>
          </a:xfrm>
          <a:prstGeom prst="roundRect">
            <a:avLst/>
          </a:prstGeom>
          <a:solidFill>
            <a:schemeClr val="bg1"/>
          </a:solidFill>
          <a:ln w="12700">
            <a:solidFill>
              <a:srgbClr val="FFC000">
                <a:alpha val="3900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dirty="0">
                <a:solidFill>
                  <a:schemeClr val="tx1"/>
                </a:solidFill>
                <a:latin typeface="Comic Sans MS" panose="030F0902030302020204" pitchFamily="66" charset="0"/>
                <a:ea typeface="Nanum Pen Script" panose="03040600000000000000" pitchFamily="66" charset="-127"/>
              </a:rPr>
              <a:t>i3</a:t>
            </a:r>
          </a:p>
        </p:txBody>
      </p:sp>
      <p:sp>
        <p:nvSpPr>
          <p:cNvPr id="264" name="Rounded Rectangle 263">
            <a:extLst>
              <a:ext uri="{FF2B5EF4-FFF2-40B4-BE49-F238E27FC236}">
                <a16:creationId xmlns:a16="http://schemas.microsoft.com/office/drawing/2014/main" id="{3EBCADEA-F16C-894E-9AE5-A99ADA821434}"/>
              </a:ext>
            </a:extLst>
          </p:cNvPr>
          <p:cNvSpPr/>
          <p:nvPr/>
        </p:nvSpPr>
        <p:spPr>
          <a:xfrm>
            <a:off x="5502281" y="5723856"/>
            <a:ext cx="328329" cy="302721"/>
          </a:xfrm>
          <a:prstGeom prst="roundRect">
            <a:avLst/>
          </a:prstGeom>
          <a:solidFill>
            <a:schemeClr val="bg1"/>
          </a:solidFill>
          <a:ln w="12700">
            <a:solidFill>
              <a:srgbClr val="FFC000">
                <a:alpha val="3900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dirty="0">
                <a:solidFill>
                  <a:schemeClr val="tx1"/>
                </a:solidFill>
                <a:latin typeface="Comic Sans MS" panose="030F0902030302020204" pitchFamily="66" charset="0"/>
                <a:ea typeface="Nanum Pen Script" panose="03040600000000000000" pitchFamily="66" charset="-127"/>
              </a:rPr>
              <a:t>i4</a:t>
            </a:r>
          </a:p>
        </p:txBody>
      </p:sp>
      <p:sp>
        <p:nvSpPr>
          <p:cNvPr id="265" name="Rounded Rectangle 264">
            <a:extLst>
              <a:ext uri="{FF2B5EF4-FFF2-40B4-BE49-F238E27FC236}">
                <a16:creationId xmlns:a16="http://schemas.microsoft.com/office/drawing/2014/main" id="{391E158D-09AE-0C40-B9F8-4A5A40818DDE}"/>
              </a:ext>
            </a:extLst>
          </p:cNvPr>
          <p:cNvSpPr/>
          <p:nvPr/>
        </p:nvSpPr>
        <p:spPr>
          <a:xfrm>
            <a:off x="5820616" y="5722491"/>
            <a:ext cx="328329" cy="311037"/>
          </a:xfrm>
          <a:prstGeom prst="roundRect">
            <a:avLst/>
          </a:prstGeom>
          <a:solidFill>
            <a:schemeClr val="bg1"/>
          </a:solidFill>
          <a:ln w="12700">
            <a:solidFill>
              <a:srgbClr val="FFC000">
                <a:alpha val="3900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dirty="0">
                <a:solidFill>
                  <a:schemeClr val="tx1"/>
                </a:solidFill>
                <a:latin typeface="Comic Sans MS" panose="030F0902030302020204" pitchFamily="66" charset="0"/>
                <a:ea typeface="Nanum Pen Script" panose="03040600000000000000" pitchFamily="66" charset="-127"/>
              </a:rPr>
              <a:t>i5</a:t>
            </a:r>
          </a:p>
        </p:txBody>
      </p:sp>
      <p:sp>
        <p:nvSpPr>
          <p:cNvPr id="266" name="Rounded Rectangle 265">
            <a:extLst>
              <a:ext uri="{FF2B5EF4-FFF2-40B4-BE49-F238E27FC236}">
                <a16:creationId xmlns:a16="http://schemas.microsoft.com/office/drawing/2014/main" id="{446BEA71-4C33-E844-9AAC-D0967C96CEEA}"/>
              </a:ext>
            </a:extLst>
          </p:cNvPr>
          <p:cNvSpPr/>
          <p:nvPr/>
        </p:nvSpPr>
        <p:spPr>
          <a:xfrm>
            <a:off x="6142415" y="5728257"/>
            <a:ext cx="328329" cy="311037"/>
          </a:xfrm>
          <a:prstGeom prst="roundRect">
            <a:avLst/>
          </a:prstGeom>
          <a:solidFill>
            <a:schemeClr val="bg1"/>
          </a:solidFill>
          <a:ln w="12700">
            <a:solidFill>
              <a:srgbClr val="FFC000">
                <a:alpha val="3900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dirty="0">
                <a:solidFill>
                  <a:schemeClr val="tx1"/>
                </a:solidFill>
                <a:latin typeface="Comic Sans MS" panose="030F0902030302020204" pitchFamily="66" charset="0"/>
                <a:ea typeface="Nanum Pen Script" panose="03040600000000000000" pitchFamily="66" charset="-127"/>
              </a:rPr>
              <a:t>i6</a:t>
            </a:r>
          </a:p>
        </p:txBody>
      </p:sp>
      <p:cxnSp>
        <p:nvCxnSpPr>
          <p:cNvPr id="268" name="Curved Connector 267">
            <a:extLst>
              <a:ext uri="{FF2B5EF4-FFF2-40B4-BE49-F238E27FC236}">
                <a16:creationId xmlns:a16="http://schemas.microsoft.com/office/drawing/2014/main" id="{206CDF16-7D24-7B4B-8C9E-77BDB001964F}"/>
              </a:ext>
            </a:extLst>
          </p:cNvPr>
          <p:cNvCxnSpPr>
            <a:cxnSpLocks/>
            <a:stCxn id="247" idx="2"/>
            <a:endCxn id="261" idx="1"/>
          </p:cNvCxnSpPr>
          <p:nvPr/>
        </p:nvCxnSpPr>
        <p:spPr>
          <a:xfrm rot="5400000">
            <a:off x="4195631" y="5490729"/>
            <a:ext cx="706089" cy="43171"/>
          </a:xfrm>
          <a:prstGeom prst="curvedConnector4">
            <a:avLst>
              <a:gd name="adj1" fmla="val 39282"/>
              <a:gd name="adj2" fmla="val 629522"/>
            </a:avLst>
          </a:prstGeom>
          <a:ln>
            <a:solidFill>
              <a:srgbClr val="0067B7"/>
            </a:solidFill>
            <a:tailEnd type="triangle"/>
          </a:ln>
        </p:spPr>
        <p:style>
          <a:lnRef idx="1">
            <a:schemeClr val="accent1"/>
          </a:lnRef>
          <a:fillRef idx="0">
            <a:schemeClr val="accent1"/>
          </a:fillRef>
          <a:effectRef idx="0">
            <a:schemeClr val="accent1"/>
          </a:effectRef>
          <a:fontRef idx="minor">
            <a:schemeClr val="tx1"/>
          </a:fontRef>
        </p:style>
      </p:cxnSp>
      <p:sp>
        <p:nvSpPr>
          <p:cNvPr id="269" name="Google Shape;61;p12">
            <a:extLst>
              <a:ext uri="{FF2B5EF4-FFF2-40B4-BE49-F238E27FC236}">
                <a16:creationId xmlns:a16="http://schemas.microsoft.com/office/drawing/2014/main" id="{F9C53B6E-5796-8343-A013-1678E421B473}"/>
              </a:ext>
            </a:extLst>
          </p:cNvPr>
          <p:cNvSpPr txBox="1">
            <a:spLocks/>
          </p:cNvSpPr>
          <p:nvPr/>
        </p:nvSpPr>
        <p:spPr>
          <a:xfrm>
            <a:off x="8799194" y="3593032"/>
            <a:ext cx="1052310" cy="275128"/>
          </a:xfrm>
          <a:prstGeom prst="rect">
            <a:avLst/>
          </a:prstGeom>
        </p:spPr>
        <p:txBody>
          <a:bodyPr spcFirstLastPara="1" vert="horz" wrap="square" lIns="91425" tIns="91425" rIns="91425" bIns="91425" rtlCol="0" anchor="ctr"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spcBef>
                <a:spcPts val="0"/>
              </a:spcBef>
            </a:pPr>
            <a:r>
              <a:rPr lang="en-US" sz="800" b="1" dirty="0">
                <a:solidFill>
                  <a:srgbClr val="0067B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Valid-messages</a:t>
            </a:r>
          </a:p>
        </p:txBody>
      </p:sp>
      <p:sp>
        <p:nvSpPr>
          <p:cNvPr id="270" name="Rounded Rectangle 269">
            <a:extLst>
              <a:ext uri="{FF2B5EF4-FFF2-40B4-BE49-F238E27FC236}">
                <a16:creationId xmlns:a16="http://schemas.microsoft.com/office/drawing/2014/main" id="{81A6F3A0-3259-5D41-9163-D1CD11A3054D}"/>
              </a:ext>
            </a:extLst>
          </p:cNvPr>
          <p:cNvSpPr/>
          <p:nvPr/>
        </p:nvSpPr>
        <p:spPr>
          <a:xfrm>
            <a:off x="8353621" y="3863885"/>
            <a:ext cx="328329" cy="302721"/>
          </a:xfrm>
          <a:prstGeom prst="roundRect">
            <a:avLst/>
          </a:prstGeom>
          <a:solidFill>
            <a:schemeClr val="bg1"/>
          </a:solidFill>
          <a:ln w="12700">
            <a:solidFill>
              <a:srgbClr val="0067B7">
                <a:alpha val="3900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dirty="0">
                <a:solidFill>
                  <a:schemeClr val="tx1"/>
                </a:solidFill>
                <a:latin typeface="Comic Sans MS" panose="030F0902030302020204" pitchFamily="66" charset="0"/>
                <a:ea typeface="Nanum Pen Script" panose="03040600000000000000" pitchFamily="66" charset="-127"/>
              </a:rPr>
              <a:t>v1</a:t>
            </a:r>
          </a:p>
        </p:txBody>
      </p:sp>
      <p:sp>
        <p:nvSpPr>
          <p:cNvPr id="271" name="Rounded Rectangle 270">
            <a:extLst>
              <a:ext uri="{FF2B5EF4-FFF2-40B4-BE49-F238E27FC236}">
                <a16:creationId xmlns:a16="http://schemas.microsoft.com/office/drawing/2014/main" id="{2193C6BD-54E1-7348-B50D-28ED0BD6E231}"/>
              </a:ext>
            </a:extLst>
          </p:cNvPr>
          <p:cNvSpPr/>
          <p:nvPr/>
        </p:nvSpPr>
        <p:spPr>
          <a:xfrm>
            <a:off x="8678685" y="3863885"/>
            <a:ext cx="328329" cy="302721"/>
          </a:xfrm>
          <a:prstGeom prst="roundRect">
            <a:avLst/>
          </a:prstGeom>
          <a:solidFill>
            <a:schemeClr val="bg1"/>
          </a:solidFill>
          <a:ln w="12700">
            <a:solidFill>
              <a:srgbClr val="0067B7">
                <a:alpha val="3900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dirty="0">
                <a:solidFill>
                  <a:schemeClr val="tx1"/>
                </a:solidFill>
                <a:latin typeface="Comic Sans MS" panose="030F0902030302020204" pitchFamily="66" charset="0"/>
                <a:ea typeface="Nanum Pen Script" panose="03040600000000000000" pitchFamily="66" charset="-127"/>
              </a:rPr>
              <a:t>v2</a:t>
            </a:r>
          </a:p>
        </p:txBody>
      </p:sp>
      <p:sp>
        <p:nvSpPr>
          <p:cNvPr id="272" name="Rounded Rectangle 271">
            <a:extLst>
              <a:ext uri="{FF2B5EF4-FFF2-40B4-BE49-F238E27FC236}">
                <a16:creationId xmlns:a16="http://schemas.microsoft.com/office/drawing/2014/main" id="{935E2AC8-D642-EB4B-855A-0F8D4AE70FA8}"/>
              </a:ext>
            </a:extLst>
          </p:cNvPr>
          <p:cNvSpPr/>
          <p:nvPr/>
        </p:nvSpPr>
        <p:spPr>
          <a:xfrm>
            <a:off x="9003749" y="3869651"/>
            <a:ext cx="328329" cy="302721"/>
          </a:xfrm>
          <a:prstGeom prst="roundRect">
            <a:avLst/>
          </a:prstGeom>
          <a:solidFill>
            <a:schemeClr val="bg1"/>
          </a:solidFill>
          <a:ln w="12700">
            <a:solidFill>
              <a:srgbClr val="0067B7">
                <a:alpha val="3900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dirty="0">
                <a:solidFill>
                  <a:schemeClr val="tx1"/>
                </a:solidFill>
                <a:latin typeface="Comic Sans MS" panose="030F0902030302020204" pitchFamily="66" charset="0"/>
                <a:ea typeface="Nanum Pen Script" panose="03040600000000000000" pitchFamily="66" charset="-127"/>
              </a:rPr>
              <a:t>v3</a:t>
            </a:r>
          </a:p>
        </p:txBody>
      </p:sp>
      <p:sp>
        <p:nvSpPr>
          <p:cNvPr id="273" name="Rounded Rectangle 272">
            <a:extLst>
              <a:ext uri="{FF2B5EF4-FFF2-40B4-BE49-F238E27FC236}">
                <a16:creationId xmlns:a16="http://schemas.microsoft.com/office/drawing/2014/main" id="{9C8572EE-5701-C14B-B3BB-9589F28F38A3}"/>
              </a:ext>
            </a:extLst>
          </p:cNvPr>
          <p:cNvSpPr/>
          <p:nvPr/>
        </p:nvSpPr>
        <p:spPr>
          <a:xfrm>
            <a:off x="9328813" y="3866497"/>
            <a:ext cx="328329" cy="302721"/>
          </a:xfrm>
          <a:prstGeom prst="roundRect">
            <a:avLst/>
          </a:prstGeom>
          <a:solidFill>
            <a:schemeClr val="bg1"/>
          </a:solidFill>
          <a:ln w="12700">
            <a:solidFill>
              <a:srgbClr val="0067B7">
                <a:alpha val="3900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600" dirty="0">
                <a:solidFill>
                  <a:schemeClr val="tx1"/>
                </a:solidFill>
                <a:latin typeface="Comic Sans MS" panose="030F0902030302020204" pitchFamily="66" charset="0"/>
                <a:ea typeface="Nanum Pen Script" panose="03040600000000000000" pitchFamily="66" charset="-127"/>
              </a:rPr>
              <a:t>v4</a:t>
            </a:r>
          </a:p>
        </p:txBody>
      </p:sp>
      <p:sp>
        <p:nvSpPr>
          <p:cNvPr id="274" name="Rounded Rectangle 273">
            <a:extLst>
              <a:ext uri="{FF2B5EF4-FFF2-40B4-BE49-F238E27FC236}">
                <a16:creationId xmlns:a16="http://schemas.microsoft.com/office/drawing/2014/main" id="{F5168371-9F51-7049-9B20-7CFA4852F7BB}"/>
              </a:ext>
            </a:extLst>
          </p:cNvPr>
          <p:cNvSpPr/>
          <p:nvPr/>
        </p:nvSpPr>
        <p:spPr>
          <a:xfrm>
            <a:off x="9647148" y="3865132"/>
            <a:ext cx="328329" cy="311037"/>
          </a:xfrm>
          <a:prstGeom prst="roundRect">
            <a:avLst/>
          </a:prstGeom>
          <a:solidFill>
            <a:schemeClr val="bg1"/>
          </a:solidFill>
          <a:ln w="12700">
            <a:solidFill>
              <a:srgbClr val="0067B7">
                <a:alpha val="3900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dirty="0">
                <a:solidFill>
                  <a:schemeClr val="tx1"/>
                </a:solidFill>
                <a:latin typeface="Comic Sans MS" panose="030F0902030302020204" pitchFamily="66" charset="0"/>
                <a:ea typeface="Nanum Pen Script" panose="03040600000000000000" pitchFamily="66" charset="-127"/>
              </a:rPr>
              <a:t>v5</a:t>
            </a:r>
          </a:p>
        </p:txBody>
      </p:sp>
      <p:sp>
        <p:nvSpPr>
          <p:cNvPr id="275" name="Rounded Rectangle 274">
            <a:extLst>
              <a:ext uri="{FF2B5EF4-FFF2-40B4-BE49-F238E27FC236}">
                <a16:creationId xmlns:a16="http://schemas.microsoft.com/office/drawing/2014/main" id="{7B8EE62E-82EE-4641-AD98-688FEE33D52E}"/>
              </a:ext>
            </a:extLst>
          </p:cNvPr>
          <p:cNvSpPr/>
          <p:nvPr/>
        </p:nvSpPr>
        <p:spPr>
          <a:xfrm>
            <a:off x="9968947" y="3870898"/>
            <a:ext cx="328329" cy="311037"/>
          </a:xfrm>
          <a:prstGeom prst="roundRect">
            <a:avLst/>
          </a:prstGeom>
          <a:solidFill>
            <a:schemeClr val="bg1"/>
          </a:solidFill>
          <a:ln w="12700">
            <a:solidFill>
              <a:srgbClr val="0067B7">
                <a:alpha val="3900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dirty="0">
                <a:solidFill>
                  <a:schemeClr val="tx1"/>
                </a:solidFill>
                <a:latin typeface="Comic Sans MS" panose="030F0902030302020204" pitchFamily="66" charset="0"/>
                <a:ea typeface="Nanum Pen Script" panose="03040600000000000000" pitchFamily="66" charset="-127"/>
              </a:rPr>
              <a:t>v6</a:t>
            </a:r>
          </a:p>
        </p:txBody>
      </p:sp>
      <p:cxnSp>
        <p:nvCxnSpPr>
          <p:cNvPr id="276" name="Straight Arrow Connector 275">
            <a:extLst>
              <a:ext uri="{FF2B5EF4-FFF2-40B4-BE49-F238E27FC236}">
                <a16:creationId xmlns:a16="http://schemas.microsoft.com/office/drawing/2014/main" id="{FE411E34-5567-9A40-944A-CA880090AA90}"/>
              </a:ext>
            </a:extLst>
          </p:cNvPr>
          <p:cNvCxnSpPr>
            <a:cxnSpLocks/>
            <a:stCxn id="234" idx="3"/>
            <a:endCxn id="270" idx="1"/>
          </p:cNvCxnSpPr>
          <p:nvPr/>
        </p:nvCxnSpPr>
        <p:spPr>
          <a:xfrm>
            <a:off x="7730344" y="4007829"/>
            <a:ext cx="623277" cy="7417"/>
          </a:xfrm>
          <a:prstGeom prst="straightConnector1">
            <a:avLst/>
          </a:prstGeom>
          <a:ln>
            <a:solidFill>
              <a:srgbClr val="0067B7"/>
            </a:solidFill>
            <a:tailEnd type="triangle"/>
          </a:ln>
        </p:spPr>
        <p:style>
          <a:lnRef idx="1">
            <a:schemeClr val="accent1"/>
          </a:lnRef>
          <a:fillRef idx="0">
            <a:schemeClr val="accent1"/>
          </a:fillRef>
          <a:effectRef idx="0">
            <a:schemeClr val="accent1"/>
          </a:effectRef>
          <a:fontRef idx="minor">
            <a:schemeClr val="tx1"/>
          </a:fontRef>
        </p:style>
      </p:cxnSp>
      <p:cxnSp>
        <p:nvCxnSpPr>
          <p:cNvPr id="277" name="Straight Arrow Connector 276">
            <a:extLst>
              <a:ext uri="{FF2B5EF4-FFF2-40B4-BE49-F238E27FC236}">
                <a16:creationId xmlns:a16="http://schemas.microsoft.com/office/drawing/2014/main" id="{4D39CAB4-B1DA-5840-BB71-AFEBE29D2CC9}"/>
              </a:ext>
            </a:extLst>
          </p:cNvPr>
          <p:cNvCxnSpPr>
            <a:cxnSpLocks/>
            <a:stCxn id="222" idx="2"/>
            <a:endCxn id="247" idx="0"/>
          </p:cNvCxnSpPr>
          <p:nvPr/>
        </p:nvCxnSpPr>
        <p:spPr>
          <a:xfrm flipH="1">
            <a:off x="4570260" y="4134895"/>
            <a:ext cx="7125" cy="737158"/>
          </a:xfrm>
          <a:prstGeom prst="straightConnector1">
            <a:avLst/>
          </a:prstGeom>
          <a:ln>
            <a:solidFill>
              <a:srgbClr val="0067B7"/>
            </a:solidFill>
            <a:tailEnd type="triangle"/>
          </a:ln>
        </p:spPr>
        <p:style>
          <a:lnRef idx="1">
            <a:schemeClr val="accent1"/>
          </a:lnRef>
          <a:fillRef idx="0">
            <a:schemeClr val="accent1"/>
          </a:fillRef>
          <a:effectRef idx="0">
            <a:schemeClr val="accent1"/>
          </a:effectRef>
          <a:fontRef idx="minor">
            <a:schemeClr val="tx1"/>
          </a:fontRef>
        </p:style>
      </p:cxnSp>
      <p:sp>
        <p:nvSpPr>
          <p:cNvPr id="69" name="Rectangle 3">
            <a:extLst>
              <a:ext uri="{FF2B5EF4-FFF2-40B4-BE49-F238E27FC236}">
                <a16:creationId xmlns:a16="http://schemas.microsoft.com/office/drawing/2014/main" id="{5BD91B10-7CCD-5D4D-AF94-A236FC006B7E}"/>
              </a:ext>
            </a:extLst>
          </p:cNvPr>
          <p:cNvSpPr txBox="1"/>
          <p:nvPr/>
        </p:nvSpPr>
        <p:spPr>
          <a:xfrm>
            <a:off x="404806" y="92199"/>
            <a:ext cx="7585857" cy="400105"/>
          </a:xfrm>
          <a:prstGeom prst="rect">
            <a:avLst/>
          </a:prstGeom>
          <a:ln w="12700">
            <a:miter lim="400000"/>
          </a:ln>
          <a:extLst>
            <a:ext uri="{C572A759-6A51-4108-AA02-DFA0A04FC94B}">
              <ma14:wrappingTextBoxFlag xmlns:ma14="http://schemas.microsoft.com/office/mac/drawingml/2011/main" xmlns="" val="1"/>
            </a:ext>
          </a:extLst>
        </p:spPr>
        <p:txBody>
          <a:bodyPr wrap="square" lIns="45718" tIns="45718" rIns="45718" bIns="45718">
            <a:spAutoFit/>
          </a:bodyPr>
          <a:lstStyle>
            <a:lvl1pPr algn="l" defTabSz="914400">
              <a:defRPr sz="2200" b="1">
                <a:solidFill>
                  <a:srgbClr val="FFFFFF"/>
                </a:solidFill>
                <a:latin typeface="Arial"/>
                <a:ea typeface="Arial"/>
                <a:cs typeface="Arial"/>
                <a:sym typeface="Arial"/>
              </a:defRPr>
            </a:lvl1pPr>
          </a:lstStyle>
          <a:p>
            <a:r>
              <a:rPr lang="en-US" sz="2000" dirty="0">
                <a:solidFill>
                  <a:srgbClr val="016AA2"/>
                </a:solidFill>
              </a:rPr>
              <a:t>Needs and Solution Proposal (XII)</a:t>
            </a:r>
          </a:p>
        </p:txBody>
      </p:sp>
    </p:spTree>
    <p:extLst>
      <p:ext uri="{BB962C8B-B14F-4D97-AF65-F5344CB8AC3E}">
        <p14:creationId xmlns:p14="http://schemas.microsoft.com/office/powerpoint/2010/main" val="127852657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tangle 3">
            <a:extLst>
              <a:ext uri="{FF2B5EF4-FFF2-40B4-BE49-F238E27FC236}">
                <a16:creationId xmlns:a16="http://schemas.microsoft.com/office/drawing/2014/main" id="{A27FD23C-A522-0E4F-B70C-CC83BC4542BA}"/>
              </a:ext>
            </a:extLst>
          </p:cNvPr>
          <p:cNvSpPr txBox="1"/>
          <p:nvPr/>
        </p:nvSpPr>
        <p:spPr>
          <a:xfrm>
            <a:off x="404808" y="237462"/>
            <a:ext cx="7585857" cy="400105"/>
          </a:xfrm>
          <a:prstGeom prst="rect">
            <a:avLst/>
          </a:prstGeom>
          <a:ln w="12700">
            <a:miter lim="400000"/>
          </a:ln>
          <a:extLst>
            <a:ext uri="{C572A759-6A51-4108-AA02-DFA0A04FC94B}">
              <ma14:wrappingTextBoxFlag xmlns:ma14="http://schemas.microsoft.com/office/mac/drawingml/2011/main" xmlns="" val="1"/>
            </a:ext>
          </a:extLst>
        </p:spPr>
        <p:txBody>
          <a:bodyPr wrap="square" lIns="45718" tIns="45718" rIns="45718" bIns="45718">
            <a:spAutoFit/>
          </a:bodyPr>
          <a:lstStyle>
            <a:lvl1pPr algn="l" defTabSz="914400">
              <a:defRPr sz="2200" b="1">
                <a:solidFill>
                  <a:srgbClr val="FFFFFF"/>
                </a:solidFill>
                <a:latin typeface="Arial"/>
                <a:ea typeface="Arial"/>
                <a:cs typeface="Arial"/>
                <a:sym typeface="Arial"/>
              </a:defRPr>
            </a:lvl1pPr>
          </a:lstStyle>
          <a:p>
            <a:r>
              <a:rPr lang="en-US" sz="2000" dirty="0">
                <a:solidFill>
                  <a:srgbClr val="016AA2"/>
                </a:solidFill>
              </a:rPr>
              <a:t>Table of Contents</a:t>
            </a:r>
          </a:p>
        </p:txBody>
      </p:sp>
      <p:sp>
        <p:nvSpPr>
          <p:cNvPr id="37" name="Rectangle 3">
            <a:extLst>
              <a:ext uri="{FF2B5EF4-FFF2-40B4-BE49-F238E27FC236}">
                <a16:creationId xmlns:a16="http://schemas.microsoft.com/office/drawing/2014/main" id="{08854565-0D5C-A447-971C-91CF37656792}"/>
              </a:ext>
            </a:extLst>
          </p:cNvPr>
          <p:cNvSpPr txBox="1">
            <a:spLocks noChangeArrowheads="1"/>
          </p:cNvSpPr>
          <p:nvPr/>
        </p:nvSpPr>
        <p:spPr>
          <a:xfrm>
            <a:off x="2851150" y="1352550"/>
            <a:ext cx="7854950" cy="3722370"/>
          </a:xfrm>
          <a:prstGeom prst="rect">
            <a:avLst/>
          </a:prstGeom>
        </p:spPr>
        <p:txBody>
          <a:bodyPr/>
          <a:lstStyle>
            <a:lvl1pPr marL="0" indent="0" algn="l" defTabSz="844083" rtl="0" eaLnBrk="1" latinLnBrk="0" hangingPunct="1">
              <a:spcBef>
                <a:spcPts val="354"/>
              </a:spcBef>
              <a:buFontTx/>
              <a:buNone/>
              <a:defRPr sz="1477" b="1" kern="1200" baseline="0">
                <a:solidFill>
                  <a:srgbClr val="002D72"/>
                </a:solidFill>
                <a:latin typeface="Arial"/>
                <a:ea typeface="+mn-ea"/>
                <a:cs typeface="Arial"/>
                <a:sym typeface="Arial"/>
              </a:defRPr>
            </a:lvl1pPr>
            <a:lvl2pPr marL="422041" indent="-211021" algn="l" defTabSz="844083" rtl="0" eaLnBrk="1" latinLnBrk="0" hangingPunct="1">
              <a:spcBef>
                <a:spcPts val="354"/>
              </a:spcBef>
              <a:buClr>
                <a:srgbClr val="002D72"/>
              </a:buClr>
              <a:buFont typeface="Arial" pitchFamily="34" charset="0"/>
              <a:buChar char="•"/>
              <a:defRPr sz="1477" kern="1200" baseline="0">
                <a:solidFill>
                  <a:srgbClr val="002D72"/>
                </a:solidFill>
                <a:latin typeface="Arial"/>
                <a:ea typeface="+mn-ea"/>
                <a:cs typeface="Arial"/>
                <a:sym typeface="Arial"/>
              </a:defRPr>
            </a:lvl2pPr>
            <a:lvl3pPr marL="844083" indent="-211021" algn="l" defTabSz="844083" rtl="0" eaLnBrk="1" latinLnBrk="0" hangingPunct="1">
              <a:spcBef>
                <a:spcPts val="354"/>
              </a:spcBef>
              <a:buClr>
                <a:srgbClr val="002D72"/>
              </a:buClr>
              <a:buFont typeface="Arial" pitchFamily="34" charset="0"/>
              <a:buChar char="–"/>
              <a:defRPr sz="1477" kern="1200" baseline="0">
                <a:solidFill>
                  <a:srgbClr val="002D72"/>
                </a:solidFill>
                <a:latin typeface="Arial"/>
                <a:ea typeface="+mn-ea"/>
                <a:cs typeface="Arial"/>
                <a:sym typeface="Arial"/>
              </a:defRPr>
            </a:lvl3pPr>
            <a:lvl4pPr marL="1270521" indent="-215416" algn="l" defTabSz="844083" rtl="0" eaLnBrk="1" latinLnBrk="0" hangingPunct="1">
              <a:spcBef>
                <a:spcPts val="354"/>
              </a:spcBef>
              <a:buClr>
                <a:srgbClr val="002D72"/>
              </a:buClr>
              <a:buFont typeface="Arial" pitchFamily="34" charset="0"/>
              <a:buChar char="–"/>
              <a:defRPr sz="1477" kern="1200" baseline="0">
                <a:solidFill>
                  <a:srgbClr val="002D72"/>
                </a:solidFill>
                <a:latin typeface="Arial"/>
                <a:ea typeface="+mn-ea"/>
                <a:cs typeface="Arial"/>
                <a:sym typeface="Arial"/>
              </a:defRPr>
            </a:lvl4pPr>
            <a:lvl5pPr marL="1900652" indent="-212487" algn="l" defTabSz="844083" rtl="0" eaLnBrk="1" latinLnBrk="0" hangingPunct="1">
              <a:spcBef>
                <a:spcPts val="354"/>
              </a:spcBef>
              <a:buClr>
                <a:srgbClr val="002D72"/>
              </a:buClr>
              <a:buFont typeface="Arial" pitchFamily="34" charset="0"/>
              <a:buChar char="–"/>
              <a:defRPr sz="1477" kern="1200" baseline="0">
                <a:solidFill>
                  <a:srgbClr val="002D72"/>
                </a:solidFill>
                <a:latin typeface="Arial"/>
                <a:ea typeface="+mn-ea"/>
                <a:cs typeface="Arial"/>
                <a:sym typeface="Arial"/>
              </a:defRPr>
            </a:lvl5pPr>
            <a:lvl6pPr marL="2321227"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6pPr>
            <a:lvl7pPr marL="2743269"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7pPr>
            <a:lvl8pPr marL="3165310"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8pPr>
            <a:lvl9pPr marL="3587351"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9pPr>
          </a:lstStyle>
          <a:p>
            <a:pPr>
              <a:buClr>
                <a:srgbClr val="87CBD8"/>
              </a:buClr>
              <a:defRPr/>
            </a:pPr>
            <a:r>
              <a:rPr lang="es-ES" sz="1800" dirty="0">
                <a:solidFill>
                  <a:srgbClr val="0067B7"/>
                </a:solidFill>
              </a:rPr>
              <a:t> </a:t>
            </a:r>
            <a:endParaRPr lang="es-ES" sz="2800" dirty="0">
              <a:solidFill>
                <a:srgbClr val="0067B7"/>
              </a:solidFill>
            </a:endParaRPr>
          </a:p>
          <a:p>
            <a:pPr lvl="1">
              <a:buClr>
                <a:srgbClr val="87CBD8"/>
              </a:buClr>
              <a:buFont typeface="Wingdings" pitchFamily="2" charset="2"/>
              <a:buChar char="§"/>
              <a:defRPr/>
            </a:pPr>
            <a:r>
              <a:rPr lang="en-US" sz="2400" dirty="0">
                <a:solidFill>
                  <a:srgbClr val="0067B7"/>
                </a:solidFill>
              </a:rPr>
              <a:t>Features and terminology</a:t>
            </a:r>
          </a:p>
          <a:p>
            <a:pPr lvl="1">
              <a:buClr>
                <a:srgbClr val="87CBD8"/>
              </a:buClr>
              <a:buFont typeface="Wingdings" pitchFamily="2" charset="2"/>
              <a:buChar char="§"/>
              <a:defRPr/>
            </a:pPr>
            <a:r>
              <a:rPr lang="en-US" sz="2400" dirty="0">
                <a:solidFill>
                  <a:srgbClr val="0067B7"/>
                </a:solidFill>
              </a:rPr>
              <a:t>Needs and Solution Proposal</a:t>
            </a:r>
          </a:p>
          <a:p>
            <a:pPr lvl="1">
              <a:buClr>
                <a:srgbClr val="87CBD8"/>
              </a:buClr>
              <a:buFont typeface="Wingdings" pitchFamily="2" charset="2"/>
              <a:buChar char="§"/>
              <a:defRPr/>
            </a:pPr>
            <a:r>
              <a:rPr lang="en-US" sz="2400" dirty="0">
                <a:solidFill>
                  <a:srgbClr val="0067B7"/>
                </a:solidFill>
              </a:rPr>
              <a:t>Graphic Representation of the Solution</a:t>
            </a:r>
          </a:p>
          <a:p>
            <a:pPr lvl="1">
              <a:buClr>
                <a:srgbClr val="87CBD8"/>
              </a:buClr>
              <a:buFont typeface="Wingdings" pitchFamily="2" charset="2"/>
              <a:buChar char="§"/>
              <a:defRPr/>
            </a:pPr>
            <a:r>
              <a:rPr lang="en-US" sz="2400" dirty="0">
                <a:solidFill>
                  <a:srgbClr val="0067B7"/>
                </a:solidFill>
              </a:rPr>
              <a:t>Infrastructure and Connectivity</a:t>
            </a:r>
          </a:p>
          <a:p>
            <a:pPr lvl="1">
              <a:buClr>
                <a:srgbClr val="87CBD8"/>
              </a:buClr>
              <a:buFont typeface="Wingdings" pitchFamily="2" charset="2"/>
              <a:buChar char="§"/>
              <a:defRPr/>
            </a:pPr>
            <a:r>
              <a:rPr lang="en-US" sz="2400" dirty="0">
                <a:solidFill>
                  <a:srgbClr val="0067B7"/>
                </a:solidFill>
              </a:rPr>
              <a:t>General services</a:t>
            </a:r>
          </a:p>
          <a:p>
            <a:pPr lvl="1">
              <a:buClr>
                <a:srgbClr val="87CBD8"/>
              </a:buClr>
              <a:buFont typeface="Wingdings" pitchFamily="2" charset="2"/>
              <a:buChar char="§"/>
              <a:defRPr/>
            </a:pPr>
            <a:r>
              <a:rPr lang="en-US" sz="2400" dirty="0">
                <a:solidFill>
                  <a:srgbClr val="0067B7"/>
                </a:solidFill>
              </a:rPr>
              <a:t>Risks and Dependencies</a:t>
            </a:r>
          </a:p>
          <a:p>
            <a:pPr lvl="1">
              <a:buClr>
                <a:srgbClr val="87CBD8"/>
              </a:buClr>
              <a:buFont typeface="Wingdings" pitchFamily="2" charset="2"/>
              <a:buChar char="§"/>
              <a:defRPr/>
            </a:pPr>
            <a:r>
              <a:rPr lang="en-US" sz="2400" dirty="0">
                <a:solidFill>
                  <a:srgbClr val="0067B7"/>
                </a:solidFill>
              </a:rPr>
              <a:t>Standards, Patterns and Decisions of Architecture</a:t>
            </a:r>
          </a:p>
          <a:p>
            <a:pPr lvl="1">
              <a:buClr>
                <a:srgbClr val="87CBD8"/>
              </a:buClr>
              <a:buFont typeface="Wingdings" pitchFamily="2" charset="2"/>
              <a:buChar char="§"/>
              <a:defRPr/>
            </a:pPr>
            <a:r>
              <a:rPr lang="en-US" sz="2400" dirty="0">
                <a:solidFill>
                  <a:srgbClr val="0067B7"/>
                </a:solidFill>
              </a:rPr>
              <a:t>References and Annexes</a:t>
            </a:r>
          </a:p>
        </p:txBody>
      </p:sp>
    </p:spTree>
    <p:extLst>
      <p:ext uri="{BB962C8B-B14F-4D97-AF65-F5344CB8AC3E}">
        <p14:creationId xmlns:p14="http://schemas.microsoft.com/office/powerpoint/2010/main" val="1971197544"/>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7" name="Rectangle 3">
            <a:extLst>
              <a:ext uri="{FF2B5EF4-FFF2-40B4-BE49-F238E27FC236}">
                <a16:creationId xmlns:a16="http://schemas.microsoft.com/office/drawing/2014/main" id="{A27FD23C-A522-0E4F-B70C-CC83BC4542BA}"/>
              </a:ext>
            </a:extLst>
          </p:cNvPr>
          <p:cNvSpPr txBox="1"/>
          <p:nvPr/>
        </p:nvSpPr>
        <p:spPr>
          <a:xfrm>
            <a:off x="404809" y="237462"/>
            <a:ext cx="2585918" cy="400105"/>
          </a:xfrm>
          <a:prstGeom prst="rect">
            <a:avLst/>
          </a:prstGeom>
          <a:ln w="12700">
            <a:miter lim="400000"/>
          </a:ln>
          <a:extLst>
            <a:ext uri="{C572A759-6A51-4108-AA02-DFA0A04FC94B}">
              <ma14:wrappingTextBoxFlag xmlns="" xmlns:ma14="http://schemas.microsoft.com/office/mac/drawingml/2011/main" val="1"/>
            </a:ext>
          </a:extLst>
        </p:spPr>
        <p:txBody>
          <a:bodyPr wrap="square" lIns="45718" tIns="45718" rIns="45718" bIns="45718">
            <a:spAutoFit/>
          </a:bodyPr>
          <a:lstStyle>
            <a:lvl1pPr algn="l" defTabSz="914400">
              <a:defRPr sz="2200" b="1">
                <a:solidFill>
                  <a:srgbClr val="FFFFFF"/>
                </a:solidFill>
                <a:latin typeface="Arial"/>
                <a:ea typeface="Arial"/>
                <a:cs typeface="Arial"/>
                <a:sym typeface="Arial"/>
              </a:defRPr>
            </a:lvl1pPr>
          </a:lstStyle>
          <a:p>
            <a:r>
              <a:rPr lang="en-US" sz="2000" dirty="0">
                <a:solidFill>
                  <a:srgbClr val="016AA2"/>
                </a:solidFill>
              </a:rPr>
              <a:t>Even Hub</a:t>
            </a:r>
          </a:p>
        </p:txBody>
      </p:sp>
      <p:sp>
        <p:nvSpPr>
          <p:cNvPr id="88" name="Rectangle 3"/>
          <p:cNvSpPr txBox="1"/>
          <p:nvPr/>
        </p:nvSpPr>
        <p:spPr>
          <a:xfrm>
            <a:off x="413951" y="637567"/>
            <a:ext cx="8519737" cy="369328"/>
          </a:xfrm>
          <a:prstGeom prst="rect">
            <a:avLst/>
          </a:prstGeom>
          <a:ln w="12700">
            <a:miter lim="400000"/>
          </a:ln>
          <a:extLst>
            <a:ext uri="{C572A759-6A51-4108-AA02-DFA0A04FC94B}">
              <ma14:wrappingTextBoxFlag xmlns:ma14="http://schemas.microsoft.com/office/mac/drawingml/2011/main" xmlns="" val="1"/>
            </a:ext>
          </a:extLst>
        </p:spPr>
        <p:txBody>
          <a:bodyPr wrap="square" lIns="45718" tIns="45718" rIns="45718" bIns="45718">
            <a:spAutoFit/>
          </a:bodyPr>
          <a:lstStyle>
            <a:lvl1pPr algn="l" defTabSz="914400">
              <a:defRPr sz="2000">
                <a:solidFill>
                  <a:srgbClr val="104D6A"/>
                </a:solidFill>
                <a:latin typeface="Arial"/>
                <a:ea typeface="Arial"/>
                <a:cs typeface="Arial"/>
                <a:sym typeface="Arial"/>
              </a:defRPr>
            </a:lvl1pPr>
          </a:lstStyle>
          <a:p>
            <a:pPr lvl="0">
              <a:defRPr/>
            </a:pPr>
            <a:r>
              <a:rPr lang="en-US" sz="1800" b="1" dirty="0">
                <a:solidFill>
                  <a:srgbClr val="73C4EF"/>
                </a:solidFill>
              </a:rPr>
              <a:t>Functional analysis – Use Case 03 Create Produce Message</a:t>
            </a:r>
          </a:p>
        </p:txBody>
      </p:sp>
      <p:sp>
        <p:nvSpPr>
          <p:cNvPr id="7" name="Google Shape;61;p12">
            <a:extLst>
              <a:ext uri="{FF2B5EF4-FFF2-40B4-BE49-F238E27FC236}">
                <a16:creationId xmlns:a16="http://schemas.microsoft.com/office/drawing/2014/main" id="{F457AFF7-F434-EA47-AB8F-11889A45E5F8}"/>
              </a:ext>
            </a:extLst>
          </p:cNvPr>
          <p:cNvSpPr txBox="1">
            <a:spLocks/>
          </p:cNvSpPr>
          <p:nvPr/>
        </p:nvSpPr>
        <p:spPr>
          <a:xfrm>
            <a:off x="8472887" y="2244437"/>
            <a:ext cx="3263720" cy="2095152"/>
          </a:xfrm>
          <a:prstGeom prst="rect">
            <a:avLst/>
          </a:prstGeom>
        </p:spPr>
        <p:txBody>
          <a:bodyPr spcFirstLastPara="1" vert="horz" wrap="square" lIns="91425" tIns="91425" rIns="91425" bIns="91425" rtlCol="0" anchor="ctr"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lgn="l">
              <a:spcBef>
                <a:spcPts val="0"/>
              </a:spcBef>
            </a:pPr>
            <a:endParaRPr lang="en-US" sz="1400" b="1" dirty="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endParaRPr>
          </a:p>
          <a:p>
            <a:pPr algn="l">
              <a:spcBef>
                <a:spcPts val="0"/>
              </a:spcBef>
            </a:pPr>
            <a:endParaRPr lang="en-US" sz="1400" b="1" dirty="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endParaRPr>
          </a:p>
          <a:p>
            <a:pPr algn="l">
              <a:spcBef>
                <a:spcPts val="0"/>
              </a:spcBef>
            </a:pPr>
            <a:endParaRPr lang="en-US" sz="1100" dirty="0">
              <a:solidFill>
                <a:srgbClr val="0067B7"/>
              </a:solidFill>
              <a:effectLst>
                <a:outerShdw blurRad="50800" dist="50800" dir="5400000" algn="ctr" rotWithShape="0">
                  <a:srgbClr val="000000">
                    <a:alpha val="0"/>
                  </a:srgbClr>
                </a:outerShdw>
                <a:reflection endPos="0" dist="50800" dir="5400000" sy="-100000" algn="bl" rotWithShape="0"/>
              </a:effectLst>
              <a:latin typeface="+mn-lt"/>
              <a:ea typeface="Nanum Pen Script" panose="03040600000000000000" pitchFamily="66" charset="-127"/>
              <a:cs typeface="Arial" panose="020B0604020202020204" pitchFamily="34" charset="0"/>
            </a:endParaRPr>
          </a:p>
          <a:p>
            <a:pPr algn="l">
              <a:spcBef>
                <a:spcPts val="0"/>
              </a:spcBef>
            </a:pPr>
            <a:r>
              <a:rPr lang="en-US" sz="1050" dirty="0">
                <a:solidFill>
                  <a:srgbClr val="0067B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CU-03 Produce Message - The producer creates new messages. The producer will direct the messages to specific partitions. This is done using the message key and a </a:t>
            </a:r>
            <a:r>
              <a:rPr lang="en-US" sz="1050" dirty="0" err="1">
                <a:solidFill>
                  <a:srgbClr val="0067B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partitioner</a:t>
            </a:r>
            <a:r>
              <a:rPr lang="en-US" sz="1050" dirty="0">
                <a:solidFill>
                  <a:srgbClr val="0067B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 that will generate a hash of the key and assign it to a specific partition. This ensures that all messages produced with a given key will be written to the same partition.</a:t>
            </a:r>
          </a:p>
          <a:p>
            <a:pPr algn="l">
              <a:spcBef>
                <a:spcPts val="0"/>
              </a:spcBef>
            </a:pPr>
            <a:endParaRPr lang="en-US" sz="1400" b="1" dirty="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endParaRPr>
          </a:p>
          <a:p>
            <a:pPr algn="l">
              <a:spcBef>
                <a:spcPts val="0"/>
              </a:spcBef>
            </a:pPr>
            <a:endParaRPr lang="en-US" sz="1400" b="1" dirty="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endParaRPr>
          </a:p>
        </p:txBody>
      </p:sp>
      <p:pic>
        <p:nvPicPr>
          <p:cNvPr id="8" name="Picture 7">
            <a:extLst>
              <a:ext uri="{FF2B5EF4-FFF2-40B4-BE49-F238E27FC236}">
                <a16:creationId xmlns:a16="http://schemas.microsoft.com/office/drawing/2014/main" id="{DC96D5FD-590D-0449-A769-5C7816895B9D}"/>
              </a:ext>
            </a:extLst>
          </p:cNvPr>
          <p:cNvPicPr>
            <a:picLocks noChangeAspect="1"/>
          </p:cNvPicPr>
          <p:nvPr/>
        </p:nvPicPr>
        <p:blipFill>
          <a:blip r:embed="rId2"/>
          <a:stretch>
            <a:fillRect/>
          </a:stretch>
        </p:blipFill>
        <p:spPr>
          <a:xfrm>
            <a:off x="404809" y="1110343"/>
            <a:ext cx="7834839" cy="5110089"/>
          </a:xfrm>
          <a:prstGeom prst="rect">
            <a:avLst/>
          </a:prstGeom>
        </p:spPr>
      </p:pic>
      <p:sp>
        <p:nvSpPr>
          <p:cNvPr id="10" name="Oval 9">
            <a:extLst>
              <a:ext uri="{FF2B5EF4-FFF2-40B4-BE49-F238E27FC236}">
                <a16:creationId xmlns:a16="http://schemas.microsoft.com/office/drawing/2014/main" id="{EFDF2B33-AA23-0344-9AEE-8F48478AD1B8}"/>
              </a:ext>
            </a:extLst>
          </p:cNvPr>
          <p:cNvSpPr/>
          <p:nvPr/>
        </p:nvSpPr>
        <p:spPr>
          <a:xfrm>
            <a:off x="5629399" y="1574801"/>
            <a:ext cx="1214748" cy="669636"/>
          </a:xfrm>
          <a:prstGeom prst="ellipse">
            <a:avLst/>
          </a:prstGeom>
          <a:solidFill>
            <a:srgbClr val="E2E2E2">
              <a:alpha val="69000"/>
            </a:srgbClr>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a:solidFill>
                <a:srgbClr val="002D72"/>
              </a:solidFill>
              <a:latin typeface="Arial" pitchFamily="34" charset="0"/>
              <a:cs typeface="Arial" pitchFamily="34" charset="0"/>
            </a:endParaRPr>
          </a:p>
        </p:txBody>
      </p:sp>
      <p:sp>
        <p:nvSpPr>
          <p:cNvPr id="11" name="Oval 10">
            <a:extLst>
              <a:ext uri="{FF2B5EF4-FFF2-40B4-BE49-F238E27FC236}">
                <a16:creationId xmlns:a16="http://schemas.microsoft.com/office/drawing/2014/main" id="{F6E08EB0-23B2-0B4F-B5BA-9F57F23DD9B3}"/>
              </a:ext>
            </a:extLst>
          </p:cNvPr>
          <p:cNvSpPr/>
          <p:nvPr/>
        </p:nvSpPr>
        <p:spPr>
          <a:xfrm>
            <a:off x="5689528" y="3689049"/>
            <a:ext cx="1214748" cy="669636"/>
          </a:xfrm>
          <a:prstGeom prst="ellipse">
            <a:avLst/>
          </a:prstGeom>
          <a:solidFill>
            <a:srgbClr val="E2E2E2">
              <a:alpha val="69000"/>
            </a:srgbClr>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a:solidFill>
                <a:srgbClr val="002D72"/>
              </a:solidFill>
              <a:latin typeface="Arial" pitchFamily="34" charset="0"/>
              <a:cs typeface="Arial" pitchFamily="34" charset="0"/>
            </a:endParaRPr>
          </a:p>
        </p:txBody>
      </p:sp>
      <p:sp>
        <p:nvSpPr>
          <p:cNvPr id="13" name="Oval 12">
            <a:extLst>
              <a:ext uri="{FF2B5EF4-FFF2-40B4-BE49-F238E27FC236}">
                <a16:creationId xmlns:a16="http://schemas.microsoft.com/office/drawing/2014/main" id="{FCA5766C-1394-8D40-A6F9-8BF94AC0CA60}"/>
              </a:ext>
            </a:extLst>
          </p:cNvPr>
          <p:cNvSpPr/>
          <p:nvPr/>
        </p:nvSpPr>
        <p:spPr>
          <a:xfrm>
            <a:off x="2087253" y="3744374"/>
            <a:ext cx="1551874" cy="799916"/>
          </a:xfrm>
          <a:prstGeom prst="ellipse">
            <a:avLst/>
          </a:prstGeom>
          <a:solidFill>
            <a:srgbClr val="E2E2E2">
              <a:alpha val="69000"/>
            </a:srgbClr>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a:solidFill>
                <a:srgbClr val="002D72"/>
              </a:solidFill>
              <a:latin typeface="Arial" pitchFamily="34" charset="0"/>
              <a:cs typeface="Arial" pitchFamily="34" charset="0"/>
            </a:endParaRPr>
          </a:p>
        </p:txBody>
      </p:sp>
      <p:sp>
        <p:nvSpPr>
          <p:cNvPr id="15" name="Oval 14">
            <a:extLst>
              <a:ext uri="{FF2B5EF4-FFF2-40B4-BE49-F238E27FC236}">
                <a16:creationId xmlns:a16="http://schemas.microsoft.com/office/drawing/2014/main" id="{9E66A7DE-F655-144F-91C3-E5247D0E8338}"/>
              </a:ext>
            </a:extLst>
          </p:cNvPr>
          <p:cNvSpPr/>
          <p:nvPr/>
        </p:nvSpPr>
        <p:spPr>
          <a:xfrm>
            <a:off x="2059545" y="5017066"/>
            <a:ext cx="1551874" cy="799916"/>
          </a:xfrm>
          <a:prstGeom prst="ellipse">
            <a:avLst/>
          </a:prstGeom>
          <a:solidFill>
            <a:srgbClr val="E2E2E2">
              <a:alpha val="69000"/>
            </a:srgbClr>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a:solidFill>
                <a:srgbClr val="002D72"/>
              </a:solidFill>
              <a:latin typeface="Arial" pitchFamily="34" charset="0"/>
              <a:cs typeface="Arial" pitchFamily="34" charset="0"/>
            </a:endParaRPr>
          </a:p>
        </p:txBody>
      </p:sp>
      <p:sp>
        <p:nvSpPr>
          <p:cNvPr id="17" name="Oval 16">
            <a:extLst>
              <a:ext uri="{FF2B5EF4-FFF2-40B4-BE49-F238E27FC236}">
                <a16:creationId xmlns:a16="http://schemas.microsoft.com/office/drawing/2014/main" id="{E636F599-1CF6-764E-A8A8-7E688CD1AE9E}"/>
              </a:ext>
            </a:extLst>
          </p:cNvPr>
          <p:cNvSpPr/>
          <p:nvPr/>
        </p:nvSpPr>
        <p:spPr>
          <a:xfrm>
            <a:off x="5139871" y="5090982"/>
            <a:ext cx="1431801" cy="726000"/>
          </a:xfrm>
          <a:prstGeom prst="ellipse">
            <a:avLst/>
          </a:prstGeom>
          <a:solidFill>
            <a:srgbClr val="E2E2E2">
              <a:alpha val="69000"/>
            </a:srgbClr>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a:solidFill>
                <a:srgbClr val="002D72"/>
              </a:solidFill>
              <a:latin typeface="Arial" pitchFamily="34" charset="0"/>
              <a:cs typeface="Arial" pitchFamily="34" charset="0"/>
            </a:endParaRPr>
          </a:p>
        </p:txBody>
      </p:sp>
      <p:sp>
        <p:nvSpPr>
          <p:cNvPr id="18" name="Oval 17">
            <a:extLst>
              <a:ext uri="{FF2B5EF4-FFF2-40B4-BE49-F238E27FC236}">
                <a16:creationId xmlns:a16="http://schemas.microsoft.com/office/drawing/2014/main" id="{C1455A2D-72BC-1F44-9160-A7A1DB319E89}"/>
              </a:ext>
            </a:extLst>
          </p:cNvPr>
          <p:cNvSpPr/>
          <p:nvPr/>
        </p:nvSpPr>
        <p:spPr>
          <a:xfrm>
            <a:off x="2405815" y="1593641"/>
            <a:ext cx="1214748" cy="669636"/>
          </a:xfrm>
          <a:prstGeom prst="ellipse">
            <a:avLst/>
          </a:prstGeom>
          <a:solidFill>
            <a:srgbClr val="E2E2E2">
              <a:alpha val="69000"/>
            </a:srgbClr>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a:solidFill>
                <a:srgbClr val="002D72"/>
              </a:solidFill>
              <a:latin typeface="Arial" pitchFamily="34" charset="0"/>
              <a:cs typeface="Arial" pitchFamily="34" charset="0"/>
            </a:endParaRPr>
          </a:p>
        </p:txBody>
      </p:sp>
    </p:spTree>
    <p:extLst>
      <p:ext uri="{BB962C8B-B14F-4D97-AF65-F5344CB8AC3E}">
        <p14:creationId xmlns:p14="http://schemas.microsoft.com/office/powerpoint/2010/main" val="4251664326"/>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AFED58C5-F5FE-3F40-BD80-47732577C685}"/>
              </a:ext>
            </a:extLst>
          </p:cNvPr>
          <p:cNvPicPr>
            <a:picLocks noChangeAspect="1"/>
          </p:cNvPicPr>
          <p:nvPr/>
        </p:nvPicPr>
        <p:blipFill>
          <a:blip r:embed="rId2"/>
          <a:stretch>
            <a:fillRect/>
          </a:stretch>
        </p:blipFill>
        <p:spPr>
          <a:xfrm>
            <a:off x="396334" y="1247984"/>
            <a:ext cx="8234680" cy="4887640"/>
          </a:xfrm>
          <a:prstGeom prst="rect">
            <a:avLst/>
          </a:prstGeom>
        </p:spPr>
      </p:pic>
      <p:sp>
        <p:nvSpPr>
          <p:cNvPr id="87" name="Rectangle 3">
            <a:extLst>
              <a:ext uri="{FF2B5EF4-FFF2-40B4-BE49-F238E27FC236}">
                <a16:creationId xmlns:a16="http://schemas.microsoft.com/office/drawing/2014/main" id="{A27FD23C-A522-0E4F-B70C-CC83BC4542BA}"/>
              </a:ext>
            </a:extLst>
          </p:cNvPr>
          <p:cNvSpPr txBox="1"/>
          <p:nvPr/>
        </p:nvSpPr>
        <p:spPr>
          <a:xfrm>
            <a:off x="404809" y="237462"/>
            <a:ext cx="2585918" cy="400105"/>
          </a:xfrm>
          <a:prstGeom prst="rect">
            <a:avLst/>
          </a:prstGeom>
          <a:ln w="12700">
            <a:miter lim="400000"/>
          </a:ln>
          <a:extLst>
            <a:ext uri="{C572A759-6A51-4108-AA02-DFA0A04FC94B}">
              <ma14:wrappingTextBoxFlag xmlns="" xmlns:ma14="http://schemas.microsoft.com/office/mac/drawingml/2011/main" val="1"/>
            </a:ext>
          </a:extLst>
        </p:spPr>
        <p:txBody>
          <a:bodyPr wrap="square" lIns="45718" tIns="45718" rIns="45718" bIns="45718">
            <a:spAutoFit/>
          </a:bodyPr>
          <a:lstStyle>
            <a:lvl1pPr algn="l" defTabSz="914400">
              <a:defRPr sz="2200" b="1">
                <a:solidFill>
                  <a:srgbClr val="FFFFFF"/>
                </a:solidFill>
                <a:latin typeface="Arial"/>
                <a:ea typeface="Arial"/>
                <a:cs typeface="Arial"/>
                <a:sym typeface="Arial"/>
              </a:defRPr>
            </a:lvl1pPr>
          </a:lstStyle>
          <a:p>
            <a:r>
              <a:rPr lang="en-US" sz="2000" dirty="0">
                <a:solidFill>
                  <a:srgbClr val="016AA2"/>
                </a:solidFill>
              </a:rPr>
              <a:t>Even Hub</a:t>
            </a:r>
          </a:p>
        </p:txBody>
      </p:sp>
      <p:sp>
        <p:nvSpPr>
          <p:cNvPr id="88" name="Rectangle 3"/>
          <p:cNvSpPr txBox="1"/>
          <p:nvPr/>
        </p:nvSpPr>
        <p:spPr>
          <a:xfrm>
            <a:off x="413951" y="637567"/>
            <a:ext cx="8519737" cy="369328"/>
          </a:xfrm>
          <a:prstGeom prst="rect">
            <a:avLst/>
          </a:prstGeom>
          <a:ln w="12700">
            <a:miter lim="400000"/>
          </a:ln>
          <a:extLst>
            <a:ext uri="{C572A759-6A51-4108-AA02-DFA0A04FC94B}">
              <ma14:wrappingTextBoxFlag xmlns:ma14="http://schemas.microsoft.com/office/mac/drawingml/2011/main" xmlns="" val="1"/>
            </a:ext>
          </a:extLst>
        </p:spPr>
        <p:txBody>
          <a:bodyPr wrap="square" lIns="45718" tIns="45718" rIns="45718" bIns="45718">
            <a:spAutoFit/>
          </a:bodyPr>
          <a:lstStyle>
            <a:lvl1pPr algn="l" defTabSz="914400">
              <a:defRPr sz="2000">
                <a:solidFill>
                  <a:srgbClr val="104D6A"/>
                </a:solidFill>
                <a:latin typeface="Arial"/>
                <a:ea typeface="Arial"/>
                <a:cs typeface="Arial"/>
                <a:sym typeface="Arial"/>
              </a:defRPr>
            </a:lvl1pPr>
          </a:lstStyle>
          <a:p>
            <a:pPr lvl="0">
              <a:defRPr/>
            </a:pPr>
            <a:r>
              <a:rPr lang="en-US" sz="1800" b="1" dirty="0">
                <a:solidFill>
                  <a:srgbClr val="73C4EF"/>
                </a:solidFill>
              </a:rPr>
              <a:t>Functional analysis – Flow of Use Case Produce Message</a:t>
            </a:r>
          </a:p>
        </p:txBody>
      </p:sp>
      <p:sp>
        <p:nvSpPr>
          <p:cNvPr id="8" name="Google Shape;61;p12">
            <a:extLst>
              <a:ext uri="{FF2B5EF4-FFF2-40B4-BE49-F238E27FC236}">
                <a16:creationId xmlns:a16="http://schemas.microsoft.com/office/drawing/2014/main" id="{3E91B005-8779-3D49-9CA7-D0D6B9D49FB1}"/>
              </a:ext>
            </a:extLst>
          </p:cNvPr>
          <p:cNvSpPr txBox="1">
            <a:spLocks/>
          </p:cNvSpPr>
          <p:nvPr/>
        </p:nvSpPr>
        <p:spPr>
          <a:xfrm>
            <a:off x="10497385" y="3338994"/>
            <a:ext cx="1504696" cy="878547"/>
          </a:xfrm>
          <a:prstGeom prst="rect">
            <a:avLst/>
          </a:prstGeom>
        </p:spPr>
        <p:txBody>
          <a:bodyPr spcFirstLastPara="1" vert="horz" wrap="square" lIns="91425" tIns="91425" rIns="91425" bIns="91425" rtlCol="0" anchor="ctr"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lgn="l">
              <a:spcBef>
                <a:spcPts val="0"/>
              </a:spcBef>
            </a:pPr>
            <a:r>
              <a:rPr lang="en-US" sz="900" dirty="0">
                <a:solidFill>
                  <a:srgbClr val="0067B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Describe the logic of the steps in a Produce Message use case process.</a:t>
            </a:r>
            <a:endParaRPr lang="en-US" sz="900" b="1" dirty="0">
              <a:solidFill>
                <a:srgbClr val="0067B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endParaRPr>
          </a:p>
        </p:txBody>
      </p:sp>
      <p:sp>
        <p:nvSpPr>
          <p:cNvPr id="10" name="Right Brace 9">
            <a:extLst>
              <a:ext uri="{FF2B5EF4-FFF2-40B4-BE49-F238E27FC236}">
                <a16:creationId xmlns:a16="http://schemas.microsoft.com/office/drawing/2014/main" id="{06AF26D4-B62B-3042-B266-6E5D7D65841F}"/>
              </a:ext>
            </a:extLst>
          </p:cNvPr>
          <p:cNvSpPr/>
          <p:nvPr/>
        </p:nvSpPr>
        <p:spPr>
          <a:xfrm>
            <a:off x="9920380" y="1317830"/>
            <a:ext cx="576072" cy="4726350"/>
          </a:xfrm>
          <a:prstGeom prst="rightBrace">
            <a:avLst>
              <a:gd name="adj1" fmla="val 8333"/>
              <a:gd name="adj2" fmla="val 51497"/>
            </a:avLst>
          </a:prstGeom>
          <a:ln w="12700">
            <a:solidFill>
              <a:srgbClr val="C5277F">
                <a:alpha val="30000"/>
              </a:srgb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3" name="Right Brace 12">
            <a:extLst>
              <a:ext uri="{FF2B5EF4-FFF2-40B4-BE49-F238E27FC236}">
                <a16:creationId xmlns:a16="http://schemas.microsoft.com/office/drawing/2014/main" id="{5BF75C2F-E80B-0B46-B9C8-CCA297AA8524}"/>
              </a:ext>
            </a:extLst>
          </p:cNvPr>
          <p:cNvSpPr/>
          <p:nvPr/>
        </p:nvSpPr>
        <p:spPr>
          <a:xfrm>
            <a:off x="8226664" y="4017195"/>
            <a:ext cx="503433" cy="440076"/>
          </a:xfrm>
          <a:prstGeom prst="rightBrace">
            <a:avLst>
              <a:gd name="adj1" fmla="val 8333"/>
              <a:gd name="adj2" fmla="val 50004"/>
            </a:avLst>
          </a:prstGeom>
          <a:ln w="12700">
            <a:solidFill>
              <a:srgbClr val="C5277F">
                <a:alpha val="30000"/>
              </a:srgb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4" name="Google Shape;61;p12">
            <a:extLst>
              <a:ext uri="{FF2B5EF4-FFF2-40B4-BE49-F238E27FC236}">
                <a16:creationId xmlns:a16="http://schemas.microsoft.com/office/drawing/2014/main" id="{2A671CF8-4D03-2642-9E46-590B643D49FF}"/>
              </a:ext>
            </a:extLst>
          </p:cNvPr>
          <p:cNvSpPr txBox="1">
            <a:spLocks/>
          </p:cNvSpPr>
          <p:nvPr/>
        </p:nvSpPr>
        <p:spPr>
          <a:xfrm>
            <a:off x="8687195" y="3797959"/>
            <a:ext cx="1504696" cy="878547"/>
          </a:xfrm>
          <a:prstGeom prst="rect">
            <a:avLst/>
          </a:prstGeom>
        </p:spPr>
        <p:txBody>
          <a:bodyPr spcFirstLastPara="1" vert="horz" wrap="square" lIns="91425" tIns="91425" rIns="91425" bIns="91425" rtlCol="0" anchor="ctr"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lgn="l">
              <a:spcBef>
                <a:spcPts val="0"/>
              </a:spcBef>
            </a:pPr>
            <a:r>
              <a:rPr lang="en-US" sz="900" dirty="0">
                <a:solidFill>
                  <a:srgbClr val="0067B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A call is made to the flow of Stream processing.</a:t>
            </a:r>
            <a:endParaRPr lang="en-US" sz="900" b="1" dirty="0">
              <a:solidFill>
                <a:srgbClr val="0067B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endParaRPr>
          </a:p>
        </p:txBody>
      </p:sp>
      <p:cxnSp>
        <p:nvCxnSpPr>
          <p:cNvPr id="12" name="Straight Arrow Connector 11">
            <a:extLst>
              <a:ext uri="{FF2B5EF4-FFF2-40B4-BE49-F238E27FC236}">
                <a16:creationId xmlns:a16="http://schemas.microsoft.com/office/drawing/2014/main" id="{B26AF9CE-FDCA-924B-89A8-7B3D9780F2E1}"/>
              </a:ext>
            </a:extLst>
          </p:cNvPr>
          <p:cNvCxnSpPr>
            <a:cxnSpLocks/>
          </p:cNvCxnSpPr>
          <p:nvPr/>
        </p:nvCxnSpPr>
        <p:spPr>
          <a:xfrm>
            <a:off x="7448765" y="4017194"/>
            <a:ext cx="736803" cy="0"/>
          </a:xfrm>
          <a:prstGeom prst="straightConnector1">
            <a:avLst/>
          </a:prstGeom>
          <a:ln>
            <a:solidFill>
              <a:srgbClr val="C5277F">
                <a:alpha val="30000"/>
              </a:srgbClr>
            </a:solidFill>
            <a:prstDash val="dash"/>
            <a:headEnd type="oval"/>
            <a:tailEnd type="none"/>
          </a:ln>
        </p:spPr>
        <p:style>
          <a:lnRef idx="1">
            <a:schemeClr val="accent1"/>
          </a:lnRef>
          <a:fillRef idx="0">
            <a:schemeClr val="accent1"/>
          </a:fillRef>
          <a:effectRef idx="0">
            <a:schemeClr val="accent1"/>
          </a:effectRef>
          <a:fontRef idx="minor">
            <a:schemeClr val="tx1"/>
          </a:fontRef>
        </p:style>
      </p:cxnSp>
      <p:cxnSp>
        <p:nvCxnSpPr>
          <p:cNvPr id="19" name="Straight Arrow Connector 18">
            <a:extLst>
              <a:ext uri="{FF2B5EF4-FFF2-40B4-BE49-F238E27FC236}">
                <a16:creationId xmlns:a16="http://schemas.microsoft.com/office/drawing/2014/main" id="{21ACD813-90BF-D44E-A603-95831CFD3E4A}"/>
              </a:ext>
            </a:extLst>
          </p:cNvPr>
          <p:cNvCxnSpPr>
            <a:cxnSpLocks/>
          </p:cNvCxnSpPr>
          <p:nvPr/>
        </p:nvCxnSpPr>
        <p:spPr>
          <a:xfrm>
            <a:off x="7448765" y="4457270"/>
            <a:ext cx="736803" cy="0"/>
          </a:xfrm>
          <a:prstGeom prst="straightConnector1">
            <a:avLst/>
          </a:prstGeom>
          <a:ln>
            <a:solidFill>
              <a:srgbClr val="C5277F">
                <a:alpha val="30000"/>
              </a:srgbClr>
            </a:solidFill>
            <a:prstDash val="dash"/>
            <a:headEnd type="oval"/>
            <a:tailEnd type="none"/>
          </a:ln>
        </p:spPr>
        <p:style>
          <a:lnRef idx="1">
            <a:schemeClr val="accent1"/>
          </a:lnRef>
          <a:fillRef idx="0">
            <a:schemeClr val="accent1"/>
          </a:fillRef>
          <a:effectRef idx="0">
            <a:schemeClr val="accent1"/>
          </a:effectRef>
          <a:fontRef idx="minor">
            <a:schemeClr val="tx1"/>
          </a:fontRef>
        </p:style>
      </p:cxnSp>
      <p:cxnSp>
        <p:nvCxnSpPr>
          <p:cNvPr id="20" name="Straight Arrow Connector 19">
            <a:extLst>
              <a:ext uri="{FF2B5EF4-FFF2-40B4-BE49-F238E27FC236}">
                <a16:creationId xmlns:a16="http://schemas.microsoft.com/office/drawing/2014/main" id="{49821BA8-E5A2-7840-A1FD-0202B7E028DC}"/>
              </a:ext>
            </a:extLst>
          </p:cNvPr>
          <p:cNvCxnSpPr>
            <a:cxnSpLocks/>
          </p:cNvCxnSpPr>
          <p:nvPr/>
        </p:nvCxnSpPr>
        <p:spPr>
          <a:xfrm>
            <a:off x="8528710" y="1317830"/>
            <a:ext cx="1355094" cy="0"/>
          </a:xfrm>
          <a:prstGeom prst="straightConnector1">
            <a:avLst/>
          </a:prstGeom>
          <a:ln>
            <a:solidFill>
              <a:srgbClr val="C5277F">
                <a:alpha val="30000"/>
              </a:srgbClr>
            </a:solidFill>
            <a:prstDash val="dash"/>
            <a:headEnd type="oval"/>
            <a:tailEnd type="none"/>
          </a:ln>
        </p:spPr>
        <p:style>
          <a:lnRef idx="1">
            <a:schemeClr val="accent1"/>
          </a:lnRef>
          <a:fillRef idx="0">
            <a:schemeClr val="accent1"/>
          </a:fillRef>
          <a:effectRef idx="0">
            <a:schemeClr val="accent1"/>
          </a:effectRef>
          <a:fontRef idx="minor">
            <a:schemeClr val="tx1"/>
          </a:fontRef>
        </p:style>
      </p:cxnSp>
      <p:cxnSp>
        <p:nvCxnSpPr>
          <p:cNvPr id="23" name="Straight Arrow Connector 22">
            <a:extLst>
              <a:ext uri="{FF2B5EF4-FFF2-40B4-BE49-F238E27FC236}">
                <a16:creationId xmlns:a16="http://schemas.microsoft.com/office/drawing/2014/main" id="{804CD2E5-76B9-3544-A5D3-44CB4E0C5219}"/>
              </a:ext>
            </a:extLst>
          </p:cNvPr>
          <p:cNvCxnSpPr>
            <a:cxnSpLocks/>
          </p:cNvCxnSpPr>
          <p:nvPr/>
        </p:nvCxnSpPr>
        <p:spPr>
          <a:xfrm>
            <a:off x="8498230" y="6044180"/>
            <a:ext cx="1355094" cy="0"/>
          </a:xfrm>
          <a:prstGeom prst="straightConnector1">
            <a:avLst/>
          </a:prstGeom>
          <a:ln>
            <a:solidFill>
              <a:srgbClr val="C5277F">
                <a:alpha val="30000"/>
              </a:srgbClr>
            </a:solidFill>
            <a:prstDash val="dash"/>
            <a:headEnd type="oval"/>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11186177"/>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8" name="Rectangle 3"/>
          <p:cNvSpPr txBox="1"/>
          <p:nvPr/>
        </p:nvSpPr>
        <p:spPr>
          <a:xfrm>
            <a:off x="377374" y="524553"/>
            <a:ext cx="9173233" cy="369328"/>
          </a:xfrm>
          <a:prstGeom prst="rect">
            <a:avLst/>
          </a:prstGeom>
          <a:ln w="12700">
            <a:miter lim="400000"/>
          </a:ln>
          <a:extLst>
            <a:ext uri="{C572A759-6A51-4108-AA02-DFA0A04FC94B}">
              <ma14:wrappingTextBoxFlag xmlns="" xmlns:ma14="http://schemas.microsoft.com/office/mac/drawingml/2011/main" val="1"/>
            </a:ext>
          </a:extLst>
        </p:spPr>
        <p:txBody>
          <a:bodyPr wrap="square" lIns="45718" tIns="45718" rIns="45718" bIns="45718">
            <a:spAutoFit/>
          </a:bodyPr>
          <a:lstStyle>
            <a:lvl1pPr algn="l" defTabSz="914400">
              <a:defRPr sz="2000">
                <a:solidFill>
                  <a:srgbClr val="104D6A"/>
                </a:solidFill>
                <a:latin typeface="Arial"/>
                <a:ea typeface="Arial"/>
                <a:cs typeface="Arial"/>
                <a:sym typeface="Arial"/>
              </a:defRPr>
            </a:lvl1pPr>
          </a:lstStyle>
          <a:p>
            <a:pPr lvl="0">
              <a:defRPr/>
            </a:pPr>
            <a:r>
              <a:rPr lang="en-US" sz="1800" b="1" dirty="0">
                <a:solidFill>
                  <a:srgbClr val="73C4EF"/>
                </a:solidFill>
              </a:rPr>
              <a:t> Event Hub Architecture -  Internal Structure Of </a:t>
            </a:r>
            <a:r>
              <a:rPr lang="en-US" sz="1800" b="1" dirty="0" err="1">
                <a:solidFill>
                  <a:srgbClr val="73C4EF"/>
                </a:solidFill>
              </a:rPr>
              <a:t>ProducerService</a:t>
            </a:r>
            <a:r>
              <a:rPr lang="en-US" sz="1800" b="1" dirty="0">
                <a:solidFill>
                  <a:srgbClr val="73C4EF"/>
                </a:solidFill>
              </a:rPr>
              <a:t> I - (CQRS) pattern </a:t>
            </a:r>
          </a:p>
        </p:txBody>
      </p:sp>
      <p:sp>
        <p:nvSpPr>
          <p:cNvPr id="5" name="Rectangle 3">
            <a:extLst>
              <a:ext uri="{FF2B5EF4-FFF2-40B4-BE49-F238E27FC236}">
                <a16:creationId xmlns:a16="http://schemas.microsoft.com/office/drawing/2014/main" id="{F3BCF96F-43FE-3A4D-B4EC-B79E124C9963}"/>
              </a:ext>
            </a:extLst>
          </p:cNvPr>
          <p:cNvSpPr txBox="1"/>
          <p:nvPr/>
        </p:nvSpPr>
        <p:spPr>
          <a:xfrm>
            <a:off x="404806" y="92199"/>
            <a:ext cx="7585857" cy="400105"/>
          </a:xfrm>
          <a:prstGeom prst="rect">
            <a:avLst/>
          </a:prstGeom>
          <a:ln w="12700">
            <a:miter lim="400000"/>
          </a:ln>
          <a:extLst>
            <a:ext uri="{C572A759-6A51-4108-AA02-DFA0A04FC94B}">
              <ma14:wrappingTextBoxFlag xmlns:ma14="http://schemas.microsoft.com/office/mac/drawingml/2011/main" xmlns="" val="1"/>
            </a:ext>
          </a:extLst>
        </p:spPr>
        <p:txBody>
          <a:bodyPr wrap="square" lIns="45718" tIns="45718" rIns="45718" bIns="45718">
            <a:spAutoFit/>
          </a:bodyPr>
          <a:lstStyle>
            <a:lvl1pPr algn="l" defTabSz="914400">
              <a:defRPr sz="2200" b="1">
                <a:solidFill>
                  <a:srgbClr val="FFFFFF"/>
                </a:solidFill>
                <a:latin typeface="Arial"/>
                <a:ea typeface="Arial"/>
                <a:cs typeface="Arial"/>
                <a:sym typeface="Arial"/>
              </a:defRPr>
            </a:lvl1pPr>
          </a:lstStyle>
          <a:p>
            <a:r>
              <a:rPr lang="en-US" sz="2000" dirty="0">
                <a:solidFill>
                  <a:srgbClr val="016AA2"/>
                </a:solidFill>
              </a:rPr>
              <a:t>Needs and Solution Proposal (XIII)</a:t>
            </a:r>
          </a:p>
        </p:txBody>
      </p:sp>
      <p:sp>
        <p:nvSpPr>
          <p:cNvPr id="40" name="Hexagon 39">
            <a:extLst>
              <a:ext uri="{FF2B5EF4-FFF2-40B4-BE49-F238E27FC236}">
                <a16:creationId xmlns:a16="http://schemas.microsoft.com/office/drawing/2014/main" id="{E629E698-AD8D-4246-8E3D-3F2E7EB2F0EA}"/>
              </a:ext>
            </a:extLst>
          </p:cNvPr>
          <p:cNvSpPr/>
          <p:nvPr/>
        </p:nvSpPr>
        <p:spPr>
          <a:xfrm>
            <a:off x="5561076" y="1857971"/>
            <a:ext cx="1417320" cy="1042416"/>
          </a:xfrm>
          <a:prstGeom prst="hexagon">
            <a:avLst/>
          </a:prstGeom>
          <a:solidFill>
            <a:srgbClr val="87CBD8"/>
          </a:solidFill>
          <a:ln w="9525">
            <a:solidFill>
              <a:srgbClr val="0067B7"/>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300" dirty="0">
              <a:solidFill>
                <a:srgbClr val="0067B7"/>
              </a:solidFill>
              <a:effectLst>
                <a:outerShdw blurRad="50800" dist="50800" dir="5400000" algn="ctr" rotWithShape="0">
                  <a:srgbClr val="000000">
                    <a:alpha val="0"/>
                  </a:srgbClr>
                </a:outerShdw>
                <a:reflection endPos="0" dist="50800" dir="5400000" sy="-100000" algn="bl" rotWithShape="0"/>
              </a:effectLst>
              <a:latin typeface="+mj-lt"/>
              <a:ea typeface="Klee Medium" panose="02020600000000000000" pitchFamily="18" charset="-128"/>
            </a:endParaRPr>
          </a:p>
        </p:txBody>
      </p:sp>
      <p:sp>
        <p:nvSpPr>
          <p:cNvPr id="41" name="Rounded Rectangle 40">
            <a:extLst>
              <a:ext uri="{FF2B5EF4-FFF2-40B4-BE49-F238E27FC236}">
                <a16:creationId xmlns:a16="http://schemas.microsoft.com/office/drawing/2014/main" id="{08D1F552-B763-C540-9007-43C2C8FEC994}"/>
              </a:ext>
            </a:extLst>
          </p:cNvPr>
          <p:cNvSpPr/>
          <p:nvPr/>
        </p:nvSpPr>
        <p:spPr>
          <a:xfrm>
            <a:off x="4653496" y="2298092"/>
            <a:ext cx="737588" cy="196297"/>
          </a:xfrm>
          <a:prstGeom prst="roundRect">
            <a:avLst/>
          </a:prstGeom>
          <a:solidFill>
            <a:srgbClr val="0067B7"/>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900" dirty="0" err="1">
                <a:solidFill>
                  <a:schemeClr val="bg1">
                    <a:lumMod val="95000"/>
                  </a:schemeClr>
                </a:solidFill>
                <a:latin typeface="Arial" pitchFamily="34" charset="0"/>
                <a:cs typeface="Arial" pitchFamily="34" charset="0"/>
              </a:rPr>
              <a:t>Massagge</a:t>
            </a:r>
            <a:endParaRPr lang="en-US" sz="900" dirty="0">
              <a:solidFill>
                <a:schemeClr val="bg1">
                  <a:lumMod val="95000"/>
                </a:schemeClr>
              </a:solidFill>
              <a:latin typeface="Arial" pitchFamily="34" charset="0"/>
              <a:cs typeface="Arial" pitchFamily="34" charset="0"/>
            </a:endParaRPr>
          </a:p>
        </p:txBody>
      </p:sp>
      <p:sp>
        <p:nvSpPr>
          <p:cNvPr id="42" name="Google Shape;61;p12">
            <a:extLst>
              <a:ext uri="{FF2B5EF4-FFF2-40B4-BE49-F238E27FC236}">
                <a16:creationId xmlns:a16="http://schemas.microsoft.com/office/drawing/2014/main" id="{A7355BAB-7B47-D14C-AA0E-0DD8C04FAE32}"/>
              </a:ext>
            </a:extLst>
          </p:cNvPr>
          <p:cNvSpPr txBox="1">
            <a:spLocks/>
          </p:cNvSpPr>
          <p:nvPr/>
        </p:nvSpPr>
        <p:spPr>
          <a:xfrm>
            <a:off x="4718910" y="2494389"/>
            <a:ext cx="672174" cy="275128"/>
          </a:xfrm>
          <a:prstGeom prst="rect">
            <a:avLst/>
          </a:prstGeom>
        </p:spPr>
        <p:txBody>
          <a:bodyPr spcFirstLastPara="1" vert="horz" wrap="square" lIns="91425" tIns="91425" rIns="91425" bIns="91425" rtlCol="0" anchor="ctr"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spcBef>
                <a:spcPts val="0"/>
              </a:spcBef>
            </a:pPr>
            <a:r>
              <a:rPr lang="en-US" sz="1000" b="1" dirty="0" err="1">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EndPoint</a:t>
            </a:r>
            <a:endParaRPr lang="en-US" sz="1000" b="1" dirty="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endParaRPr>
          </a:p>
        </p:txBody>
      </p:sp>
      <p:sp>
        <p:nvSpPr>
          <p:cNvPr id="44" name="Hexagon 43">
            <a:extLst>
              <a:ext uri="{FF2B5EF4-FFF2-40B4-BE49-F238E27FC236}">
                <a16:creationId xmlns:a16="http://schemas.microsoft.com/office/drawing/2014/main" id="{19D0B805-749D-1045-BF88-C41CAD27C148}"/>
              </a:ext>
            </a:extLst>
          </p:cNvPr>
          <p:cNvSpPr/>
          <p:nvPr/>
        </p:nvSpPr>
        <p:spPr>
          <a:xfrm>
            <a:off x="5864484" y="2084094"/>
            <a:ext cx="852976" cy="592669"/>
          </a:xfrm>
          <a:prstGeom prst="hexagon">
            <a:avLst/>
          </a:prstGeom>
          <a:solidFill>
            <a:schemeClr val="bg1"/>
          </a:solidFill>
          <a:ln w="9525">
            <a:solidFill>
              <a:srgbClr val="0067B7"/>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800" dirty="0">
                <a:solidFill>
                  <a:srgbClr val="0067B7"/>
                </a:solidFill>
                <a:effectLst>
                  <a:outerShdw blurRad="50800" dist="50800" dir="5400000" algn="ctr" rotWithShape="0">
                    <a:srgbClr val="000000">
                      <a:alpha val="0"/>
                    </a:srgbClr>
                  </a:outerShdw>
                  <a:reflection endPos="0" dist="50800" dir="5400000" sy="-100000" algn="bl" rotWithShape="0"/>
                </a:effectLst>
                <a:latin typeface="+mj-lt"/>
                <a:ea typeface="Klee Medium" panose="02020600000000000000" pitchFamily="18" charset="-128"/>
              </a:rPr>
              <a:t>Business</a:t>
            </a:r>
          </a:p>
          <a:p>
            <a:pPr algn="ctr"/>
            <a:r>
              <a:rPr lang="en-US" sz="800" dirty="0">
                <a:solidFill>
                  <a:srgbClr val="0067B7"/>
                </a:solidFill>
                <a:effectLst>
                  <a:outerShdw blurRad="50800" dist="50800" dir="5400000" algn="ctr" rotWithShape="0">
                    <a:srgbClr val="000000">
                      <a:alpha val="0"/>
                    </a:srgbClr>
                  </a:outerShdw>
                  <a:reflection endPos="0" dist="50800" dir="5400000" sy="-100000" algn="bl" rotWithShape="0"/>
                </a:effectLst>
                <a:latin typeface="+mj-lt"/>
                <a:ea typeface="Klee Medium" panose="02020600000000000000" pitchFamily="18" charset="-128"/>
              </a:rPr>
              <a:t>Logic</a:t>
            </a:r>
          </a:p>
        </p:txBody>
      </p:sp>
      <p:sp>
        <p:nvSpPr>
          <p:cNvPr id="45" name="Rectangle 44">
            <a:extLst>
              <a:ext uri="{FF2B5EF4-FFF2-40B4-BE49-F238E27FC236}">
                <a16:creationId xmlns:a16="http://schemas.microsoft.com/office/drawing/2014/main" id="{45F7419E-826B-624E-9FE0-E87BF413B315}"/>
              </a:ext>
            </a:extLst>
          </p:cNvPr>
          <p:cNvSpPr/>
          <p:nvPr/>
        </p:nvSpPr>
        <p:spPr>
          <a:xfrm rot="16200000">
            <a:off x="5314188" y="2276488"/>
            <a:ext cx="420624" cy="246888"/>
          </a:xfrm>
          <a:prstGeom prst="rect">
            <a:avLst/>
          </a:prstGeom>
          <a:solidFill>
            <a:srgbClr val="F26F27"/>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900" dirty="0">
                <a:solidFill>
                  <a:srgbClr val="002D72"/>
                </a:solidFill>
                <a:latin typeface="Arial" pitchFamily="34" charset="0"/>
                <a:cs typeface="Arial" pitchFamily="34" charset="0"/>
              </a:rPr>
              <a:t>API</a:t>
            </a:r>
          </a:p>
        </p:txBody>
      </p:sp>
      <p:sp>
        <p:nvSpPr>
          <p:cNvPr id="46" name="Google Shape;61;p12">
            <a:extLst>
              <a:ext uri="{FF2B5EF4-FFF2-40B4-BE49-F238E27FC236}">
                <a16:creationId xmlns:a16="http://schemas.microsoft.com/office/drawing/2014/main" id="{5370A08A-840E-9340-9363-993604272083}"/>
              </a:ext>
            </a:extLst>
          </p:cNvPr>
          <p:cNvSpPr txBox="1">
            <a:spLocks/>
          </p:cNvSpPr>
          <p:nvPr/>
        </p:nvSpPr>
        <p:spPr>
          <a:xfrm>
            <a:off x="3032564" y="2114962"/>
            <a:ext cx="1610960" cy="275128"/>
          </a:xfrm>
          <a:prstGeom prst="rect">
            <a:avLst/>
          </a:prstGeom>
        </p:spPr>
        <p:txBody>
          <a:bodyPr spcFirstLastPara="1" vert="horz" wrap="square" lIns="91425" tIns="91425" rIns="91425" bIns="91425" rtlCol="0" anchor="ctr"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spcBef>
                <a:spcPts val="0"/>
              </a:spcBef>
            </a:pPr>
            <a:r>
              <a:rPr lang="en-US" sz="1000" dirty="0">
                <a:solidFill>
                  <a:schemeClr val="tx1">
                    <a:lumMod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POST 1 PUT 1 PATCH ] /message </a:t>
            </a:r>
          </a:p>
        </p:txBody>
      </p:sp>
      <p:sp>
        <p:nvSpPr>
          <p:cNvPr id="47" name="Can 46">
            <a:extLst>
              <a:ext uri="{FF2B5EF4-FFF2-40B4-BE49-F238E27FC236}">
                <a16:creationId xmlns:a16="http://schemas.microsoft.com/office/drawing/2014/main" id="{1ADAFFC3-2B14-0D45-B3A8-F40ED88425AA}"/>
              </a:ext>
            </a:extLst>
          </p:cNvPr>
          <p:cNvSpPr/>
          <p:nvPr/>
        </p:nvSpPr>
        <p:spPr>
          <a:xfrm rot="5400000">
            <a:off x="8067186" y="1899640"/>
            <a:ext cx="457200" cy="963308"/>
          </a:xfrm>
          <a:prstGeom prst="can">
            <a:avLst/>
          </a:prstGeom>
          <a:solidFill>
            <a:srgbClr val="0070C0"/>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vert="vert270" tIns="90000" bIns="90000" rtlCol="0" anchor="ctr" anchorCtr="0"/>
          <a:lstStyle/>
          <a:p>
            <a:pPr algn="ctr"/>
            <a:r>
              <a:rPr lang="en-US" sz="900" dirty="0">
                <a:solidFill>
                  <a:schemeClr val="bg1">
                    <a:lumMod val="95000"/>
                  </a:schemeClr>
                </a:solidFill>
                <a:latin typeface="Arial" pitchFamily="34" charset="0"/>
                <a:cs typeface="Arial" pitchFamily="34" charset="0"/>
              </a:rPr>
              <a:t>Event Hub</a:t>
            </a:r>
          </a:p>
        </p:txBody>
      </p:sp>
      <p:cxnSp>
        <p:nvCxnSpPr>
          <p:cNvPr id="48" name="Elbow Connector 47">
            <a:extLst>
              <a:ext uri="{FF2B5EF4-FFF2-40B4-BE49-F238E27FC236}">
                <a16:creationId xmlns:a16="http://schemas.microsoft.com/office/drawing/2014/main" id="{373343F5-6B7C-6745-933F-A8E9A16BE32E}"/>
              </a:ext>
            </a:extLst>
          </p:cNvPr>
          <p:cNvCxnSpPr>
            <a:cxnSpLocks/>
            <a:stCxn id="40" idx="0"/>
            <a:endCxn id="47" idx="3"/>
          </p:cNvCxnSpPr>
          <p:nvPr/>
        </p:nvCxnSpPr>
        <p:spPr>
          <a:xfrm>
            <a:off x="6978396" y="2379179"/>
            <a:ext cx="835736" cy="2115"/>
          </a:xfrm>
          <a:prstGeom prst="bentConnector3">
            <a:avLst/>
          </a:prstGeom>
          <a:ln>
            <a:solidFill>
              <a:srgbClr val="0067B7"/>
            </a:solidFill>
            <a:tailEnd type="triangle"/>
          </a:ln>
        </p:spPr>
        <p:style>
          <a:lnRef idx="1">
            <a:schemeClr val="accent1"/>
          </a:lnRef>
          <a:fillRef idx="0">
            <a:schemeClr val="accent1"/>
          </a:fillRef>
          <a:effectRef idx="0">
            <a:schemeClr val="accent1"/>
          </a:effectRef>
          <a:fontRef idx="minor">
            <a:schemeClr val="tx1"/>
          </a:fontRef>
        </p:style>
      </p:cxnSp>
      <p:sp>
        <p:nvSpPr>
          <p:cNvPr id="49" name="Hexagon 48">
            <a:extLst>
              <a:ext uri="{FF2B5EF4-FFF2-40B4-BE49-F238E27FC236}">
                <a16:creationId xmlns:a16="http://schemas.microsoft.com/office/drawing/2014/main" id="{769AA44F-EFA5-724E-A9FB-A3E60D8D5A88}"/>
              </a:ext>
            </a:extLst>
          </p:cNvPr>
          <p:cNvSpPr/>
          <p:nvPr/>
        </p:nvSpPr>
        <p:spPr>
          <a:xfrm>
            <a:off x="9207208" y="1570466"/>
            <a:ext cx="343400" cy="371315"/>
          </a:xfrm>
          <a:prstGeom prst="hexagon">
            <a:avLst/>
          </a:prstGeom>
          <a:solidFill>
            <a:srgbClr val="87CBD8"/>
          </a:solidFill>
          <a:ln w="9525">
            <a:solidFill>
              <a:srgbClr val="0067B7"/>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300" dirty="0">
              <a:solidFill>
                <a:srgbClr val="0067B7"/>
              </a:solidFill>
              <a:effectLst>
                <a:outerShdw blurRad="50800" dist="50800" dir="5400000" algn="ctr" rotWithShape="0">
                  <a:srgbClr val="000000">
                    <a:alpha val="0"/>
                  </a:srgbClr>
                </a:outerShdw>
                <a:reflection endPos="0" dist="50800" dir="5400000" sy="-100000" algn="bl" rotWithShape="0"/>
              </a:effectLst>
              <a:latin typeface="+mj-lt"/>
              <a:ea typeface="Klee Medium" panose="02020600000000000000" pitchFamily="18" charset="-128"/>
            </a:endParaRPr>
          </a:p>
        </p:txBody>
      </p:sp>
      <p:sp>
        <p:nvSpPr>
          <p:cNvPr id="50" name="Hexagon 49">
            <a:extLst>
              <a:ext uri="{FF2B5EF4-FFF2-40B4-BE49-F238E27FC236}">
                <a16:creationId xmlns:a16="http://schemas.microsoft.com/office/drawing/2014/main" id="{817DE555-4ACC-2B48-9F2F-68204878E19F}"/>
              </a:ext>
            </a:extLst>
          </p:cNvPr>
          <p:cNvSpPr/>
          <p:nvPr/>
        </p:nvSpPr>
        <p:spPr>
          <a:xfrm>
            <a:off x="9673552" y="2193521"/>
            <a:ext cx="370551" cy="371315"/>
          </a:xfrm>
          <a:prstGeom prst="hexagon">
            <a:avLst/>
          </a:prstGeom>
          <a:solidFill>
            <a:srgbClr val="87CBD8"/>
          </a:solidFill>
          <a:ln w="9525">
            <a:solidFill>
              <a:srgbClr val="0067B7"/>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300" dirty="0">
              <a:solidFill>
                <a:srgbClr val="0067B7"/>
              </a:solidFill>
              <a:effectLst>
                <a:outerShdw blurRad="50800" dist="50800" dir="5400000" algn="ctr" rotWithShape="0">
                  <a:srgbClr val="000000">
                    <a:alpha val="0"/>
                  </a:srgbClr>
                </a:outerShdw>
                <a:reflection endPos="0" dist="50800" dir="5400000" sy="-100000" algn="bl" rotWithShape="0"/>
              </a:effectLst>
              <a:latin typeface="+mj-lt"/>
              <a:ea typeface="Klee Medium" panose="02020600000000000000" pitchFamily="18" charset="-128"/>
            </a:endParaRPr>
          </a:p>
        </p:txBody>
      </p:sp>
      <p:sp>
        <p:nvSpPr>
          <p:cNvPr id="51" name="Hexagon 50">
            <a:extLst>
              <a:ext uri="{FF2B5EF4-FFF2-40B4-BE49-F238E27FC236}">
                <a16:creationId xmlns:a16="http://schemas.microsoft.com/office/drawing/2014/main" id="{ABCEAE7B-EC5B-7B42-B6DD-91E5F6470187}"/>
              </a:ext>
            </a:extLst>
          </p:cNvPr>
          <p:cNvSpPr/>
          <p:nvPr/>
        </p:nvSpPr>
        <p:spPr>
          <a:xfrm>
            <a:off x="9207208" y="2783521"/>
            <a:ext cx="343400" cy="371315"/>
          </a:xfrm>
          <a:prstGeom prst="hexagon">
            <a:avLst/>
          </a:prstGeom>
          <a:solidFill>
            <a:srgbClr val="87CBD8"/>
          </a:solidFill>
          <a:ln w="9525">
            <a:solidFill>
              <a:srgbClr val="0067B7"/>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300" dirty="0">
              <a:solidFill>
                <a:srgbClr val="0067B7"/>
              </a:solidFill>
              <a:effectLst>
                <a:outerShdw blurRad="50800" dist="50800" dir="5400000" algn="ctr" rotWithShape="0">
                  <a:srgbClr val="000000">
                    <a:alpha val="0"/>
                  </a:srgbClr>
                </a:outerShdw>
                <a:reflection endPos="0" dist="50800" dir="5400000" sy="-100000" algn="bl" rotWithShape="0"/>
              </a:effectLst>
              <a:latin typeface="+mj-lt"/>
              <a:ea typeface="Klee Medium" panose="02020600000000000000" pitchFamily="18" charset="-128"/>
            </a:endParaRPr>
          </a:p>
        </p:txBody>
      </p:sp>
      <p:cxnSp>
        <p:nvCxnSpPr>
          <p:cNvPr id="54" name="Straight Arrow Connector 53">
            <a:extLst>
              <a:ext uri="{FF2B5EF4-FFF2-40B4-BE49-F238E27FC236}">
                <a16:creationId xmlns:a16="http://schemas.microsoft.com/office/drawing/2014/main" id="{3DAE3B21-5C02-C549-84F4-78D7946CB6ED}"/>
              </a:ext>
            </a:extLst>
          </p:cNvPr>
          <p:cNvCxnSpPr>
            <a:cxnSpLocks/>
            <a:stCxn id="47" idx="1"/>
            <a:endCxn id="49" idx="3"/>
          </p:cNvCxnSpPr>
          <p:nvPr/>
        </p:nvCxnSpPr>
        <p:spPr>
          <a:xfrm flipV="1">
            <a:off x="8777440" y="1756124"/>
            <a:ext cx="429768" cy="625170"/>
          </a:xfrm>
          <a:prstGeom prst="straightConnector1">
            <a:avLst/>
          </a:prstGeom>
          <a:ln>
            <a:solidFill>
              <a:srgbClr val="0067B7"/>
            </a:solidFill>
            <a:tailEnd type="triangle"/>
          </a:ln>
        </p:spPr>
        <p:style>
          <a:lnRef idx="1">
            <a:schemeClr val="accent1"/>
          </a:lnRef>
          <a:fillRef idx="0">
            <a:schemeClr val="accent1"/>
          </a:fillRef>
          <a:effectRef idx="0">
            <a:schemeClr val="accent1"/>
          </a:effectRef>
          <a:fontRef idx="minor">
            <a:schemeClr val="tx1"/>
          </a:fontRef>
        </p:style>
      </p:cxnSp>
      <p:cxnSp>
        <p:nvCxnSpPr>
          <p:cNvPr id="56" name="Straight Arrow Connector 55">
            <a:extLst>
              <a:ext uri="{FF2B5EF4-FFF2-40B4-BE49-F238E27FC236}">
                <a16:creationId xmlns:a16="http://schemas.microsoft.com/office/drawing/2014/main" id="{7CE0568A-B211-D24B-B3DD-E11DAB7B06CB}"/>
              </a:ext>
            </a:extLst>
          </p:cNvPr>
          <p:cNvCxnSpPr>
            <a:cxnSpLocks/>
            <a:stCxn id="47" idx="1"/>
            <a:endCxn id="50" idx="3"/>
          </p:cNvCxnSpPr>
          <p:nvPr/>
        </p:nvCxnSpPr>
        <p:spPr>
          <a:xfrm flipV="1">
            <a:off x="8777440" y="2379179"/>
            <a:ext cx="896112" cy="2115"/>
          </a:xfrm>
          <a:prstGeom prst="straightConnector1">
            <a:avLst/>
          </a:prstGeom>
          <a:ln>
            <a:solidFill>
              <a:srgbClr val="0067B7"/>
            </a:solidFill>
            <a:tailEnd type="triangle"/>
          </a:ln>
        </p:spPr>
        <p:style>
          <a:lnRef idx="1">
            <a:schemeClr val="accent1"/>
          </a:lnRef>
          <a:fillRef idx="0">
            <a:schemeClr val="accent1"/>
          </a:fillRef>
          <a:effectRef idx="0">
            <a:schemeClr val="accent1"/>
          </a:effectRef>
          <a:fontRef idx="minor">
            <a:schemeClr val="tx1"/>
          </a:fontRef>
        </p:style>
      </p:cxnSp>
      <p:cxnSp>
        <p:nvCxnSpPr>
          <p:cNvPr id="57" name="Straight Arrow Connector 56">
            <a:extLst>
              <a:ext uri="{FF2B5EF4-FFF2-40B4-BE49-F238E27FC236}">
                <a16:creationId xmlns:a16="http://schemas.microsoft.com/office/drawing/2014/main" id="{52070628-02F4-594C-82C8-03767203E691}"/>
              </a:ext>
            </a:extLst>
          </p:cNvPr>
          <p:cNvCxnSpPr>
            <a:cxnSpLocks/>
            <a:stCxn id="47" idx="1"/>
            <a:endCxn id="51" idx="3"/>
          </p:cNvCxnSpPr>
          <p:nvPr/>
        </p:nvCxnSpPr>
        <p:spPr>
          <a:xfrm>
            <a:off x="8777440" y="2381294"/>
            <a:ext cx="429768" cy="587885"/>
          </a:xfrm>
          <a:prstGeom prst="straightConnector1">
            <a:avLst/>
          </a:prstGeom>
          <a:ln>
            <a:solidFill>
              <a:srgbClr val="0067B7"/>
            </a:solidFill>
            <a:tailEnd type="triangle"/>
          </a:ln>
        </p:spPr>
        <p:style>
          <a:lnRef idx="1">
            <a:schemeClr val="accent1"/>
          </a:lnRef>
          <a:fillRef idx="0">
            <a:schemeClr val="accent1"/>
          </a:fillRef>
          <a:effectRef idx="0">
            <a:schemeClr val="accent1"/>
          </a:effectRef>
          <a:fontRef idx="minor">
            <a:schemeClr val="tx1"/>
          </a:fontRef>
        </p:style>
      </p:cxnSp>
      <p:sp>
        <p:nvSpPr>
          <p:cNvPr id="59" name="Google Shape;61;p12">
            <a:extLst>
              <a:ext uri="{FF2B5EF4-FFF2-40B4-BE49-F238E27FC236}">
                <a16:creationId xmlns:a16="http://schemas.microsoft.com/office/drawing/2014/main" id="{EE092DE3-D5F2-6648-A1A6-0B547BEA30E5}"/>
              </a:ext>
            </a:extLst>
          </p:cNvPr>
          <p:cNvSpPr txBox="1">
            <a:spLocks/>
          </p:cNvSpPr>
          <p:nvPr/>
        </p:nvSpPr>
        <p:spPr>
          <a:xfrm>
            <a:off x="8772618" y="2090863"/>
            <a:ext cx="1052310" cy="275128"/>
          </a:xfrm>
          <a:prstGeom prst="rect">
            <a:avLst/>
          </a:prstGeom>
        </p:spPr>
        <p:txBody>
          <a:bodyPr spcFirstLastPara="1" vert="horz" wrap="square" lIns="91425" tIns="91425" rIns="91425" bIns="91425" rtlCol="0" anchor="ctr"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spcBef>
                <a:spcPts val="0"/>
              </a:spcBef>
            </a:pPr>
            <a:r>
              <a:rPr lang="en-US" sz="1100" b="1" dirty="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Events</a:t>
            </a:r>
          </a:p>
        </p:txBody>
      </p:sp>
      <p:sp>
        <p:nvSpPr>
          <p:cNvPr id="60" name="Google Shape;61;p12">
            <a:extLst>
              <a:ext uri="{FF2B5EF4-FFF2-40B4-BE49-F238E27FC236}">
                <a16:creationId xmlns:a16="http://schemas.microsoft.com/office/drawing/2014/main" id="{FADFE297-5AAA-634E-9334-AFD44B2B3441}"/>
              </a:ext>
            </a:extLst>
          </p:cNvPr>
          <p:cNvSpPr txBox="1">
            <a:spLocks/>
          </p:cNvSpPr>
          <p:nvPr/>
        </p:nvSpPr>
        <p:spPr>
          <a:xfrm>
            <a:off x="6868836" y="2390090"/>
            <a:ext cx="711623" cy="297585"/>
          </a:xfrm>
          <a:prstGeom prst="rect">
            <a:avLst/>
          </a:prstGeom>
        </p:spPr>
        <p:txBody>
          <a:bodyPr spcFirstLastPara="1" vert="horz" wrap="square" lIns="91425" tIns="91425" rIns="91425" bIns="91425" rtlCol="0" anchor="ctr"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spcBef>
                <a:spcPts val="0"/>
              </a:spcBef>
            </a:pPr>
            <a:r>
              <a:rPr lang="en-US" sz="1100" b="1" dirty="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Commands</a:t>
            </a:r>
          </a:p>
        </p:txBody>
      </p:sp>
      <p:sp>
        <p:nvSpPr>
          <p:cNvPr id="61" name="Google Shape;61;p12">
            <a:extLst>
              <a:ext uri="{FF2B5EF4-FFF2-40B4-BE49-F238E27FC236}">
                <a16:creationId xmlns:a16="http://schemas.microsoft.com/office/drawing/2014/main" id="{450BFEC9-393F-DF46-920C-A251E64DEB1B}"/>
              </a:ext>
            </a:extLst>
          </p:cNvPr>
          <p:cNvSpPr txBox="1">
            <a:spLocks/>
          </p:cNvSpPr>
          <p:nvPr/>
        </p:nvSpPr>
        <p:spPr>
          <a:xfrm>
            <a:off x="781686" y="5227915"/>
            <a:ext cx="10977498" cy="1001689"/>
          </a:xfrm>
          <a:prstGeom prst="rect">
            <a:avLst/>
          </a:prstGeom>
        </p:spPr>
        <p:txBody>
          <a:bodyPr spcFirstLastPara="1" vert="horz" wrap="square" lIns="91425" tIns="91425" rIns="91425" bIns="91425" rtlCol="0" anchor="ctr"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marL="171450" indent="-171450" algn="l">
              <a:spcBef>
                <a:spcPts val="0"/>
              </a:spcBef>
              <a:buFont typeface="Arial" panose="020B0604020202020204" pitchFamily="34" charset="0"/>
              <a:buChar char="•"/>
            </a:pPr>
            <a:r>
              <a:rPr lang="en-US" sz="1200" dirty="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It is combined with event provisioning, as it ensures that all changes made to a resource state are stored as a sequence of immutable events in an event log.</a:t>
            </a:r>
          </a:p>
          <a:p>
            <a:pPr marL="171450" indent="-171450" algn="l">
              <a:spcBef>
                <a:spcPts val="0"/>
              </a:spcBef>
              <a:buFont typeface="Arial" panose="020B0604020202020204" pitchFamily="34" charset="0"/>
              <a:buChar char="•"/>
            </a:pPr>
            <a:r>
              <a:rPr lang="en-US" sz="1200" dirty="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It allows the reconstruction of the last state of the resource simply by reproducing the events.</a:t>
            </a:r>
          </a:p>
          <a:p>
            <a:pPr marL="171450" indent="-171450" algn="l">
              <a:spcBef>
                <a:spcPts val="0"/>
              </a:spcBef>
              <a:buFont typeface="Arial" panose="020B0604020202020204" pitchFamily="34" charset="0"/>
              <a:buChar char="•"/>
            </a:pPr>
            <a:r>
              <a:rPr lang="en-US" sz="1200" dirty="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The solution is very useful not only because it allows different systems to consume changes in resource status such as a series of events in the registry through an Event Hub capability, but also because it allows multiple query or command models to be implemented separately. , thus satisfying the need to admit different representations of data that are easier to scale.</a:t>
            </a:r>
          </a:p>
        </p:txBody>
      </p:sp>
      <p:sp>
        <p:nvSpPr>
          <p:cNvPr id="64" name="Hexagon 63">
            <a:extLst>
              <a:ext uri="{FF2B5EF4-FFF2-40B4-BE49-F238E27FC236}">
                <a16:creationId xmlns:a16="http://schemas.microsoft.com/office/drawing/2014/main" id="{E4192556-F9CA-0740-8B35-1FC127B68355}"/>
              </a:ext>
            </a:extLst>
          </p:cNvPr>
          <p:cNvSpPr/>
          <p:nvPr/>
        </p:nvSpPr>
        <p:spPr>
          <a:xfrm>
            <a:off x="5528401" y="3838843"/>
            <a:ext cx="1417320" cy="1042416"/>
          </a:xfrm>
          <a:prstGeom prst="hexagon">
            <a:avLst/>
          </a:prstGeom>
          <a:solidFill>
            <a:srgbClr val="87CBD8"/>
          </a:solidFill>
          <a:ln w="9525">
            <a:solidFill>
              <a:srgbClr val="0067B7"/>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300" dirty="0">
              <a:solidFill>
                <a:srgbClr val="0067B7"/>
              </a:solidFill>
              <a:effectLst>
                <a:outerShdw blurRad="50800" dist="50800" dir="5400000" algn="ctr" rotWithShape="0">
                  <a:srgbClr val="000000">
                    <a:alpha val="0"/>
                  </a:srgbClr>
                </a:outerShdw>
                <a:reflection endPos="0" dist="50800" dir="5400000" sy="-100000" algn="bl" rotWithShape="0"/>
              </a:effectLst>
              <a:latin typeface="+mj-lt"/>
              <a:ea typeface="Klee Medium" panose="02020600000000000000" pitchFamily="18" charset="-128"/>
            </a:endParaRPr>
          </a:p>
        </p:txBody>
      </p:sp>
      <p:sp>
        <p:nvSpPr>
          <p:cNvPr id="66" name="Hexagon 65">
            <a:extLst>
              <a:ext uri="{FF2B5EF4-FFF2-40B4-BE49-F238E27FC236}">
                <a16:creationId xmlns:a16="http://schemas.microsoft.com/office/drawing/2014/main" id="{349A0E7C-9E86-5947-B131-1E1F44313254}"/>
              </a:ext>
            </a:extLst>
          </p:cNvPr>
          <p:cNvSpPr/>
          <p:nvPr/>
        </p:nvSpPr>
        <p:spPr>
          <a:xfrm>
            <a:off x="5831809" y="4064966"/>
            <a:ext cx="839591" cy="592669"/>
          </a:xfrm>
          <a:prstGeom prst="hexagon">
            <a:avLst/>
          </a:prstGeom>
          <a:solidFill>
            <a:schemeClr val="bg1"/>
          </a:solidFill>
          <a:ln w="9525">
            <a:solidFill>
              <a:srgbClr val="0067B7"/>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800" dirty="0">
                <a:solidFill>
                  <a:srgbClr val="0067B7"/>
                </a:solidFill>
                <a:effectLst>
                  <a:outerShdw blurRad="50800" dist="50800" dir="5400000" algn="ctr" rotWithShape="0">
                    <a:srgbClr val="000000">
                      <a:alpha val="0"/>
                    </a:srgbClr>
                  </a:outerShdw>
                  <a:reflection endPos="0" dist="50800" dir="5400000" sy="-100000" algn="bl" rotWithShape="0"/>
                </a:effectLst>
                <a:latin typeface="+mj-lt"/>
                <a:ea typeface="Klee Medium" panose="02020600000000000000" pitchFamily="18" charset="-128"/>
              </a:rPr>
              <a:t>Business</a:t>
            </a:r>
          </a:p>
          <a:p>
            <a:pPr algn="ctr"/>
            <a:r>
              <a:rPr lang="en-US" sz="800" dirty="0">
                <a:solidFill>
                  <a:srgbClr val="0067B7"/>
                </a:solidFill>
                <a:effectLst>
                  <a:outerShdw blurRad="50800" dist="50800" dir="5400000" algn="ctr" rotWithShape="0">
                    <a:srgbClr val="000000">
                      <a:alpha val="0"/>
                    </a:srgbClr>
                  </a:outerShdw>
                  <a:reflection endPos="0" dist="50800" dir="5400000" sy="-100000" algn="bl" rotWithShape="0"/>
                </a:effectLst>
                <a:latin typeface="+mj-lt"/>
                <a:ea typeface="Klee Medium" panose="02020600000000000000" pitchFamily="18" charset="-128"/>
              </a:rPr>
              <a:t>Logic</a:t>
            </a:r>
          </a:p>
        </p:txBody>
      </p:sp>
      <p:sp>
        <p:nvSpPr>
          <p:cNvPr id="67" name="Rectangle 66">
            <a:extLst>
              <a:ext uri="{FF2B5EF4-FFF2-40B4-BE49-F238E27FC236}">
                <a16:creationId xmlns:a16="http://schemas.microsoft.com/office/drawing/2014/main" id="{4A6F1208-4CA5-3F41-84FF-7E10981701F9}"/>
              </a:ext>
            </a:extLst>
          </p:cNvPr>
          <p:cNvSpPr/>
          <p:nvPr/>
        </p:nvSpPr>
        <p:spPr>
          <a:xfrm rot="16200000">
            <a:off x="5281513" y="4257360"/>
            <a:ext cx="420624" cy="246888"/>
          </a:xfrm>
          <a:prstGeom prst="rect">
            <a:avLst/>
          </a:prstGeom>
          <a:solidFill>
            <a:srgbClr val="F26F27"/>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900" dirty="0">
                <a:solidFill>
                  <a:srgbClr val="002D72"/>
                </a:solidFill>
                <a:latin typeface="Arial" pitchFamily="34" charset="0"/>
                <a:cs typeface="Arial" pitchFamily="34" charset="0"/>
              </a:rPr>
              <a:t>API</a:t>
            </a:r>
          </a:p>
        </p:txBody>
      </p:sp>
      <p:pic>
        <p:nvPicPr>
          <p:cNvPr id="68" name="Picture 67">
            <a:extLst>
              <a:ext uri="{FF2B5EF4-FFF2-40B4-BE49-F238E27FC236}">
                <a16:creationId xmlns:a16="http://schemas.microsoft.com/office/drawing/2014/main" id="{4FD5D3A3-BAB2-7546-AB55-86CB9B856A97}"/>
              </a:ext>
            </a:extLst>
          </p:cNvPr>
          <p:cNvPicPr>
            <a:picLocks noChangeAspect="1"/>
          </p:cNvPicPr>
          <p:nvPr/>
        </p:nvPicPr>
        <p:blipFill>
          <a:blip r:embed="rId2"/>
          <a:stretch>
            <a:fillRect/>
          </a:stretch>
        </p:blipFill>
        <p:spPr>
          <a:xfrm>
            <a:off x="7814132" y="3892516"/>
            <a:ext cx="939555" cy="939555"/>
          </a:xfrm>
          <a:prstGeom prst="rect">
            <a:avLst/>
          </a:prstGeom>
        </p:spPr>
      </p:pic>
      <p:cxnSp>
        <p:nvCxnSpPr>
          <p:cNvPr id="69" name="Straight Arrow Connector 68">
            <a:extLst>
              <a:ext uri="{FF2B5EF4-FFF2-40B4-BE49-F238E27FC236}">
                <a16:creationId xmlns:a16="http://schemas.microsoft.com/office/drawing/2014/main" id="{5C3D8992-960F-004B-808A-F9C352E9F189}"/>
              </a:ext>
            </a:extLst>
          </p:cNvPr>
          <p:cNvCxnSpPr>
            <a:cxnSpLocks/>
            <a:stCxn id="64" idx="0"/>
            <a:endCxn id="68" idx="1"/>
          </p:cNvCxnSpPr>
          <p:nvPr/>
        </p:nvCxnSpPr>
        <p:spPr>
          <a:xfrm>
            <a:off x="6945721" y="4360051"/>
            <a:ext cx="868411" cy="2243"/>
          </a:xfrm>
          <a:prstGeom prst="straightConnector1">
            <a:avLst/>
          </a:prstGeom>
          <a:ln>
            <a:solidFill>
              <a:srgbClr val="0067B7"/>
            </a:solidFill>
            <a:tailEnd type="triangle"/>
          </a:ln>
        </p:spPr>
        <p:style>
          <a:lnRef idx="1">
            <a:schemeClr val="accent1"/>
          </a:lnRef>
          <a:fillRef idx="0">
            <a:schemeClr val="accent1"/>
          </a:fillRef>
          <a:effectRef idx="0">
            <a:schemeClr val="accent1"/>
          </a:effectRef>
          <a:fontRef idx="minor">
            <a:schemeClr val="tx1"/>
          </a:fontRef>
        </p:style>
      </p:cxnSp>
      <p:sp>
        <p:nvSpPr>
          <p:cNvPr id="70" name="Google Shape;61;p12">
            <a:extLst>
              <a:ext uri="{FF2B5EF4-FFF2-40B4-BE49-F238E27FC236}">
                <a16:creationId xmlns:a16="http://schemas.microsoft.com/office/drawing/2014/main" id="{519AA0AD-09B3-954A-94CA-5A6606E09389}"/>
              </a:ext>
            </a:extLst>
          </p:cNvPr>
          <p:cNvSpPr txBox="1">
            <a:spLocks/>
          </p:cNvSpPr>
          <p:nvPr/>
        </p:nvSpPr>
        <p:spPr>
          <a:xfrm>
            <a:off x="3353571" y="4080409"/>
            <a:ext cx="983512" cy="275128"/>
          </a:xfrm>
          <a:prstGeom prst="rect">
            <a:avLst/>
          </a:prstGeom>
        </p:spPr>
        <p:txBody>
          <a:bodyPr spcFirstLastPara="1" vert="horz" wrap="square" lIns="91425" tIns="91425" rIns="91425" bIns="91425" rtlCol="0" anchor="ctr"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spcBef>
                <a:spcPts val="0"/>
              </a:spcBef>
            </a:pPr>
            <a:r>
              <a:rPr lang="en-US" sz="1000" dirty="0">
                <a:solidFill>
                  <a:schemeClr val="tx1">
                    <a:lumMod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GET] /message </a:t>
            </a:r>
          </a:p>
        </p:txBody>
      </p:sp>
      <p:sp>
        <p:nvSpPr>
          <p:cNvPr id="71" name="Rounded Rectangle 70">
            <a:extLst>
              <a:ext uri="{FF2B5EF4-FFF2-40B4-BE49-F238E27FC236}">
                <a16:creationId xmlns:a16="http://schemas.microsoft.com/office/drawing/2014/main" id="{136F60F6-5476-184F-A17D-5E0EE7A11255}"/>
              </a:ext>
            </a:extLst>
          </p:cNvPr>
          <p:cNvSpPr/>
          <p:nvPr/>
        </p:nvSpPr>
        <p:spPr>
          <a:xfrm>
            <a:off x="4626855" y="4282654"/>
            <a:ext cx="737588" cy="196297"/>
          </a:xfrm>
          <a:prstGeom prst="roundRect">
            <a:avLst/>
          </a:prstGeom>
          <a:solidFill>
            <a:srgbClr val="0067B7"/>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900" dirty="0" err="1">
                <a:solidFill>
                  <a:schemeClr val="bg1">
                    <a:lumMod val="95000"/>
                  </a:schemeClr>
                </a:solidFill>
                <a:latin typeface="Arial" pitchFamily="34" charset="0"/>
                <a:cs typeface="Arial" pitchFamily="34" charset="0"/>
              </a:rPr>
              <a:t>Massagge</a:t>
            </a:r>
            <a:endParaRPr lang="en-US" sz="900" dirty="0">
              <a:solidFill>
                <a:schemeClr val="bg1">
                  <a:lumMod val="95000"/>
                </a:schemeClr>
              </a:solidFill>
              <a:latin typeface="Arial" pitchFamily="34" charset="0"/>
              <a:cs typeface="Arial" pitchFamily="34" charset="0"/>
            </a:endParaRPr>
          </a:p>
        </p:txBody>
      </p:sp>
      <p:sp>
        <p:nvSpPr>
          <p:cNvPr id="72" name="Google Shape;61;p12">
            <a:extLst>
              <a:ext uri="{FF2B5EF4-FFF2-40B4-BE49-F238E27FC236}">
                <a16:creationId xmlns:a16="http://schemas.microsoft.com/office/drawing/2014/main" id="{7CB37520-3FB0-9345-80ED-0F2ED36E2E40}"/>
              </a:ext>
            </a:extLst>
          </p:cNvPr>
          <p:cNvSpPr txBox="1">
            <a:spLocks/>
          </p:cNvSpPr>
          <p:nvPr/>
        </p:nvSpPr>
        <p:spPr>
          <a:xfrm>
            <a:off x="7024115" y="4419016"/>
            <a:ext cx="711623" cy="202760"/>
          </a:xfrm>
          <a:prstGeom prst="rect">
            <a:avLst/>
          </a:prstGeom>
        </p:spPr>
        <p:txBody>
          <a:bodyPr spcFirstLastPara="1" vert="horz" wrap="square" lIns="91425" tIns="91425" rIns="91425" bIns="91425" rtlCol="0" anchor="ctr"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spcBef>
                <a:spcPts val="0"/>
              </a:spcBef>
            </a:pPr>
            <a:r>
              <a:rPr lang="en-US" sz="1100" b="1" dirty="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Reads</a:t>
            </a:r>
          </a:p>
        </p:txBody>
      </p:sp>
      <p:sp>
        <p:nvSpPr>
          <p:cNvPr id="73" name="Rounded Rectangle 72">
            <a:extLst>
              <a:ext uri="{FF2B5EF4-FFF2-40B4-BE49-F238E27FC236}">
                <a16:creationId xmlns:a16="http://schemas.microsoft.com/office/drawing/2014/main" id="{E9A1C4BD-7336-5444-BBE9-2988DBF65248}"/>
              </a:ext>
            </a:extLst>
          </p:cNvPr>
          <p:cNvSpPr/>
          <p:nvPr/>
        </p:nvSpPr>
        <p:spPr>
          <a:xfrm>
            <a:off x="2398843" y="2252526"/>
            <a:ext cx="633721" cy="275128"/>
          </a:xfrm>
          <a:prstGeom prst="roundRect">
            <a:avLst/>
          </a:prstGeom>
          <a:solidFill>
            <a:srgbClr val="C5277F"/>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900" dirty="0">
                <a:solidFill>
                  <a:schemeClr val="bg1">
                    <a:lumMod val="95000"/>
                  </a:schemeClr>
                </a:solidFill>
                <a:latin typeface="Arial" pitchFamily="34" charset="0"/>
                <a:cs typeface="Arial" pitchFamily="34" charset="0"/>
              </a:rPr>
              <a:t>Client</a:t>
            </a:r>
          </a:p>
        </p:txBody>
      </p:sp>
      <p:cxnSp>
        <p:nvCxnSpPr>
          <p:cNvPr id="75" name="Straight Arrow Connector 74">
            <a:extLst>
              <a:ext uri="{FF2B5EF4-FFF2-40B4-BE49-F238E27FC236}">
                <a16:creationId xmlns:a16="http://schemas.microsoft.com/office/drawing/2014/main" id="{28A2DC2B-511D-D44F-916A-A430496599EF}"/>
              </a:ext>
            </a:extLst>
          </p:cNvPr>
          <p:cNvCxnSpPr>
            <a:cxnSpLocks/>
            <a:stCxn id="68" idx="0"/>
            <a:endCxn id="47" idx="4"/>
          </p:cNvCxnSpPr>
          <p:nvPr/>
        </p:nvCxnSpPr>
        <p:spPr>
          <a:xfrm flipV="1">
            <a:off x="8283910" y="2609894"/>
            <a:ext cx="11876" cy="1282622"/>
          </a:xfrm>
          <a:prstGeom prst="straightConnector1">
            <a:avLst/>
          </a:prstGeom>
          <a:ln>
            <a:solidFill>
              <a:srgbClr val="0067B7"/>
            </a:solidFill>
            <a:tailEnd type="triangle"/>
          </a:ln>
        </p:spPr>
        <p:style>
          <a:lnRef idx="1">
            <a:schemeClr val="accent1"/>
          </a:lnRef>
          <a:fillRef idx="0">
            <a:schemeClr val="accent1"/>
          </a:fillRef>
          <a:effectRef idx="0">
            <a:schemeClr val="accent1"/>
          </a:effectRef>
          <a:fontRef idx="minor">
            <a:schemeClr val="tx1"/>
          </a:fontRef>
        </p:style>
      </p:cxnSp>
      <p:sp>
        <p:nvSpPr>
          <p:cNvPr id="76" name="Google Shape;61;p12">
            <a:extLst>
              <a:ext uri="{FF2B5EF4-FFF2-40B4-BE49-F238E27FC236}">
                <a16:creationId xmlns:a16="http://schemas.microsoft.com/office/drawing/2014/main" id="{BBDDAED5-5B1A-DA42-8F4C-D5D0BE13977E}"/>
              </a:ext>
            </a:extLst>
          </p:cNvPr>
          <p:cNvSpPr txBox="1">
            <a:spLocks/>
          </p:cNvSpPr>
          <p:nvPr/>
        </p:nvSpPr>
        <p:spPr>
          <a:xfrm rot="16200000">
            <a:off x="8112816" y="2970911"/>
            <a:ext cx="711623" cy="297585"/>
          </a:xfrm>
          <a:prstGeom prst="rect">
            <a:avLst/>
          </a:prstGeom>
        </p:spPr>
        <p:txBody>
          <a:bodyPr spcFirstLastPara="1" vert="horz" wrap="square" lIns="91425" tIns="91425" rIns="91425" bIns="91425" rtlCol="0" anchor="ctr"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spcBef>
                <a:spcPts val="0"/>
              </a:spcBef>
            </a:pPr>
            <a:r>
              <a:rPr lang="en-US" sz="1100" b="1" dirty="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Event</a:t>
            </a:r>
          </a:p>
        </p:txBody>
      </p:sp>
      <p:cxnSp>
        <p:nvCxnSpPr>
          <p:cNvPr id="80" name="Straight Arrow Connector 79">
            <a:extLst>
              <a:ext uri="{FF2B5EF4-FFF2-40B4-BE49-F238E27FC236}">
                <a16:creationId xmlns:a16="http://schemas.microsoft.com/office/drawing/2014/main" id="{E0A76BB3-E82C-8248-AA1E-F4206A485DE3}"/>
              </a:ext>
            </a:extLst>
          </p:cNvPr>
          <p:cNvCxnSpPr>
            <a:cxnSpLocks/>
            <a:stCxn id="68" idx="1"/>
            <a:endCxn id="64" idx="0"/>
          </p:cNvCxnSpPr>
          <p:nvPr/>
        </p:nvCxnSpPr>
        <p:spPr>
          <a:xfrm flipH="1" flipV="1">
            <a:off x="6945721" y="4360051"/>
            <a:ext cx="868411" cy="2243"/>
          </a:xfrm>
          <a:prstGeom prst="straightConnector1">
            <a:avLst/>
          </a:prstGeom>
          <a:ln>
            <a:solidFill>
              <a:srgbClr val="0067B7"/>
            </a:solidFill>
            <a:tailEnd type="triangle"/>
          </a:ln>
        </p:spPr>
        <p:style>
          <a:lnRef idx="1">
            <a:schemeClr val="accent1"/>
          </a:lnRef>
          <a:fillRef idx="0">
            <a:schemeClr val="accent1"/>
          </a:fillRef>
          <a:effectRef idx="0">
            <a:schemeClr val="accent1"/>
          </a:effectRef>
          <a:fontRef idx="minor">
            <a:schemeClr val="tx1"/>
          </a:fontRef>
        </p:style>
      </p:cxnSp>
      <p:sp>
        <p:nvSpPr>
          <p:cNvPr id="83" name="Rounded Rectangle 82">
            <a:extLst>
              <a:ext uri="{FF2B5EF4-FFF2-40B4-BE49-F238E27FC236}">
                <a16:creationId xmlns:a16="http://schemas.microsoft.com/office/drawing/2014/main" id="{5EC54768-8C30-2148-9ACC-2D6C7809DCF2}"/>
              </a:ext>
            </a:extLst>
          </p:cNvPr>
          <p:cNvSpPr/>
          <p:nvPr/>
        </p:nvSpPr>
        <p:spPr>
          <a:xfrm>
            <a:off x="2385284" y="4233873"/>
            <a:ext cx="633721" cy="275128"/>
          </a:xfrm>
          <a:prstGeom prst="roundRect">
            <a:avLst/>
          </a:prstGeom>
          <a:solidFill>
            <a:srgbClr val="C5277F"/>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900" dirty="0">
                <a:solidFill>
                  <a:schemeClr val="bg1">
                    <a:lumMod val="95000"/>
                  </a:schemeClr>
                </a:solidFill>
                <a:latin typeface="Arial" pitchFamily="34" charset="0"/>
                <a:cs typeface="Arial" pitchFamily="34" charset="0"/>
              </a:rPr>
              <a:t>Client</a:t>
            </a:r>
          </a:p>
        </p:txBody>
      </p:sp>
      <p:cxnSp>
        <p:nvCxnSpPr>
          <p:cNvPr id="84" name="Straight Arrow Connector 83">
            <a:extLst>
              <a:ext uri="{FF2B5EF4-FFF2-40B4-BE49-F238E27FC236}">
                <a16:creationId xmlns:a16="http://schemas.microsoft.com/office/drawing/2014/main" id="{8AC27207-AD67-0A42-8B06-66725C6BA7D3}"/>
              </a:ext>
            </a:extLst>
          </p:cNvPr>
          <p:cNvCxnSpPr>
            <a:cxnSpLocks/>
            <a:stCxn id="73" idx="3"/>
            <a:endCxn id="41" idx="1"/>
          </p:cNvCxnSpPr>
          <p:nvPr/>
        </p:nvCxnSpPr>
        <p:spPr>
          <a:xfrm>
            <a:off x="3032564" y="2390090"/>
            <a:ext cx="1620932" cy="6151"/>
          </a:xfrm>
          <a:prstGeom prst="straightConnector1">
            <a:avLst/>
          </a:prstGeom>
          <a:ln>
            <a:solidFill>
              <a:srgbClr val="0067B7"/>
            </a:solidFill>
            <a:tailEnd type="triangle"/>
          </a:ln>
        </p:spPr>
        <p:style>
          <a:lnRef idx="1">
            <a:schemeClr val="accent1"/>
          </a:lnRef>
          <a:fillRef idx="0">
            <a:schemeClr val="accent1"/>
          </a:fillRef>
          <a:effectRef idx="0">
            <a:schemeClr val="accent1"/>
          </a:effectRef>
          <a:fontRef idx="minor">
            <a:schemeClr val="tx1"/>
          </a:fontRef>
        </p:style>
      </p:cxnSp>
      <p:cxnSp>
        <p:nvCxnSpPr>
          <p:cNvPr id="87" name="Straight Arrow Connector 86">
            <a:extLst>
              <a:ext uri="{FF2B5EF4-FFF2-40B4-BE49-F238E27FC236}">
                <a16:creationId xmlns:a16="http://schemas.microsoft.com/office/drawing/2014/main" id="{B8792DD4-4695-A744-BABD-8CD1BEC7D0E3}"/>
              </a:ext>
            </a:extLst>
          </p:cNvPr>
          <p:cNvCxnSpPr>
            <a:cxnSpLocks/>
            <a:stCxn id="83" idx="3"/>
            <a:endCxn id="71" idx="1"/>
          </p:cNvCxnSpPr>
          <p:nvPr/>
        </p:nvCxnSpPr>
        <p:spPr>
          <a:xfrm>
            <a:off x="3019005" y="4371437"/>
            <a:ext cx="1607850" cy="9366"/>
          </a:xfrm>
          <a:prstGeom prst="straightConnector1">
            <a:avLst/>
          </a:prstGeom>
          <a:ln>
            <a:solidFill>
              <a:srgbClr val="0067B7"/>
            </a:solidFill>
            <a:tailEnd type="triangle"/>
          </a:ln>
        </p:spPr>
        <p:style>
          <a:lnRef idx="1">
            <a:schemeClr val="accent1"/>
          </a:lnRef>
          <a:fillRef idx="0">
            <a:schemeClr val="accent1"/>
          </a:fillRef>
          <a:effectRef idx="0">
            <a:schemeClr val="accent1"/>
          </a:effectRef>
          <a:fontRef idx="minor">
            <a:schemeClr val="tx1"/>
          </a:fontRef>
        </p:style>
      </p:cxnSp>
      <p:grpSp>
        <p:nvGrpSpPr>
          <p:cNvPr id="89" name="Group 88">
            <a:extLst>
              <a:ext uri="{FF2B5EF4-FFF2-40B4-BE49-F238E27FC236}">
                <a16:creationId xmlns:a16="http://schemas.microsoft.com/office/drawing/2014/main" id="{1501DF20-5D66-4643-B348-7BEF975BAAFE}"/>
              </a:ext>
            </a:extLst>
          </p:cNvPr>
          <p:cNvGrpSpPr/>
          <p:nvPr/>
        </p:nvGrpSpPr>
        <p:grpSpPr>
          <a:xfrm rot="21011211">
            <a:off x="1220063" y="1405327"/>
            <a:ext cx="292910" cy="222927"/>
            <a:chOff x="702590" y="1203599"/>
            <a:chExt cx="301686" cy="290724"/>
          </a:xfrm>
        </p:grpSpPr>
        <p:sp>
          <p:nvSpPr>
            <p:cNvPr id="90" name="Google Shape;431;p39">
              <a:extLst>
                <a:ext uri="{FF2B5EF4-FFF2-40B4-BE49-F238E27FC236}">
                  <a16:creationId xmlns:a16="http://schemas.microsoft.com/office/drawing/2014/main" id="{320C643E-D9F2-304C-80A8-8D72A6036DE2}"/>
                </a:ext>
              </a:extLst>
            </p:cNvPr>
            <p:cNvSpPr/>
            <p:nvPr/>
          </p:nvSpPr>
          <p:spPr>
            <a:xfrm>
              <a:off x="736556" y="1203599"/>
              <a:ext cx="219241" cy="290724"/>
            </a:xfrm>
            <a:custGeom>
              <a:avLst/>
              <a:gdLst/>
              <a:ahLst/>
              <a:cxnLst/>
              <a:rect l="0" t="0" r="0" b="0"/>
              <a:pathLst>
                <a:path w="67641" h="69056" extrusionOk="0">
                  <a:moveTo>
                    <a:pt x="49622" y="2736"/>
                  </a:moveTo>
                  <a:lnTo>
                    <a:pt x="49622" y="2736"/>
                  </a:lnTo>
                  <a:lnTo>
                    <a:pt x="49622" y="2736"/>
                  </a:lnTo>
                  <a:close/>
                  <a:moveTo>
                    <a:pt x="59622" y="55565"/>
                  </a:moveTo>
                  <a:lnTo>
                    <a:pt x="59622" y="55565"/>
                  </a:lnTo>
                  <a:lnTo>
                    <a:pt x="59622" y="55565"/>
                  </a:lnTo>
                  <a:close/>
                  <a:moveTo>
                    <a:pt x="35471" y="0"/>
                  </a:moveTo>
                  <a:lnTo>
                    <a:pt x="34433" y="95"/>
                  </a:lnTo>
                  <a:lnTo>
                    <a:pt x="33584" y="189"/>
                  </a:lnTo>
                  <a:lnTo>
                    <a:pt x="32735" y="378"/>
                  </a:lnTo>
                  <a:lnTo>
                    <a:pt x="32169" y="566"/>
                  </a:lnTo>
                  <a:lnTo>
                    <a:pt x="31509" y="472"/>
                  </a:lnTo>
                  <a:lnTo>
                    <a:pt x="30754" y="472"/>
                  </a:lnTo>
                  <a:lnTo>
                    <a:pt x="29339" y="566"/>
                  </a:lnTo>
                  <a:lnTo>
                    <a:pt x="27830" y="849"/>
                  </a:lnTo>
                  <a:lnTo>
                    <a:pt x="26320" y="1321"/>
                  </a:lnTo>
                  <a:lnTo>
                    <a:pt x="24811" y="1981"/>
                  </a:lnTo>
                  <a:lnTo>
                    <a:pt x="23207" y="2736"/>
                  </a:lnTo>
                  <a:lnTo>
                    <a:pt x="21698" y="3585"/>
                  </a:lnTo>
                  <a:lnTo>
                    <a:pt x="20188" y="4623"/>
                  </a:lnTo>
                  <a:lnTo>
                    <a:pt x="18679" y="5661"/>
                  </a:lnTo>
                  <a:lnTo>
                    <a:pt x="17170" y="6793"/>
                  </a:lnTo>
                  <a:lnTo>
                    <a:pt x="15754" y="8019"/>
                  </a:lnTo>
                  <a:lnTo>
                    <a:pt x="14434" y="9151"/>
                  </a:lnTo>
                  <a:lnTo>
                    <a:pt x="11981" y="11510"/>
                  </a:lnTo>
                  <a:lnTo>
                    <a:pt x="10000" y="13774"/>
                  </a:lnTo>
                  <a:lnTo>
                    <a:pt x="7736" y="16981"/>
                  </a:lnTo>
                  <a:lnTo>
                    <a:pt x="8019" y="16321"/>
                  </a:lnTo>
                  <a:lnTo>
                    <a:pt x="8302" y="15660"/>
                  </a:lnTo>
                  <a:lnTo>
                    <a:pt x="7736" y="16604"/>
                  </a:lnTo>
                  <a:lnTo>
                    <a:pt x="7075" y="17642"/>
                  </a:lnTo>
                  <a:lnTo>
                    <a:pt x="7170" y="17830"/>
                  </a:lnTo>
                  <a:lnTo>
                    <a:pt x="6509" y="18868"/>
                  </a:lnTo>
                  <a:lnTo>
                    <a:pt x="7075" y="17359"/>
                  </a:lnTo>
                  <a:lnTo>
                    <a:pt x="6132" y="19057"/>
                  </a:lnTo>
                  <a:lnTo>
                    <a:pt x="5189" y="20849"/>
                  </a:lnTo>
                  <a:lnTo>
                    <a:pt x="4434" y="22736"/>
                  </a:lnTo>
                  <a:lnTo>
                    <a:pt x="3679" y="24622"/>
                  </a:lnTo>
                  <a:lnTo>
                    <a:pt x="2453" y="28490"/>
                  </a:lnTo>
                  <a:lnTo>
                    <a:pt x="1321" y="32169"/>
                  </a:lnTo>
                  <a:lnTo>
                    <a:pt x="1509" y="32264"/>
                  </a:lnTo>
                  <a:lnTo>
                    <a:pt x="1604" y="32453"/>
                  </a:lnTo>
                  <a:lnTo>
                    <a:pt x="1604" y="32641"/>
                  </a:lnTo>
                  <a:lnTo>
                    <a:pt x="1509" y="32924"/>
                  </a:lnTo>
                  <a:lnTo>
                    <a:pt x="1226" y="33396"/>
                  </a:lnTo>
                  <a:lnTo>
                    <a:pt x="1038" y="33585"/>
                  </a:lnTo>
                  <a:lnTo>
                    <a:pt x="1038" y="33773"/>
                  </a:lnTo>
                  <a:lnTo>
                    <a:pt x="1038" y="35000"/>
                  </a:lnTo>
                  <a:lnTo>
                    <a:pt x="849" y="36132"/>
                  </a:lnTo>
                  <a:lnTo>
                    <a:pt x="660" y="37358"/>
                  </a:lnTo>
                  <a:lnTo>
                    <a:pt x="472" y="38867"/>
                  </a:lnTo>
                  <a:lnTo>
                    <a:pt x="283" y="38301"/>
                  </a:lnTo>
                  <a:lnTo>
                    <a:pt x="94" y="39811"/>
                  </a:lnTo>
                  <a:lnTo>
                    <a:pt x="0" y="41509"/>
                  </a:lnTo>
                  <a:lnTo>
                    <a:pt x="94" y="43301"/>
                  </a:lnTo>
                  <a:lnTo>
                    <a:pt x="283" y="44056"/>
                  </a:lnTo>
                  <a:lnTo>
                    <a:pt x="472" y="44622"/>
                  </a:lnTo>
                  <a:lnTo>
                    <a:pt x="566" y="45660"/>
                  </a:lnTo>
                  <a:lnTo>
                    <a:pt x="755" y="46792"/>
                  </a:lnTo>
                  <a:lnTo>
                    <a:pt x="1226" y="48962"/>
                  </a:lnTo>
                  <a:lnTo>
                    <a:pt x="1981" y="51037"/>
                  </a:lnTo>
                  <a:lnTo>
                    <a:pt x="2924" y="53112"/>
                  </a:lnTo>
                  <a:lnTo>
                    <a:pt x="4057" y="55094"/>
                  </a:lnTo>
                  <a:lnTo>
                    <a:pt x="5283" y="56980"/>
                  </a:lnTo>
                  <a:lnTo>
                    <a:pt x="6698" y="58678"/>
                  </a:lnTo>
                  <a:lnTo>
                    <a:pt x="8113" y="60282"/>
                  </a:lnTo>
                  <a:lnTo>
                    <a:pt x="9056" y="61131"/>
                  </a:lnTo>
                  <a:lnTo>
                    <a:pt x="10000" y="61980"/>
                  </a:lnTo>
                  <a:lnTo>
                    <a:pt x="11038" y="62829"/>
                  </a:lnTo>
                  <a:lnTo>
                    <a:pt x="12075" y="63584"/>
                  </a:lnTo>
                  <a:lnTo>
                    <a:pt x="14339" y="64905"/>
                  </a:lnTo>
                  <a:lnTo>
                    <a:pt x="16604" y="66131"/>
                  </a:lnTo>
                  <a:lnTo>
                    <a:pt x="19056" y="67169"/>
                  </a:lnTo>
                  <a:lnTo>
                    <a:pt x="21509" y="67923"/>
                  </a:lnTo>
                  <a:lnTo>
                    <a:pt x="24056" y="68584"/>
                  </a:lnTo>
                  <a:lnTo>
                    <a:pt x="26603" y="69055"/>
                  </a:lnTo>
                  <a:lnTo>
                    <a:pt x="27830" y="69055"/>
                  </a:lnTo>
                  <a:lnTo>
                    <a:pt x="30188" y="68867"/>
                  </a:lnTo>
                  <a:lnTo>
                    <a:pt x="33113" y="68678"/>
                  </a:lnTo>
                  <a:lnTo>
                    <a:pt x="36509" y="68301"/>
                  </a:lnTo>
                  <a:lnTo>
                    <a:pt x="39811" y="67923"/>
                  </a:lnTo>
                  <a:lnTo>
                    <a:pt x="42735" y="67452"/>
                  </a:lnTo>
                  <a:lnTo>
                    <a:pt x="44905" y="66980"/>
                  </a:lnTo>
                  <a:lnTo>
                    <a:pt x="45565" y="66791"/>
                  </a:lnTo>
                  <a:lnTo>
                    <a:pt x="45943" y="66508"/>
                  </a:lnTo>
                  <a:lnTo>
                    <a:pt x="47358" y="65942"/>
                  </a:lnTo>
                  <a:lnTo>
                    <a:pt x="48018" y="65565"/>
                  </a:lnTo>
                  <a:lnTo>
                    <a:pt x="48678" y="65188"/>
                  </a:lnTo>
                  <a:lnTo>
                    <a:pt x="47924" y="65471"/>
                  </a:lnTo>
                  <a:lnTo>
                    <a:pt x="51509" y="62924"/>
                  </a:lnTo>
                  <a:lnTo>
                    <a:pt x="53301" y="61508"/>
                  </a:lnTo>
                  <a:lnTo>
                    <a:pt x="55093" y="59905"/>
                  </a:lnTo>
                  <a:lnTo>
                    <a:pt x="55093" y="59905"/>
                  </a:lnTo>
                  <a:lnTo>
                    <a:pt x="54810" y="60376"/>
                  </a:lnTo>
                  <a:lnTo>
                    <a:pt x="54339" y="60754"/>
                  </a:lnTo>
                  <a:lnTo>
                    <a:pt x="55376" y="59999"/>
                  </a:lnTo>
                  <a:lnTo>
                    <a:pt x="56320" y="59056"/>
                  </a:lnTo>
                  <a:lnTo>
                    <a:pt x="57075" y="58395"/>
                  </a:lnTo>
                  <a:lnTo>
                    <a:pt x="57169" y="58207"/>
                  </a:lnTo>
                  <a:lnTo>
                    <a:pt x="57075" y="58207"/>
                  </a:lnTo>
                  <a:lnTo>
                    <a:pt x="57924" y="57546"/>
                  </a:lnTo>
                  <a:lnTo>
                    <a:pt x="58678" y="56697"/>
                  </a:lnTo>
                  <a:lnTo>
                    <a:pt x="59339" y="55754"/>
                  </a:lnTo>
                  <a:lnTo>
                    <a:pt x="59905" y="54905"/>
                  </a:lnTo>
                  <a:lnTo>
                    <a:pt x="59716" y="54999"/>
                  </a:lnTo>
                  <a:lnTo>
                    <a:pt x="59622" y="54999"/>
                  </a:lnTo>
                  <a:lnTo>
                    <a:pt x="59810" y="54622"/>
                  </a:lnTo>
                  <a:lnTo>
                    <a:pt x="59150" y="55565"/>
                  </a:lnTo>
                  <a:lnTo>
                    <a:pt x="59527" y="55094"/>
                  </a:lnTo>
                  <a:lnTo>
                    <a:pt x="59433" y="55377"/>
                  </a:lnTo>
                  <a:lnTo>
                    <a:pt x="58867" y="56037"/>
                  </a:lnTo>
                  <a:lnTo>
                    <a:pt x="59056" y="55660"/>
                  </a:lnTo>
                  <a:lnTo>
                    <a:pt x="59056" y="55660"/>
                  </a:lnTo>
                  <a:lnTo>
                    <a:pt x="58678" y="56037"/>
                  </a:lnTo>
                  <a:lnTo>
                    <a:pt x="59810" y="54339"/>
                  </a:lnTo>
                  <a:lnTo>
                    <a:pt x="60282" y="53490"/>
                  </a:lnTo>
                  <a:lnTo>
                    <a:pt x="60282" y="53301"/>
                  </a:lnTo>
                  <a:lnTo>
                    <a:pt x="60188" y="53395"/>
                  </a:lnTo>
                  <a:lnTo>
                    <a:pt x="60188" y="53395"/>
                  </a:lnTo>
                  <a:lnTo>
                    <a:pt x="60565" y="52924"/>
                  </a:lnTo>
                  <a:lnTo>
                    <a:pt x="61037" y="52452"/>
                  </a:lnTo>
                  <a:lnTo>
                    <a:pt x="61886" y="51509"/>
                  </a:lnTo>
                  <a:lnTo>
                    <a:pt x="61508" y="52452"/>
                  </a:lnTo>
                  <a:lnTo>
                    <a:pt x="60848" y="53584"/>
                  </a:lnTo>
                  <a:lnTo>
                    <a:pt x="59622" y="55565"/>
                  </a:lnTo>
                  <a:lnTo>
                    <a:pt x="60376" y="54528"/>
                  </a:lnTo>
                  <a:lnTo>
                    <a:pt x="60942" y="53678"/>
                  </a:lnTo>
                  <a:lnTo>
                    <a:pt x="61980" y="51792"/>
                  </a:lnTo>
                  <a:lnTo>
                    <a:pt x="61886" y="51886"/>
                  </a:lnTo>
                  <a:lnTo>
                    <a:pt x="61886" y="51697"/>
                  </a:lnTo>
                  <a:lnTo>
                    <a:pt x="62169" y="51037"/>
                  </a:lnTo>
                  <a:lnTo>
                    <a:pt x="62735" y="49999"/>
                  </a:lnTo>
                  <a:lnTo>
                    <a:pt x="61508" y="51603"/>
                  </a:lnTo>
                  <a:lnTo>
                    <a:pt x="61603" y="51037"/>
                  </a:lnTo>
                  <a:lnTo>
                    <a:pt x="61697" y="50377"/>
                  </a:lnTo>
                  <a:lnTo>
                    <a:pt x="62169" y="48962"/>
                  </a:lnTo>
                  <a:lnTo>
                    <a:pt x="62829" y="47358"/>
                  </a:lnTo>
                  <a:lnTo>
                    <a:pt x="63678" y="45565"/>
                  </a:lnTo>
                  <a:lnTo>
                    <a:pt x="65376" y="42169"/>
                  </a:lnTo>
                  <a:lnTo>
                    <a:pt x="66131" y="40660"/>
                  </a:lnTo>
                  <a:lnTo>
                    <a:pt x="66697" y="39339"/>
                  </a:lnTo>
                  <a:lnTo>
                    <a:pt x="66603" y="39528"/>
                  </a:lnTo>
                  <a:lnTo>
                    <a:pt x="66697" y="39056"/>
                  </a:lnTo>
                  <a:lnTo>
                    <a:pt x="66791" y="38962"/>
                  </a:lnTo>
                  <a:lnTo>
                    <a:pt x="66791" y="39056"/>
                  </a:lnTo>
                  <a:lnTo>
                    <a:pt x="66886" y="38584"/>
                  </a:lnTo>
                  <a:lnTo>
                    <a:pt x="66791" y="38867"/>
                  </a:lnTo>
                  <a:lnTo>
                    <a:pt x="66980" y="38207"/>
                  </a:lnTo>
                  <a:lnTo>
                    <a:pt x="67169" y="37264"/>
                  </a:lnTo>
                  <a:lnTo>
                    <a:pt x="67263" y="36415"/>
                  </a:lnTo>
                  <a:lnTo>
                    <a:pt x="67357" y="36509"/>
                  </a:lnTo>
                  <a:lnTo>
                    <a:pt x="67452" y="36509"/>
                  </a:lnTo>
                  <a:lnTo>
                    <a:pt x="67546" y="35943"/>
                  </a:lnTo>
                  <a:lnTo>
                    <a:pt x="67546" y="34811"/>
                  </a:lnTo>
                  <a:lnTo>
                    <a:pt x="67640" y="31037"/>
                  </a:lnTo>
                  <a:lnTo>
                    <a:pt x="67640" y="28490"/>
                  </a:lnTo>
                  <a:lnTo>
                    <a:pt x="67546" y="27736"/>
                  </a:lnTo>
                  <a:lnTo>
                    <a:pt x="67546" y="27547"/>
                  </a:lnTo>
                  <a:lnTo>
                    <a:pt x="67452" y="27547"/>
                  </a:lnTo>
                  <a:lnTo>
                    <a:pt x="67074" y="26792"/>
                  </a:lnTo>
                  <a:lnTo>
                    <a:pt x="66791" y="25660"/>
                  </a:lnTo>
                  <a:lnTo>
                    <a:pt x="66508" y="24528"/>
                  </a:lnTo>
                  <a:lnTo>
                    <a:pt x="66414" y="23585"/>
                  </a:lnTo>
                  <a:lnTo>
                    <a:pt x="66320" y="23679"/>
                  </a:lnTo>
                  <a:lnTo>
                    <a:pt x="66320" y="23490"/>
                  </a:lnTo>
                  <a:lnTo>
                    <a:pt x="65942" y="22924"/>
                  </a:lnTo>
                  <a:lnTo>
                    <a:pt x="65565" y="22358"/>
                  </a:lnTo>
                  <a:lnTo>
                    <a:pt x="64527" y="21132"/>
                  </a:lnTo>
                  <a:lnTo>
                    <a:pt x="63584" y="19906"/>
                  </a:lnTo>
                  <a:lnTo>
                    <a:pt x="63207" y="19340"/>
                  </a:lnTo>
                  <a:lnTo>
                    <a:pt x="63018" y="18774"/>
                  </a:lnTo>
                  <a:lnTo>
                    <a:pt x="63112" y="18962"/>
                  </a:lnTo>
                  <a:lnTo>
                    <a:pt x="63301" y="19057"/>
                  </a:lnTo>
                  <a:lnTo>
                    <a:pt x="63301" y="19057"/>
                  </a:lnTo>
                  <a:lnTo>
                    <a:pt x="63207" y="18868"/>
                  </a:lnTo>
                  <a:lnTo>
                    <a:pt x="62923" y="18491"/>
                  </a:lnTo>
                  <a:lnTo>
                    <a:pt x="61980" y="17453"/>
                  </a:lnTo>
                  <a:lnTo>
                    <a:pt x="61037" y="16509"/>
                  </a:lnTo>
                  <a:lnTo>
                    <a:pt x="61037" y="16698"/>
                  </a:lnTo>
                  <a:lnTo>
                    <a:pt x="61037" y="16887"/>
                  </a:lnTo>
                  <a:lnTo>
                    <a:pt x="60093" y="15943"/>
                  </a:lnTo>
                  <a:lnTo>
                    <a:pt x="60376" y="16321"/>
                  </a:lnTo>
                  <a:lnTo>
                    <a:pt x="59527" y="15377"/>
                  </a:lnTo>
                  <a:lnTo>
                    <a:pt x="59056" y="14906"/>
                  </a:lnTo>
                  <a:lnTo>
                    <a:pt x="59244" y="14906"/>
                  </a:lnTo>
                  <a:lnTo>
                    <a:pt x="59905" y="15472"/>
                  </a:lnTo>
                  <a:lnTo>
                    <a:pt x="59905" y="15472"/>
                  </a:lnTo>
                  <a:lnTo>
                    <a:pt x="57641" y="13396"/>
                  </a:lnTo>
                  <a:lnTo>
                    <a:pt x="58112" y="13868"/>
                  </a:lnTo>
                  <a:lnTo>
                    <a:pt x="56886" y="13019"/>
                  </a:lnTo>
                  <a:lnTo>
                    <a:pt x="55754" y="12453"/>
                  </a:lnTo>
                  <a:lnTo>
                    <a:pt x="56603" y="13113"/>
                  </a:lnTo>
                  <a:lnTo>
                    <a:pt x="57452" y="13774"/>
                  </a:lnTo>
                  <a:lnTo>
                    <a:pt x="58961" y="15283"/>
                  </a:lnTo>
                  <a:lnTo>
                    <a:pt x="60376" y="16604"/>
                  </a:lnTo>
                  <a:lnTo>
                    <a:pt x="61225" y="17264"/>
                  </a:lnTo>
                  <a:lnTo>
                    <a:pt x="62074" y="17925"/>
                  </a:lnTo>
                  <a:lnTo>
                    <a:pt x="62074" y="17925"/>
                  </a:lnTo>
                  <a:lnTo>
                    <a:pt x="61414" y="17547"/>
                  </a:lnTo>
                  <a:lnTo>
                    <a:pt x="60659" y="16981"/>
                  </a:lnTo>
                  <a:lnTo>
                    <a:pt x="60754" y="17264"/>
                  </a:lnTo>
                  <a:lnTo>
                    <a:pt x="60942" y="17642"/>
                  </a:lnTo>
                  <a:lnTo>
                    <a:pt x="61980" y="19151"/>
                  </a:lnTo>
                  <a:lnTo>
                    <a:pt x="63301" y="20943"/>
                  </a:lnTo>
                  <a:lnTo>
                    <a:pt x="63207" y="20943"/>
                  </a:lnTo>
                  <a:lnTo>
                    <a:pt x="63395" y="21038"/>
                  </a:lnTo>
                  <a:lnTo>
                    <a:pt x="63490" y="21321"/>
                  </a:lnTo>
                  <a:lnTo>
                    <a:pt x="63678" y="21604"/>
                  </a:lnTo>
                  <a:lnTo>
                    <a:pt x="63773" y="21698"/>
                  </a:lnTo>
                  <a:lnTo>
                    <a:pt x="63584" y="21321"/>
                  </a:lnTo>
                  <a:lnTo>
                    <a:pt x="63584" y="21321"/>
                  </a:lnTo>
                  <a:lnTo>
                    <a:pt x="64244" y="22170"/>
                  </a:lnTo>
                  <a:lnTo>
                    <a:pt x="64716" y="22641"/>
                  </a:lnTo>
                  <a:lnTo>
                    <a:pt x="64905" y="22830"/>
                  </a:lnTo>
                  <a:lnTo>
                    <a:pt x="64999" y="22830"/>
                  </a:lnTo>
                  <a:lnTo>
                    <a:pt x="64999" y="22641"/>
                  </a:lnTo>
                  <a:lnTo>
                    <a:pt x="64905" y="22358"/>
                  </a:lnTo>
                  <a:lnTo>
                    <a:pt x="65282" y="23207"/>
                  </a:lnTo>
                  <a:lnTo>
                    <a:pt x="65565" y="24056"/>
                  </a:lnTo>
                  <a:lnTo>
                    <a:pt x="66225" y="25943"/>
                  </a:lnTo>
                  <a:lnTo>
                    <a:pt x="66697" y="27830"/>
                  </a:lnTo>
                  <a:lnTo>
                    <a:pt x="66886" y="28490"/>
                  </a:lnTo>
                  <a:lnTo>
                    <a:pt x="66980" y="28868"/>
                  </a:lnTo>
                  <a:lnTo>
                    <a:pt x="66886" y="28962"/>
                  </a:lnTo>
                  <a:lnTo>
                    <a:pt x="66697" y="28679"/>
                  </a:lnTo>
                  <a:lnTo>
                    <a:pt x="66697" y="29245"/>
                  </a:lnTo>
                  <a:lnTo>
                    <a:pt x="66791" y="29905"/>
                  </a:lnTo>
                  <a:lnTo>
                    <a:pt x="66886" y="29905"/>
                  </a:lnTo>
                  <a:lnTo>
                    <a:pt x="66886" y="30094"/>
                  </a:lnTo>
                  <a:lnTo>
                    <a:pt x="66886" y="30566"/>
                  </a:lnTo>
                  <a:lnTo>
                    <a:pt x="66697" y="30377"/>
                  </a:lnTo>
                  <a:lnTo>
                    <a:pt x="66603" y="30188"/>
                  </a:lnTo>
                  <a:lnTo>
                    <a:pt x="66603" y="30094"/>
                  </a:lnTo>
                  <a:lnTo>
                    <a:pt x="66697" y="29905"/>
                  </a:lnTo>
                  <a:lnTo>
                    <a:pt x="66508" y="28679"/>
                  </a:lnTo>
                  <a:lnTo>
                    <a:pt x="66225" y="27358"/>
                  </a:lnTo>
                  <a:lnTo>
                    <a:pt x="66603" y="30283"/>
                  </a:lnTo>
                  <a:lnTo>
                    <a:pt x="66697" y="31792"/>
                  </a:lnTo>
                  <a:lnTo>
                    <a:pt x="66697" y="33302"/>
                  </a:lnTo>
                  <a:lnTo>
                    <a:pt x="66603" y="34717"/>
                  </a:lnTo>
                  <a:lnTo>
                    <a:pt x="66414" y="36226"/>
                  </a:lnTo>
                  <a:lnTo>
                    <a:pt x="66131" y="37547"/>
                  </a:lnTo>
                  <a:lnTo>
                    <a:pt x="65659" y="38962"/>
                  </a:lnTo>
                  <a:lnTo>
                    <a:pt x="65848" y="38584"/>
                  </a:lnTo>
                  <a:lnTo>
                    <a:pt x="65942" y="38584"/>
                  </a:lnTo>
                  <a:lnTo>
                    <a:pt x="65848" y="39245"/>
                  </a:lnTo>
                  <a:lnTo>
                    <a:pt x="65565" y="40188"/>
                  </a:lnTo>
                  <a:lnTo>
                    <a:pt x="65471" y="40471"/>
                  </a:lnTo>
                  <a:lnTo>
                    <a:pt x="65282" y="40660"/>
                  </a:lnTo>
                  <a:lnTo>
                    <a:pt x="65282" y="40566"/>
                  </a:lnTo>
                  <a:lnTo>
                    <a:pt x="65093" y="41132"/>
                  </a:lnTo>
                  <a:lnTo>
                    <a:pt x="64433" y="43018"/>
                  </a:lnTo>
                  <a:lnTo>
                    <a:pt x="63678" y="45282"/>
                  </a:lnTo>
                  <a:lnTo>
                    <a:pt x="62735" y="47264"/>
                  </a:lnTo>
                  <a:lnTo>
                    <a:pt x="61697" y="49056"/>
                  </a:lnTo>
                  <a:lnTo>
                    <a:pt x="60659" y="50943"/>
                  </a:lnTo>
                  <a:lnTo>
                    <a:pt x="59433" y="52735"/>
                  </a:lnTo>
                  <a:lnTo>
                    <a:pt x="58207" y="54433"/>
                  </a:lnTo>
                  <a:lnTo>
                    <a:pt x="56886" y="56037"/>
                  </a:lnTo>
                  <a:lnTo>
                    <a:pt x="55376" y="57641"/>
                  </a:lnTo>
                  <a:lnTo>
                    <a:pt x="53867" y="59150"/>
                  </a:lnTo>
                  <a:lnTo>
                    <a:pt x="52169" y="60376"/>
                  </a:lnTo>
                  <a:lnTo>
                    <a:pt x="48961" y="62452"/>
                  </a:lnTo>
                  <a:lnTo>
                    <a:pt x="44528" y="65282"/>
                  </a:lnTo>
                  <a:lnTo>
                    <a:pt x="44622" y="65188"/>
                  </a:lnTo>
                  <a:lnTo>
                    <a:pt x="44716" y="65093"/>
                  </a:lnTo>
                  <a:lnTo>
                    <a:pt x="45094" y="64810"/>
                  </a:lnTo>
                  <a:lnTo>
                    <a:pt x="45660" y="64527"/>
                  </a:lnTo>
                  <a:lnTo>
                    <a:pt x="43867" y="65376"/>
                  </a:lnTo>
                  <a:lnTo>
                    <a:pt x="43113" y="65754"/>
                  </a:lnTo>
                  <a:lnTo>
                    <a:pt x="42924" y="65754"/>
                  </a:lnTo>
                  <a:lnTo>
                    <a:pt x="43113" y="65659"/>
                  </a:lnTo>
                  <a:lnTo>
                    <a:pt x="41603" y="66037"/>
                  </a:lnTo>
                  <a:lnTo>
                    <a:pt x="39999" y="66320"/>
                  </a:lnTo>
                  <a:lnTo>
                    <a:pt x="38396" y="66508"/>
                  </a:lnTo>
                  <a:lnTo>
                    <a:pt x="36792" y="66697"/>
                  </a:lnTo>
                  <a:lnTo>
                    <a:pt x="33584" y="66980"/>
                  </a:lnTo>
                  <a:lnTo>
                    <a:pt x="32169" y="67169"/>
                  </a:lnTo>
                  <a:lnTo>
                    <a:pt x="30754" y="67357"/>
                  </a:lnTo>
                  <a:lnTo>
                    <a:pt x="30094" y="67357"/>
                  </a:lnTo>
                  <a:lnTo>
                    <a:pt x="29339" y="67263"/>
                  </a:lnTo>
                  <a:lnTo>
                    <a:pt x="27830" y="66886"/>
                  </a:lnTo>
                  <a:lnTo>
                    <a:pt x="26415" y="66508"/>
                  </a:lnTo>
                  <a:lnTo>
                    <a:pt x="25754" y="66414"/>
                  </a:lnTo>
                  <a:lnTo>
                    <a:pt x="25094" y="66414"/>
                  </a:lnTo>
                  <a:lnTo>
                    <a:pt x="25566" y="66980"/>
                  </a:lnTo>
                  <a:lnTo>
                    <a:pt x="25471" y="67074"/>
                  </a:lnTo>
                  <a:lnTo>
                    <a:pt x="25188" y="66980"/>
                  </a:lnTo>
                  <a:lnTo>
                    <a:pt x="24339" y="66791"/>
                  </a:lnTo>
                  <a:lnTo>
                    <a:pt x="23773" y="66508"/>
                  </a:lnTo>
                  <a:lnTo>
                    <a:pt x="24245" y="66414"/>
                  </a:lnTo>
                  <a:lnTo>
                    <a:pt x="24717" y="66603"/>
                  </a:lnTo>
                  <a:lnTo>
                    <a:pt x="24811" y="66414"/>
                  </a:lnTo>
                  <a:lnTo>
                    <a:pt x="24811" y="66320"/>
                  </a:lnTo>
                  <a:lnTo>
                    <a:pt x="24717" y="66225"/>
                  </a:lnTo>
                  <a:lnTo>
                    <a:pt x="24528" y="66131"/>
                  </a:lnTo>
                  <a:lnTo>
                    <a:pt x="24151" y="66225"/>
                  </a:lnTo>
                  <a:lnTo>
                    <a:pt x="23679" y="66320"/>
                  </a:lnTo>
                  <a:lnTo>
                    <a:pt x="23018" y="66414"/>
                  </a:lnTo>
                  <a:lnTo>
                    <a:pt x="23490" y="66225"/>
                  </a:lnTo>
                  <a:lnTo>
                    <a:pt x="22075" y="65942"/>
                  </a:lnTo>
                  <a:lnTo>
                    <a:pt x="20943" y="65659"/>
                  </a:lnTo>
                  <a:lnTo>
                    <a:pt x="20000" y="65282"/>
                  </a:lnTo>
                  <a:lnTo>
                    <a:pt x="19056" y="64810"/>
                  </a:lnTo>
                  <a:lnTo>
                    <a:pt x="19056" y="64810"/>
                  </a:lnTo>
                  <a:lnTo>
                    <a:pt x="19717" y="64999"/>
                  </a:lnTo>
                  <a:lnTo>
                    <a:pt x="19151" y="64716"/>
                  </a:lnTo>
                  <a:lnTo>
                    <a:pt x="18962" y="64810"/>
                  </a:lnTo>
                  <a:lnTo>
                    <a:pt x="19151" y="64905"/>
                  </a:lnTo>
                  <a:lnTo>
                    <a:pt x="18490" y="64905"/>
                  </a:lnTo>
                  <a:lnTo>
                    <a:pt x="17830" y="64716"/>
                  </a:lnTo>
                  <a:lnTo>
                    <a:pt x="17264" y="64527"/>
                  </a:lnTo>
                  <a:lnTo>
                    <a:pt x="16698" y="64150"/>
                  </a:lnTo>
                  <a:lnTo>
                    <a:pt x="16981" y="64056"/>
                  </a:lnTo>
                  <a:lnTo>
                    <a:pt x="17264" y="64150"/>
                  </a:lnTo>
                  <a:lnTo>
                    <a:pt x="17264" y="64150"/>
                  </a:lnTo>
                  <a:lnTo>
                    <a:pt x="15188" y="63207"/>
                  </a:lnTo>
                  <a:lnTo>
                    <a:pt x="14622" y="62829"/>
                  </a:lnTo>
                  <a:lnTo>
                    <a:pt x="14717" y="62924"/>
                  </a:lnTo>
                  <a:lnTo>
                    <a:pt x="13773" y="62546"/>
                  </a:lnTo>
                  <a:lnTo>
                    <a:pt x="12924" y="62075"/>
                  </a:lnTo>
                  <a:lnTo>
                    <a:pt x="12358" y="61697"/>
                  </a:lnTo>
                  <a:lnTo>
                    <a:pt x="12264" y="61508"/>
                  </a:lnTo>
                  <a:lnTo>
                    <a:pt x="12170" y="61320"/>
                  </a:lnTo>
                  <a:lnTo>
                    <a:pt x="11698" y="60942"/>
                  </a:lnTo>
                  <a:lnTo>
                    <a:pt x="11132" y="60471"/>
                  </a:lnTo>
                  <a:lnTo>
                    <a:pt x="9906" y="59244"/>
                  </a:lnTo>
                  <a:lnTo>
                    <a:pt x="9906" y="59244"/>
                  </a:lnTo>
                  <a:lnTo>
                    <a:pt x="10566" y="59527"/>
                  </a:lnTo>
                  <a:lnTo>
                    <a:pt x="9434" y="58584"/>
                  </a:lnTo>
                  <a:lnTo>
                    <a:pt x="8207" y="57546"/>
                  </a:lnTo>
                  <a:lnTo>
                    <a:pt x="7547" y="56886"/>
                  </a:lnTo>
                  <a:lnTo>
                    <a:pt x="6981" y="56131"/>
                  </a:lnTo>
                  <a:lnTo>
                    <a:pt x="6226" y="55094"/>
                  </a:lnTo>
                  <a:lnTo>
                    <a:pt x="6415" y="55377"/>
                  </a:lnTo>
                  <a:lnTo>
                    <a:pt x="6038" y="54905"/>
                  </a:lnTo>
                  <a:lnTo>
                    <a:pt x="5472" y="54244"/>
                  </a:lnTo>
                  <a:lnTo>
                    <a:pt x="5283" y="53961"/>
                  </a:lnTo>
                  <a:lnTo>
                    <a:pt x="5094" y="53867"/>
                  </a:lnTo>
                  <a:lnTo>
                    <a:pt x="5377" y="54622"/>
                  </a:lnTo>
                  <a:lnTo>
                    <a:pt x="5849" y="55282"/>
                  </a:lnTo>
                  <a:lnTo>
                    <a:pt x="6321" y="55943"/>
                  </a:lnTo>
                  <a:lnTo>
                    <a:pt x="6698" y="56603"/>
                  </a:lnTo>
                  <a:lnTo>
                    <a:pt x="6226" y="56226"/>
                  </a:lnTo>
                  <a:lnTo>
                    <a:pt x="5943" y="55848"/>
                  </a:lnTo>
                  <a:lnTo>
                    <a:pt x="6038" y="56037"/>
                  </a:lnTo>
                  <a:lnTo>
                    <a:pt x="5943" y="55943"/>
                  </a:lnTo>
                  <a:lnTo>
                    <a:pt x="5377" y="55188"/>
                  </a:lnTo>
                  <a:lnTo>
                    <a:pt x="5000" y="54716"/>
                  </a:lnTo>
                  <a:lnTo>
                    <a:pt x="4717" y="54150"/>
                  </a:lnTo>
                  <a:lnTo>
                    <a:pt x="4528" y="53678"/>
                  </a:lnTo>
                  <a:lnTo>
                    <a:pt x="4528" y="53584"/>
                  </a:lnTo>
                  <a:lnTo>
                    <a:pt x="4623" y="53395"/>
                  </a:lnTo>
                  <a:lnTo>
                    <a:pt x="5094" y="54244"/>
                  </a:lnTo>
                  <a:lnTo>
                    <a:pt x="4717" y="53301"/>
                  </a:lnTo>
                  <a:lnTo>
                    <a:pt x="4528" y="53018"/>
                  </a:lnTo>
                  <a:lnTo>
                    <a:pt x="4151" y="52263"/>
                  </a:lnTo>
                  <a:lnTo>
                    <a:pt x="4151" y="52169"/>
                  </a:lnTo>
                  <a:lnTo>
                    <a:pt x="3774" y="51509"/>
                  </a:lnTo>
                  <a:lnTo>
                    <a:pt x="3396" y="50660"/>
                  </a:lnTo>
                  <a:lnTo>
                    <a:pt x="3585" y="51603"/>
                  </a:lnTo>
                  <a:lnTo>
                    <a:pt x="3396" y="51226"/>
                  </a:lnTo>
                  <a:lnTo>
                    <a:pt x="3208" y="50848"/>
                  </a:lnTo>
                  <a:lnTo>
                    <a:pt x="3208" y="50471"/>
                  </a:lnTo>
                  <a:lnTo>
                    <a:pt x="3208" y="50094"/>
                  </a:lnTo>
                  <a:lnTo>
                    <a:pt x="3585" y="50754"/>
                  </a:lnTo>
                  <a:lnTo>
                    <a:pt x="3868" y="51509"/>
                  </a:lnTo>
                  <a:lnTo>
                    <a:pt x="3868" y="51509"/>
                  </a:lnTo>
                  <a:lnTo>
                    <a:pt x="3208" y="49528"/>
                  </a:lnTo>
                  <a:lnTo>
                    <a:pt x="3208" y="49528"/>
                  </a:lnTo>
                  <a:lnTo>
                    <a:pt x="3868" y="50754"/>
                  </a:lnTo>
                  <a:lnTo>
                    <a:pt x="3208" y="48962"/>
                  </a:lnTo>
                  <a:lnTo>
                    <a:pt x="3585" y="49339"/>
                  </a:lnTo>
                  <a:lnTo>
                    <a:pt x="3774" y="49433"/>
                  </a:lnTo>
                  <a:lnTo>
                    <a:pt x="3962" y="49528"/>
                  </a:lnTo>
                  <a:lnTo>
                    <a:pt x="4057" y="49905"/>
                  </a:lnTo>
                  <a:lnTo>
                    <a:pt x="3868" y="48962"/>
                  </a:lnTo>
                  <a:lnTo>
                    <a:pt x="3491" y="47924"/>
                  </a:lnTo>
                  <a:lnTo>
                    <a:pt x="2641" y="45565"/>
                  </a:lnTo>
                  <a:lnTo>
                    <a:pt x="2170" y="43867"/>
                  </a:lnTo>
                  <a:lnTo>
                    <a:pt x="1698" y="41886"/>
                  </a:lnTo>
                  <a:lnTo>
                    <a:pt x="1698" y="41886"/>
                  </a:lnTo>
                  <a:lnTo>
                    <a:pt x="1887" y="42075"/>
                  </a:lnTo>
                  <a:lnTo>
                    <a:pt x="1981" y="41981"/>
                  </a:lnTo>
                  <a:lnTo>
                    <a:pt x="2075" y="42075"/>
                  </a:lnTo>
                  <a:lnTo>
                    <a:pt x="2264" y="42169"/>
                  </a:lnTo>
                  <a:lnTo>
                    <a:pt x="2170" y="40283"/>
                  </a:lnTo>
                  <a:lnTo>
                    <a:pt x="2075" y="38301"/>
                  </a:lnTo>
                  <a:lnTo>
                    <a:pt x="2170" y="36415"/>
                  </a:lnTo>
                  <a:lnTo>
                    <a:pt x="2358" y="35566"/>
                  </a:lnTo>
                  <a:lnTo>
                    <a:pt x="2453" y="34811"/>
                  </a:lnTo>
                  <a:lnTo>
                    <a:pt x="2830" y="32830"/>
                  </a:lnTo>
                  <a:lnTo>
                    <a:pt x="2830" y="33207"/>
                  </a:lnTo>
                  <a:lnTo>
                    <a:pt x="2924" y="33490"/>
                  </a:lnTo>
                  <a:lnTo>
                    <a:pt x="2924" y="32453"/>
                  </a:lnTo>
                  <a:lnTo>
                    <a:pt x="3019" y="31415"/>
                  </a:lnTo>
                  <a:lnTo>
                    <a:pt x="3396" y="29245"/>
                  </a:lnTo>
                  <a:lnTo>
                    <a:pt x="3868" y="27075"/>
                  </a:lnTo>
                  <a:lnTo>
                    <a:pt x="4623" y="25000"/>
                  </a:lnTo>
                  <a:lnTo>
                    <a:pt x="5566" y="22830"/>
                  </a:lnTo>
                  <a:lnTo>
                    <a:pt x="6604" y="20849"/>
                  </a:lnTo>
                  <a:lnTo>
                    <a:pt x="7830" y="18868"/>
                  </a:lnTo>
                  <a:lnTo>
                    <a:pt x="9151" y="16887"/>
                  </a:lnTo>
                  <a:lnTo>
                    <a:pt x="10566" y="15094"/>
                  </a:lnTo>
                  <a:lnTo>
                    <a:pt x="12075" y="13302"/>
                  </a:lnTo>
                  <a:lnTo>
                    <a:pt x="13773" y="11698"/>
                  </a:lnTo>
                  <a:lnTo>
                    <a:pt x="15377" y="10095"/>
                  </a:lnTo>
                  <a:lnTo>
                    <a:pt x="17170" y="8679"/>
                  </a:lnTo>
                  <a:lnTo>
                    <a:pt x="18962" y="7453"/>
                  </a:lnTo>
                  <a:lnTo>
                    <a:pt x="20754" y="6321"/>
                  </a:lnTo>
                  <a:lnTo>
                    <a:pt x="22547" y="5378"/>
                  </a:lnTo>
                  <a:lnTo>
                    <a:pt x="21603" y="6227"/>
                  </a:lnTo>
                  <a:lnTo>
                    <a:pt x="22641" y="5472"/>
                  </a:lnTo>
                  <a:lnTo>
                    <a:pt x="23302" y="5095"/>
                  </a:lnTo>
                  <a:lnTo>
                    <a:pt x="25377" y="4151"/>
                  </a:lnTo>
                  <a:lnTo>
                    <a:pt x="24811" y="4151"/>
                  </a:lnTo>
                  <a:lnTo>
                    <a:pt x="25660" y="3774"/>
                  </a:lnTo>
                  <a:lnTo>
                    <a:pt x="26886" y="3208"/>
                  </a:lnTo>
                  <a:lnTo>
                    <a:pt x="26603" y="3585"/>
                  </a:lnTo>
                  <a:lnTo>
                    <a:pt x="26886" y="3585"/>
                  </a:lnTo>
                  <a:lnTo>
                    <a:pt x="26886" y="3680"/>
                  </a:lnTo>
                  <a:lnTo>
                    <a:pt x="26792" y="3774"/>
                  </a:lnTo>
                  <a:lnTo>
                    <a:pt x="28301" y="3302"/>
                  </a:lnTo>
                  <a:lnTo>
                    <a:pt x="29622" y="2736"/>
                  </a:lnTo>
                  <a:lnTo>
                    <a:pt x="31037" y="2264"/>
                  </a:lnTo>
                  <a:lnTo>
                    <a:pt x="31792" y="2076"/>
                  </a:lnTo>
                  <a:lnTo>
                    <a:pt x="32641" y="1981"/>
                  </a:lnTo>
                  <a:lnTo>
                    <a:pt x="32547" y="2076"/>
                  </a:lnTo>
                  <a:lnTo>
                    <a:pt x="32924" y="1981"/>
                  </a:lnTo>
                  <a:lnTo>
                    <a:pt x="34245" y="1793"/>
                  </a:lnTo>
                  <a:lnTo>
                    <a:pt x="35848" y="1415"/>
                  </a:lnTo>
                  <a:lnTo>
                    <a:pt x="36981" y="1132"/>
                  </a:lnTo>
                  <a:lnTo>
                    <a:pt x="36981" y="1415"/>
                  </a:lnTo>
                  <a:lnTo>
                    <a:pt x="40943" y="1227"/>
                  </a:lnTo>
                  <a:lnTo>
                    <a:pt x="41509" y="1038"/>
                  </a:lnTo>
                  <a:lnTo>
                    <a:pt x="41697" y="1132"/>
                  </a:lnTo>
                  <a:lnTo>
                    <a:pt x="41509" y="1227"/>
                  </a:lnTo>
                  <a:lnTo>
                    <a:pt x="41320" y="1321"/>
                  </a:lnTo>
                  <a:lnTo>
                    <a:pt x="42263" y="1321"/>
                  </a:lnTo>
                  <a:lnTo>
                    <a:pt x="43113" y="1227"/>
                  </a:lnTo>
                  <a:lnTo>
                    <a:pt x="43396" y="1415"/>
                  </a:lnTo>
                  <a:lnTo>
                    <a:pt x="44056" y="1604"/>
                  </a:lnTo>
                  <a:lnTo>
                    <a:pt x="45943" y="2076"/>
                  </a:lnTo>
                  <a:lnTo>
                    <a:pt x="48018" y="2359"/>
                  </a:lnTo>
                  <a:lnTo>
                    <a:pt x="49622" y="2736"/>
                  </a:lnTo>
                  <a:lnTo>
                    <a:pt x="47641" y="1981"/>
                  </a:lnTo>
                  <a:lnTo>
                    <a:pt x="45282" y="1321"/>
                  </a:lnTo>
                  <a:lnTo>
                    <a:pt x="42735" y="755"/>
                  </a:lnTo>
                  <a:lnTo>
                    <a:pt x="40188" y="283"/>
                  </a:lnTo>
                  <a:lnTo>
                    <a:pt x="37735" y="95"/>
                  </a:lnTo>
                  <a:lnTo>
                    <a:pt x="35471" y="0"/>
                  </a:lnTo>
                  <a:close/>
                </a:path>
              </a:pathLst>
            </a:custGeom>
            <a:solidFill>
              <a:srgbClr val="FF0000"/>
            </a:solidFill>
            <a:ln>
              <a:noFill/>
            </a:ln>
          </p:spPr>
          <p:txBody>
            <a:bodyPr spcFirstLastPara="1" wrap="square" lIns="91425" tIns="91425" rIns="91425" bIns="91425" anchor="ctr" anchorCtr="0">
              <a:noAutofit/>
            </a:bodyPr>
            <a:lstStyle/>
            <a:p>
              <a:pPr marL="0" lvl="0" indent="0">
                <a:spcBef>
                  <a:spcPts val="0"/>
                </a:spcBef>
                <a:spcAft>
                  <a:spcPts val="0"/>
                </a:spcAft>
                <a:buNone/>
              </a:pPr>
              <a:endParaRPr sz="1100"/>
            </a:p>
          </p:txBody>
        </p:sp>
        <p:sp>
          <p:nvSpPr>
            <p:cNvPr id="93" name="TextBox 92">
              <a:extLst>
                <a:ext uri="{FF2B5EF4-FFF2-40B4-BE49-F238E27FC236}">
                  <a16:creationId xmlns:a16="http://schemas.microsoft.com/office/drawing/2014/main" id="{8C7C221F-D4FD-D849-BC28-308CA066576E}"/>
                </a:ext>
              </a:extLst>
            </p:cNvPr>
            <p:cNvSpPr txBox="1"/>
            <p:nvPr/>
          </p:nvSpPr>
          <p:spPr>
            <a:xfrm>
              <a:off x="702590" y="1204757"/>
              <a:ext cx="301686" cy="260896"/>
            </a:xfrm>
            <a:prstGeom prst="rect">
              <a:avLst/>
            </a:prstGeom>
            <a:noFill/>
          </p:spPr>
          <p:txBody>
            <a:bodyPr wrap="square" rtlCol="0">
              <a:spAutoFit/>
            </a:bodyPr>
            <a:lstStyle/>
            <a:p>
              <a:r>
                <a:rPr lang="en-US" sz="700" dirty="0">
                  <a:solidFill>
                    <a:srgbClr val="FF0000"/>
                  </a:solidFill>
                </a:rPr>
                <a:t>1.</a:t>
              </a:r>
            </a:p>
          </p:txBody>
        </p:sp>
      </p:grpSp>
      <p:sp>
        <p:nvSpPr>
          <p:cNvPr id="94" name="Google Shape;61;p12">
            <a:extLst>
              <a:ext uri="{FF2B5EF4-FFF2-40B4-BE49-F238E27FC236}">
                <a16:creationId xmlns:a16="http://schemas.microsoft.com/office/drawing/2014/main" id="{DC465E14-5D7A-3245-8A30-4825A9439095}"/>
              </a:ext>
            </a:extLst>
          </p:cNvPr>
          <p:cNvSpPr txBox="1">
            <a:spLocks/>
          </p:cNvSpPr>
          <p:nvPr/>
        </p:nvSpPr>
        <p:spPr>
          <a:xfrm>
            <a:off x="1425665" y="1367999"/>
            <a:ext cx="711623" cy="297585"/>
          </a:xfrm>
          <a:prstGeom prst="rect">
            <a:avLst/>
          </a:prstGeom>
        </p:spPr>
        <p:txBody>
          <a:bodyPr spcFirstLastPara="1" vert="horz" wrap="square" lIns="91425" tIns="91425" rIns="91425" bIns="91425" rtlCol="0" anchor="ctr"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spcBef>
                <a:spcPts val="0"/>
              </a:spcBef>
            </a:pPr>
            <a:r>
              <a:rPr lang="en-US" sz="1100" b="1" dirty="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Priority</a:t>
            </a:r>
          </a:p>
        </p:txBody>
      </p:sp>
      <p:sp>
        <p:nvSpPr>
          <p:cNvPr id="95" name="Rectangle 94">
            <a:extLst>
              <a:ext uri="{FF2B5EF4-FFF2-40B4-BE49-F238E27FC236}">
                <a16:creationId xmlns:a16="http://schemas.microsoft.com/office/drawing/2014/main" id="{50BDA43B-27E4-F44C-930C-25088007F135}"/>
              </a:ext>
            </a:extLst>
          </p:cNvPr>
          <p:cNvSpPr/>
          <p:nvPr/>
        </p:nvSpPr>
        <p:spPr>
          <a:xfrm>
            <a:off x="2191575" y="3508877"/>
            <a:ext cx="7991158" cy="1495888"/>
          </a:xfrm>
          <a:prstGeom prst="rect">
            <a:avLst/>
          </a:prstGeom>
          <a:solidFill>
            <a:srgbClr val="E2E2E2">
              <a:alpha val="56000"/>
            </a:srgbClr>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a:solidFill>
                <a:srgbClr val="002D72"/>
              </a:solidFill>
              <a:latin typeface="Arial" pitchFamily="34" charset="0"/>
              <a:cs typeface="Arial" pitchFamily="34" charset="0"/>
            </a:endParaRPr>
          </a:p>
        </p:txBody>
      </p:sp>
      <p:grpSp>
        <p:nvGrpSpPr>
          <p:cNvPr id="97" name="Group 96">
            <a:extLst>
              <a:ext uri="{FF2B5EF4-FFF2-40B4-BE49-F238E27FC236}">
                <a16:creationId xmlns:a16="http://schemas.microsoft.com/office/drawing/2014/main" id="{DA8F1114-45A4-CC4D-8377-C64E28C2E60A}"/>
              </a:ext>
            </a:extLst>
          </p:cNvPr>
          <p:cNvGrpSpPr/>
          <p:nvPr/>
        </p:nvGrpSpPr>
        <p:grpSpPr>
          <a:xfrm rot="21011211">
            <a:off x="8985926" y="4088296"/>
            <a:ext cx="292910" cy="222927"/>
            <a:chOff x="702590" y="1203599"/>
            <a:chExt cx="301686" cy="290724"/>
          </a:xfrm>
        </p:grpSpPr>
        <p:sp>
          <p:nvSpPr>
            <p:cNvPr id="98" name="Google Shape;431;p39">
              <a:extLst>
                <a:ext uri="{FF2B5EF4-FFF2-40B4-BE49-F238E27FC236}">
                  <a16:creationId xmlns:a16="http://schemas.microsoft.com/office/drawing/2014/main" id="{FA014D8D-D804-B642-B169-979380543600}"/>
                </a:ext>
              </a:extLst>
            </p:cNvPr>
            <p:cNvSpPr/>
            <p:nvPr/>
          </p:nvSpPr>
          <p:spPr>
            <a:xfrm>
              <a:off x="736556" y="1203599"/>
              <a:ext cx="219241" cy="290724"/>
            </a:xfrm>
            <a:custGeom>
              <a:avLst/>
              <a:gdLst/>
              <a:ahLst/>
              <a:cxnLst/>
              <a:rect l="0" t="0" r="0" b="0"/>
              <a:pathLst>
                <a:path w="67641" h="69056" extrusionOk="0">
                  <a:moveTo>
                    <a:pt x="49622" y="2736"/>
                  </a:moveTo>
                  <a:lnTo>
                    <a:pt x="49622" y="2736"/>
                  </a:lnTo>
                  <a:lnTo>
                    <a:pt x="49622" y="2736"/>
                  </a:lnTo>
                  <a:close/>
                  <a:moveTo>
                    <a:pt x="59622" y="55565"/>
                  </a:moveTo>
                  <a:lnTo>
                    <a:pt x="59622" y="55565"/>
                  </a:lnTo>
                  <a:lnTo>
                    <a:pt x="59622" y="55565"/>
                  </a:lnTo>
                  <a:close/>
                  <a:moveTo>
                    <a:pt x="35471" y="0"/>
                  </a:moveTo>
                  <a:lnTo>
                    <a:pt x="34433" y="95"/>
                  </a:lnTo>
                  <a:lnTo>
                    <a:pt x="33584" y="189"/>
                  </a:lnTo>
                  <a:lnTo>
                    <a:pt x="32735" y="378"/>
                  </a:lnTo>
                  <a:lnTo>
                    <a:pt x="32169" y="566"/>
                  </a:lnTo>
                  <a:lnTo>
                    <a:pt x="31509" y="472"/>
                  </a:lnTo>
                  <a:lnTo>
                    <a:pt x="30754" y="472"/>
                  </a:lnTo>
                  <a:lnTo>
                    <a:pt x="29339" y="566"/>
                  </a:lnTo>
                  <a:lnTo>
                    <a:pt x="27830" y="849"/>
                  </a:lnTo>
                  <a:lnTo>
                    <a:pt x="26320" y="1321"/>
                  </a:lnTo>
                  <a:lnTo>
                    <a:pt x="24811" y="1981"/>
                  </a:lnTo>
                  <a:lnTo>
                    <a:pt x="23207" y="2736"/>
                  </a:lnTo>
                  <a:lnTo>
                    <a:pt x="21698" y="3585"/>
                  </a:lnTo>
                  <a:lnTo>
                    <a:pt x="20188" y="4623"/>
                  </a:lnTo>
                  <a:lnTo>
                    <a:pt x="18679" y="5661"/>
                  </a:lnTo>
                  <a:lnTo>
                    <a:pt x="17170" y="6793"/>
                  </a:lnTo>
                  <a:lnTo>
                    <a:pt x="15754" y="8019"/>
                  </a:lnTo>
                  <a:lnTo>
                    <a:pt x="14434" y="9151"/>
                  </a:lnTo>
                  <a:lnTo>
                    <a:pt x="11981" y="11510"/>
                  </a:lnTo>
                  <a:lnTo>
                    <a:pt x="10000" y="13774"/>
                  </a:lnTo>
                  <a:lnTo>
                    <a:pt x="7736" y="16981"/>
                  </a:lnTo>
                  <a:lnTo>
                    <a:pt x="8019" y="16321"/>
                  </a:lnTo>
                  <a:lnTo>
                    <a:pt x="8302" y="15660"/>
                  </a:lnTo>
                  <a:lnTo>
                    <a:pt x="7736" y="16604"/>
                  </a:lnTo>
                  <a:lnTo>
                    <a:pt x="7075" y="17642"/>
                  </a:lnTo>
                  <a:lnTo>
                    <a:pt x="7170" y="17830"/>
                  </a:lnTo>
                  <a:lnTo>
                    <a:pt x="6509" y="18868"/>
                  </a:lnTo>
                  <a:lnTo>
                    <a:pt x="7075" y="17359"/>
                  </a:lnTo>
                  <a:lnTo>
                    <a:pt x="6132" y="19057"/>
                  </a:lnTo>
                  <a:lnTo>
                    <a:pt x="5189" y="20849"/>
                  </a:lnTo>
                  <a:lnTo>
                    <a:pt x="4434" y="22736"/>
                  </a:lnTo>
                  <a:lnTo>
                    <a:pt x="3679" y="24622"/>
                  </a:lnTo>
                  <a:lnTo>
                    <a:pt x="2453" y="28490"/>
                  </a:lnTo>
                  <a:lnTo>
                    <a:pt x="1321" y="32169"/>
                  </a:lnTo>
                  <a:lnTo>
                    <a:pt x="1509" y="32264"/>
                  </a:lnTo>
                  <a:lnTo>
                    <a:pt x="1604" y="32453"/>
                  </a:lnTo>
                  <a:lnTo>
                    <a:pt x="1604" y="32641"/>
                  </a:lnTo>
                  <a:lnTo>
                    <a:pt x="1509" y="32924"/>
                  </a:lnTo>
                  <a:lnTo>
                    <a:pt x="1226" y="33396"/>
                  </a:lnTo>
                  <a:lnTo>
                    <a:pt x="1038" y="33585"/>
                  </a:lnTo>
                  <a:lnTo>
                    <a:pt x="1038" y="33773"/>
                  </a:lnTo>
                  <a:lnTo>
                    <a:pt x="1038" y="35000"/>
                  </a:lnTo>
                  <a:lnTo>
                    <a:pt x="849" y="36132"/>
                  </a:lnTo>
                  <a:lnTo>
                    <a:pt x="660" y="37358"/>
                  </a:lnTo>
                  <a:lnTo>
                    <a:pt x="472" y="38867"/>
                  </a:lnTo>
                  <a:lnTo>
                    <a:pt x="283" y="38301"/>
                  </a:lnTo>
                  <a:lnTo>
                    <a:pt x="94" y="39811"/>
                  </a:lnTo>
                  <a:lnTo>
                    <a:pt x="0" y="41509"/>
                  </a:lnTo>
                  <a:lnTo>
                    <a:pt x="94" y="43301"/>
                  </a:lnTo>
                  <a:lnTo>
                    <a:pt x="283" y="44056"/>
                  </a:lnTo>
                  <a:lnTo>
                    <a:pt x="472" y="44622"/>
                  </a:lnTo>
                  <a:lnTo>
                    <a:pt x="566" y="45660"/>
                  </a:lnTo>
                  <a:lnTo>
                    <a:pt x="755" y="46792"/>
                  </a:lnTo>
                  <a:lnTo>
                    <a:pt x="1226" y="48962"/>
                  </a:lnTo>
                  <a:lnTo>
                    <a:pt x="1981" y="51037"/>
                  </a:lnTo>
                  <a:lnTo>
                    <a:pt x="2924" y="53112"/>
                  </a:lnTo>
                  <a:lnTo>
                    <a:pt x="4057" y="55094"/>
                  </a:lnTo>
                  <a:lnTo>
                    <a:pt x="5283" y="56980"/>
                  </a:lnTo>
                  <a:lnTo>
                    <a:pt x="6698" y="58678"/>
                  </a:lnTo>
                  <a:lnTo>
                    <a:pt x="8113" y="60282"/>
                  </a:lnTo>
                  <a:lnTo>
                    <a:pt x="9056" y="61131"/>
                  </a:lnTo>
                  <a:lnTo>
                    <a:pt x="10000" y="61980"/>
                  </a:lnTo>
                  <a:lnTo>
                    <a:pt x="11038" y="62829"/>
                  </a:lnTo>
                  <a:lnTo>
                    <a:pt x="12075" y="63584"/>
                  </a:lnTo>
                  <a:lnTo>
                    <a:pt x="14339" y="64905"/>
                  </a:lnTo>
                  <a:lnTo>
                    <a:pt x="16604" y="66131"/>
                  </a:lnTo>
                  <a:lnTo>
                    <a:pt x="19056" y="67169"/>
                  </a:lnTo>
                  <a:lnTo>
                    <a:pt x="21509" y="67923"/>
                  </a:lnTo>
                  <a:lnTo>
                    <a:pt x="24056" y="68584"/>
                  </a:lnTo>
                  <a:lnTo>
                    <a:pt x="26603" y="69055"/>
                  </a:lnTo>
                  <a:lnTo>
                    <a:pt x="27830" y="69055"/>
                  </a:lnTo>
                  <a:lnTo>
                    <a:pt x="30188" y="68867"/>
                  </a:lnTo>
                  <a:lnTo>
                    <a:pt x="33113" y="68678"/>
                  </a:lnTo>
                  <a:lnTo>
                    <a:pt x="36509" y="68301"/>
                  </a:lnTo>
                  <a:lnTo>
                    <a:pt x="39811" y="67923"/>
                  </a:lnTo>
                  <a:lnTo>
                    <a:pt x="42735" y="67452"/>
                  </a:lnTo>
                  <a:lnTo>
                    <a:pt x="44905" y="66980"/>
                  </a:lnTo>
                  <a:lnTo>
                    <a:pt x="45565" y="66791"/>
                  </a:lnTo>
                  <a:lnTo>
                    <a:pt x="45943" y="66508"/>
                  </a:lnTo>
                  <a:lnTo>
                    <a:pt x="47358" y="65942"/>
                  </a:lnTo>
                  <a:lnTo>
                    <a:pt x="48018" y="65565"/>
                  </a:lnTo>
                  <a:lnTo>
                    <a:pt x="48678" y="65188"/>
                  </a:lnTo>
                  <a:lnTo>
                    <a:pt x="47924" y="65471"/>
                  </a:lnTo>
                  <a:lnTo>
                    <a:pt x="51509" y="62924"/>
                  </a:lnTo>
                  <a:lnTo>
                    <a:pt x="53301" y="61508"/>
                  </a:lnTo>
                  <a:lnTo>
                    <a:pt x="55093" y="59905"/>
                  </a:lnTo>
                  <a:lnTo>
                    <a:pt x="55093" y="59905"/>
                  </a:lnTo>
                  <a:lnTo>
                    <a:pt x="54810" y="60376"/>
                  </a:lnTo>
                  <a:lnTo>
                    <a:pt x="54339" y="60754"/>
                  </a:lnTo>
                  <a:lnTo>
                    <a:pt x="55376" y="59999"/>
                  </a:lnTo>
                  <a:lnTo>
                    <a:pt x="56320" y="59056"/>
                  </a:lnTo>
                  <a:lnTo>
                    <a:pt x="57075" y="58395"/>
                  </a:lnTo>
                  <a:lnTo>
                    <a:pt x="57169" y="58207"/>
                  </a:lnTo>
                  <a:lnTo>
                    <a:pt x="57075" y="58207"/>
                  </a:lnTo>
                  <a:lnTo>
                    <a:pt x="57924" y="57546"/>
                  </a:lnTo>
                  <a:lnTo>
                    <a:pt x="58678" y="56697"/>
                  </a:lnTo>
                  <a:lnTo>
                    <a:pt x="59339" y="55754"/>
                  </a:lnTo>
                  <a:lnTo>
                    <a:pt x="59905" y="54905"/>
                  </a:lnTo>
                  <a:lnTo>
                    <a:pt x="59716" y="54999"/>
                  </a:lnTo>
                  <a:lnTo>
                    <a:pt x="59622" y="54999"/>
                  </a:lnTo>
                  <a:lnTo>
                    <a:pt x="59810" y="54622"/>
                  </a:lnTo>
                  <a:lnTo>
                    <a:pt x="59150" y="55565"/>
                  </a:lnTo>
                  <a:lnTo>
                    <a:pt x="59527" y="55094"/>
                  </a:lnTo>
                  <a:lnTo>
                    <a:pt x="59433" y="55377"/>
                  </a:lnTo>
                  <a:lnTo>
                    <a:pt x="58867" y="56037"/>
                  </a:lnTo>
                  <a:lnTo>
                    <a:pt x="59056" y="55660"/>
                  </a:lnTo>
                  <a:lnTo>
                    <a:pt x="59056" y="55660"/>
                  </a:lnTo>
                  <a:lnTo>
                    <a:pt x="58678" y="56037"/>
                  </a:lnTo>
                  <a:lnTo>
                    <a:pt x="59810" y="54339"/>
                  </a:lnTo>
                  <a:lnTo>
                    <a:pt x="60282" y="53490"/>
                  </a:lnTo>
                  <a:lnTo>
                    <a:pt x="60282" y="53301"/>
                  </a:lnTo>
                  <a:lnTo>
                    <a:pt x="60188" y="53395"/>
                  </a:lnTo>
                  <a:lnTo>
                    <a:pt x="60188" y="53395"/>
                  </a:lnTo>
                  <a:lnTo>
                    <a:pt x="60565" y="52924"/>
                  </a:lnTo>
                  <a:lnTo>
                    <a:pt x="61037" y="52452"/>
                  </a:lnTo>
                  <a:lnTo>
                    <a:pt x="61886" y="51509"/>
                  </a:lnTo>
                  <a:lnTo>
                    <a:pt x="61508" y="52452"/>
                  </a:lnTo>
                  <a:lnTo>
                    <a:pt x="60848" y="53584"/>
                  </a:lnTo>
                  <a:lnTo>
                    <a:pt x="59622" y="55565"/>
                  </a:lnTo>
                  <a:lnTo>
                    <a:pt x="60376" y="54528"/>
                  </a:lnTo>
                  <a:lnTo>
                    <a:pt x="60942" y="53678"/>
                  </a:lnTo>
                  <a:lnTo>
                    <a:pt x="61980" y="51792"/>
                  </a:lnTo>
                  <a:lnTo>
                    <a:pt x="61886" y="51886"/>
                  </a:lnTo>
                  <a:lnTo>
                    <a:pt x="61886" y="51697"/>
                  </a:lnTo>
                  <a:lnTo>
                    <a:pt x="62169" y="51037"/>
                  </a:lnTo>
                  <a:lnTo>
                    <a:pt x="62735" y="49999"/>
                  </a:lnTo>
                  <a:lnTo>
                    <a:pt x="61508" y="51603"/>
                  </a:lnTo>
                  <a:lnTo>
                    <a:pt x="61603" y="51037"/>
                  </a:lnTo>
                  <a:lnTo>
                    <a:pt x="61697" y="50377"/>
                  </a:lnTo>
                  <a:lnTo>
                    <a:pt x="62169" y="48962"/>
                  </a:lnTo>
                  <a:lnTo>
                    <a:pt x="62829" y="47358"/>
                  </a:lnTo>
                  <a:lnTo>
                    <a:pt x="63678" y="45565"/>
                  </a:lnTo>
                  <a:lnTo>
                    <a:pt x="65376" y="42169"/>
                  </a:lnTo>
                  <a:lnTo>
                    <a:pt x="66131" y="40660"/>
                  </a:lnTo>
                  <a:lnTo>
                    <a:pt x="66697" y="39339"/>
                  </a:lnTo>
                  <a:lnTo>
                    <a:pt x="66603" y="39528"/>
                  </a:lnTo>
                  <a:lnTo>
                    <a:pt x="66697" y="39056"/>
                  </a:lnTo>
                  <a:lnTo>
                    <a:pt x="66791" y="38962"/>
                  </a:lnTo>
                  <a:lnTo>
                    <a:pt x="66791" y="39056"/>
                  </a:lnTo>
                  <a:lnTo>
                    <a:pt x="66886" y="38584"/>
                  </a:lnTo>
                  <a:lnTo>
                    <a:pt x="66791" y="38867"/>
                  </a:lnTo>
                  <a:lnTo>
                    <a:pt x="66980" y="38207"/>
                  </a:lnTo>
                  <a:lnTo>
                    <a:pt x="67169" y="37264"/>
                  </a:lnTo>
                  <a:lnTo>
                    <a:pt x="67263" y="36415"/>
                  </a:lnTo>
                  <a:lnTo>
                    <a:pt x="67357" y="36509"/>
                  </a:lnTo>
                  <a:lnTo>
                    <a:pt x="67452" y="36509"/>
                  </a:lnTo>
                  <a:lnTo>
                    <a:pt x="67546" y="35943"/>
                  </a:lnTo>
                  <a:lnTo>
                    <a:pt x="67546" y="34811"/>
                  </a:lnTo>
                  <a:lnTo>
                    <a:pt x="67640" y="31037"/>
                  </a:lnTo>
                  <a:lnTo>
                    <a:pt x="67640" y="28490"/>
                  </a:lnTo>
                  <a:lnTo>
                    <a:pt x="67546" y="27736"/>
                  </a:lnTo>
                  <a:lnTo>
                    <a:pt x="67546" y="27547"/>
                  </a:lnTo>
                  <a:lnTo>
                    <a:pt x="67452" y="27547"/>
                  </a:lnTo>
                  <a:lnTo>
                    <a:pt x="67074" y="26792"/>
                  </a:lnTo>
                  <a:lnTo>
                    <a:pt x="66791" y="25660"/>
                  </a:lnTo>
                  <a:lnTo>
                    <a:pt x="66508" y="24528"/>
                  </a:lnTo>
                  <a:lnTo>
                    <a:pt x="66414" y="23585"/>
                  </a:lnTo>
                  <a:lnTo>
                    <a:pt x="66320" y="23679"/>
                  </a:lnTo>
                  <a:lnTo>
                    <a:pt x="66320" y="23490"/>
                  </a:lnTo>
                  <a:lnTo>
                    <a:pt x="65942" y="22924"/>
                  </a:lnTo>
                  <a:lnTo>
                    <a:pt x="65565" y="22358"/>
                  </a:lnTo>
                  <a:lnTo>
                    <a:pt x="64527" y="21132"/>
                  </a:lnTo>
                  <a:lnTo>
                    <a:pt x="63584" y="19906"/>
                  </a:lnTo>
                  <a:lnTo>
                    <a:pt x="63207" y="19340"/>
                  </a:lnTo>
                  <a:lnTo>
                    <a:pt x="63018" y="18774"/>
                  </a:lnTo>
                  <a:lnTo>
                    <a:pt x="63112" y="18962"/>
                  </a:lnTo>
                  <a:lnTo>
                    <a:pt x="63301" y="19057"/>
                  </a:lnTo>
                  <a:lnTo>
                    <a:pt x="63301" y="19057"/>
                  </a:lnTo>
                  <a:lnTo>
                    <a:pt x="63207" y="18868"/>
                  </a:lnTo>
                  <a:lnTo>
                    <a:pt x="62923" y="18491"/>
                  </a:lnTo>
                  <a:lnTo>
                    <a:pt x="61980" y="17453"/>
                  </a:lnTo>
                  <a:lnTo>
                    <a:pt x="61037" y="16509"/>
                  </a:lnTo>
                  <a:lnTo>
                    <a:pt x="61037" y="16698"/>
                  </a:lnTo>
                  <a:lnTo>
                    <a:pt x="61037" y="16887"/>
                  </a:lnTo>
                  <a:lnTo>
                    <a:pt x="60093" y="15943"/>
                  </a:lnTo>
                  <a:lnTo>
                    <a:pt x="60376" y="16321"/>
                  </a:lnTo>
                  <a:lnTo>
                    <a:pt x="59527" y="15377"/>
                  </a:lnTo>
                  <a:lnTo>
                    <a:pt x="59056" y="14906"/>
                  </a:lnTo>
                  <a:lnTo>
                    <a:pt x="59244" y="14906"/>
                  </a:lnTo>
                  <a:lnTo>
                    <a:pt x="59905" y="15472"/>
                  </a:lnTo>
                  <a:lnTo>
                    <a:pt x="59905" y="15472"/>
                  </a:lnTo>
                  <a:lnTo>
                    <a:pt x="57641" y="13396"/>
                  </a:lnTo>
                  <a:lnTo>
                    <a:pt x="58112" y="13868"/>
                  </a:lnTo>
                  <a:lnTo>
                    <a:pt x="56886" y="13019"/>
                  </a:lnTo>
                  <a:lnTo>
                    <a:pt x="55754" y="12453"/>
                  </a:lnTo>
                  <a:lnTo>
                    <a:pt x="56603" y="13113"/>
                  </a:lnTo>
                  <a:lnTo>
                    <a:pt x="57452" y="13774"/>
                  </a:lnTo>
                  <a:lnTo>
                    <a:pt x="58961" y="15283"/>
                  </a:lnTo>
                  <a:lnTo>
                    <a:pt x="60376" y="16604"/>
                  </a:lnTo>
                  <a:lnTo>
                    <a:pt x="61225" y="17264"/>
                  </a:lnTo>
                  <a:lnTo>
                    <a:pt x="62074" y="17925"/>
                  </a:lnTo>
                  <a:lnTo>
                    <a:pt x="62074" y="17925"/>
                  </a:lnTo>
                  <a:lnTo>
                    <a:pt x="61414" y="17547"/>
                  </a:lnTo>
                  <a:lnTo>
                    <a:pt x="60659" y="16981"/>
                  </a:lnTo>
                  <a:lnTo>
                    <a:pt x="60754" y="17264"/>
                  </a:lnTo>
                  <a:lnTo>
                    <a:pt x="60942" y="17642"/>
                  </a:lnTo>
                  <a:lnTo>
                    <a:pt x="61980" y="19151"/>
                  </a:lnTo>
                  <a:lnTo>
                    <a:pt x="63301" y="20943"/>
                  </a:lnTo>
                  <a:lnTo>
                    <a:pt x="63207" y="20943"/>
                  </a:lnTo>
                  <a:lnTo>
                    <a:pt x="63395" y="21038"/>
                  </a:lnTo>
                  <a:lnTo>
                    <a:pt x="63490" y="21321"/>
                  </a:lnTo>
                  <a:lnTo>
                    <a:pt x="63678" y="21604"/>
                  </a:lnTo>
                  <a:lnTo>
                    <a:pt x="63773" y="21698"/>
                  </a:lnTo>
                  <a:lnTo>
                    <a:pt x="63584" y="21321"/>
                  </a:lnTo>
                  <a:lnTo>
                    <a:pt x="63584" y="21321"/>
                  </a:lnTo>
                  <a:lnTo>
                    <a:pt x="64244" y="22170"/>
                  </a:lnTo>
                  <a:lnTo>
                    <a:pt x="64716" y="22641"/>
                  </a:lnTo>
                  <a:lnTo>
                    <a:pt x="64905" y="22830"/>
                  </a:lnTo>
                  <a:lnTo>
                    <a:pt x="64999" y="22830"/>
                  </a:lnTo>
                  <a:lnTo>
                    <a:pt x="64999" y="22641"/>
                  </a:lnTo>
                  <a:lnTo>
                    <a:pt x="64905" y="22358"/>
                  </a:lnTo>
                  <a:lnTo>
                    <a:pt x="65282" y="23207"/>
                  </a:lnTo>
                  <a:lnTo>
                    <a:pt x="65565" y="24056"/>
                  </a:lnTo>
                  <a:lnTo>
                    <a:pt x="66225" y="25943"/>
                  </a:lnTo>
                  <a:lnTo>
                    <a:pt x="66697" y="27830"/>
                  </a:lnTo>
                  <a:lnTo>
                    <a:pt x="66886" y="28490"/>
                  </a:lnTo>
                  <a:lnTo>
                    <a:pt x="66980" y="28868"/>
                  </a:lnTo>
                  <a:lnTo>
                    <a:pt x="66886" y="28962"/>
                  </a:lnTo>
                  <a:lnTo>
                    <a:pt x="66697" y="28679"/>
                  </a:lnTo>
                  <a:lnTo>
                    <a:pt x="66697" y="29245"/>
                  </a:lnTo>
                  <a:lnTo>
                    <a:pt x="66791" y="29905"/>
                  </a:lnTo>
                  <a:lnTo>
                    <a:pt x="66886" y="29905"/>
                  </a:lnTo>
                  <a:lnTo>
                    <a:pt x="66886" y="30094"/>
                  </a:lnTo>
                  <a:lnTo>
                    <a:pt x="66886" y="30566"/>
                  </a:lnTo>
                  <a:lnTo>
                    <a:pt x="66697" y="30377"/>
                  </a:lnTo>
                  <a:lnTo>
                    <a:pt x="66603" y="30188"/>
                  </a:lnTo>
                  <a:lnTo>
                    <a:pt x="66603" y="30094"/>
                  </a:lnTo>
                  <a:lnTo>
                    <a:pt x="66697" y="29905"/>
                  </a:lnTo>
                  <a:lnTo>
                    <a:pt x="66508" y="28679"/>
                  </a:lnTo>
                  <a:lnTo>
                    <a:pt x="66225" y="27358"/>
                  </a:lnTo>
                  <a:lnTo>
                    <a:pt x="66603" y="30283"/>
                  </a:lnTo>
                  <a:lnTo>
                    <a:pt x="66697" y="31792"/>
                  </a:lnTo>
                  <a:lnTo>
                    <a:pt x="66697" y="33302"/>
                  </a:lnTo>
                  <a:lnTo>
                    <a:pt x="66603" y="34717"/>
                  </a:lnTo>
                  <a:lnTo>
                    <a:pt x="66414" y="36226"/>
                  </a:lnTo>
                  <a:lnTo>
                    <a:pt x="66131" y="37547"/>
                  </a:lnTo>
                  <a:lnTo>
                    <a:pt x="65659" y="38962"/>
                  </a:lnTo>
                  <a:lnTo>
                    <a:pt x="65848" y="38584"/>
                  </a:lnTo>
                  <a:lnTo>
                    <a:pt x="65942" y="38584"/>
                  </a:lnTo>
                  <a:lnTo>
                    <a:pt x="65848" y="39245"/>
                  </a:lnTo>
                  <a:lnTo>
                    <a:pt x="65565" y="40188"/>
                  </a:lnTo>
                  <a:lnTo>
                    <a:pt x="65471" y="40471"/>
                  </a:lnTo>
                  <a:lnTo>
                    <a:pt x="65282" y="40660"/>
                  </a:lnTo>
                  <a:lnTo>
                    <a:pt x="65282" y="40566"/>
                  </a:lnTo>
                  <a:lnTo>
                    <a:pt x="65093" y="41132"/>
                  </a:lnTo>
                  <a:lnTo>
                    <a:pt x="64433" y="43018"/>
                  </a:lnTo>
                  <a:lnTo>
                    <a:pt x="63678" y="45282"/>
                  </a:lnTo>
                  <a:lnTo>
                    <a:pt x="62735" y="47264"/>
                  </a:lnTo>
                  <a:lnTo>
                    <a:pt x="61697" y="49056"/>
                  </a:lnTo>
                  <a:lnTo>
                    <a:pt x="60659" y="50943"/>
                  </a:lnTo>
                  <a:lnTo>
                    <a:pt x="59433" y="52735"/>
                  </a:lnTo>
                  <a:lnTo>
                    <a:pt x="58207" y="54433"/>
                  </a:lnTo>
                  <a:lnTo>
                    <a:pt x="56886" y="56037"/>
                  </a:lnTo>
                  <a:lnTo>
                    <a:pt x="55376" y="57641"/>
                  </a:lnTo>
                  <a:lnTo>
                    <a:pt x="53867" y="59150"/>
                  </a:lnTo>
                  <a:lnTo>
                    <a:pt x="52169" y="60376"/>
                  </a:lnTo>
                  <a:lnTo>
                    <a:pt x="48961" y="62452"/>
                  </a:lnTo>
                  <a:lnTo>
                    <a:pt x="44528" y="65282"/>
                  </a:lnTo>
                  <a:lnTo>
                    <a:pt x="44622" y="65188"/>
                  </a:lnTo>
                  <a:lnTo>
                    <a:pt x="44716" y="65093"/>
                  </a:lnTo>
                  <a:lnTo>
                    <a:pt x="45094" y="64810"/>
                  </a:lnTo>
                  <a:lnTo>
                    <a:pt x="45660" y="64527"/>
                  </a:lnTo>
                  <a:lnTo>
                    <a:pt x="43867" y="65376"/>
                  </a:lnTo>
                  <a:lnTo>
                    <a:pt x="43113" y="65754"/>
                  </a:lnTo>
                  <a:lnTo>
                    <a:pt x="42924" y="65754"/>
                  </a:lnTo>
                  <a:lnTo>
                    <a:pt x="43113" y="65659"/>
                  </a:lnTo>
                  <a:lnTo>
                    <a:pt x="41603" y="66037"/>
                  </a:lnTo>
                  <a:lnTo>
                    <a:pt x="39999" y="66320"/>
                  </a:lnTo>
                  <a:lnTo>
                    <a:pt x="38396" y="66508"/>
                  </a:lnTo>
                  <a:lnTo>
                    <a:pt x="36792" y="66697"/>
                  </a:lnTo>
                  <a:lnTo>
                    <a:pt x="33584" y="66980"/>
                  </a:lnTo>
                  <a:lnTo>
                    <a:pt x="32169" y="67169"/>
                  </a:lnTo>
                  <a:lnTo>
                    <a:pt x="30754" y="67357"/>
                  </a:lnTo>
                  <a:lnTo>
                    <a:pt x="30094" y="67357"/>
                  </a:lnTo>
                  <a:lnTo>
                    <a:pt x="29339" y="67263"/>
                  </a:lnTo>
                  <a:lnTo>
                    <a:pt x="27830" y="66886"/>
                  </a:lnTo>
                  <a:lnTo>
                    <a:pt x="26415" y="66508"/>
                  </a:lnTo>
                  <a:lnTo>
                    <a:pt x="25754" y="66414"/>
                  </a:lnTo>
                  <a:lnTo>
                    <a:pt x="25094" y="66414"/>
                  </a:lnTo>
                  <a:lnTo>
                    <a:pt x="25566" y="66980"/>
                  </a:lnTo>
                  <a:lnTo>
                    <a:pt x="25471" y="67074"/>
                  </a:lnTo>
                  <a:lnTo>
                    <a:pt x="25188" y="66980"/>
                  </a:lnTo>
                  <a:lnTo>
                    <a:pt x="24339" y="66791"/>
                  </a:lnTo>
                  <a:lnTo>
                    <a:pt x="23773" y="66508"/>
                  </a:lnTo>
                  <a:lnTo>
                    <a:pt x="24245" y="66414"/>
                  </a:lnTo>
                  <a:lnTo>
                    <a:pt x="24717" y="66603"/>
                  </a:lnTo>
                  <a:lnTo>
                    <a:pt x="24811" y="66414"/>
                  </a:lnTo>
                  <a:lnTo>
                    <a:pt x="24811" y="66320"/>
                  </a:lnTo>
                  <a:lnTo>
                    <a:pt x="24717" y="66225"/>
                  </a:lnTo>
                  <a:lnTo>
                    <a:pt x="24528" y="66131"/>
                  </a:lnTo>
                  <a:lnTo>
                    <a:pt x="24151" y="66225"/>
                  </a:lnTo>
                  <a:lnTo>
                    <a:pt x="23679" y="66320"/>
                  </a:lnTo>
                  <a:lnTo>
                    <a:pt x="23018" y="66414"/>
                  </a:lnTo>
                  <a:lnTo>
                    <a:pt x="23490" y="66225"/>
                  </a:lnTo>
                  <a:lnTo>
                    <a:pt x="22075" y="65942"/>
                  </a:lnTo>
                  <a:lnTo>
                    <a:pt x="20943" y="65659"/>
                  </a:lnTo>
                  <a:lnTo>
                    <a:pt x="20000" y="65282"/>
                  </a:lnTo>
                  <a:lnTo>
                    <a:pt x="19056" y="64810"/>
                  </a:lnTo>
                  <a:lnTo>
                    <a:pt x="19056" y="64810"/>
                  </a:lnTo>
                  <a:lnTo>
                    <a:pt x="19717" y="64999"/>
                  </a:lnTo>
                  <a:lnTo>
                    <a:pt x="19151" y="64716"/>
                  </a:lnTo>
                  <a:lnTo>
                    <a:pt x="18962" y="64810"/>
                  </a:lnTo>
                  <a:lnTo>
                    <a:pt x="19151" y="64905"/>
                  </a:lnTo>
                  <a:lnTo>
                    <a:pt x="18490" y="64905"/>
                  </a:lnTo>
                  <a:lnTo>
                    <a:pt x="17830" y="64716"/>
                  </a:lnTo>
                  <a:lnTo>
                    <a:pt x="17264" y="64527"/>
                  </a:lnTo>
                  <a:lnTo>
                    <a:pt x="16698" y="64150"/>
                  </a:lnTo>
                  <a:lnTo>
                    <a:pt x="16981" y="64056"/>
                  </a:lnTo>
                  <a:lnTo>
                    <a:pt x="17264" y="64150"/>
                  </a:lnTo>
                  <a:lnTo>
                    <a:pt x="17264" y="64150"/>
                  </a:lnTo>
                  <a:lnTo>
                    <a:pt x="15188" y="63207"/>
                  </a:lnTo>
                  <a:lnTo>
                    <a:pt x="14622" y="62829"/>
                  </a:lnTo>
                  <a:lnTo>
                    <a:pt x="14717" y="62924"/>
                  </a:lnTo>
                  <a:lnTo>
                    <a:pt x="13773" y="62546"/>
                  </a:lnTo>
                  <a:lnTo>
                    <a:pt x="12924" y="62075"/>
                  </a:lnTo>
                  <a:lnTo>
                    <a:pt x="12358" y="61697"/>
                  </a:lnTo>
                  <a:lnTo>
                    <a:pt x="12264" y="61508"/>
                  </a:lnTo>
                  <a:lnTo>
                    <a:pt x="12170" y="61320"/>
                  </a:lnTo>
                  <a:lnTo>
                    <a:pt x="11698" y="60942"/>
                  </a:lnTo>
                  <a:lnTo>
                    <a:pt x="11132" y="60471"/>
                  </a:lnTo>
                  <a:lnTo>
                    <a:pt x="9906" y="59244"/>
                  </a:lnTo>
                  <a:lnTo>
                    <a:pt x="9906" y="59244"/>
                  </a:lnTo>
                  <a:lnTo>
                    <a:pt x="10566" y="59527"/>
                  </a:lnTo>
                  <a:lnTo>
                    <a:pt x="9434" y="58584"/>
                  </a:lnTo>
                  <a:lnTo>
                    <a:pt x="8207" y="57546"/>
                  </a:lnTo>
                  <a:lnTo>
                    <a:pt x="7547" y="56886"/>
                  </a:lnTo>
                  <a:lnTo>
                    <a:pt x="6981" y="56131"/>
                  </a:lnTo>
                  <a:lnTo>
                    <a:pt x="6226" y="55094"/>
                  </a:lnTo>
                  <a:lnTo>
                    <a:pt x="6415" y="55377"/>
                  </a:lnTo>
                  <a:lnTo>
                    <a:pt x="6038" y="54905"/>
                  </a:lnTo>
                  <a:lnTo>
                    <a:pt x="5472" y="54244"/>
                  </a:lnTo>
                  <a:lnTo>
                    <a:pt x="5283" y="53961"/>
                  </a:lnTo>
                  <a:lnTo>
                    <a:pt x="5094" y="53867"/>
                  </a:lnTo>
                  <a:lnTo>
                    <a:pt x="5377" y="54622"/>
                  </a:lnTo>
                  <a:lnTo>
                    <a:pt x="5849" y="55282"/>
                  </a:lnTo>
                  <a:lnTo>
                    <a:pt x="6321" y="55943"/>
                  </a:lnTo>
                  <a:lnTo>
                    <a:pt x="6698" y="56603"/>
                  </a:lnTo>
                  <a:lnTo>
                    <a:pt x="6226" y="56226"/>
                  </a:lnTo>
                  <a:lnTo>
                    <a:pt x="5943" y="55848"/>
                  </a:lnTo>
                  <a:lnTo>
                    <a:pt x="6038" y="56037"/>
                  </a:lnTo>
                  <a:lnTo>
                    <a:pt x="5943" y="55943"/>
                  </a:lnTo>
                  <a:lnTo>
                    <a:pt x="5377" y="55188"/>
                  </a:lnTo>
                  <a:lnTo>
                    <a:pt x="5000" y="54716"/>
                  </a:lnTo>
                  <a:lnTo>
                    <a:pt x="4717" y="54150"/>
                  </a:lnTo>
                  <a:lnTo>
                    <a:pt x="4528" y="53678"/>
                  </a:lnTo>
                  <a:lnTo>
                    <a:pt x="4528" y="53584"/>
                  </a:lnTo>
                  <a:lnTo>
                    <a:pt x="4623" y="53395"/>
                  </a:lnTo>
                  <a:lnTo>
                    <a:pt x="5094" y="54244"/>
                  </a:lnTo>
                  <a:lnTo>
                    <a:pt x="4717" y="53301"/>
                  </a:lnTo>
                  <a:lnTo>
                    <a:pt x="4528" y="53018"/>
                  </a:lnTo>
                  <a:lnTo>
                    <a:pt x="4151" y="52263"/>
                  </a:lnTo>
                  <a:lnTo>
                    <a:pt x="4151" y="52169"/>
                  </a:lnTo>
                  <a:lnTo>
                    <a:pt x="3774" y="51509"/>
                  </a:lnTo>
                  <a:lnTo>
                    <a:pt x="3396" y="50660"/>
                  </a:lnTo>
                  <a:lnTo>
                    <a:pt x="3585" y="51603"/>
                  </a:lnTo>
                  <a:lnTo>
                    <a:pt x="3396" y="51226"/>
                  </a:lnTo>
                  <a:lnTo>
                    <a:pt x="3208" y="50848"/>
                  </a:lnTo>
                  <a:lnTo>
                    <a:pt x="3208" y="50471"/>
                  </a:lnTo>
                  <a:lnTo>
                    <a:pt x="3208" y="50094"/>
                  </a:lnTo>
                  <a:lnTo>
                    <a:pt x="3585" y="50754"/>
                  </a:lnTo>
                  <a:lnTo>
                    <a:pt x="3868" y="51509"/>
                  </a:lnTo>
                  <a:lnTo>
                    <a:pt x="3868" y="51509"/>
                  </a:lnTo>
                  <a:lnTo>
                    <a:pt x="3208" y="49528"/>
                  </a:lnTo>
                  <a:lnTo>
                    <a:pt x="3208" y="49528"/>
                  </a:lnTo>
                  <a:lnTo>
                    <a:pt x="3868" y="50754"/>
                  </a:lnTo>
                  <a:lnTo>
                    <a:pt x="3208" y="48962"/>
                  </a:lnTo>
                  <a:lnTo>
                    <a:pt x="3585" y="49339"/>
                  </a:lnTo>
                  <a:lnTo>
                    <a:pt x="3774" y="49433"/>
                  </a:lnTo>
                  <a:lnTo>
                    <a:pt x="3962" y="49528"/>
                  </a:lnTo>
                  <a:lnTo>
                    <a:pt x="4057" y="49905"/>
                  </a:lnTo>
                  <a:lnTo>
                    <a:pt x="3868" y="48962"/>
                  </a:lnTo>
                  <a:lnTo>
                    <a:pt x="3491" y="47924"/>
                  </a:lnTo>
                  <a:lnTo>
                    <a:pt x="2641" y="45565"/>
                  </a:lnTo>
                  <a:lnTo>
                    <a:pt x="2170" y="43867"/>
                  </a:lnTo>
                  <a:lnTo>
                    <a:pt x="1698" y="41886"/>
                  </a:lnTo>
                  <a:lnTo>
                    <a:pt x="1698" y="41886"/>
                  </a:lnTo>
                  <a:lnTo>
                    <a:pt x="1887" y="42075"/>
                  </a:lnTo>
                  <a:lnTo>
                    <a:pt x="1981" y="41981"/>
                  </a:lnTo>
                  <a:lnTo>
                    <a:pt x="2075" y="42075"/>
                  </a:lnTo>
                  <a:lnTo>
                    <a:pt x="2264" y="42169"/>
                  </a:lnTo>
                  <a:lnTo>
                    <a:pt x="2170" y="40283"/>
                  </a:lnTo>
                  <a:lnTo>
                    <a:pt x="2075" y="38301"/>
                  </a:lnTo>
                  <a:lnTo>
                    <a:pt x="2170" y="36415"/>
                  </a:lnTo>
                  <a:lnTo>
                    <a:pt x="2358" y="35566"/>
                  </a:lnTo>
                  <a:lnTo>
                    <a:pt x="2453" y="34811"/>
                  </a:lnTo>
                  <a:lnTo>
                    <a:pt x="2830" y="32830"/>
                  </a:lnTo>
                  <a:lnTo>
                    <a:pt x="2830" y="33207"/>
                  </a:lnTo>
                  <a:lnTo>
                    <a:pt x="2924" y="33490"/>
                  </a:lnTo>
                  <a:lnTo>
                    <a:pt x="2924" y="32453"/>
                  </a:lnTo>
                  <a:lnTo>
                    <a:pt x="3019" y="31415"/>
                  </a:lnTo>
                  <a:lnTo>
                    <a:pt x="3396" y="29245"/>
                  </a:lnTo>
                  <a:lnTo>
                    <a:pt x="3868" y="27075"/>
                  </a:lnTo>
                  <a:lnTo>
                    <a:pt x="4623" y="25000"/>
                  </a:lnTo>
                  <a:lnTo>
                    <a:pt x="5566" y="22830"/>
                  </a:lnTo>
                  <a:lnTo>
                    <a:pt x="6604" y="20849"/>
                  </a:lnTo>
                  <a:lnTo>
                    <a:pt x="7830" y="18868"/>
                  </a:lnTo>
                  <a:lnTo>
                    <a:pt x="9151" y="16887"/>
                  </a:lnTo>
                  <a:lnTo>
                    <a:pt x="10566" y="15094"/>
                  </a:lnTo>
                  <a:lnTo>
                    <a:pt x="12075" y="13302"/>
                  </a:lnTo>
                  <a:lnTo>
                    <a:pt x="13773" y="11698"/>
                  </a:lnTo>
                  <a:lnTo>
                    <a:pt x="15377" y="10095"/>
                  </a:lnTo>
                  <a:lnTo>
                    <a:pt x="17170" y="8679"/>
                  </a:lnTo>
                  <a:lnTo>
                    <a:pt x="18962" y="7453"/>
                  </a:lnTo>
                  <a:lnTo>
                    <a:pt x="20754" y="6321"/>
                  </a:lnTo>
                  <a:lnTo>
                    <a:pt x="22547" y="5378"/>
                  </a:lnTo>
                  <a:lnTo>
                    <a:pt x="21603" y="6227"/>
                  </a:lnTo>
                  <a:lnTo>
                    <a:pt x="22641" y="5472"/>
                  </a:lnTo>
                  <a:lnTo>
                    <a:pt x="23302" y="5095"/>
                  </a:lnTo>
                  <a:lnTo>
                    <a:pt x="25377" y="4151"/>
                  </a:lnTo>
                  <a:lnTo>
                    <a:pt x="24811" y="4151"/>
                  </a:lnTo>
                  <a:lnTo>
                    <a:pt x="25660" y="3774"/>
                  </a:lnTo>
                  <a:lnTo>
                    <a:pt x="26886" y="3208"/>
                  </a:lnTo>
                  <a:lnTo>
                    <a:pt x="26603" y="3585"/>
                  </a:lnTo>
                  <a:lnTo>
                    <a:pt x="26886" y="3585"/>
                  </a:lnTo>
                  <a:lnTo>
                    <a:pt x="26886" y="3680"/>
                  </a:lnTo>
                  <a:lnTo>
                    <a:pt x="26792" y="3774"/>
                  </a:lnTo>
                  <a:lnTo>
                    <a:pt x="28301" y="3302"/>
                  </a:lnTo>
                  <a:lnTo>
                    <a:pt x="29622" y="2736"/>
                  </a:lnTo>
                  <a:lnTo>
                    <a:pt x="31037" y="2264"/>
                  </a:lnTo>
                  <a:lnTo>
                    <a:pt x="31792" y="2076"/>
                  </a:lnTo>
                  <a:lnTo>
                    <a:pt x="32641" y="1981"/>
                  </a:lnTo>
                  <a:lnTo>
                    <a:pt x="32547" y="2076"/>
                  </a:lnTo>
                  <a:lnTo>
                    <a:pt x="32924" y="1981"/>
                  </a:lnTo>
                  <a:lnTo>
                    <a:pt x="34245" y="1793"/>
                  </a:lnTo>
                  <a:lnTo>
                    <a:pt x="35848" y="1415"/>
                  </a:lnTo>
                  <a:lnTo>
                    <a:pt x="36981" y="1132"/>
                  </a:lnTo>
                  <a:lnTo>
                    <a:pt x="36981" y="1415"/>
                  </a:lnTo>
                  <a:lnTo>
                    <a:pt x="40943" y="1227"/>
                  </a:lnTo>
                  <a:lnTo>
                    <a:pt x="41509" y="1038"/>
                  </a:lnTo>
                  <a:lnTo>
                    <a:pt x="41697" y="1132"/>
                  </a:lnTo>
                  <a:lnTo>
                    <a:pt x="41509" y="1227"/>
                  </a:lnTo>
                  <a:lnTo>
                    <a:pt x="41320" y="1321"/>
                  </a:lnTo>
                  <a:lnTo>
                    <a:pt x="42263" y="1321"/>
                  </a:lnTo>
                  <a:lnTo>
                    <a:pt x="43113" y="1227"/>
                  </a:lnTo>
                  <a:lnTo>
                    <a:pt x="43396" y="1415"/>
                  </a:lnTo>
                  <a:lnTo>
                    <a:pt x="44056" y="1604"/>
                  </a:lnTo>
                  <a:lnTo>
                    <a:pt x="45943" y="2076"/>
                  </a:lnTo>
                  <a:lnTo>
                    <a:pt x="48018" y="2359"/>
                  </a:lnTo>
                  <a:lnTo>
                    <a:pt x="49622" y="2736"/>
                  </a:lnTo>
                  <a:lnTo>
                    <a:pt x="47641" y="1981"/>
                  </a:lnTo>
                  <a:lnTo>
                    <a:pt x="45282" y="1321"/>
                  </a:lnTo>
                  <a:lnTo>
                    <a:pt x="42735" y="755"/>
                  </a:lnTo>
                  <a:lnTo>
                    <a:pt x="40188" y="283"/>
                  </a:lnTo>
                  <a:lnTo>
                    <a:pt x="37735" y="95"/>
                  </a:lnTo>
                  <a:lnTo>
                    <a:pt x="35471" y="0"/>
                  </a:lnTo>
                  <a:close/>
                </a:path>
              </a:pathLst>
            </a:custGeom>
            <a:solidFill>
              <a:srgbClr val="FF0000"/>
            </a:solidFill>
            <a:ln>
              <a:noFill/>
            </a:ln>
          </p:spPr>
          <p:txBody>
            <a:bodyPr spcFirstLastPara="1" wrap="square" lIns="91425" tIns="91425" rIns="91425" bIns="91425" anchor="ctr" anchorCtr="0">
              <a:noAutofit/>
            </a:bodyPr>
            <a:lstStyle/>
            <a:p>
              <a:pPr marL="0" lvl="0" indent="0">
                <a:spcBef>
                  <a:spcPts val="0"/>
                </a:spcBef>
                <a:spcAft>
                  <a:spcPts val="0"/>
                </a:spcAft>
                <a:buNone/>
              </a:pPr>
              <a:endParaRPr sz="1100"/>
            </a:p>
          </p:txBody>
        </p:sp>
        <p:sp>
          <p:nvSpPr>
            <p:cNvPr id="99" name="TextBox 98">
              <a:extLst>
                <a:ext uri="{FF2B5EF4-FFF2-40B4-BE49-F238E27FC236}">
                  <a16:creationId xmlns:a16="http://schemas.microsoft.com/office/drawing/2014/main" id="{C98B9F80-2579-5D47-90E1-25EB7F039F99}"/>
                </a:ext>
              </a:extLst>
            </p:cNvPr>
            <p:cNvSpPr txBox="1"/>
            <p:nvPr/>
          </p:nvSpPr>
          <p:spPr>
            <a:xfrm>
              <a:off x="702590" y="1204757"/>
              <a:ext cx="301686" cy="260896"/>
            </a:xfrm>
            <a:prstGeom prst="rect">
              <a:avLst/>
            </a:prstGeom>
            <a:noFill/>
          </p:spPr>
          <p:txBody>
            <a:bodyPr wrap="square" rtlCol="0">
              <a:spAutoFit/>
            </a:bodyPr>
            <a:lstStyle/>
            <a:p>
              <a:r>
                <a:rPr lang="en-US" sz="700" dirty="0">
                  <a:solidFill>
                    <a:srgbClr val="FF0000"/>
                  </a:solidFill>
                </a:rPr>
                <a:t>2.</a:t>
              </a:r>
            </a:p>
          </p:txBody>
        </p:sp>
      </p:grpSp>
      <p:sp>
        <p:nvSpPr>
          <p:cNvPr id="100" name="Google Shape;61;p12">
            <a:extLst>
              <a:ext uri="{FF2B5EF4-FFF2-40B4-BE49-F238E27FC236}">
                <a16:creationId xmlns:a16="http://schemas.microsoft.com/office/drawing/2014/main" id="{B164798E-DE8E-7A45-9A86-79252C469183}"/>
              </a:ext>
            </a:extLst>
          </p:cNvPr>
          <p:cNvSpPr txBox="1">
            <a:spLocks/>
          </p:cNvSpPr>
          <p:nvPr/>
        </p:nvSpPr>
        <p:spPr>
          <a:xfrm>
            <a:off x="9132178" y="4060859"/>
            <a:ext cx="711623" cy="297585"/>
          </a:xfrm>
          <a:prstGeom prst="rect">
            <a:avLst/>
          </a:prstGeom>
        </p:spPr>
        <p:txBody>
          <a:bodyPr spcFirstLastPara="1" vert="horz" wrap="square" lIns="91425" tIns="91425" rIns="91425" bIns="91425" rtlCol="0" anchor="ctr"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spcBef>
                <a:spcPts val="0"/>
              </a:spcBef>
            </a:pPr>
            <a:r>
              <a:rPr lang="en-US" sz="1100" b="1" dirty="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Priority</a:t>
            </a:r>
          </a:p>
        </p:txBody>
      </p:sp>
      <p:sp>
        <p:nvSpPr>
          <p:cNvPr id="105" name="Rectangle 104">
            <a:extLst>
              <a:ext uri="{FF2B5EF4-FFF2-40B4-BE49-F238E27FC236}">
                <a16:creationId xmlns:a16="http://schemas.microsoft.com/office/drawing/2014/main" id="{56C3494B-DA93-8747-BA2B-713948507BBC}"/>
              </a:ext>
            </a:extLst>
          </p:cNvPr>
          <p:cNvSpPr/>
          <p:nvPr/>
        </p:nvSpPr>
        <p:spPr>
          <a:xfrm>
            <a:off x="2191575" y="1285202"/>
            <a:ext cx="7991158" cy="2092785"/>
          </a:xfrm>
          <a:custGeom>
            <a:avLst/>
            <a:gdLst>
              <a:gd name="connsiteX0" fmla="*/ 0 w 7991158"/>
              <a:gd name="connsiteY0" fmla="*/ 0 h 2092785"/>
              <a:gd name="connsiteX1" fmla="*/ 490885 w 7991158"/>
              <a:gd name="connsiteY1" fmla="*/ 0 h 2092785"/>
              <a:gd name="connsiteX2" fmla="*/ 821948 w 7991158"/>
              <a:gd name="connsiteY2" fmla="*/ 0 h 2092785"/>
              <a:gd name="connsiteX3" fmla="*/ 1552568 w 7991158"/>
              <a:gd name="connsiteY3" fmla="*/ 0 h 2092785"/>
              <a:gd name="connsiteX4" fmla="*/ 2043453 w 7991158"/>
              <a:gd name="connsiteY4" fmla="*/ 0 h 2092785"/>
              <a:gd name="connsiteX5" fmla="*/ 2534339 w 7991158"/>
              <a:gd name="connsiteY5" fmla="*/ 0 h 2092785"/>
              <a:gd name="connsiteX6" fmla="*/ 3264959 w 7991158"/>
              <a:gd name="connsiteY6" fmla="*/ 0 h 2092785"/>
              <a:gd name="connsiteX7" fmla="*/ 3675933 w 7991158"/>
              <a:gd name="connsiteY7" fmla="*/ 0 h 2092785"/>
              <a:gd name="connsiteX8" fmla="*/ 4406553 w 7991158"/>
              <a:gd name="connsiteY8" fmla="*/ 0 h 2092785"/>
              <a:gd name="connsiteX9" fmla="*/ 5137173 w 7991158"/>
              <a:gd name="connsiteY9" fmla="*/ 0 h 2092785"/>
              <a:gd name="connsiteX10" fmla="*/ 5707970 w 7991158"/>
              <a:gd name="connsiteY10" fmla="*/ 0 h 2092785"/>
              <a:gd name="connsiteX11" fmla="*/ 6438590 w 7991158"/>
              <a:gd name="connsiteY11" fmla="*/ 0 h 2092785"/>
              <a:gd name="connsiteX12" fmla="*/ 6929476 w 7991158"/>
              <a:gd name="connsiteY12" fmla="*/ 0 h 2092785"/>
              <a:gd name="connsiteX13" fmla="*/ 7420361 w 7991158"/>
              <a:gd name="connsiteY13" fmla="*/ 0 h 2092785"/>
              <a:gd name="connsiteX14" fmla="*/ 7991158 w 7991158"/>
              <a:gd name="connsiteY14" fmla="*/ 0 h 2092785"/>
              <a:gd name="connsiteX15" fmla="*/ 7991158 w 7991158"/>
              <a:gd name="connsiteY15" fmla="*/ 502268 h 2092785"/>
              <a:gd name="connsiteX16" fmla="*/ 7991158 w 7991158"/>
              <a:gd name="connsiteY16" fmla="*/ 1025465 h 2092785"/>
              <a:gd name="connsiteX17" fmla="*/ 7991158 w 7991158"/>
              <a:gd name="connsiteY17" fmla="*/ 1569589 h 2092785"/>
              <a:gd name="connsiteX18" fmla="*/ 7991158 w 7991158"/>
              <a:gd name="connsiteY18" fmla="*/ 2092785 h 2092785"/>
              <a:gd name="connsiteX19" fmla="*/ 7340449 w 7991158"/>
              <a:gd name="connsiteY19" fmla="*/ 2092785 h 2092785"/>
              <a:gd name="connsiteX20" fmla="*/ 6929476 w 7991158"/>
              <a:gd name="connsiteY20" fmla="*/ 2092785 h 2092785"/>
              <a:gd name="connsiteX21" fmla="*/ 6198855 w 7991158"/>
              <a:gd name="connsiteY21" fmla="*/ 2092785 h 2092785"/>
              <a:gd name="connsiteX22" fmla="*/ 5628058 w 7991158"/>
              <a:gd name="connsiteY22" fmla="*/ 2092785 h 2092785"/>
              <a:gd name="connsiteX23" fmla="*/ 5217085 w 7991158"/>
              <a:gd name="connsiteY23" fmla="*/ 2092785 h 2092785"/>
              <a:gd name="connsiteX24" fmla="*/ 4646288 w 7991158"/>
              <a:gd name="connsiteY24" fmla="*/ 2092785 h 2092785"/>
              <a:gd name="connsiteX25" fmla="*/ 4315225 w 7991158"/>
              <a:gd name="connsiteY25" fmla="*/ 2092785 h 2092785"/>
              <a:gd name="connsiteX26" fmla="*/ 3984163 w 7991158"/>
              <a:gd name="connsiteY26" fmla="*/ 2092785 h 2092785"/>
              <a:gd name="connsiteX27" fmla="*/ 3413366 w 7991158"/>
              <a:gd name="connsiteY27" fmla="*/ 2092785 h 2092785"/>
              <a:gd name="connsiteX28" fmla="*/ 3002392 w 7991158"/>
              <a:gd name="connsiteY28" fmla="*/ 2092785 h 2092785"/>
              <a:gd name="connsiteX29" fmla="*/ 2351684 w 7991158"/>
              <a:gd name="connsiteY29" fmla="*/ 2092785 h 2092785"/>
              <a:gd name="connsiteX30" fmla="*/ 1940710 w 7991158"/>
              <a:gd name="connsiteY30" fmla="*/ 2092785 h 2092785"/>
              <a:gd name="connsiteX31" fmla="*/ 1290001 w 7991158"/>
              <a:gd name="connsiteY31" fmla="*/ 2092785 h 2092785"/>
              <a:gd name="connsiteX32" fmla="*/ 958939 w 7991158"/>
              <a:gd name="connsiteY32" fmla="*/ 2092785 h 2092785"/>
              <a:gd name="connsiteX33" fmla="*/ 0 w 7991158"/>
              <a:gd name="connsiteY33" fmla="*/ 2092785 h 2092785"/>
              <a:gd name="connsiteX34" fmla="*/ 0 w 7991158"/>
              <a:gd name="connsiteY34" fmla="*/ 1611444 h 2092785"/>
              <a:gd name="connsiteX35" fmla="*/ 0 w 7991158"/>
              <a:gd name="connsiteY35" fmla="*/ 1046393 h 2092785"/>
              <a:gd name="connsiteX36" fmla="*/ 0 w 7991158"/>
              <a:gd name="connsiteY36" fmla="*/ 544124 h 2092785"/>
              <a:gd name="connsiteX37" fmla="*/ 0 w 7991158"/>
              <a:gd name="connsiteY37" fmla="*/ 0 h 20927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7991158" h="2092785" extrusionOk="0">
                <a:moveTo>
                  <a:pt x="0" y="0"/>
                </a:moveTo>
                <a:cubicBezTo>
                  <a:pt x="205034" y="-29870"/>
                  <a:pt x="279886" y="13114"/>
                  <a:pt x="490885" y="0"/>
                </a:cubicBezTo>
                <a:cubicBezTo>
                  <a:pt x="701884" y="-13114"/>
                  <a:pt x="737542" y="33763"/>
                  <a:pt x="821948" y="0"/>
                </a:cubicBezTo>
                <a:cubicBezTo>
                  <a:pt x="906354" y="-33763"/>
                  <a:pt x="1319837" y="32304"/>
                  <a:pt x="1552568" y="0"/>
                </a:cubicBezTo>
                <a:cubicBezTo>
                  <a:pt x="1785299" y="-32304"/>
                  <a:pt x="1927170" y="27791"/>
                  <a:pt x="2043453" y="0"/>
                </a:cubicBezTo>
                <a:cubicBezTo>
                  <a:pt x="2159737" y="-27791"/>
                  <a:pt x="2371158" y="21656"/>
                  <a:pt x="2534339" y="0"/>
                </a:cubicBezTo>
                <a:cubicBezTo>
                  <a:pt x="2697520" y="-21656"/>
                  <a:pt x="2920102" y="19301"/>
                  <a:pt x="3264959" y="0"/>
                </a:cubicBezTo>
                <a:cubicBezTo>
                  <a:pt x="3609816" y="-19301"/>
                  <a:pt x="3586752" y="48998"/>
                  <a:pt x="3675933" y="0"/>
                </a:cubicBezTo>
                <a:cubicBezTo>
                  <a:pt x="3765114" y="-48998"/>
                  <a:pt x="4109715" y="16611"/>
                  <a:pt x="4406553" y="0"/>
                </a:cubicBezTo>
                <a:cubicBezTo>
                  <a:pt x="4703391" y="-16611"/>
                  <a:pt x="4976221" y="55597"/>
                  <a:pt x="5137173" y="0"/>
                </a:cubicBezTo>
                <a:cubicBezTo>
                  <a:pt x="5298125" y="-55597"/>
                  <a:pt x="5478288" y="4997"/>
                  <a:pt x="5707970" y="0"/>
                </a:cubicBezTo>
                <a:cubicBezTo>
                  <a:pt x="5937652" y="-4997"/>
                  <a:pt x="6227004" y="20800"/>
                  <a:pt x="6438590" y="0"/>
                </a:cubicBezTo>
                <a:cubicBezTo>
                  <a:pt x="6650176" y="-20800"/>
                  <a:pt x="6723586" y="6378"/>
                  <a:pt x="6929476" y="0"/>
                </a:cubicBezTo>
                <a:cubicBezTo>
                  <a:pt x="7135366" y="-6378"/>
                  <a:pt x="7215331" y="58331"/>
                  <a:pt x="7420361" y="0"/>
                </a:cubicBezTo>
                <a:cubicBezTo>
                  <a:pt x="7625392" y="-58331"/>
                  <a:pt x="7848806" y="40147"/>
                  <a:pt x="7991158" y="0"/>
                </a:cubicBezTo>
                <a:cubicBezTo>
                  <a:pt x="8016413" y="134146"/>
                  <a:pt x="7960641" y="363909"/>
                  <a:pt x="7991158" y="502268"/>
                </a:cubicBezTo>
                <a:cubicBezTo>
                  <a:pt x="8021675" y="640627"/>
                  <a:pt x="7973017" y="810063"/>
                  <a:pt x="7991158" y="1025465"/>
                </a:cubicBezTo>
                <a:cubicBezTo>
                  <a:pt x="8009299" y="1240867"/>
                  <a:pt x="7989966" y="1325640"/>
                  <a:pt x="7991158" y="1569589"/>
                </a:cubicBezTo>
                <a:cubicBezTo>
                  <a:pt x="7992350" y="1813538"/>
                  <a:pt x="7934276" y="1895405"/>
                  <a:pt x="7991158" y="2092785"/>
                </a:cubicBezTo>
                <a:cubicBezTo>
                  <a:pt x="7780457" y="2124381"/>
                  <a:pt x="7472147" y="2081722"/>
                  <a:pt x="7340449" y="2092785"/>
                </a:cubicBezTo>
                <a:cubicBezTo>
                  <a:pt x="7208751" y="2103848"/>
                  <a:pt x="7097263" y="2082428"/>
                  <a:pt x="6929476" y="2092785"/>
                </a:cubicBezTo>
                <a:cubicBezTo>
                  <a:pt x="6761689" y="2103142"/>
                  <a:pt x="6352569" y="2047043"/>
                  <a:pt x="6198855" y="2092785"/>
                </a:cubicBezTo>
                <a:cubicBezTo>
                  <a:pt x="6045141" y="2138527"/>
                  <a:pt x="5789722" y="2050131"/>
                  <a:pt x="5628058" y="2092785"/>
                </a:cubicBezTo>
                <a:cubicBezTo>
                  <a:pt x="5466394" y="2135439"/>
                  <a:pt x="5381579" y="2046819"/>
                  <a:pt x="5217085" y="2092785"/>
                </a:cubicBezTo>
                <a:cubicBezTo>
                  <a:pt x="5052591" y="2138751"/>
                  <a:pt x="4861579" y="2067908"/>
                  <a:pt x="4646288" y="2092785"/>
                </a:cubicBezTo>
                <a:cubicBezTo>
                  <a:pt x="4430997" y="2117662"/>
                  <a:pt x="4405406" y="2058270"/>
                  <a:pt x="4315225" y="2092785"/>
                </a:cubicBezTo>
                <a:cubicBezTo>
                  <a:pt x="4225044" y="2127300"/>
                  <a:pt x="4094749" y="2079710"/>
                  <a:pt x="3984163" y="2092785"/>
                </a:cubicBezTo>
                <a:cubicBezTo>
                  <a:pt x="3873577" y="2105860"/>
                  <a:pt x="3556530" y="2070268"/>
                  <a:pt x="3413366" y="2092785"/>
                </a:cubicBezTo>
                <a:cubicBezTo>
                  <a:pt x="3270202" y="2115302"/>
                  <a:pt x="3085982" y="2054270"/>
                  <a:pt x="3002392" y="2092785"/>
                </a:cubicBezTo>
                <a:cubicBezTo>
                  <a:pt x="2918802" y="2131300"/>
                  <a:pt x="2567749" y="2075155"/>
                  <a:pt x="2351684" y="2092785"/>
                </a:cubicBezTo>
                <a:cubicBezTo>
                  <a:pt x="2135619" y="2110415"/>
                  <a:pt x="2117961" y="2070555"/>
                  <a:pt x="1940710" y="2092785"/>
                </a:cubicBezTo>
                <a:cubicBezTo>
                  <a:pt x="1763459" y="2115015"/>
                  <a:pt x="1559800" y="2024478"/>
                  <a:pt x="1290001" y="2092785"/>
                </a:cubicBezTo>
                <a:cubicBezTo>
                  <a:pt x="1020202" y="2161092"/>
                  <a:pt x="1119754" y="2062220"/>
                  <a:pt x="958939" y="2092785"/>
                </a:cubicBezTo>
                <a:cubicBezTo>
                  <a:pt x="798124" y="2123350"/>
                  <a:pt x="432503" y="2026006"/>
                  <a:pt x="0" y="2092785"/>
                </a:cubicBezTo>
                <a:cubicBezTo>
                  <a:pt x="-48208" y="1925118"/>
                  <a:pt x="56188" y="1732210"/>
                  <a:pt x="0" y="1611444"/>
                </a:cubicBezTo>
                <a:cubicBezTo>
                  <a:pt x="-56188" y="1490678"/>
                  <a:pt x="66247" y="1255174"/>
                  <a:pt x="0" y="1046393"/>
                </a:cubicBezTo>
                <a:cubicBezTo>
                  <a:pt x="-66247" y="837612"/>
                  <a:pt x="49955" y="718850"/>
                  <a:pt x="0" y="544124"/>
                </a:cubicBezTo>
                <a:cubicBezTo>
                  <a:pt x="-49955" y="369398"/>
                  <a:pt x="30715" y="121357"/>
                  <a:pt x="0" y="0"/>
                </a:cubicBezTo>
                <a:close/>
              </a:path>
            </a:pathLst>
          </a:custGeom>
          <a:noFill/>
          <a:ln w="9525">
            <a:solidFill>
              <a:srgbClr val="C5277F"/>
            </a:solidFill>
            <a:extLst>
              <a:ext uri="{C807C97D-BFC1-408E-A445-0C87EB9F89A2}">
                <ask:lineSketchStyleProps xmlns:ask="http://schemas.microsoft.com/office/drawing/2018/sketchyshapes" sd="1219033472">
                  <a:prstGeom prst="rect">
                    <a:avLst/>
                  </a:prstGeom>
                  <ask:type>
                    <ask:lineSketchScribble/>
                  </ask:type>
                </ask:lineSketchStyleProps>
              </a:ext>
            </a:extLst>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a:solidFill>
                <a:srgbClr val="002D72"/>
              </a:solidFill>
              <a:latin typeface="Arial" pitchFamily="34" charset="0"/>
              <a:cs typeface="Arial" pitchFamily="34" charset="0"/>
            </a:endParaRPr>
          </a:p>
        </p:txBody>
      </p:sp>
    </p:spTree>
    <p:extLst>
      <p:ext uri="{BB962C8B-B14F-4D97-AF65-F5344CB8AC3E}">
        <p14:creationId xmlns:p14="http://schemas.microsoft.com/office/powerpoint/2010/main" val="1065276927"/>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8" name="Rectangle 3"/>
          <p:cNvSpPr txBox="1"/>
          <p:nvPr/>
        </p:nvSpPr>
        <p:spPr>
          <a:xfrm>
            <a:off x="377375" y="524553"/>
            <a:ext cx="8037160" cy="369328"/>
          </a:xfrm>
          <a:prstGeom prst="rect">
            <a:avLst/>
          </a:prstGeom>
          <a:ln w="12700">
            <a:miter lim="400000"/>
          </a:ln>
          <a:extLst>
            <a:ext uri="{C572A759-6A51-4108-AA02-DFA0A04FC94B}">
              <ma14:wrappingTextBoxFlag xmlns="" xmlns:ma14="http://schemas.microsoft.com/office/mac/drawingml/2011/main" val="1"/>
            </a:ext>
          </a:extLst>
        </p:spPr>
        <p:txBody>
          <a:bodyPr wrap="square" lIns="45718" tIns="45718" rIns="45718" bIns="45718">
            <a:spAutoFit/>
          </a:bodyPr>
          <a:lstStyle>
            <a:lvl1pPr algn="l" defTabSz="914400">
              <a:defRPr sz="2000">
                <a:solidFill>
                  <a:srgbClr val="104D6A"/>
                </a:solidFill>
                <a:latin typeface="Arial"/>
                <a:ea typeface="Arial"/>
                <a:cs typeface="Arial"/>
                <a:sym typeface="Arial"/>
              </a:defRPr>
            </a:lvl1pPr>
          </a:lstStyle>
          <a:p>
            <a:pPr lvl="0">
              <a:defRPr/>
            </a:pPr>
            <a:r>
              <a:rPr lang="en-US" sz="1800" b="1" dirty="0">
                <a:solidFill>
                  <a:srgbClr val="73C4EF"/>
                </a:solidFill>
              </a:rPr>
              <a:t> Event Hub Architecture -  Internal Structure Of </a:t>
            </a:r>
            <a:r>
              <a:rPr lang="en-US" sz="1800" b="1" dirty="0" err="1">
                <a:solidFill>
                  <a:srgbClr val="73C4EF"/>
                </a:solidFill>
              </a:rPr>
              <a:t>ProducerService</a:t>
            </a:r>
            <a:r>
              <a:rPr lang="en-US" sz="1800" b="1" dirty="0">
                <a:solidFill>
                  <a:srgbClr val="73C4EF"/>
                </a:solidFill>
              </a:rPr>
              <a:t> II</a:t>
            </a:r>
          </a:p>
        </p:txBody>
      </p:sp>
      <p:sp>
        <p:nvSpPr>
          <p:cNvPr id="5" name="Rectangle 3">
            <a:extLst>
              <a:ext uri="{FF2B5EF4-FFF2-40B4-BE49-F238E27FC236}">
                <a16:creationId xmlns:a16="http://schemas.microsoft.com/office/drawing/2014/main" id="{F3BCF96F-43FE-3A4D-B4EC-B79E124C9963}"/>
              </a:ext>
            </a:extLst>
          </p:cNvPr>
          <p:cNvSpPr txBox="1"/>
          <p:nvPr/>
        </p:nvSpPr>
        <p:spPr>
          <a:xfrm>
            <a:off x="404806" y="92199"/>
            <a:ext cx="7585857" cy="400105"/>
          </a:xfrm>
          <a:prstGeom prst="rect">
            <a:avLst/>
          </a:prstGeom>
          <a:ln w="12700">
            <a:miter lim="400000"/>
          </a:ln>
          <a:extLst>
            <a:ext uri="{C572A759-6A51-4108-AA02-DFA0A04FC94B}">
              <ma14:wrappingTextBoxFlag xmlns:ma14="http://schemas.microsoft.com/office/mac/drawingml/2011/main" xmlns="" val="1"/>
            </a:ext>
          </a:extLst>
        </p:spPr>
        <p:txBody>
          <a:bodyPr wrap="square" lIns="45718" tIns="45718" rIns="45718" bIns="45718">
            <a:spAutoFit/>
          </a:bodyPr>
          <a:lstStyle>
            <a:lvl1pPr algn="l" defTabSz="914400">
              <a:defRPr sz="2200" b="1">
                <a:solidFill>
                  <a:srgbClr val="FFFFFF"/>
                </a:solidFill>
                <a:latin typeface="Arial"/>
                <a:ea typeface="Arial"/>
                <a:cs typeface="Arial"/>
                <a:sym typeface="Arial"/>
              </a:defRPr>
            </a:lvl1pPr>
          </a:lstStyle>
          <a:p>
            <a:r>
              <a:rPr lang="en-US" sz="2000" dirty="0">
                <a:solidFill>
                  <a:srgbClr val="016AA2"/>
                </a:solidFill>
              </a:rPr>
              <a:t>Needs and Solution Proposal (XIII)</a:t>
            </a:r>
          </a:p>
        </p:txBody>
      </p:sp>
      <p:sp>
        <p:nvSpPr>
          <p:cNvPr id="40" name="Hexagon 39">
            <a:extLst>
              <a:ext uri="{FF2B5EF4-FFF2-40B4-BE49-F238E27FC236}">
                <a16:creationId xmlns:a16="http://schemas.microsoft.com/office/drawing/2014/main" id="{E629E698-AD8D-4246-8E3D-3F2E7EB2F0EA}"/>
              </a:ext>
            </a:extLst>
          </p:cNvPr>
          <p:cNvSpPr/>
          <p:nvPr/>
        </p:nvSpPr>
        <p:spPr>
          <a:xfrm>
            <a:off x="4692882" y="2481657"/>
            <a:ext cx="3094892" cy="2550959"/>
          </a:xfrm>
          <a:prstGeom prst="hexagon">
            <a:avLst/>
          </a:prstGeom>
          <a:solidFill>
            <a:srgbClr val="87CBD8"/>
          </a:solidFill>
          <a:ln w="9525">
            <a:solidFill>
              <a:srgbClr val="0067B7"/>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300" dirty="0">
              <a:solidFill>
                <a:srgbClr val="0067B7"/>
              </a:solidFill>
              <a:effectLst>
                <a:outerShdw blurRad="50800" dist="50800" dir="5400000" algn="ctr" rotWithShape="0">
                  <a:srgbClr val="000000">
                    <a:alpha val="0"/>
                  </a:srgbClr>
                </a:outerShdw>
                <a:reflection endPos="0" dist="50800" dir="5400000" sy="-100000" algn="bl" rotWithShape="0"/>
              </a:effectLst>
              <a:latin typeface="+mj-lt"/>
              <a:ea typeface="Klee Medium" panose="02020600000000000000" pitchFamily="18" charset="-128"/>
            </a:endParaRPr>
          </a:p>
        </p:txBody>
      </p:sp>
      <p:sp>
        <p:nvSpPr>
          <p:cNvPr id="44" name="Hexagon 43">
            <a:extLst>
              <a:ext uri="{FF2B5EF4-FFF2-40B4-BE49-F238E27FC236}">
                <a16:creationId xmlns:a16="http://schemas.microsoft.com/office/drawing/2014/main" id="{19D0B805-749D-1045-BF88-C41CAD27C148}"/>
              </a:ext>
            </a:extLst>
          </p:cNvPr>
          <p:cNvSpPr/>
          <p:nvPr/>
        </p:nvSpPr>
        <p:spPr>
          <a:xfrm>
            <a:off x="5343212" y="3176107"/>
            <a:ext cx="1792824" cy="1347733"/>
          </a:xfrm>
          <a:prstGeom prst="hexagon">
            <a:avLst/>
          </a:prstGeom>
          <a:solidFill>
            <a:schemeClr val="bg1"/>
          </a:solidFill>
          <a:ln w="9525">
            <a:solidFill>
              <a:srgbClr val="0067B7"/>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000" dirty="0">
                <a:solidFill>
                  <a:srgbClr val="0067B7"/>
                </a:solidFill>
                <a:effectLst>
                  <a:outerShdw blurRad="50800" dist="50800" dir="5400000" algn="ctr" rotWithShape="0">
                    <a:srgbClr val="000000">
                      <a:alpha val="0"/>
                    </a:srgbClr>
                  </a:outerShdw>
                  <a:reflection endPos="0" dist="50800" dir="5400000" sy="-100000" algn="bl" rotWithShape="0"/>
                </a:effectLst>
                <a:latin typeface="+mj-lt"/>
                <a:ea typeface="Klee Medium" panose="02020600000000000000" pitchFamily="18" charset="-128"/>
              </a:rPr>
              <a:t> Producer Services Business</a:t>
            </a:r>
          </a:p>
          <a:p>
            <a:pPr algn="ctr"/>
            <a:r>
              <a:rPr lang="en-US" sz="1000" dirty="0">
                <a:solidFill>
                  <a:srgbClr val="0067B7"/>
                </a:solidFill>
                <a:effectLst>
                  <a:outerShdw blurRad="50800" dist="50800" dir="5400000" algn="ctr" rotWithShape="0">
                    <a:srgbClr val="000000">
                      <a:alpha val="0"/>
                    </a:srgbClr>
                  </a:outerShdw>
                  <a:reflection endPos="0" dist="50800" dir="5400000" sy="-100000" algn="bl" rotWithShape="0"/>
                </a:effectLst>
                <a:latin typeface="+mj-lt"/>
                <a:ea typeface="Klee Medium" panose="02020600000000000000" pitchFamily="18" charset="-128"/>
              </a:rPr>
              <a:t>Logic</a:t>
            </a:r>
          </a:p>
        </p:txBody>
      </p:sp>
      <p:sp>
        <p:nvSpPr>
          <p:cNvPr id="60" name="Google Shape;61;p12">
            <a:extLst>
              <a:ext uri="{FF2B5EF4-FFF2-40B4-BE49-F238E27FC236}">
                <a16:creationId xmlns:a16="http://schemas.microsoft.com/office/drawing/2014/main" id="{FADFE297-5AAA-634E-9334-AFD44B2B3441}"/>
              </a:ext>
            </a:extLst>
          </p:cNvPr>
          <p:cNvSpPr txBox="1">
            <a:spLocks/>
          </p:cNvSpPr>
          <p:nvPr/>
        </p:nvSpPr>
        <p:spPr>
          <a:xfrm>
            <a:off x="2539625" y="1973237"/>
            <a:ext cx="1013910" cy="297585"/>
          </a:xfrm>
          <a:prstGeom prst="rect">
            <a:avLst/>
          </a:prstGeom>
        </p:spPr>
        <p:txBody>
          <a:bodyPr spcFirstLastPara="1" vert="horz" wrap="square" lIns="91425" tIns="91425" rIns="91425" bIns="91425" rtlCol="0" anchor="ctr"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spcBef>
                <a:spcPts val="0"/>
              </a:spcBef>
            </a:pPr>
            <a:r>
              <a:rPr lang="en-US" sz="1100" b="1" dirty="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Inbound adapters</a:t>
            </a:r>
          </a:p>
        </p:txBody>
      </p:sp>
      <p:sp>
        <p:nvSpPr>
          <p:cNvPr id="2" name="Rectangle 1">
            <a:extLst>
              <a:ext uri="{FF2B5EF4-FFF2-40B4-BE49-F238E27FC236}">
                <a16:creationId xmlns:a16="http://schemas.microsoft.com/office/drawing/2014/main" id="{A09322CF-9D1E-2945-B02E-4EB1C47335F0}"/>
              </a:ext>
            </a:extLst>
          </p:cNvPr>
          <p:cNvSpPr/>
          <p:nvPr/>
        </p:nvSpPr>
        <p:spPr>
          <a:xfrm>
            <a:off x="5867433" y="2170623"/>
            <a:ext cx="804672" cy="369328"/>
          </a:xfrm>
          <a:prstGeom prst="rect">
            <a:avLst/>
          </a:prstGeom>
          <a:solidFill>
            <a:srgbClr val="E2E2E2"/>
          </a:solidFill>
          <a:ln w="9525">
            <a:solidFill>
              <a:schemeClr val="tx1">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800" dirty="0">
                <a:solidFill>
                  <a:srgbClr val="002D72"/>
                </a:solidFill>
                <a:latin typeface="Arial" pitchFamily="34" charset="0"/>
                <a:cs typeface="Arial" pitchFamily="34" charset="0"/>
              </a:rPr>
              <a:t>REST API</a:t>
            </a:r>
          </a:p>
        </p:txBody>
      </p:sp>
      <p:sp>
        <p:nvSpPr>
          <p:cNvPr id="3" name="Oval 2">
            <a:extLst>
              <a:ext uri="{FF2B5EF4-FFF2-40B4-BE49-F238E27FC236}">
                <a16:creationId xmlns:a16="http://schemas.microsoft.com/office/drawing/2014/main" id="{C0EBF861-24F0-354C-85E1-96B9776645BB}"/>
              </a:ext>
            </a:extLst>
          </p:cNvPr>
          <p:cNvSpPr/>
          <p:nvPr/>
        </p:nvSpPr>
        <p:spPr>
          <a:xfrm>
            <a:off x="6190085" y="3035430"/>
            <a:ext cx="140677" cy="140677"/>
          </a:xfrm>
          <a:prstGeom prst="ellipse">
            <a:avLst/>
          </a:prstGeom>
          <a:solidFill>
            <a:srgbClr val="E2E2E2"/>
          </a:solidFill>
          <a:ln w="9525">
            <a:solidFill>
              <a:srgbClr val="0067B7"/>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a:solidFill>
                <a:srgbClr val="002D72"/>
              </a:solidFill>
              <a:latin typeface="Arial" pitchFamily="34" charset="0"/>
              <a:cs typeface="Arial" pitchFamily="34" charset="0"/>
            </a:endParaRPr>
          </a:p>
        </p:txBody>
      </p:sp>
      <p:cxnSp>
        <p:nvCxnSpPr>
          <p:cNvPr id="6" name="Straight Arrow Connector 5">
            <a:extLst>
              <a:ext uri="{FF2B5EF4-FFF2-40B4-BE49-F238E27FC236}">
                <a16:creationId xmlns:a16="http://schemas.microsoft.com/office/drawing/2014/main" id="{28ED1A3E-87E5-594C-BB40-A7C93F29B070}"/>
              </a:ext>
            </a:extLst>
          </p:cNvPr>
          <p:cNvCxnSpPr>
            <a:cxnSpLocks/>
            <a:stCxn id="2" idx="2"/>
            <a:endCxn id="3" idx="0"/>
          </p:cNvCxnSpPr>
          <p:nvPr/>
        </p:nvCxnSpPr>
        <p:spPr>
          <a:xfrm flipH="1">
            <a:off x="6260424" y="2539951"/>
            <a:ext cx="9345" cy="495479"/>
          </a:xfrm>
          <a:prstGeom prst="straightConnector1">
            <a:avLst/>
          </a:prstGeom>
          <a:ln>
            <a:solidFill>
              <a:srgbClr val="0067B7"/>
            </a:solidFill>
            <a:tailEnd type="triangle"/>
          </a:ln>
        </p:spPr>
        <p:style>
          <a:lnRef idx="1">
            <a:schemeClr val="accent1"/>
          </a:lnRef>
          <a:fillRef idx="0">
            <a:schemeClr val="accent1"/>
          </a:fillRef>
          <a:effectRef idx="0">
            <a:schemeClr val="accent1"/>
          </a:effectRef>
          <a:fontRef idx="minor">
            <a:schemeClr val="tx1"/>
          </a:fontRef>
        </p:style>
      </p:cxnSp>
      <p:sp>
        <p:nvSpPr>
          <p:cNvPr id="53" name="Rectangle 52">
            <a:extLst>
              <a:ext uri="{FF2B5EF4-FFF2-40B4-BE49-F238E27FC236}">
                <a16:creationId xmlns:a16="http://schemas.microsoft.com/office/drawing/2014/main" id="{F6F2001A-3B67-B44A-A512-BE8CB2286BA7}"/>
              </a:ext>
            </a:extLst>
          </p:cNvPr>
          <p:cNvSpPr/>
          <p:nvPr/>
        </p:nvSpPr>
        <p:spPr>
          <a:xfrm>
            <a:off x="4405033" y="2890351"/>
            <a:ext cx="877186" cy="466693"/>
          </a:xfrm>
          <a:prstGeom prst="rect">
            <a:avLst/>
          </a:prstGeom>
          <a:solidFill>
            <a:srgbClr val="E2E2E2"/>
          </a:solidFill>
          <a:ln w="9525">
            <a:solidFill>
              <a:schemeClr val="tx1">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800" dirty="0">
                <a:solidFill>
                  <a:srgbClr val="002D72"/>
                </a:solidFill>
                <a:latin typeface="Arial" pitchFamily="34" charset="0"/>
                <a:cs typeface="Arial" pitchFamily="34" charset="0"/>
              </a:rPr>
              <a:t>Producer command headers</a:t>
            </a:r>
          </a:p>
        </p:txBody>
      </p:sp>
      <p:sp>
        <p:nvSpPr>
          <p:cNvPr id="55" name="Rectangle 54">
            <a:extLst>
              <a:ext uri="{FF2B5EF4-FFF2-40B4-BE49-F238E27FC236}">
                <a16:creationId xmlns:a16="http://schemas.microsoft.com/office/drawing/2014/main" id="{C4484610-47C3-194F-A365-4829090407F8}"/>
              </a:ext>
            </a:extLst>
          </p:cNvPr>
          <p:cNvSpPr/>
          <p:nvPr/>
        </p:nvSpPr>
        <p:spPr>
          <a:xfrm>
            <a:off x="5858087" y="4886901"/>
            <a:ext cx="804672" cy="369328"/>
          </a:xfrm>
          <a:prstGeom prst="rect">
            <a:avLst/>
          </a:prstGeom>
          <a:solidFill>
            <a:srgbClr val="E2E2E2"/>
          </a:solidFill>
          <a:ln w="9525">
            <a:solidFill>
              <a:schemeClr val="tx1">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800" dirty="0">
                <a:solidFill>
                  <a:srgbClr val="002D72"/>
                </a:solidFill>
                <a:latin typeface="Arial" pitchFamily="34" charset="0"/>
                <a:cs typeface="Arial" pitchFamily="34" charset="0"/>
              </a:rPr>
              <a:t>Adapter</a:t>
            </a:r>
          </a:p>
          <a:p>
            <a:pPr algn="ctr"/>
            <a:r>
              <a:rPr lang="en-US" sz="800" dirty="0">
                <a:solidFill>
                  <a:srgbClr val="002D72"/>
                </a:solidFill>
                <a:latin typeface="Arial" pitchFamily="34" charset="0"/>
                <a:cs typeface="Arial" pitchFamily="34" charset="0"/>
              </a:rPr>
              <a:t>Data Lake</a:t>
            </a:r>
          </a:p>
        </p:txBody>
      </p:sp>
      <p:sp>
        <p:nvSpPr>
          <p:cNvPr id="58" name="Rectangle 57">
            <a:extLst>
              <a:ext uri="{FF2B5EF4-FFF2-40B4-BE49-F238E27FC236}">
                <a16:creationId xmlns:a16="http://schemas.microsoft.com/office/drawing/2014/main" id="{75AB9802-2518-3D46-8C21-60BBB2FCCAB3}"/>
              </a:ext>
            </a:extLst>
          </p:cNvPr>
          <p:cNvSpPr/>
          <p:nvPr/>
        </p:nvSpPr>
        <p:spPr>
          <a:xfrm>
            <a:off x="4359698" y="4135045"/>
            <a:ext cx="877186" cy="466693"/>
          </a:xfrm>
          <a:prstGeom prst="rect">
            <a:avLst/>
          </a:prstGeom>
          <a:solidFill>
            <a:srgbClr val="E2E2E2"/>
          </a:solidFill>
          <a:ln w="9525">
            <a:solidFill>
              <a:schemeClr val="tx1">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800" dirty="0">
                <a:solidFill>
                  <a:srgbClr val="002D72"/>
                </a:solidFill>
                <a:latin typeface="Arial" pitchFamily="34" charset="0"/>
                <a:cs typeface="Arial" pitchFamily="34" charset="0"/>
              </a:rPr>
              <a:t>Domain event publisher adapter</a:t>
            </a:r>
          </a:p>
        </p:txBody>
      </p:sp>
      <p:sp>
        <p:nvSpPr>
          <p:cNvPr id="62" name="Google Shape;61;p12">
            <a:extLst>
              <a:ext uri="{FF2B5EF4-FFF2-40B4-BE49-F238E27FC236}">
                <a16:creationId xmlns:a16="http://schemas.microsoft.com/office/drawing/2014/main" id="{43F86547-9D7D-0548-AF38-EA3096CC2AB7}"/>
              </a:ext>
            </a:extLst>
          </p:cNvPr>
          <p:cNvSpPr txBox="1">
            <a:spLocks/>
          </p:cNvSpPr>
          <p:nvPr/>
        </p:nvSpPr>
        <p:spPr>
          <a:xfrm>
            <a:off x="6311281" y="1644500"/>
            <a:ext cx="1610960" cy="275128"/>
          </a:xfrm>
          <a:prstGeom prst="rect">
            <a:avLst/>
          </a:prstGeom>
        </p:spPr>
        <p:txBody>
          <a:bodyPr spcFirstLastPara="1" vert="horz" wrap="square" lIns="91425" tIns="91425" rIns="91425" bIns="91425" rtlCol="0" anchor="ctr"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spcBef>
                <a:spcPts val="0"/>
              </a:spcBef>
            </a:pPr>
            <a:r>
              <a:rPr lang="en-US" sz="1000" dirty="0">
                <a:solidFill>
                  <a:schemeClr val="tx1">
                    <a:lumMod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POST 1 PUT 1 PATCH ] /message </a:t>
            </a:r>
          </a:p>
        </p:txBody>
      </p:sp>
      <p:sp>
        <p:nvSpPr>
          <p:cNvPr id="63" name="Google Shape;61;p12">
            <a:extLst>
              <a:ext uri="{FF2B5EF4-FFF2-40B4-BE49-F238E27FC236}">
                <a16:creationId xmlns:a16="http://schemas.microsoft.com/office/drawing/2014/main" id="{032B8783-E9B0-4947-AB4B-420D7BC4DA44}"/>
              </a:ext>
            </a:extLst>
          </p:cNvPr>
          <p:cNvSpPr txBox="1">
            <a:spLocks/>
          </p:cNvSpPr>
          <p:nvPr/>
        </p:nvSpPr>
        <p:spPr>
          <a:xfrm>
            <a:off x="6540848" y="1831232"/>
            <a:ext cx="983512" cy="275128"/>
          </a:xfrm>
          <a:prstGeom prst="rect">
            <a:avLst/>
          </a:prstGeom>
        </p:spPr>
        <p:txBody>
          <a:bodyPr spcFirstLastPara="1" vert="horz" wrap="square" lIns="91425" tIns="91425" rIns="91425" bIns="91425" rtlCol="0" anchor="ctr"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spcBef>
                <a:spcPts val="0"/>
              </a:spcBef>
            </a:pPr>
            <a:r>
              <a:rPr lang="en-US" sz="1000" dirty="0">
                <a:solidFill>
                  <a:schemeClr val="tx1">
                    <a:lumMod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GET] /message/Id </a:t>
            </a:r>
          </a:p>
        </p:txBody>
      </p:sp>
      <p:cxnSp>
        <p:nvCxnSpPr>
          <p:cNvPr id="11" name="Curved Connector 10">
            <a:extLst>
              <a:ext uri="{FF2B5EF4-FFF2-40B4-BE49-F238E27FC236}">
                <a16:creationId xmlns:a16="http://schemas.microsoft.com/office/drawing/2014/main" id="{0EDD5774-A5D7-4345-A669-522D37245610}"/>
              </a:ext>
            </a:extLst>
          </p:cNvPr>
          <p:cNvCxnSpPr>
            <a:cxnSpLocks/>
            <a:stCxn id="60" idx="3"/>
            <a:endCxn id="2" idx="1"/>
          </p:cNvCxnSpPr>
          <p:nvPr/>
        </p:nvCxnSpPr>
        <p:spPr>
          <a:xfrm>
            <a:off x="3553535" y="2122030"/>
            <a:ext cx="2313898" cy="233257"/>
          </a:xfrm>
          <a:prstGeom prst="curvedConnector3">
            <a:avLst>
              <a:gd name="adj1" fmla="val 50000"/>
            </a:avLst>
          </a:prstGeom>
          <a:ln>
            <a:solidFill>
              <a:srgbClr val="0067B7"/>
            </a:solidFill>
            <a:tailEnd type="triangle"/>
          </a:ln>
        </p:spPr>
        <p:style>
          <a:lnRef idx="1">
            <a:schemeClr val="accent1"/>
          </a:lnRef>
          <a:fillRef idx="0">
            <a:schemeClr val="accent1"/>
          </a:fillRef>
          <a:effectRef idx="0">
            <a:schemeClr val="accent1"/>
          </a:effectRef>
          <a:fontRef idx="minor">
            <a:schemeClr val="tx1"/>
          </a:fontRef>
        </p:style>
      </p:cxnSp>
      <p:cxnSp>
        <p:nvCxnSpPr>
          <p:cNvPr id="65" name="Curved Connector 64">
            <a:extLst>
              <a:ext uri="{FF2B5EF4-FFF2-40B4-BE49-F238E27FC236}">
                <a16:creationId xmlns:a16="http://schemas.microsoft.com/office/drawing/2014/main" id="{A7223B83-7B1A-2046-9ECA-32C827D748A1}"/>
              </a:ext>
            </a:extLst>
          </p:cNvPr>
          <p:cNvCxnSpPr>
            <a:cxnSpLocks/>
            <a:stCxn id="60" idx="3"/>
            <a:endCxn id="53" idx="0"/>
          </p:cNvCxnSpPr>
          <p:nvPr/>
        </p:nvCxnSpPr>
        <p:spPr>
          <a:xfrm>
            <a:off x="3553535" y="2122030"/>
            <a:ext cx="1290091" cy="768321"/>
          </a:xfrm>
          <a:prstGeom prst="curvedConnector2">
            <a:avLst/>
          </a:prstGeom>
          <a:ln>
            <a:solidFill>
              <a:srgbClr val="0067B7"/>
            </a:solidFill>
            <a:tailEnd type="triangle"/>
          </a:ln>
        </p:spPr>
        <p:style>
          <a:lnRef idx="1">
            <a:schemeClr val="accent1"/>
          </a:lnRef>
          <a:fillRef idx="0">
            <a:schemeClr val="accent1"/>
          </a:fillRef>
          <a:effectRef idx="0">
            <a:schemeClr val="accent1"/>
          </a:effectRef>
          <a:fontRef idx="minor">
            <a:schemeClr val="tx1"/>
          </a:fontRef>
        </p:style>
      </p:cxnSp>
      <p:sp>
        <p:nvSpPr>
          <p:cNvPr id="74" name="Google Shape;61;p12">
            <a:extLst>
              <a:ext uri="{FF2B5EF4-FFF2-40B4-BE49-F238E27FC236}">
                <a16:creationId xmlns:a16="http://schemas.microsoft.com/office/drawing/2014/main" id="{1974DD8A-9E79-E346-BCC2-ABE7F28D24C5}"/>
              </a:ext>
            </a:extLst>
          </p:cNvPr>
          <p:cNvSpPr txBox="1">
            <a:spLocks/>
          </p:cNvSpPr>
          <p:nvPr/>
        </p:nvSpPr>
        <p:spPr>
          <a:xfrm>
            <a:off x="2539624" y="5469224"/>
            <a:ext cx="1290091" cy="297585"/>
          </a:xfrm>
          <a:prstGeom prst="rect">
            <a:avLst/>
          </a:prstGeom>
        </p:spPr>
        <p:txBody>
          <a:bodyPr spcFirstLastPara="1" vert="horz" wrap="square" lIns="91425" tIns="91425" rIns="91425" bIns="91425" rtlCol="0" anchor="ctr"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spcBef>
                <a:spcPts val="0"/>
              </a:spcBef>
            </a:pPr>
            <a:r>
              <a:rPr lang="en-US" sz="1100" b="1" dirty="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Outbound adapters</a:t>
            </a:r>
          </a:p>
        </p:txBody>
      </p:sp>
      <p:cxnSp>
        <p:nvCxnSpPr>
          <p:cNvPr id="77" name="Curved Connector 76">
            <a:extLst>
              <a:ext uri="{FF2B5EF4-FFF2-40B4-BE49-F238E27FC236}">
                <a16:creationId xmlns:a16="http://schemas.microsoft.com/office/drawing/2014/main" id="{224DD093-B656-2E48-9A63-2FD5A3DDF300}"/>
              </a:ext>
            </a:extLst>
          </p:cNvPr>
          <p:cNvCxnSpPr>
            <a:cxnSpLocks/>
            <a:stCxn id="74" idx="3"/>
            <a:endCxn id="55" idx="2"/>
          </p:cNvCxnSpPr>
          <p:nvPr/>
        </p:nvCxnSpPr>
        <p:spPr>
          <a:xfrm flipV="1">
            <a:off x="3829715" y="5256229"/>
            <a:ext cx="2430708" cy="361788"/>
          </a:xfrm>
          <a:prstGeom prst="curvedConnector2">
            <a:avLst/>
          </a:prstGeom>
          <a:ln>
            <a:solidFill>
              <a:srgbClr val="0067B7"/>
            </a:solidFill>
            <a:tailEnd type="triangle"/>
          </a:ln>
        </p:spPr>
        <p:style>
          <a:lnRef idx="1">
            <a:schemeClr val="accent1"/>
          </a:lnRef>
          <a:fillRef idx="0">
            <a:schemeClr val="accent1"/>
          </a:fillRef>
          <a:effectRef idx="0">
            <a:schemeClr val="accent1"/>
          </a:effectRef>
          <a:fontRef idx="minor">
            <a:schemeClr val="tx1"/>
          </a:fontRef>
        </p:style>
      </p:cxnSp>
      <p:cxnSp>
        <p:nvCxnSpPr>
          <p:cNvPr id="78" name="Curved Connector 77">
            <a:extLst>
              <a:ext uri="{FF2B5EF4-FFF2-40B4-BE49-F238E27FC236}">
                <a16:creationId xmlns:a16="http://schemas.microsoft.com/office/drawing/2014/main" id="{1910534D-AAAB-9B42-9A75-4E1B1197ED6F}"/>
              </a:ext>
            </a:extLst>
          </p:cNvPr>
          <p:cNvCxnSpPr>
            <a:cxnSpLocks/>
            <a:stCxn id="74" idx="3"/>
            <a:endCxn id="58" idx="2"/>
          </p:cNvCxnSpPr>
          <p:nvPr/>
        </p:nvCxnSpPr>
        <p:spPr>
          <a:xfrm flipV="1">
            <a:off x="3829715" y="4601738"/>
            <a:ext cx="968576" cy="1016279"/>
          </a:xfrm>
          <a:prstGeom prst="curvedConnector2">
            <a:avLst/>
          </a:prstGeom>
          <a:ln>
            <a:solidFill>
              <a:srgbClr val="0067B7"/>
            </a:solidFill>
            <a:tailEnd type="triangle"/>
          </a:ln>
        </p:spPr>
        <p:style>
          <a:lnRef idx="1">
            <a:schemeClr val="accent1"/>
          </a:lnRef>
          <a:fillRef idx="0">
            <a:schemeClr val="accent1"/>
          </a:fillRef>
          <a:effectRef idx="0">
            <a:schemeClr val="accent1"/>
          </a:effectRef>
          <a:fontRef idx="minor">
            <a:schemeClr val="tx1"/>
          </a:fontRef>
        </p:style>
      </p:cxnSp>
      <p:cxnSp>
        <p:nvCxnSpPr>
          <p:cNvPr id="81" name="Straight Arrow Connector 80">
            <a:extLst>
              <a:ext uri="{FF2B5EF4-FFF2-40B4-BE49-F238E27FC236}">
                <a16:creationId xmlns:a16="http://schemas.microsoft.com/office/drawing/2014/main" id="{5D026F95-138C-DA42-927D-015D150C8692}"/>
              </a:ext>
            </a:extLst>
          </p:cNvPr>
          <p:cNvCxnSpPr>
            <a:cxnSpLocks/>
            <a:endCxn id="2" idx="0"/>
          </p:cNvCxnSpPr>
          <p:nvPr/>
        </p:nvCxnSpPr>
        <p:spPr>
          <a:xfrm>
            <a:off x="6269769" y="1606619"/>
            <a:ext cx="0" cy="564004"/>
          </a:xfrm>
          <a:prstGeom prst="straightConnector1">
            <a:avLst/>
          </a:prstGeom>
          <a:ln>
            <a:solidFill>
              <a:srgbClr val="0067B7"/>
            </a:solidFill>
            <a:tailEnd type="triangle"/>
          </a:ln>
        </p:spPr>
        <p:style>
          <a:lnRef idx="1">
            <a:schemeClr val="accent1"/>
          </a:lnRef>
          <a:fillRef idx="0">
            <a:schemeClr val="accent1"/>
          </a:fillRef>
          <a:effectRef idx="0">
            <a:schemeClr val="accent1"/>
          </a:effectRef>
          <a:fontRef idx="minor">
            <a:schemeClr val="tx1"/>
          </a:fontRef>
        </p:style>
      </p:cxnSp>
      <p:sp>
        <p:nvSpPr>
          <p:cNvPr id="85" name="Google Shape;61;p12">
            <a:extLst>
              <a:ext uri="{FF2B5EF4-FFF2-40B4-BE49-F238E27FC236}">
                <a16:creationId xmlns:a16="http://schemas.microsoft.com/office/drawing/2014/main" id="{7A8F921D-DEC5-1E41-A8A1-4145D527C623}"/>
              </a:ext>
            </a:extLst>
          </p:cNvPr>
          <p:cNvSpPr txBox="1">
            <a:spLocks/>
          </p:cNvSpPr>
          <p:nvPr/>
        </p:nvSpPr>
        <p:spPr>
          <a:xfrm>
            <a:off x="5837288" y="1309034"/>
            <a:ext cx="881341" cy="297585"/>
          </a:xfrm>
          <a:prstGeom prst="rect">
            <a:avLst/>
          </a:prstGeom>
          <a:solidFill>
            <a:srgbClr val="C5277F"/>
          </a:solidFill>
          <a:ln>
            <a:solidFill>
              <a:srgbClr val="C5277F"/>
            </a:solidFill>
          </a:ln>
        </p:spPr>
        <p:txBody>
          <a:bodyPr spcFirstLastPara="1" vert="horz" wrap="square" lIns="91425" tIns="91425" rIns="91425" bIns="91425" rtlCol="0" anchor="ctr"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spcBef>
                <a:spcPts val="0"/>
              </a:spcBef>
            </a:pPr>
            <a:r>
              <a:rPr lang="en-US" sz="1400" dirty="0">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Client</a:t>
            </a:r>
          </a:p>
        </p:txBody>
      </p:sp>
      <p:cxnSp>
        <p:nvCxnSpPr>
          <p:cNvPr id="86" name="Straight Arrow Connector 85">
            <a:extLst>
              <a:ext uri="{FF2B5EF4-FFF2-40B4-BE49-F238E27FC236}">
                <a16:creationId xmlns:a16="http://schemas.microsoft.com/office/drawing/2014/main" id="{B034FA41-CA43-0443-B5EB-2CA968FB9C15}"/>
              </a:ext>
            </a:extLst>
          </p:cNvPr>
          <p:cNvCxnSpPr>
            <a:cxnSpLocks/>
            <a:stCxn id="53" idx="2"/>
            <a:endCxn id="91" idx="2"/>
          </p:cNvCxnSpPr>
          <p:nvPr/>
        </p:nvCxnSpPr>
        <p:spPr>
          <a:xfrm>
            <a:off x="4843626" y="3357044"/>
            <a:ext cx="540223" cy="119399"/>
          </a:xfrm>
          <a:prstGeom prst="straightConnector1">
            <a:avLst/>
          </a:prstGeom>
          <a:ln>
            <a:solidFill>
              <a:srgbClr val="0067B7"/>
            </a:solidFill>
            <a:tailEnd type="triangle"/>
          </a:ln>
        </p:spPr>
        <p:style>
          <a:lnRef idx="1">
            <a:schemeClr val="accent1"/>
          </a:lnRef>
          <a:fillRef idx="0">
            <a:schemeClr val="accent1"/>
          </a:fillRef>
          <a:effectRef idx="0">
            <a:schemeClr val="accent1"/>
          </a:effectRef>
          <a:fontRef idx="minor">
            <a:schemeClr val="tx1"/>
          </a:fontRef>
        </p:style>
      </p:cxnSp>
      <p:sp>
        <p:nvSpPr>
          <p:cNvPr id="91" name="Oval 90">
            <a:extLst>
              <a:ext uri="{FF2B5EF4-FFF2-40B4-BE49-F238E27FC236}">
                <a16:creationId xmlns:a16="http://schemas.microsoft.com/office/drawing/2014/main" id="{A435F0D4-5C05-2D48-B22E-D556C8140EB5}"/>
              </a:ext>
            </a:extLst>
          </p:cNvPr>
          <p:cNvSpPr/>
          <p:nvPr/>
        </p:nvSpPr>
        <p:spPr>
          <a:xfrm>
            <a:off x="5383849" y="3406104"/>
            <a:ext cx="140677" cy="140677"/>
          </a:xfrm>
          <a:prstGeom prst="ellipse">
            <a:avLst/>
          </a:prstGeom>
          <a:solidFill>
            <a:srgbClr val="E2E2E2"/>
          </a:solidFill>
          <a:ln w="9525">
            <a:solidFill>
              <a:srgbClr val="0067B7"/>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a:solidFill>
                <a:srgbClr val="002D72"/>
              </a:solidFill>
              <a:latin typeface="Arial" pitchFamily="34" charset="0"/>
              <a:cs typeface="Arial" pitchFamily="34" charset="0"/>
            </a:endParaRPr>
          </a:p>
        </p:txBody>
      </p:sp>
      <p:sp>
        <p:nvSpPr>
          <p:cNvPr id="92" name="Oval 91">
            <a:extLst>
              <a:ext uri="{FF2B5EF4-FFF2-40B4-BE49-F238E27FC236}">
                <a16:creationId xmlns:a16="http://schemas.microsoft.com/office/drawing/2014/main" id="{3861940D-310E-B645-9BAA-A5B58C7A55C2}"/>
              </a:ext>
            </a:extLst>
          </p:cNvPr>
          <p:cNvSpPr/>
          <p:nvPr/>
        </p:nvSpPr>
        <p:spPr>
          <a:xfrm>
            <a:off x="5492414" y="4241231"/>
            <a:ext cx="140677" cy="140677"/>
          </a:xfrm>
          <a:prstGeom prst="ellipse">
            <a:avLst/>
          </a:prstGeom>
          <a:solidFill>
            <a:srgbClr val="E2E2E2"/>
          </a:solidFill>
          <a:ln w="9525">
            <a:solidFill>
              <a:srgbClr val="0067B7"/>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a:solidFill>
                <a:srgbClr val="002D72"/>
              </a:solidFill>
              <a:latin typeface="Arial" pitchFamily="34" charset="0"/>
              <a:cs typeface="Arial" pitchFamily="34" charset="0"/>
            </a:endParaRPr>
          </a:p>
        </p:txBody>
      </p:sp>
      <p:cxnSp>
        <p:nvCxnSpPr>
          <p:cNvPr id="96" name="Straight Arrow Connector 95">
            <a:extLst>
              <a:ext uri="{FF2B5EF4-FFF2-40B4-BE49-F238E27FC236}">
                <a16:creationId xmlns:a16="http://schemas.microsoft.com/office/drawing/2014/main" id="{A6C2970E-722C-6E4A-8F71-D76B9F9839AC}"/>
              </a:ext>
            </a:extLst>
          </p:cNvPr>
          <p:cNvCxnSpPr>
            <a:cxnSpLocks/>
            <a:stCxn id="58" idx="3"/>
            <a:endCxn id="92" idx="2"/>
          </p:cNvCxnSpPr>
          <p:nvPr/>
        </p:nvCxnSpPr>
        <p:spPr>
          <a:xfrm flipV="1">
            <a:off x="5236884" y="4311570"/>
            <a:ext cx="255530" cy="56822"/>
          </a:xfrm>
          <a:prstGeom prst="straightConnector1">
            <a:avLst/>
          </a:prstGeom>
          <a:ln>
            <a:solidFill>
              <a:srgbClr val="0067B7"/>
            </a:solidFill>
            <a:tailEnd type="triangle"/>
          </a:ln>
        </p:spPr>
        <p:style>
          <a:lnRef idx="1">
            <a:schemeClr val="accent1"/>
          </a:lnRef>
          <a:fillRef idx="0">
            <a:schemeClr val="accent1"/>
          </a:fillRef>
          <a:effectRef idx="0">
            <a:schemeClr val="accent1"/>
          </a:effectRef>
          <a:fontRef idx="minor">
            <a:schemeClr val="tx1"/>
          </a:fontRef>
        </p:style>
      </p:cxnSp>
      <p:sp>
        <p:nvSpPr>
          <p:cNvPr id="101" name="Oval 100">
            <a:extLst>
              <a:ext uri="{FF2B5EF4-FFF2-40B4-BE49-F238E27FC236}">
                <a16:creationId xmlns:a16="http://schemas.microsoft.com/office/drawing/2014/main" id="{8ED5EFA9-6ADF-1A4E-B2F8-685E2BAFB3CE}"/>
              </a:ext>
            </a:extLst>
          </p:cNvPr>
          <p:cNvSpPr/>
          <p:nvPr/>
        </p:nvSpPr>
        <p:spPr>
          <a:xfrm>
            <a:off x="6199430" y="4461061"/>
            <a:ext cx="140677" cy="140677"/>
          </a:xfrm>
          <a:prstGeom prst="ellipse">
            <a:avLst/>
          </a:prstGeom>
          <a:solidFill>
            <a:srgbClr val="E2E2E2"/>
          </a:solidFill>
          <a:ln w="9525">
            <a:solidFill>
              <a:srgbClr val="0067B7"/>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a:solidFill>
                <a:srgbClr val="002D72"/>
              </a:solidFill>
              <a:latin typeface="Arial" pitchFamily="34" charset="0"/>
              <a:cs typeface="Arial" pitchFamily="34" charset="0"/>
            </a:endParaRPr>
          </a:p>
        </p:txBody>
      </p:sp>
      <p:cxnSp>
        <p:nvCxnSpPr>
          <p:cNvPr id="102" name="Straight Arrow Connector 101">
            <a:extLst>
              <a:ext uri="{FF2B5EF4-FFF2-40B4-BE49-F238E27FC236}">
                <a16:creationId xmlns:a16="http://schemas.microsoft.com/office/drawing/2014/main" id="{DDA31DE0-DB12-C142-878D-E77B9E752F56}"/>
              </a:ext>
            </a:extLst>
          </p:cNvPr>
          <p:cNvCxnSpPr>
            <a:cxnSpLocks/>
            <a:stCxn id="55" idx="0"/>
            <a:endCxn id="101" idx="4"/>
          </p:cNvCxnSpPr>
          <p:nvPr/>
        </p:nvCxnSpPr>
        <p:spPr>
          <a:xfrm flipV="1">
            <a:off x="6260423" y="4601738"/>
            <a:ext cx="9346" cy="285163"/>
          </a:xfrm>
          <a:prstGeom prst="straightConnector1">
            <a:avLst/>
          </a:prstGeom>
          <a:ln>
            <a:solidFill>
              <a:srgbClr val="0067B7"/>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88347488"/>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8" name="Rectangle 3"/>
          <p:cNvSpPr txBox="1"/>
          <p:nvPr/>
        </p:nvSpPr>
        <p:spPr>
          <a:xfrm>
            <a:off x="377375" y="524553"/>
            <a:ext cx="8037160" cy="369328"/>
          </a:xfrm>
          <a:prstGeom prst="rect">
            <a:avLst/>
          </a:prstGeom>
          <a:ln w="12700">
            <a:miter lim="400000"/>
          </a:ln>
          <a:extLst>
            <a:ext uri="{C572A759-6A51-4108-AA02-DFA0A04FC94B}">
              <ma14:wrappingTextBoxFlag xmlns="" xmlns:ma14="http://schemas.microsoft.com/office/mac/drawingml/2011/main" val="1"/>
            </a:ext>
          </a:extLst>
        </p:spPr>
        <p:txBody>
          <a:bodyPr wrap="square" lIns="45718" tIns="45718" rIns="45718" bIns="45718">
            <a:spAutoFit/>
          </a:bodyPr>
          <a:lstStyle>
            <a:lvl1pPr algn="l" defTabSz="914400">
              <a:defRPr sz="2000">
                <a:solidFill>
                  <a:srgbClr val="104D6A"/>
                </a:solidFill>
                <a:latin typeface="Arial"/>
                <a:ea typeface="Arial"/>
                <a:cs typeface="Arial"/>
                <a:sym typeface="Arial"/>
              </a:defRPr>
            </a:lvl1pPr>
          </a:lstStyle>
          <a:p>
            <a:pPr lvl="0">
              <a:defRPr/>
            </a:pPr>
            <a:r>
              <a:rPr lang="en-US" sz="1800" b="1" dirty="0">
                <a:solidFill>
                  <a:srgbClr val="73C4EF"/>
                </a:solidFill>
              </a:rPr>
              <a:t> Event Hub Architecture -  Internal Structure Of </a:t>
            </a:r>
            <a:r>
              <a:rPr lang="en-US" sz="1800" b="1" dirty="0" err="1">
                <a:solidFill>
                  <a:srgbClr val="73C4EF"/>
                </a:solidFill>
              </a:rPr>
              <a:t>ProducerService</a:t>
            </a:r>
            <a:r>
              <a:rPr lang="en-US" sz="1800" b="1" dirty="0">
                <a:solidFill>
                  <a:srgbClr val="73C4EF"/>
                </a:solidFill>
              </a:rPr>
              <a:t> III</a:t>
            </a:r>
          </a:p>
        </p:txBody>
      </p:sp>
      <p:sp>
        <p:nvSpPr>
          <p:cNvPr id="5" name="Rectangle 3">
            <a:extLst>
              <a:ext uri="{FF2B5EF4-FFF2-40B4-BE49-F238E27FC236}">
                <a16:creationId xmlns:a16="http://schemas.microsoft.com/office/drawing/2014/main" id="{F3BCF96F-43FE-3A4D-B4EC-B79E124C9963}"/>
              </a:ext>
            </a:extLst>
          </p:cNvPr>
          <p:cNvSpPr txBox="1"/>
          <p:nvPr/>
        </p:nvSpPr>
        <p:spPr>
          <a:xfrm>
            <a:off x="404806" y="92199"/>
            <a:ext cx="7585857" cy="400105"/>
          </a:xfrm>
          <a:prstGeom prst="rect">
            <a:avLst/>
          </a:prstGeom>
          <a:ln w="12700">
            <a:miter lim="400000"/>
          </a:ln>
          <a:extLst>
            <a:ext uri="{C572A759-6A51-4108-AA02-DFA0A04FC94B}">
              <ma14:wrappingTextBoxFlag xmlns:ma14="http://schemas.microsoft.com/office/mac/drawingml/2011/main" xmlns="" val="1"/>
            </a:ext>
          </a:extLst>
        </p:spPr>
        <p:txBody>
          <a:bodyPr wrap="square" lIns="45718" tIns="45718" rIns="45718" bIns="45718">
            <a:spAutoFit/>
          </a:bodyPr>
          <a:lstStyle>
            <a:lvl1pPr algn="l" defTabSz="914400">
              <a:defRPr sz="2200" b="1">
                <a:solidFill>
                  <a:srgbClr val="FFFFFF"/>
                </a:solidFill>
                <a:latin typeface="Arial"/>
                <a:ea typeface="Arial"/>
                <a:cs typeface="Arial"/>
                <a:sym typeface="Arial"/>
              </a:defRPr>
            </a:lvl1pPr>
          </a:lstStyle>
          <a:p>
            <a:r>
              <a:rPr lang="en-US" sz="2000" dirty="0">
                <a:solidFill>
                  <a:srgbClr val="016AA2"/>
                </a:solidFill>
              </a:rPr>
              <a:t>Needs and Solution Proposal (XIII)</a:t>
            </a:r>
          </a:p>
        </p:txBody>
      </p:sp>
      <p:pic>
        <p:nvPicPr>
          <p:cNvPr id="4" name="Picture 3">
            <a:extLst>
              <a:ext uri="{FF2B5EF4-FFF2-40B4-BE49-F238E27FC236}">
                <a16:creationId xmlns:a16="http://schemas.microsoft.com/office/drawing/2014/main" id="{C0F6469F-2C95-BB4B-A65E-4BB804EDAEE3}"/>
              </a:ext>
            </a:extLst>
          </p:cNvPr>
          <p:cNvPicPr>
            <a:picLocks noChangeAspect="1"/>
          </p:cNvPicPr>
          <p:nvPr/>
        </p:nvPicPr>
        <p:blipFill>
          <a:blip r:embed="rId2"/>
          <a:stretch>
            <a:fillRect/>
          </a:stretch>
        </p:blipFill>
        <p:spPr>
          <a:xfrm>
            <a:off x="0" y="5925"/>
            <a:ext cx="12192000" cy="6858000"/>
          </a:xfrm>
          <a:prstGeom prst="rect">
            <a:avLst/>
          </a:prstGeom>
        </p:spPr>
      </p:pic>
      <p:sp>
        <p:nvSpPr>
          <p:cNvPr id="29" name="Hexagon 28">
            <a:extLst>
              <a:ext uri="{FF2B5EF4-FFF2-40B4-BE49-F238E27FC236}">
                <a16:creationId xmlns:a16="http://schemas.microsoft.com/office/drawing/2014/main" id="{B6AF7840-01C6-454C-B1D7-6493D33FCB55}"/>
              </a:ext>
            </a:extLst>
          </p:cNvPr>
          <p:cNvSpPr/>
          <p:nvPr/>
        </p:nvSpPr>
        <p:spPr>
          <a:xfrm>
            <a:off x="4692882" y="2481657"/>
            <a:ext cx="3094892" cy="2550959"/>
          </a:xfrm>
          <a:prstGeom prst="hexagon">
            <a:avLst/>
          </a:prstGeom>
          <a:solidFill>
            <a:srgbClr val="87CBD8"/>
          </a:solidFill>
          <a:ln w="9525">
            <a:solidFill>
              <a:srgbClr val="0067B7"/>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300" dirty="0">
              <a:solidFill>
                <a:srgbClr val="0067B7"/>
              </a:solidFill>
              <a:effectLst>
                <a:outerShdw blurRad="50800" dist="50800" dir="5400000" algn="ctr" rotWithShape="0">
                  <a:srgbClr val="000000">
                    <a:alpha val="0"/>
                  </a:srgbClr>
                </a:outerShdw>
                <a:reflection endPos="0" dist="50800" dir="5400000" sy="-100000" algn="bl" rotWithShape="0"/>
              </a:effectLst>
              <a:latin typeface="+mj-lt"/>
              <a:ea typeface="Klee Medium" panose="02020600000000000000" pitchFamily="18" charset="-128"/>
            </a:endParaRPr>
          </a:p>
        </p:txBody>
      </p:sp>
      <p:sp>
        <p:nvSpPr>
          <p:cNvPr id="30" name="Hexagon 29">
            <a:extLst>
              <a:ext uri="{FF2B5EF4-FFF2-40B4-BE49-F238E27FC236}">
                <a16:creationId xmlns:a16="http://schemas.microsoft.com/office/drawing/2014/main" id="{D496495A-0899-C644-817F-313CA77B9E9D}"/>
              </a:ext>
            </a:extLst>
          </p:cNvPr>
          <p:cNvSpPr/>
          <p:nvPr/>
        </p:nvSpPr>
        <p:spPr>
          <a:xfrm>
            <a:off x="5343212" y="3176107"/>
            <a:ext cx="1792824" cy="1347733"/>
          </a:xfrm>
          <a:prstGeom prst="hexagon">
            <a:avLst/>
          </a:prstGeom>
          <a:solidFill>
            <a:schemeClr val="bg1"/>
          </a:solidFill>
          <a:ln w="9525">
            <a:solidFill>
              <a:srgbClr val="0067B7"/>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000" dirty="0">
                <a:solidFill>
                  <a:srgbClr val="0067B7"/>
                </a:solidFill>
                <a:effectLst>
                  <a:outerShdw blurRad="50800" dist="50800" dir="5400000" algn="ctr" rotWithShape="0">
                    <a:srgbClr val="000000">
                      <a:alpha val="0"/>
                    </a:srgbClr>
                  </a:outerShdw>
                  <a:reflection endPos="0" dist="50800" dir="5400000" sy="-100000" algn="bl" rotWithShape="0"/>
                </a:effectLst>
                <a:latin typeface="+mj-lt"/>
                <a:ea typeface="Klee Medium" panose="02020600000000000000" pitchFamily="18" charset="-128"/>
              </a:rPr>
              <a:t> Producer Services Business</a:t>
            </a:r>
          </a:p>
          <a:p>
            <a:pPr algn="ctr"/>
            <a:r>
              <a:rPr lang="en-US" sz="1000" dirty="0">
                <a:solidFill>
                  <a:srgbClr val="0067B7"/>
                </a:solidFill>
                <a:effectLst>
                  <a:outerShdw blurRad="50800" dist="50800" dir="5400000" algn="ctr" rotWithShape="0">
                    <a:srgbClr val="000000">
                      <a:alpha val="0"/>
                    </a:srgbClr>
                  </a:outerShdw>
                  <a:reflection endPos="0" dist="50800" dir="5400000" sy="-100000" algn="bl" rotWithShape="0"/>
                </a:effectLst>
                <a:latin typeface="+mj-lt"/>
                <a:ea typeface="Klee Medium" panose="02020600000000000000" pitchFamily="18" charset="-128"/>
              </a:rPr>
              <a:t>Logic</a:t>
            </a:r>
          </a:p>
        </p:txBody>
      </p:sp>
      <p:sp>
        <p:nvSpPr>
          <p:cNvPr id="31" name="Google Shape;61;p12">
            <a:extLst>
              <a:ext uri="{FF2B5EF4-FFF2-40B4-BE49-F238E27FC236}">
                <a16:creationId xmlns:a16="http://schemas.microsoft.com/office/drawing/2014/main" id="{93029515-A1FF-6D45-BD1D-FEA2336E8778}"/>
              </a:ext>
            </a:extLst>
          </p:cNvPr>
          <p:cNvSpPr txBox="1">
            <a:spLocks/>
          </p:cNvSpPr>
          <p:nvPr/>
        </p:nvSpPr>
        <p:spPr>
          <a:xfrm>
            <a:off x="2539625" y="1973237"/>
            <a:ext cx="1013910" cy="297585"/>
          </a:xfrm>
          <a:prstGeom prst="rect">
            <a:avLst/>
          </a:prstGeom>
        </p:spPr>
        <p:txBody>
          <a:bodyPr spcFirstLastPara="1" vert="horz" wrap="square" lIns="91425" tIns="91425" rIns="91425" bIns="91425" rtlCol="0" anchor="ctr"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spcBef>
                <a:spcPts val="0"/>
              </a:spcBef>
            </a:pPr>
            <a:r>
              <a:rPr lang="en-US" sz="1100" b="1" dirty="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Inbound adapters</a:t>
            </a:r>
          </a:p>
        </p:txBody>
      </p:sp>
      <p:sp>
        <p:nvSpPr>
          <p:cNvPr id="32" name="Rectangle 31">
            <a:extLst>
              <a:ext uri="{FF2B5EF4-FFF2-40B4-BE49-F238E27FC236}">
                <a16:creationId xmlns:a16="http://schemas.microsoft.com/office/drawing/2014/main" id="{576E07F7-B728-0F41-B2FC-196B7943FD1B}"/>
              </a:ext>
            </a:extLst>
          </p:cNvPr>
          <p:cNvSpPr/>
          <p:nvPr/>
        </p:nvSpPr>
        <p:spPr>
          <a:xfrm>
            <a:off x="5867433" y="2170623"/>
            <a:ext cx="804672" cy="369328"/>
          </a:xfrm>
          <a:prstGeom prst="rect">
            <a:avLst/>
          </a:prstGeom>
          <a:solidFill>
            <a:srgbClr val="E2E2E2"/>
          </a:solidFill>
          <a:ln w="9525">
            <a:solidFill>
              <a:schemeClr val="tx1">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800" dirty="0">
                <a:solidFill>
                  <a:srgbClr val="002D72"/>
                </a:solidFill>
                <a:latin typeface="Arial" pitchFamily="34" charset="0"/>
                <a:cs typeface="Arial" pitchFamily="34" charset="0"/>
              </a:rPr>
              <a:t>REST API</a:t>
            </a:r>
          </a:p>
        </p:txBody>
      </p:sp>
      <p:sp>
        <p:nvSpPr>
          <p:cNvPr id="33" name="Oval 32">
            <a:extLst>
              <a:ext uri="{FF2B5EF4-FFF2-40B4-BE49-F238E27FC236}">
                <a16:creationId xmlns:a16="http://schemas.microsoft.com/office/drawing/2014/main" id="{7621CD17-A1CA-3447-AF7B-A4FB586182B9}"/>
              </a:ext>
            </a:extLst>
          </p:cNvPr>
          <p:cNvSpPr/>
          <p:nvPr/>
        </p:nvSpPr>
        <p:spPr>
          <a:xfrm>
            <a:off x="6190085" y="3035430"/>
            <a:ext cx="140677" cy="140677"/>
          </a:xfrm>
          <a:prstGeom prst="ellipse">
            <a:avLst/>
          </a:prstGeom>
          <a:solidFill>
            <a:srgbClr val="E2E2E2"/>
          </a:solidFill>
          <a:ln w="9525">
            <a:solidFill>
              <a:srgbClr val="0067B7"/>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a:solidFill>
                <a:srgbClr val="002D72"/>
              </a:solidFill>
              <a:latin typeface="Arial" pitchFamily="34" charset="0"/>
              <a:cs typeface="Arial" pitchFamily="34" charset="0"/>
            </a:endParaRPr>
          </a:p>
        </p:txBody>
      </p:sp>
      <p:cxnSp>
        <p:nvCxnSpPr>
          <p:cNvPr id="34" name="Straight Arrow Connector 33">
            <a:extLst>
              <a:ext uri="{FF2B5EF4-FFF2-40B4-BE49-F238E27FC236}">
                <a16:creationId xmlns:a16="http://schemas.microsoft.com/office/drawing/2014/main" id="{6D92EA02-C647-A344-B274-CBB237503568}"/>
              </a:ext>
            </a:extLst>
          </p:cNvPr>
          <p:cNvCxnSpPr>
            <a:cxnSpLocks/>
            <a:stCxn id="32" idx="2"/>
            <a:endCxn id="33" idx="0"/>
          </p:cNvCxnSpPr>
          <p:nvPr/>
        </p:nvCxnSpPr>
        <p:spPr>
          <a:xfrm flipH="1">
            <a:off x="6260424" y="2539951"/>
            <a:ext cx="9345" cy="495479"/>
          </a:xfrm>
          <a:prstGeom prst="straightConnector1">
            <a:avLst/>
          </a:prstGeom>
          <a:ln>
            <a:solidFill>
              <a:srgbClr val="0067B7"/>
            </a:solidFill>
            <a:tailEnd type="triangle"/>
          </a:ln>
        </p:spPr>
        <p:style>
          <a:lnRef idx="1">
            <a:schemeClr val="accent1"/>
          </a:lnRef>
          <a:fillRef idx="0">
            <a:schemeClr val="accent1"/>
          </a:fillRef>
          <a:effectRef idx="0">
            <a:schemeClr val="accent1"/>
          </a:effectRef>
          <a:fontRef idx="minor">
            <a:schemeClr val="tx1"/>
          </a:fontRef>
        </p:style>
      </p:cxnSp>
      <p:sp>
        <p:nvSpPr>
          <p:cNvPr id="35" name="Rectangle 34">
            <a:extLst>
              <a:ext uri="{FF2B5EF4-FFF2-40B4-BE49-F238E27FC236}">
                <a16:creationId xmlns:a16="http://schemas.microsoft.com/office/drawing/2014/main" id="{C955A218-C816-F64B-A711-B7C0216FFAA7}"/>
              </a:ext>
            </a:extLst>
          </p:cNvPr>
          <p:cNvSpPr/>
          <p:nvPr/>
        </p:nvSpPr>
        <p:spPr>
          <a:xfrm>
            <a:off x="4405033" y="2890351"/>
            <a:ext cx="877186" cy="466693"/>
          </a:xfrm>
          <a:prstGeom prst="rect">
            <a:avLst/>
          </a:prstGeom>
          <a:solidFill>
            <a:srgbClr val="E2E2E2"/>
          </a:solidFill>
          <a:ln w="9525">
            <a:solidFill>
              <a:schemeClr val="tx1">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800" dirty="0">
                <a:solidFill>
                  <a:srgbClr val="002D72"/>
                </a:solidFill>
                <a:latin typeface="Arial" pitchFamily="34" charset="0"/>
                <a:cs typeface="Arial" pitchFamily="34" charset="0"/>
              </a:rPr>
              <a:t>Producer command headers</a:t>
            </a:r>
          </a:p>
        </p:txBody>
      </p:sp>
      <p:sp>
        <p:nvSpPr>
          <p:cNvPr id="36" name="Rectangle 35">
            <a:extLst>
              <a:ext uri="{FF2B5EF4-FFF2-40B4-BE49-F238E27FC236}">
                <a16:creationId xmlns:a16="http://schemas.microsoft.com/office/drawing/2014/main" id="{442B40A1-1B9D-3D4B-A348-C74E9264605B}"/>
              </a:ext>
            </a:extLst>
          </p:cNvPr>
          <p:cNvSpPr/>
          <p:nvPr/>
        </p:nvSpPr>
        <p:spPr>
          <a:xfrm>
            <a:off x="5858087" y="4886901"/>
            <a:ext cx="804672" cy="369328"/>
          </a:xfrm>
          <a:prstGeom prst="rect">
            <a:avLst/>
          </a:prstGeom>
          <a:solidFill>
            <a:srgbClr val="E2E2E2"/>
          </a:solidFill>
          <a:ln w="9525">
            <a:solidFill>
              <a:schemeClr val="tx1">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800" dirty="0">
                <a:solidFill>
                  <a:srgbClr val="002D72"/>
                </a:solidFill>
                <a:latin typeface="Arial" pitchFamily="34" charset="0"/>
                <a:cs typeface="Arial" pitchFamily="34" charset="0"/>
              </a:rPr>
              <a:t>Adapter</a:t>
            </a:r>
          </a:p>
          <a:p>
            <a:pPr algn="ctr"/>
            <a:r>
              <a:rPr lang="en-US" sz="800" dirty="0">
                <a:solidFill>
                  <a:srgbClr val="002D72"/>
                </a:solidFill>
                <a:latin typeface="Arial" pitchFamily="34" charset="0"/>
                <a:cs typeface="Arial" pitchFamily="34" charset="0"/>
              </a:rPr>
              <a:t>Data Lake</a:t>
            </a:r>
          </a:p>
        </p:txBody>
      </p:sp>
      <p:sp>
        <p:nvSpPr>
          <p:cNvPr id="37" name="Rectangle 36">
            <a:extLst>
              <a:ext uri="{FF2B5EF4-FFF2-40B4-BE49-F238E27FC236}">
                <a16:creationId xmlns:a16="http://schemas.microsoft.com/office/drawing/2014/main" id="{1E8C375F-A840-A947-9C05-29DD48E4DE38}"/>
              </a:ext>
            </a:extLst>
          </p:cNvPr>
          <p:cNvSpPr/>
          <p:nvPr/>
        </p:nvSpPr>
        <p:spPr>
          <a:xfrm>
            <a:off x="4359698" y="4135045"/>
            <a:ext cx="877186" cy="466693"/>
          </a:xfrm>
          <a:prstGeom prst="rect">
            <a:avLst/>
          </a:prstGeom>
          <a:solidFill>
            <a:srgbClr val="E2E2E2"/>
          </a:solidFill>
          <a:ln w="9525">
            <a:solidFill>
              <a:schemeClr val="tx1">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800" dirty="0">
                <a:solidFill>
                  <a:srgbClr val="002D72"/>
                </a:solidFill>
                <a:latin typeface="Arial" pitchFamily="34" charset="0"/>
                <a:cs typeface="Arial" pitchFamily="34" charset="0"/>
              </a:rPr>
              <a:t>Domain event publisher adapter</a:t>
            </a:r>
          </a:p>
        </p:txBody>
      </p:sp>
      <p:sp>
        <p:nvSpPr>
          <p:cNvPr id="38" name="Google Shape;61;p12">
            <a:extLst>
              <a:ext uri="{FF2B5EF4-FFF2-40B4-BE49-F238E27FC236}">
                <a16:creationId xmlns:a16="http://schemas.microsoft.com/office/drawing/2014/main" id="{FD44C1B7-C7E3-CA4B-A3BD-3375D1D2D8B9}"/>
              </a:ext>
            </a:extLst>
          </p:cNvPr>
          <p:cNvSpPr txBox="1">
            <a:spLocks/>
          </p:cNvSpPr>
          <p:nvPr/>
        </p:nvSpPr>
        <p:spPr>
          <a:xfrm>
            <a:off x="6311281" y="1644500"/>
            <a:ext cx="1610960" cy="275128"/>
          </a:xfrm>
          <a:prstGeom prst="rect">
            <a:avLst/>
          </a:prstGeom>
        </p:spPr>
        <p:txBody>
          <a:bodyPr spcFirstLastPara="1" vert="horz" wrap="square" lIns="91425" tIns="91425" rIns="91425" bIns="91425" rtlCol="0" anchor="ctr"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spcBef>
                <a:spcPts val="0"/>
              </a:spcBef>
            </a:pPr>
            <a:r>
              <a:rPr lang="en-US" sz="1000" dirty="0">
                <a:solidFill>
                  <a:schemeClr val="tx1">
                    <a:lumMod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POST] /message </a:t>
            </a:r>
          </a:p>
        </p:txBody>
      </p:sp>
      <p:sp>
        <p:nvSpPr>
          <p:cNvPr id="39" name="Google Shape;61;p12">
            <a:extLst>
              <a:ext uri="{FF2B5EF4-FFF2-40B4-BE49-F238E27FC236}">
                <a16:creationId xmlns:a16="http://schemas.microsoft.com/office/drawing/2014/main" id="{2AC5EA57-30C9-5D44-8B09-5CE0EE007FDA}"/>
              </a:ext>
            </a:extLst>
          </p:cNvPr>
          <p:cNvSpPr txBox="1">
            <a:spLocks/>
          </p:cNvSpPr>
          <p:nvPr/>
        </p:nvSpPr>
        <p:spPr>
          <a:xfrm>
            <a:off x="6625005" y="1816346"/>
            <a:ext cx="983512" cy="275128"/>
          </a:xfrm>
          <a:prstGeom prst="rect">
            <a:avLst/>
          </a:prstGeom>
        </p:spPr>
        <p:txBody>
          <a:bodyPr spcFirstLastPara="1" vert="horz" wrap="square" lIns="91425" tIns="91425" rIns="91425" bIns="91425" rtlCol="0" anchor="ctr"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spcBef>
                <a:spcPts val="0"/>
              </a:spcBef>
            </a:pPr>
            <a:r>
              <a:rPr lang="en-US" sz="1000" dirty="0">
                <a:solidFill>
                  <a:schemeClr val="tx1">
                    <a:lumMod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GET] /message/Id </a:t>
            </a:r>
          </a:p>
        </p:txBody>
      </p:sp>
      <p:cxnSp>
        <p:nvCxnSpPr>
          <p:cNvPr id="41" name="Curved Connector 40">
            <a:extLst>
              <a:ext uri="{FF2B5EF4-FFF2-40B4-BE49-F238E27FC236}">
                <a16:creationId xmlns:a16="http://schemas.microsoft.com/office/drawing/2014/main" id="{B2BD7CFD-4A39-604A-A571-E232FB46B74C}"/>
              </a:ext>
            </a:extLst>
          </p:cNvPr>
          <p:cNvCxnSpPr>
            <a:cxnSpLocks/>
            <a:stCxn id="31" idx="3"/>
            <a:endCxn id="32" idx="1"/>
          </p:cNvCxnSpPr>
          <p:nvPr/>
        </p:nvCxnSpPr>
        <p:spPr>
          <a:xfrm>
            <a:off x="3553535" y="2122030"/>
            <a:ext cx="2313898" cy="233257"/>
          </a:xfrm>
          <a:prstGeom prst="curvedConnector3">
            <a:avLst>
              <a:gd name="adj1" fmla="val 50000"/>
            </a:avLst>
          </a:prstGeom>
          <a:ln>
            <a:solidFill>
              <a:srgbClr val="0067B7"/>
            </a:solidFill>
            <a:tailEnd type="triangle"/>
          </a:ln>
        </p:spPr>
        <p:style>
          <a:lnRef idx="1">
            <a:schemeClr val="accent1"/>
          </a:lnRef>
          <a:fillRef idx="0">
            <a:schemeClr val="accent1"/>
          </a:fillRef>
          <a:effectRef idx="0">
            <a:schemeClr val="accent1"/>
          </a:effectRef>
          <a:fontRef idx="minor">
            <a:schemeClr val="tx1"/>
          </a:fontRef>
        </p:style>
      </p:cxnSp>
      <p:cxnSp>
        <p:nvCxnSpPr>
          <p:cNvPr id="42" name="Curved Connector 41">
            <a:extLst>
              <a:ext uri="{FF2B5EF4-FFF2-40B4-BE49-F238E27FC236}">
                <a16:creationId xmlns:a16="http://schemas.microsoft.com/office/drawing/2014/main" id="{1ACCEB1D-AC22-1846-A145-865E70C5F8E5}"/>
              </a:ext>
            </a:extLst>
          </p:cNvPr>
          <p:cNvCxnSpPr>
            <a:cxnSpLocks/>
            <a:stCxn id="31" idx="3"/>
            <a:endCxn id="35" idx="0"/>
          </p:cNvCxnSpPr>
          <p:nvPr/>
        </p:nvCxnSpPr>
        <p:spPr>
          <a:xfrm>
            <a:off x="3553535" y="2122030"/>
            <a:ext cx="1290091" cy="768321"/>
          </a:xfrm>
          <a:prstGeom prst="curvedConnector2">
            <a:avLst/>
          </a:prstGeom>
          <a:ln>
            <a:solidFill>
              <a:srgbClr val="0067B7"/>
            </a:solidFill>
            <a:tailEnd type="triangle"/>
          </a:ln>
        </p:spPr>
        <p:style>
          <a:lnRef idx="1">
            <a:schemeClr val="accent1"/>
          </a:lnRef>
          <a:fillRef idx="0">
            <a:schemeClr val="accent1"/>
          </a:fillRef>
          <a:effectRef idx="0">
            <a:schemeClr val="accent1"/>
          </a:effectRef>
          <a:fontRef idx="minor">
            <a:schemeClr val="tx1"/>
          </a:fontRef>
        </p:style>
      </p:cxnSp>
      <p:sp>
        <p:nvSpPr>
          <p:cNvPr id="43" name="Google Shape;61;p12">
            <a:extLst>
              <a:ext uri="{FF2B5EF4-FFF2-40B4-BE49-F238E27FC236}">
                <a16:creationId xmlns:a16="http://schemas.microsoft.com/office/drawing/2014/main" id="{E49B159A-A777-2A43-97A9-6CA7DFD75F4D}"/>
              </a:ext>
            </a:extLst>
          </p:cNvPr>
          <p:cNvSpPr txBox="1">
            <a:spLocks/>
          </p:cNvSpPr>
          <p:nvPr/>
        </p:nvSpPr>
        <p:spPr>
          <a:xfrm>
            <a:off x="2539624" y="5469224"/>
            <a:ext cx="1290091" cy="297585"/>
          </a:xfrm>
          <a:prstGeom prst="rect">
            <a:avLst/>
          </a:prstGeom>
        </p:spPr>
        <p:txBody>
          <a:bodyPr spcFirstLastPara="1" vert="horz" wrap="square" lIns="91425" tIns="91425" rIns="91425" bIns="91425" rtlCol="0" anchor="ctr"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spcBef>
                <a:spcPts val="0"/>
              </a:spcBef>
            </a:pPr>
            <a:r>
              <a:rPr lang="en-US" sz="1100" b="1" dirty="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Outbound adapters</a:t>
            </a:r>
          </a:p>
        </p:txBody>
      </p:sp>
      <p:cxnSp>
        <p:nvCxnSpPr>
          <p:cNvPr id="45" name="Curved Connector 44">
            <a:extLst>
              <a:ext uri="{FF2B5EF4-FFF2-40B4-BE49-F238E27FC236}">
                <a16:creationId xmlns:a16="http://schemas.microsoft.com/office/drawing/2014/main" id="{FB925C8B-B4AD-564C-A7AE-AC25DEB6ADB0}"/>
              </a:ext>
            </a:extLst>
          </p:cNvPr>
          <p:cNvCxnSpPr>
            <a:cxnSpLocks/>
            <a:stCxn id="43" idx="3"/>
            <a:endCxn id="36" idx="2"/>
          </p:cNvCxnSpPr>
          <p:nvPr/>
        </p:nvCxnSpPr>
        <p:spPr>
          <a:xfrm flipV="1">
            <a:off x="3829715" y="5256229"/>
            <a:ext cx="2430708" cy="361788"/>
          </a:xfrm>
          <a:prstGeom prst="curvedConnector2">
            <a:avLst/>
          </a:prstGeom>
          <a:ln>
            <a:solidFill>
              <a:srgbClr val="0067B7"/>
            </a:solidFill>
            <a:tailEnd type="triangle"/>
          </a:ln>
        </p:spPr>
        <p:style>
          <a:lnRef idx="1">
            <a:schemeClr val="accent1"/>
          </a:lnRef>
          <a:fillRef idx="0">
            <a:schemeClr val="accent1"/>
          </a:fillRef>
          <a:effectRef idx="0">
            <a:schemeClr val="accent1"/>
          </a:effectRef>
          <a:fontRef idx="minor">
            <a:schemeClr val="tx1"/>
          </a:fontRef>
        </p:style>
      </p:cxnSp>
      <p:cxnSp>
        <p:nvCxnSpPr>
          <p:cNvPr id="46" name="Curved Connector 45">
            <a:extLst>
              <a:ext uri="{FF2B5EF4-FFF2-40B4-BE49-F238E27FC236}">
                <a16:creationId xmlns:a16="http://schemas.microsoft.com/office/drawing/2014/main" id="{A68962C8-878A-2D4E-B018-1A613D4CFA97}"/>
              </a:ext>
            </a:extLst>
          </p:cNvPr>
          <p:cNvCxnSpPr>
            <a:cxnSpLocks/>
            <a:stCxn id="43" idx="3"/>
            <a:endCxn id="37" idx="2"/>
          </p:cNvCxnSpPr>
          <p:nvPr/>
        </p:nvCxnSpPr>
        <p:spPr>
          <a:xfrm flipV="1">
            <a:off x="3829715" y="4601738"/>
            <a:ext cx="968576" cy="1016279"/>
          </a:xfrm>
          <a:prstGeom prst="curvedConnector2">
            <a:avLst/>
          </a:prstGeom>
          <a:ln>
            <a:solidFill>
              <a:srgbClr val="0067B7"/>
            </a:solidFill>
            <a:tailEnd type="triangle"/>
          </a:ln>
        </p:spPr>
        <p:style>
          <a:lnRef idx="1">
            <a:schemeClr val="accent1"/>
          </a:lnRef>
          <a:fillRef idx="0">
            <a:schemeClr val="accent1"/>
          </a:fillRef>
          <a:effectRef idx="0">
            <a:schemeClr val="accent1"/>
          </a:effectRef>
          <a:fontRef idx="minor">
            <a:schemeClr val="tx1"/>
          </a:fontRef>
        </p:style>
      </p:cxnSp>
      <p:cxnSp>
        <p:nvCxnSpPr>
          <p:cNvPr id="47" name="Straight Arrow Connector 46">
            <a:extLst>
              <a:ext uri="{FF2B5EF4-FFF2-40B4-BE49-F238E27FC236}">
                <a16:creationId xmlns:a16="http://schemas.microsoft.com/office/drawing/2014/main" id="{A8C07312-B022-434B-B237-0EB2B5A623D8}"/>
              </a:ext>
            </a:extLst>
          </p:cNvPr>
          <p:cNvCxnSpPr>
            <a:cxnSpLocks/>
            <a:endCxn id="32" idx="0"/>
          </p:cNvCxnSpPr>
          <p:nvPr/>
        </p:nvCxnSpPr>
        <p:spPr>
          <a:xfrm>
            <a:off x="6269769" y="1606619"/>
            <a:ext cx="0" cy="564004"/>
          </a:xfrm>
          <a:prstGeom prst="straightConnector1">
            <a:avLst/>
          </a:prstGeom>
          <a:ln>
            <a:solidFill>
              <a:srgbClr val="0067B7"/>
            </a:solidFill>
            <a:tailEnd type="triangle"/>
          </a:ln>
        </p:spPr>
        <p:style>
          <a:lnRef idx="1">
            <a:schemeClr val="accent1"/>
          </a:lnRef>
          <a:fillRef idx="0">
            <a:schemeClr val="accent1"/>
          </a:fillRef>
          <a:effectRef idx="0">
            <a:schemeClr val="accent1"/>
          </a:effectRef>
          <a:fontRef idx="minor">
            <a:schemeClr val="tx1"/>
          </a:fontRef>
        </p:style>
      </p:cxnSp>
      <p:sp>
        <p:nvSpPr>
          <p:cNvPr id="48" name="Google Shape;61;p12">
            <a:extLst>
              <a:ext uri="{FF2B5EF4-FFF2-40B4-BE49-F238E27FC236}">
                <a16:creationId xmlns:a16="http://schemas.microsoft.com/office/drawing/2014/main" id="{38BAFC88-545B-134F-8F1E-A4397DDA070D}"/>
              </a:ext>
            </a:extLst>
          </p:cNvPr>
          <p:cNvSpPr txBox="1">
            <a:spLocks/>
          </p:cNvSpPr>
          <p:nvPr/>
        </p:nvSpPr>
        <p:spPr>
          <a:xfrm>
            <a:off x="5837288" y="1309034"/>
            <a:ext cx="881341" cy="297585"/>
          </a:xfrm>
          <a:prstGeom prst="rect">
            <a:avLst/>
          </a:prstGeom>
          <a:solidFill>
            <a:srgbClr val="C5277F"/>
          </a:solidFill>
          <a:ln>
            <a:solidFill>
              <a:srgbClr val="C5277F"/>
            </a:solidFill>
          </a:ln>
        </p:spPr>
        <p:txBody>
          <a:bodyPr spcFirstLastPara="1" vert="horz" wrap="square" lIns="91425" tIns="91425" rIns="91425" bIns="91425" rtlCol="0" anchor="ctr"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spcBef>
                <a:spcPts val="0"/>
              </a:spcBef>
            </a:pPr>
            <a:r>
              <a:rPr lang="en-US" sz="1400" dirty="0">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Client</a:t>
            </a:r>
          </a:p>
        </p:txBody>
      </p:sp>
      <p:cxnSp>
        <p:nvCxnSpPr>
          <p:cNvPr id="49" name="Straight Arrow Connector 48">
            <a:extLst>
              <a:ext uri="{FF2B5EF4-FFF2-40B4-BE49-F238E27FC236}">
                <a16:creationId xmlns:a16="http://schemas.microsoft.com/office/drawing/2014/main" id="{43515509-B313-F64F-BFB2-419B89E2FA50}"/>
              </a:ext>
            </a:extLst>
          </p:cNvPr>
          <p:cNvCxnSpPr>
            <a:cxnSpLocks/>
            <a:stCxn id="35" idx="2"/>
            <a:endCxn id="50" idx="2"/>
          </p:cNvCxnSpPr>
          <p:nvPr/>
        </p:nvCxnSpPr>
        <p:spPr>
          <a:xfrm>
            <a:off x="4843626" y="3357044"/>
            <a:ext cx="540223" cy="119399"/>
          </a:xfrm>
          <a:prstGeom prst="straightConnector1">
            <a:avLst/>
          </a:prstGeom>
          <a:ln>
            <a:solidFill>
              <a:srgbClr val="0067B7"/>
            </a:solidFill>
            <a:tailEnd type="triangle"/>
          </a:ln>
        </p:spPr>
        <p:style>
          <a:lnRef idx="1">
            <a:schemeClr val="accent1"/>
          </a:lnRef>
          <a:fillRef idx="0">
            <a:schemeClr val="accent1"/>
          </a:fillRef>
          <a:effectRef idx="0">
            <a:schemeClr val="accent1"/>
          </a:effectRef>
          <a:fontRef idx="minor">
            <a:schemeClr val="tx1"/>
          </a:fontRef>
        </p:style>
      </p:cxnSp>
      <p:sp>
        <p:nvSpPr>
          <p:cNvPr id="50" name="Oval 49">
            <a:extLst>
              <a:ext uri="{FF2B5EF4-FFF2-40B4-BE49-F238E27FC236}">
                <a16:creationId xmlns:a16="http://schemas.microsoft.com/office/drawing/2014/main" id="{A0270647-93F5-2C4D-BC76-783B001DE165}"/>
              </a:ext>
            </a:extLst>
          </p:cNvPr>
          <p:cNvSpPr/>
          <p:nvPr/>
        </p:nvSpPr>
        <p:spPr>
          <a:xfrm>
            <a:off x="5383849" y="3406104"/>
            <a:ext cx="140677" cy="140677"/>
          </a:xfrm>
          <a:prstGeom prst="ellipse">
            <a:avLst/>
          </a:prstGeom>
          <a:solidFill>
            <a:srgbClr val="E2E2E2"/>
          </a:solidFill>
          <a:ln w="9525">
            <a:solidFill>
              <a:srgbClr val="0067B7"/>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a:solidFill>
                <a:srgbClr val="002D72"/>
              </a:solidFill>
              <a:latin typeface="Arial" pitchFamily="34" charset="0"/>
              <a:cs typeface="Arial" pitchFamily="34" charset="0"/>
            </a:endParaRPr>
          </a:p>
        </p:txBody>
      </p:sp>
      <p:sp>
        <p:nvSpPr>
          <p:cNvPr id="51" name="Oval 50">
            <a:extLst>
              <a:ext uri="{FF2B5EF4-FFF2-40B4-BE49-F238E27FC236}">
                <a16:creationId xmlns:a16="http://schemas.microsoft.com/office/drawing/2014/main" id="{EC3A269D-D6F2-1D4D-B1CE-E130FA546AFC}"/>
              </a:ext>
            </a:extLst>
          </p:cNvPr>
          <p:cNvSpPr/>
          <p:nvPr/>
        </p:nvSpPr>
        <p:spPr>
          <a:xfrm>
            <a:off x="5492414" y="4241231"/>
            <a:ext cx="140677" cy="140677"/>
          </a:xfrm>
          <a:prstGeom prst="ellipse">
            <a:avLst/>
          </a:prstGeom>
          <a:solidFill>
            <a:srgbClr val="E2E2E2"/>
          </a:solidFill>
          <a:ln w="9525">
            <a:solidFill>
              <a:srgbClr val="0067B7"/>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a:solidFill>
                <a:srgbClr val="002D72"/>
              </a:solidFill>
              <a:latin typeface="Arial" pitchFamily="34" charset="0"/>
              <a:cs typeface="Arial" pitchFamily="34" charset="0"/>
            </a:endParaRPr>
          </a:p>
        </p:txBody>
      </p:sp>
      <p:cxnSp>
        <p:nvCxnSpPr>
          <p:cNvPr id="52" name="Straight Arrow Connector 51">
            <a:extLst>
              <a:ext uri="{FF2B5EF4-FFF2-40B4-BE49-F238E27FC236}">
                <a16:creationId xmlns:a16="http://schemas.microsoft.com/office/drawing/2014/main" id="{D426BF43-B6A1-BA46-9A38-178886FFF535}"/>
              </a:ext>
            </a:extLst>
          </p:cNvPr>
          <p:cNvCxnSpPr>
            <a:cxnSpLocks/>
            <a:stCxn id="37" idx="3"/>
            <a:endCxn id="51" idx="2"/>
          </p:cNvCxnSpPr>
          <p:nvPr/>
        </p:nvCxnSpPr>
        <p:spPr>
          <a:xfrm flipV="1">
            <a:off x="5236884" y="4311570"/>
            <a:ext cx="255530" cy="56822"/>
          </a:xfrm>
          <a:prstGeom prst="straightConnector1">
            <a:avLst/>
          </a:prstGeom>
          <a:ln>
            <a:solidFill>
              <a:srgbClr val="0067B7"/>
            </a:solidFill>
            <a:tailEnd type="triangle"/>
          </a:ln>
        </p:spPr>
        <p:style>
          <a:lnRef idx="1">
            <a:schemeClr val="accent1"/>
          </a:lnRef>
          <a:fillRef idx="0">
            <a:schemeClr val="accent1"/>
          </a:fillRef>
          <a:effectRef idx="0">
            <a:schemeClr val="accent1"/>
          </a:effectRef>
          <a:fontRef idx="minor">
            <a:schemeClr val="tx1"/>
          </a:fontRef>
        </p:style>
      </p:cxnSp>
      <p:sp>
        <p:nvSpPr>
          <p:cNvPr id="54" name="Oval 53">
            <a:extLst>
              <a:ext uri="{FF2B5EF4-FFF2-40B4-BE49-F238E27FC236}">
                <a16:creationId xmlns:a16="http://schemas.microsoft.com/office/drawing/2014/main" id="{53744708-178B-B046-8D09-AD530C828F0E}"/>
              </a:ext>
            </a:extLst>
          </p:cNvPr>
          <p:cNvSpPr/>
          <p:nvPr/>
        </p:nvSpPr>
        <p:spPr>
          <a:xfrm>
            <a:off x="6199430" y="4461061"/>
            <a:ext cx="140677" cy="140677"/>
          </a:xfrm>
          <a:prstGeom prst="ellipse">
            <a:avLst/>
          </a:prstGeom>
          <a:solidFill>
            <a:srgbClr val="E2E2E2"/>
          </a:solidFill>
          <a:ln w="9525">
            <a:solidFill>
              <a:srgbClr val="0067B7"/>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a:solidFill>
                <a:srgbClr val="002D72"/>
              </a:solidFill>
              <a:latin typeface="Arial" pitchFamily="34" charset="0"/>
              <a:cs typeface="Arial" pitchFamily="34" charset="0"/>
            </a:endParaRPr>
          </a:p>
        </p:txBody>
      </p:sp>
      <p:cxnSp>
        <p:nvCxnSpPr>
          <p:cNvPr id="56" name="Straight Arrow Connector 55">
            <a:extLst>
              <a:ext uri="{FF2B5EF4-FFF2-40B4-BE49-F238E27FC236}">
                <a16:creationId xmlns:a16="http://schemas.microsoft.com/office/drawing/2014/main" id="{FFC7E865-2981-E14C-B36B-5B4C2BF3CC5A}"/>
              </a:ext>
            </a:extLst>
          </p:cNvPr>
          <p:cNvCxnSpPr>
            <a:cxnSpLocks/>
            <a:stCxn id="36" idx="0"/>
            <a:endCxn id="54" idx="4"/>
          </p:cNvCxnSpPr>
          <p:nvPr/>
        </p:nvCxnSpPr>
        <p:spPr>
          <a:xfrm flipV="1">
            <a:off x="6260423" y="4601738"/>
            <a:ext cx="9346" cy="285163"/>
          </a:xfrm>
          <a:prstGeom prst="straightConnector1">
            <a:avLst/>
          </a:prstGeom>
          <a:ln>
            <a:solidFill>
              <a:srgbClr val="0067B7"/>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61027014"/>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8" name="Rectangle 3"/>
          <p:cNvSpPr txBox="1"/>
          <p:nvPr/>
        </p:nvSpPr>
        <p:spPr>
          <a:xfrm>
            <a:off x="377375" y="524553"/>
            <a:ext cx="8037160" cy="369328"/>
          </a:xfrm>
          <a:prstGeom prst="rect">
            <a:avLst/>
          </a:prstGeom>
          <a:ln w="12700">
            <a:miter lim="400000"/>
          </a:ln>
          <a:extLst>
            <a:ext uri="{C572A759-6A51-4108-AA02-DFA0A04FC94B}">
              <ma14:wrappingTextBoxFlag xmlns="" xmlns:ma14="http://schemas.microsoft.com/office/mac/drawingml/2011/main" val="1"/>
            </a:ext>
          </a:extLst>
        </p:spPr>
        <p:txBody>
          <a:bodyPr wrap="square" lIns="45718" tIns="45718" rIns="45718" bIns="45718">
            <a:spAutoFit/>
          </a:bodyPr>
          <a:lstStyle>
            <a:lvl1pPr algn="l" defTabSz="914400">
              <a:defRPr sz="2000">
                <a:solidFill>
                  <a:srgbClr val="104D6A"/>
                </a:solidFill>
                <a:latin typeface="Arial"/>
                <a:ea typeface="Arial"/>
                <a:cs typeface="Arial"/>
                <a:sym typeface="Arial"/>
              </a:defRPr>
            </a:lvl1pPr>
          </a:lstStyle>
          <a:p>
            <a:pPr lvl="0">
              <a:defRPr/>
            </a:pPr>
            <a:r>
              <a:rPr lang="en-US" sz="1800" b="1" dirty="0">
                <a:solidFill>
                  <a:srgbClr val="73C4EF"/>
                </a:solidFill>
              </a:rPr>
              <a:t> Event Hub Architecture -  Internal Structure Of </a:t>
            </a:r>
            <a:r>
              <a:rPr lang="en-US" sz="1800" b="1" dirty="0" err="1">
                <a:solidFill>
                  <a:srgbClr val="73C4EF"/>
                </a:solidFill>
              </a:rPr>
              <a:t>ProducerService</a:t>
            </a:r>
            <a:r>
              <a:rPr lang="en-US" sz="1800" b="1" dirty="0">
                <a:solidFill>
                  <a:srgbClr val="73C4EF"/>
                </a:solidFill>
              </a:rPr>
              <a:t> II</a:t>
            </a:r>
          </a:p>
        </p:txBody>
      </p:sp>
      <p:sp>
        <p:nvSpPr>
          <p:cNvPr id="5" name="Rectangle 3">
            <a:extLst>
              <a:ext uri="{FF2B5EF4-FFF2-40B4-BE49-F238E27FC236}">
                <a16:creationId xmlns:a16="http://schemas.microsoft.com/office/drawing/2014/main" id="{F3BCF96F-43FE-3A4D-B4EC-B79E124C9963}"/>
              </a:ext>
            </a:extLst>
          </p:cNvPr>
          <p:cNvSpPr txBox="1"/>
          <p:nvPr/>
        </p:nvSpPr>
        <p:spPr>
          <a:xfrm>
            <a:off x="404806" y="92199"/>
            <a:ext cx="7585857" cy="400105"/>
          </a:xfrm>
          <a:prstGeom prst="rect">
            <a:avLst/>
          </a:prstGeom>
          <a:ln w="12700">
            <a:miter lim="400000"/>
          </a:ln>
          <a:extLst>
            <a:ext uri="{C572A759-6A51-4108-AA02-DFA0A04FC94B}">
              <ma14:wrappingTextBoxFlag xmlns:ma14="http://schemas.microsoft.com/office/mac/drawingml/2011/main" xmlns="" val="1"/>
            </a:ext>
          </a:extLst>
        </p:spPr>
        <p:txBody>
          <a:bodyPr wrap="square" lIns="45718" tIns="45718" rIns="45718" bIns="45718">
            <a:spAutoFit/>
          </a:bodyPr>
          <a:lstStyle>
            <a:lvl1pPr algn="l" defTabSz="914400">
              <a:defRPr sz="2200" b="1">
                <a:solidFill>
                  <a:srgbClr val="FFFFFF"/>
                </a:solidFill>
                <a:latin typeface="Arial"/>
                <a:ea typeface="Arial"/>
                <a:cs typeface="Arial"/>
                <a:sym typeface="Arial"/>
              </a:defRPr>
            </a:lvl1pPr>
          </a:lstStyle>
          <a:p>
            <a:r>
              <a:rPr lang="en-US" sz="2000" dirty="0">
                <a:solidFill>
                  <a:srgbClr val="016AA2"/>
                </a:solidFill>
              </a:rPr>
              <a:t>Needs and Solution Proposal (XIII)</a:t>
            </a:r>
          </a:p>
        </p:txBody>
      </p:sp>
      <p:sp>
        <p:nvSpPr>
          <p:cNvPr id="40" name="Rectangle 39">
            <a:extLst>
              <a:ext uri="{FF2B5EF4-FFF2-40B4-BE49-F238E27FC236}">
                <a16:creationId xmlns:a16="http://schemas.microsoft.com/office/drawing/2014/main" id="{524A142C-C397-B947-85D3-6AECD9D18004}"/>
              </a:ext>
            </a:extLst>
          </p:cNvPr>
          <p:cNvSpPr/>
          <p:nvPr/>
        </p:nvSpPr>
        <p:spPr>
          <a:xfrm>
            <a:off x="505394" y="911016"/>
            <a:ext cx="11155776" cy="3162404"/>
          </a:xfrm>
          <a:prstGeom prst="rect">
            <a:avLst/>
          </a:prstGeom>
        </p:spPr>
        <p:txBody>
          <a:bodyPr wrap="square">
            <a:spAutoFit/>
          </a:bodyPr>
          <a:lstStyle/>
          <a:p>
            <a:r>
              <a:rPr lang="en-US" sz="1050" dirty="0">
                <a:solidFill>
                  <a:srgbClr val="C5277F"/>
                </a:solidFill>
                <a:latin typeface="Comic Sans MS" panose="030F0902030302020204" pitchFamily="66" charset="0"/>
                <a:ea typeface="Nanum Pen Script" panose="03040600000000000000" pitchFamily="66" charset="-127"/>
              </a:rPr>
              <a:t>Parameters: </a:t>
            </a:r>
          </a:p>
          <a:p>
            <a:r>
              <a:rPr lang="en-US" sz="1050" dirty="0" err="1">
                <a:solidFill>
                  <a:srgbClr val="0067B7"/>
                </a:solidFill>
                <a:latin typeface="Comic Sans MS" panose="030F0902030302020204" pitchFamily="66" charset="0"/>
                <a:ea typeface="Nanum Pen Script" panose="03040600000000000000" pitchFamily="66" charset="-127"/>
              </a:rPr>
              <a:t>topic_name</a:t>
            </a:r>
            <a:r>
              <a:rPr lang="en-US" sz="1050" dirty="0">
                <a:solidFill>
                  <a:srgbClr val="0067B7"/>
                </a:solidFill>
                <a:latin typeface="Comic Sans MS" panose="030F0902030302020204" pitchFamily="66" charset="0"/>
                <a:ea typeface="Nanum Pen Script" panose="03040600000000000000" pitchFamily="66" charset="-127"/>
              </a:rPr>
              <a:t> (string) -- Topic to produce the messages to</a:t>
            </a:r>
          </a:p>
          <a:p>
            <a:r>
              <a:rPr lang="en-US" sz="1050" dirty="0" err="1">
                <a:solidFill>
                  <a:srgbClr val="0067B7"/>
                </a:solidFill>
                <a:latin typeface="Comic Sans MS" panose="030F0902030302020204" pitchFamily="66" charset="0"/>
                <a:ea typeface="Nanum Pen Script" panose="03040600000000000000" pitchFamily="66" charset="-127"/>
              </a:rPr>
              <a:t>partition_id</a:t>
            </a:r>
            <a:r>
              <a:rPr lang="en-US" sz="1050" dirty="0">
                <a:solidFill>
                  <a:srgbClr val="0067B7"/>
                </a:solidFill>
                <a:latin typeface="Comic Sans MS" panose="030F0902030302020204" pitchFamily="66" charset="0"/>
                <a:ea typeface="Nanum Pen Script" panose="03040600000000000000" pitchFamily="66" charset="-127"/>
              </a:rPr>
              <a:t> (int) -- Partition to produce the messages to</a:t>
            </a:r>
          </a:p>
          <a:p>
            <a:r>
              <a:rPr lang="en-US" sz="1050" dirty="0" err="1">
                <a:solidFill>
                  <a:srgbClr val="0067B7"/>
                </a:solidFill>
                <a:latin typeface="Comic Sans MS" panose="030F0902030302020204" pitchFamily="66" charset="0"/>
                <a:ea typeface="Nanum Pen Script" panose="03040600000000000000" pitchFamily="66" charset="-127"/>
              </a:rPr>
              <a:t>producer_system_id</a:t>
            </a:r>
            <a:r>
              <a:rPr lang="en-US" sz="1050" dirty="0">
                <a:solidFill>
                  <a:srgbClr val="0067B7"/>
                </a:solidFill>
                <a:latin typeface="Comic Sans MS" panose="030F0902030302020204" pitchFamily="66" charset="0"/>
                <a:ea typeface="Nanum Pen Script" panose="03040600000000000000" pitchFamily="66" charset="-127"/>
              </a:rPr>
              <a:t> –- id system that send message to Kafka</a:t>
            </a:r>
          </a:p>
          <a:p>
            <a:r>
              <a:rPr lang="en-US" sz="1050" dirty="0" err="1">
                <a:solidFill>
                  <a:srgbClr val="0067B7"/>
                </a:solidFill>
                <a:latin typeface="Comic Sans MS" panose="030F0902030302020204" pitchFamily="66" charset="0"/>
                <a:ea typeface="Nanum Pen Script" panose="03040600000000000000" pitchFamily="66" charset="-127"/>
              </a:rPr>
              <a:t>producer_name_system</a:t>
            </a:r>
            <a:r>
              <a:rPr lang="en-US" sz="1050" dirty="0">
                <a:solidFill>
                  <a:srgbClr val="0067B7"/>
                </a:solidFill>
                <a:latin typeface="Comic Sans MS" panose="030F0902030302020204" pitchFamily="66" charset="0"/>
                <a:ea typeface="Nanum Pen Script" panose="03040600000000000000" pitchFamily="66" charset="-127"/>
              </a:rPr>
              <a:t> – name system that send message to Kafka</a:t>
            </a:r>
          </a:p>
          <a:p>
            <a:endParaRPr lang="en-US" sz="1050" dirty="0">
              <a:solidFill>
                <a:srgbClr val="0067B7"/>
              </a:solidFill>
              <a:latin typeface="Comic Sans MS" panose="030F0902030302020204" pitchFamily="66" charset="0"/>
              <a:ea typeface="Nanum Pen Script" panose="03040600000000000000" pitchFamily="66" charset="-127"/>
            </a:endParaRPr>
          </a:p>
          <a:p>
            <a:endParaRPr lang="en-US" sz="1050" dirty="0">
              <a:solidFill>
                <a:srgbClr val="0067B7"/>
              </a:solidFill>
              <a:latin typeface="Comic Sans MS" panose="030F0902030302020204" pitchFamily="66" charset="0"/>
              <a:ea typeface="Nanum Pen Script" panose="03040600000000000000" pitchFamily="66" charset="-127"/>
            </a:endParaRPr>
          </a:p>
          <a:p>
            <a:r>
              <a:rPr lang="en-US" sz="1050" dirty="0">
                <a:solidFill>
                  <a:srgbClr val="C5277F"/>
                </a:solidFill>
                <a:latin typeface="Comic Sans MS" panose="030F0902030302020204" pitchFamily="66" charset="0"/>
                <a:ea typeface="Nanum Pen Script" panose="03040600000000000000" pitchFamily="66" charset="-127"/>
              </a:rPr>
              <a:t>Request JSON Object:</a:t>
            </a:r>
          </a:p>
          <a:p>
            <a:r>
              <a:rPr lang="en-US" sz="1050" dirty="0">
                <a:solidFill>
                  <a:srgbClr val="0067B7"/>
                </a:solidFill>
                <a:latin typeface="Comic Sans MS" panose="030F0902030302020204" pitchFamily="66" charset="0"/>
                <a:ea typeface="Nanum Pen Script" panose="03040600000000000000" pitchFamily="66" charset="-127"/>
              </a:rPr>
              <a:t> </a:t>
            </a:r>
            <a:r>
              <a:rPr lang="en-US" sz="1050" dirty="0" err="1">
                <a:solidFill>
                  <a:srgbClr val="0067B7"/>
                </a:solidFill>
                <a:latin typeface="Comic Sans MS" panose="030F0902030302020204" pitchFamily="66" charset="0"/>
                <a:ea typeface="Nanum Pen Script" panose="03040600000000000000" pitchFamily="66" charset="-127"/>
              </a:rPr>
              <a:t>key_schema</a:t>
            </a:r>
            <a:r>
              <a:rPr lang="en-US" sz="1050" dirty="0">
                <a:solidFill>
                  <a:srgbClr val="0067B7"/>
                </a:solidFill>
                <a:latin typeface="Comic Sans MS" panose="030F0902030302020204" pitchFamily="66" charset="0"/>
                <a:ea typeface="Nanum Pen Script" panose="03040600000000000000" pitchFamily="66" charset="-127"/>
              </a:rPr>
              <a:t> (string) -- Full schema encoded as a string (e.g. JSON serialized for Avro data)</a:t>
            </a:r>
          </a:p>
          <a:p>
            <a:r>
              <a:rPr lang="en-US" sz="1050" dirty="0">
                <a:solidFill>
                  <a:srgbClr val="0067B7"/>
                </a:solidFill>
                <a:latin typeface="Comic Sans MS" panose="030F0902030302020204" pitchFamily="66" charset="0"/>
                <a:ea typeface="Nanum Pen Script" panose="03040600000000000000" pitchFamily="66" charset="-127"/>
              </a:rPr>
              <a:t> </a:t>
            </a:r>
            <a:r>
              <a:rPr lang="en-US" sz="1050" dirty="0" err="1">
                <a:solidFill>
                  <a:srgbClr val="0067B7"/>
                </a:solidFill>
                <a:latin typeface="Comic Sans MS" panose="030F0902030302020204" pitchFamily="66" charset="0"/>
                <a:ea typeface="Nanum Pen Script" panose="03040600000000000000" pitchFamily="66" charset="-127"/>
              </a:rPr>
              <a:t>key_schema_id</a:t>
            </a:r>
            <a:r>
              <a:rPr lang="en-US" sz="1050" dirty="0">
                <a:solidFill>
                  <a:srgbClr val="0067B7"/>
                </a:solidFill>
                <a:latin typeface="Comic Sans MS" panose="030F0902030302020204" pitchFamily="66" charset="0"/>
                <a:ea typeface="Nanum Pen Script" panose="03040600000000000000" pitchFamily="66" charset="-127"/>
              </a:rPr>
              <a:t> (int) -- ID returned by a previous request using the same schema. This ID corresponds to the ID of the schema in the registry.</a:t>
            </a:r>
          </a:p>
          <a:p>
            <a:r>
              <a:rPr lang="en-US" sz="1050" dirty="0">
                <a:solidFill>
                  <a:srgbClr val="0067B7"/>
                </a:solidFill>
                <a:latin typeface="Comic Sans MS" panose="030F0902030302020204" pitchFamily="66" charset="0"/>
                <a:ea typeface="Nanum Pen Script" panose="03040600000000000000" pitchFamily="66" charset="-127"/>
              </a:rPr>
              <a:t> </a:t>
            </a:r>
            <a:r>
              <a:rPr lang="en-US" sz="1050" dirty="0" err="1">
                <a:solidFill>
                  <a:srgbClr val="0067B7"/>
                </a:solidFill>
                <a:latin typeface="Comic Sans MS" panose="030F0902030302020204" pitchFamily="66" charset="0"/>
                <a:ea typeface="Nanum Pen Script" panose="03040600000000000000" pitchFamily="66" charset="-127"/>
              </a:rPr>
              <a:t>value_schema</a:t>
            </a:r>
            <a:r>
              <a:rPr lang="en-US" sz="1050" dirty="0">
                <a:solidFill>
                  <a:srgbClr val="0067B7"/>
                </a:solidFill>
                <a:latin typeface="Comic Sans MS" panose="030F0902030302020204" pitchFamily="66" charset="0"/>
                <a:ea typeface="Nanum Pen Script" panose="03040600000000000000" pitchFamily="66" charset="-127"/>
              </a:rPr>
              <a:t> (string) -- Full schema encoded as a string (e.g. JSON serialized for Avro data)</a:t>
            </a:r>
          </a:p>
          <a:p>
            <a:r>
              <a:rPr lang="en-US" sz="1050" dirty="0">
                <a:solidFill>
                  <a:srgbClr val="0067B7"/>
                </a:solidFill>
                <a:latin typeface="Comic Sans MS" panose="030F0902030302020204" pitchFamily="66" charset="0"/>
                <a:ea typeface="Nanum Pen Script" panose="03040600000000000000" pitchFamily="66" charset="-127"/>
              </a:rPr>
              <a:t> </a:t>
            </a:r>
            <a:r>
              <a:rPr lang="en-US" sz="1050" dirty="0" err="1">
                <a:solidFill>
                  <a:srgbClr val="0067B7"/>
                </a:solidFill>
                <a:latin typeface="Comic Sans MS" panose="030F0902030302020204" pitchFamily="66" charset="0"/>
                <a:ea typeface="Nanum Pen Script" panose="03040600000000000000" pitchFamily="66" charset="-127"/>
              </a:rPr>
              <a:t>value_schema_id</a:t>
            </a:r>
            <a:r>
              <a:rPr lang="en-US" sz="1050" dirty="0">
                <a:solidFill>
                  <a:srgbClr val="0067B7"/>
                </a:solidFill>
                <a:latin typeface="Comic Sans MS" panose="030F0902030302020204" pitchFamily="66" charset="0"/>
                <a:ea typeface="Nanum Pen Script" panose="03040600000000000000" pitchFamily="66" charset="-127"/>
              </a:rPr>
              <a:t> (int) -- ID returned by a previous request using the same schema. This ID corresponds to the ID of the schema in the registry.</a:t>
            </a:r>
          </a:p>
          <a:p>
            <a:r>
              <a:rPr lang="en-US" sz="1050" dirty="0">
                <a:solidFill>
                  <a:srgbClr val="0067B7"/>
                </a:solidFill>
                <a:latin typeface="Comic Sans MS" panose="030F0902030302020204" pitchFamily="66" charset="0"/>
                <a:ea typeface="Nanum Pen Script" panose="03040600000000000000" pitchFamily="66" charset="-127"/>
              </a:rPr>
              <a:t> records -- A list of records to produce to the partition.</a:t>
            </a:r>
          </a:p>
          <a:p>
            <a:endParaRPr lang="en-US" sz="1050" dirty="0">
              <a:solidFill>
                <a:srgbClr val="0067B7"/>
              </a:solidFill>
              <a:latin typeface="Comic Sans MS" panose="030F0902030302020204" pitchFamily="66" charset="0"/>
              <a:ea typeface="Nanum Pen Script" panose="03040600000000000000" pitchFamily="66" charset="-127"/>
            </a:endParaRPr>
          </a:p>
          <a:p>
            <a:r>
              <a:rPr lang="en-US" sz="1050" dirty="0">
                <a:solidFill>
                  <a:srgbClr val="C5277F"/>
                </a:solidFill>
                <a:latin typeface="Comic Sans MS" panose="030F0902030302020204" pitchFamily="66" charset="0"/>
                <a:ea typeface="Nanum Pen Script" panose="03040600000000000000" pitchFamily="66" charset="-127"/>
              </a:rPr>
              <a:t>Request JSON Array of Objects:</a:t>
            </a:r>
          </a:p>
          <a:p>
            <a:r>
              <a:rPr lang="en-US" sz="1050" dirty="0">
                <a:solidFill>
                  <a:srgbClr val="0067B7"/>
                </a:solidFill>
                <a:latin typeface="Comic Sans MS" panose="030F0902030302020204" pitchFamily="66" charset="0"/>
                <a:ea typeface="Nanum Pen Script" panose="03040600000000000000" pitchFamily="66" charset="-127"/>
              </a:rPr>
              <a:t>records[</a:t>
            </a:r>
            <a:r>
              <a:rPr lang="en-US" sz="1050" dirty="0" err="1">
                <a:solidFill>
                  <a:srgbClr val="0067B7"/>
                </a:solidFill>
                <a:latin typeface="Comic Sans MS" panose="030F0902030302020204" pitchFamily="66" charset="0"/>
                <a:ea typeface="Nanum Pen Script" panose="03040600000000000000" pitchFamily="66" charset="-127"/>
              </a:rPr>
              <a:t>i</a:t>
            </a:r>
            <a:r>
              <a:rPr lang="en-US" sz="1050" dirty="0">
                <a:solidFill>
                  <a:srgbClr val="0067B7"/>
                </a:solidFill>
                <a:latin typeface="Comic Sans MS" panose="030F0902030302020204" pitchFamily="66" charset="0"/>
                <a:ea typeface="Nanum Pen Script" panose="03040600000000000000" pitchFamily="66" charset="-127"/>
              </a:rPr>
              <a:t>].key (object) -- The message key, formatted according to the embedded format, or null to omit a key (optional)</a:t>
            </a:r>
          </a:p>
          <a:p>
            <a:r>
              <a:rPr lang="en-US" sz="1050" dirty="0">
                <a:solidFill>
                  <a:srgbClr val="0067B7"/>
                </a:solidFill>
                <a:latin typeface="Comic Sans MS" panose="030F0902030302020204" pitchFamily="66" charset="0"/>
                <a:ea typeface="Nanum Pen Script" panose="03040600000000000000" pitchFamily="66" charset="-127"/>
              </a:rPr>
              <a:t>records[</a:t>
            </a:r>
            <a:r>
              <a:rPr lang="en-US" sz="1050" dirty="0" err="1">
                <a:solidFill>
                  <a:srgbClr val="0067B7"/>
                </a:solidFill>
                <a:latin typeface="Comic Sans MS" panose="030F0902030302020204" pitchFamily="66" charset="0"/>
                <a:ea typeface="Nanum Pen Script" panose="03040600000000000000" pitchFamily="66" charset="-127"/>
              </a:rPr>
              <a:t>i</a:t>
            </a:r>
            <a:r>
              <a:rPr lang="en-US" sz="1050" dirty="0">
                <a:solidFill>
                  <a:srgbClr val="0067B7"/>
                </a:solidFill>
                <a:latin typeface="Comic Sans MS" panose="030F0902030302020204" pitchFamily="66" charset="0"/>
                <a:ea typeface="Nanum Pen Script" panose="03040600000000000000" pitchFamily="66" charset="-127"/>
              </a:rPr>
              <a:t>].value (object) -- The message value, formatted according to the embedded format</a:t>
            </a:r>
          </a:p>
          <a:p>
            <a:endParaRPr lang="en-US" sz="1050" dirty="0">
              <a:solidFill>
                <a:srgbClr val="0067B7"/>
              </a:solidFill>
              <a:latin typeface="Comic Sans MS" panose="030F0902030302020204" pitchFamily="66" charset="0"/>
              <a:ea typeface="Nanum Pen Script" panose="03040600000000000000" pitchFamily="66" charset="-127"/>
            </a:endParaRPr>
          </a:p>
          <a:p>
            <a:endParaRPr lang="en-US" sz="1050" dirty="0">
              <a:solidFill>
                <a:srgbClr val="0067B7"/>
              </a:solidFill>
              <a:latin typeface="Comic Sans MS" panose="030F0902030302020204" pitchFamily="66" charset="0"/>
              <a:ea typeface="Nanum Pen Script" panose="03040600000000000000" pitchFamily="66" charset="-127"/>
            </a:endParaRPr>
          </a:p>
        </p:txBody>
      </p:sp>
      <p:sp>
        <p:nvSpPr>
          <p:cNvPr id="41" name="Rectangle 40">
            <a:extLst>
              <a:ext uri="{FF2B5EF4-FFF2-40B4-BE49-F238E27FC236}">
                <a16:creationId xmlns:a16="http://schemas.microsoft.com/office/drawing/2014/main" id="{F91148D2-AC41-CC4C-9179-1D2FC066434D}"/>
              </a:ext>
            </a:extLst>
          </p:cNvPr>
          <p:cNvSpPr/>
          <p:nvPr/>
        </p:nvSpPr>
        <p:spPr>
          <a:xfrm rot="19809890">
            <a:off x="3218689" y="2446126"/>
            <a:ext cx="4754880" cy="923330"/>
          </a:xfrm>
          <a:prstGeom prst="rect">
            <a:avLst/>
          </a:prstGeom>
          <a:noFill/>
        </p:spPr>
        <p:txBody>
          <a:bodyPr wrap="square" lIns="91440" tIns="45720" rIns="91440" bIns="45720">
            <a:spAutoFit/>
          </a:bodyPr>
          <a:lstStyle/>
          <a:p>
            <a:pPr algn="ctr"/>
            <a:r>
              <a:rPr lang="en-US" sz="5400" dirty="0">
                <a:ln w="0"/>
                <a:solidFill>
                  <a:schemeClr val="accent1">
                    <a:alpha val="16000"/>
                  </a:schemeClr>
                </a:solidFill>
                <a:effectLst>
                  <a:outerShdw blurRad="38100" dist="25400" dir="5400000" algn="ctr" rotWithShape="0">
                    <a:srgbClr val="6E747A">
                      <a:alpha val="43000"/>
                    </a:srgbClr>
                  </a:outerShdw>
                </a:effectLst>
              </a:rPr>
              <a:t>DRAFT</a:t>
            </a:r>
            <a:endParaRPr lang="en-US" sz="5400" b="0" cap="none" spc="0" dirty="0">
              <a:ln w="0"/>
              <a:solidFill>
                <a:schemeClr val="accent1">
                  <a:alpha val="16000"/>
                </a:schemeClr>
              </a:solidFill>
              <a:effectLst>
                <a:outerShdw blurRad="38100" dist="25400" dir="5400000" algn="ctr" rotWithShape="0">
                  <a:srgbClr val="6E747A">
                    <a:alpha val="43000"/>
                  </a:srgbClr>
                </a:outerShdw>
              </a:effectLst>
            </a:endParaRPr>
          </a:p>
        </p:txBody>
      </p:sp>
    </p:spTree>
    <p:extLst>
      <p:ext uri="{BB962C8B-B14F-4D97-AF65-F5344CB8AC3E}">
        <p14:creationId xmlns:p14="http://schemas.microsoft.com/office/powerpoint/2010/main" val="3617188747"/>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8" name="Rectangle 3"/>
          <p:cNvSpPr txBox="1"/>
          <p:nvPr/>
        </p:nvSpPr>
        <p:spPr>
          <a:xfrm>
            <a:off x="377375" y="524553"/>
            <a:ext cx="8037160" cy="369328"/>
          </a:xfrm>
          <a:prstGeom prst="rect">
            <a:avLst/>
          </a:prstGeom>
          <a:ln w="12700">
            <a:miter lim="400000"/>
          </a:ln>
          <a:extLst>
            <a:ext uri="{C572A759-6A51-4108-AA02-DFA0A04FC94B}">
              <ma14:wrappingTextBoxFlag xmlns="" xmlns:ma14="http://schemas.microsoft.com/office/mac/drawingml/2011/main" val="1"/>
            </a:ext>
          </a:extLst>
        </p:spPr>
        <p:txBody>
          <a:bodyPr wrap="square" lIns="45718" tIns="45718" rIns="45718" bIns="45718">
            <a:spAutoFit/>
          </a:bodyPr>
          <a:lstStyle>
            <a:lvl1pPr algn="l" defTabSz="914400">
              <a:defRPr sz="2000">
                <a:solidFill>
                  <a:srgbClr val="104D6A"/>
                </a:solidFill>
                <a:latin typeface="Arial"/>
                <a:ea typeface="Arial"/>
                <a:cs typeface="Arial"/>
                <a:sym typeface="Arial"/>
              </a:defRPr>
            </a:lvl1pPr>
          </a:lstStyle>
          <a:p>
            <a:pPr lvl="0">
              <a:defRPr/>
            </a:pPr>
            <a:r>
              <a:rPr lang="en-US" sz="1800" b="1" dirty="0">
                <a:solidFill>
                  <a:srgbClr val="73C4EF"/>
                </a:solidFill>
              </a:rPr>
              <a:t> Event Hub Architecture -  Internal Structure Of </a:t>
            </a:r>
            <a:r>
              <a:rPr lang="en-US" sz="1800" b="1" dirty="0" err="1">
                <a:solidFill>
                  <a:srgbClr val="73C4EF"/>
                </a:solidFill>
              </a:rPr>
              <a:t>ProducerService</a:t>
            </a:r>
            <a:r>
              <a:rPr lang="en-US" sz="1800" b="1" dirty="0">
                <a:solidFill>
                  <a:srgbClr val="73C4EF"/>
                </a:solidFill>
              </a:rPr>
              <a:t> II</a:t>
            </a:r>
          </a:p>
        </p:txBody>
      </p:sp>
      <p:sp>
        <p:nvSpPr>
          <p:cNvPr id="5" name="Rectangle 3">
            <a:extLst>
              <a:ext uri="{FF2B5EF4-FFF2-40B4-BE49-F238E27FC236}">
                <a16:creationId xmlns:a16="http://schemas.microsoft.com/office/drawing/2014/main" id="{F3BCF96F-43FE-3A4D-B4EC-B79E124C9963}"/>
              </a:ext>
            </a:extLst>
          </p:cNvPr>
          <p:cNvSpPr txBox="1"/>
          <p:nvPr/>
        </p:nvSpPr>
        <p:spPr>
          <a:xfrm>
            <a:off x="404806" y="92199"/>
            <a:ext cx="7585857" cy="400105"/>
          </a:xfrm>
          <a:prstGeom prst="rect">
            <a:avLst/>
          </a:prstGeom>
          <a:ln w="12700">
            <a:miter lim="400000"/>
          </a:ln>
          <a:extLst>
            <a:ext uri="{C572A759-6A51-4108-AA02-DFA0A04FC94B}">
              <ma14:wrappingTextBoxFlag xmlns:ma14="http://schemas.microsoft.com/office/mac/drawingml/2011/main" xmlns="" val="1"/>
            </a:ext>
          </a:extLst>
        </p:spPr>
        <p:txBody>
          <a:bodyPr wrap="square" lIns="45718" tIns="45718" rIns="45718" bIns="45718">
            <a:spAutoFit/>
          </a:bodyPr>
          <a:lstStyle>
            <a:lvl1pPr algn="l" defTabSz="914400">
              <a:defRPr sz="2200" b="1">
                <a:solidFill>
                  <a:srgbClr val="FFFFFF"/>
                </a:solidFill>
                <a:latin typeface="Arial"/>
                <a:ea typeface="Arial"/>
                <a:cs typeface="Arial"/>
                <a:sym typeface="Arial"/>
              </a:defRPr>
            </a:lvl1pPr>
          </a:lstStyle>
          <a:p>
            <a:r>
              <a:rPr lang="en-US" sz="2000" dirty="0">
                <a:solidFill>
                  <a:srgbClr val="016AA2"/>
                </a:solidFill>
              </a:rPr>
              <a:t>Needs and Solution Proposal (XIII)</a:t>
            </a:r>
          </a:p>
        </p:txBody>
      </p:sp>
      <p:sp>
        <p:nvSpPr>
          <p:cNvPr id="40" name="Rectangle 39">
            <a:extLst>
              <a:ext uri="{FF2B5EF4-FFF2-40B4-BE49-F238E27FC236}">
                <a16:creationId xmlns:a16="http://schemas.microsoft.com/office/drawing/2014/main" id="{524A142C-C397-B947-85D3-6AECD9D18004}"/>
              </a:ext>
            </a:extLst>
          </p:cNvPr>
          <p:cNvSpPr/>
          <p:nvPr/>
        </p:nvSpPr>
        <p:spPr>
          <a:xfrm>
            <a:off x="505394" y="911016"/>
            <a:ext cx="11155776" cy="2516073"/>
          </a:xfrm>
          <a:prstGeom prst="rect">
            <a:avLst/>
          </a:prstGeom>
        </p:spPr>
        <p:txBody>
          <a:bodyPr wrap="square">
            <a:spAutoFit/>
          </a:bodyPr>
          <a:lstStyle/>
          <a:p>
            <a:r>
              <a:rPr lang="en-US" sz="1050" dirty="0">
                <a:solidFill>
                  <a:srgbClr val="C5277F"/>
                </a:solidFill>
                <a:latin typeface="Comic Sans MS" panose="030F0902030302020204" pitchFamily="66" charset="0"/>
                <a:ea typeface="Nanum Pen Script" panose="03040600000000000000" pitchFamily="66" charset="-127"/>
              </a:rPr>
              <a:t>Response JSON Object:</a:t>
            </a:r>
          </a:p>
          <a:p>
            <a:r>
              <a:rPr lang="en-US" sz="1050" dirty="0" err="1">
                <a:solidFill>
                  <a:srgbClr val="0067B7"/>
                </a:solidFill>
                <a:latin typeface="Comic Sans MS" panose="030F0902030302020204" pitchFamily="66" charset="0"/>
                <a:ea typeface="Nanum Pen Script" panose="03040600000000000000" pitchFamily="66" charset="-127"/>
              </a:rPr>
              <a:t>key_schema_id</a:t>
            </a:r>
            <a:r>
              <a:rPr lang="en-US" sz="1050" dirty="0">
                <a:solidFill>
                  <a:srgbClr val="0067B7"/>
                </a:solidFill>
                <a:latin typeface="Comic Sans MS" panose="030F0902030302020204" pitchFamily="66" charset="0"/>
                <a:ea typeface="Nanum Pen Script" panose="03040600000000000000" pitchFamily="66" charset="-127"/>
              </a:rPr>
              <a:t> (int) -- The ID for the schema used to produce keys, or null if keys were not used</a:t>
            </a:r>
          </a:p>
          <a:p>
            <a:r>
              <a:rPr lang="en-US" sz="1050" dirty="0" err="1">
                <a:solidFill>
                  <a:srgbClr val="0067B7"/>
                </a:solidFill>
                <a:latin typeface="Comic Sans MS" panose="030F0902030302020204" pitchFamily="66" charset="0"/>
                <a:ea typeface="Nanum Pen Script" panose="03040600000000000000" pitchFamily="66" charset="-127"/>
              </a:rPr>
              <a:t>value_schema_id</a:t>
            </a:r>
            <a:r>
              <a:rPr lang="en-US" sz="1050" dirty="0">
                <a:solidFill>
                  <a:srgbClr val="0067B7"/>
                </a:solidFill>
                <a:latin typeface="Comic Sans MS" panose="030F0902030302020204" pitchFamily="66" charset="0"/>
                <a:ea typeface="Nanum Pen Script" panose="03040600000000000000" pitchFamily="66" charset="-127"/>
              </a:rPr>
              <a:t> (int) -- The ID for the schema used to produce values.</a:t>
            </a:r>
          </a:p>
          <a:p>
            <a:endParaRPr lang="en-US" sz="1050" dirty="0">
              <a:solidFill>
                <a:srgbClr val="0067B7"/>
              </a:solidFill>
              <a:latin typeface="Comic Sans MS" panose="030F0902030302020204" pitchFamily="66" charset="0"/>
              <a:ea typeface="Nanum Pen Script" panose="03040600000000000000" pitchFamily="66" charset="-127"/>
            </a:endParaRPr>
          </a:p>
          <a:p>
            <a:r>
              <a:rPr lang="en-US" sz="1050" dirty="0">
                <a:solidFill>
                  <a:srgbClr val="C5277F"/>
                </a:solidFill>
                <a:latin typeface="Comic Sans MS" panose="030F0902030302020204" pitchFamily="66" charset="0"/>
                <a:ea typeface="Nanum Pen Script" panose="03040600000000000000" pitchFamily="66" charset="-127"/>
              </a:rPr>
              <a:t>Response JSON Array of Objects:</a:t>
            </a:r>
          </a:p>
          <a:p>
            <a:r>
              <a:rPr lang="en-US" sz="1050" dirty="0">
                <a:solidFill>
                  <a:srgbClr val="0067B7"/>
                </a:solidFill>
                <a:latin typeface="Comic Sans MS" panose="030F0902030302020204" pitchFamily="66" charset="0"/>
                <a:ea typeface="Nanum Pen Script" panose="03040600000000000000" pitchFamily="66" charset="-127"/>
              </a:rPr>
              <a:t>offsets (object) -- List of partitions and offsets the messages were published to</a:t>
            </a:r>
          </a:p>
          <a:p>
            <a:r>
              <a:rPr lang="en-US" sz="1050" dirty="0">
                <a:solidFill>
                  <a:srgbClr val="0067B7"/>
                </a:solidFill>
                <a:latin typeface="Comic Sans MS" panose="030F0902030302020204" pitchFamily="66" charset="0"/>
                <a:ea typeface="Nanum Pen Script" panose="03040600000000000000" pitchFamily="66" charset="-127"/>
              </a:rPr>
              <a:t>offsets[</a:t>
            </a:r>
            <a:r>
              <a:rPr lang="en-US" sz="1050" dirty="0" err="1">
                <a:solidFill>
                  <a:srgbClr val="0067B7"/>
                </a:solidFill>
                <a:latin typeface="Comic Sans MS" panose="030F0902030302020204" pitchFamily="66" charset="0"/>
                <a:ea typeface="Nanum Pen Script" panose="03040600000000000000" pitchFamily="66" charset="-127"/>
              </a:rPr>
              <a:t>i</a:t>
            </a:r>
            <a:r>
              <a:rPr lang="en-US" sz="1050" dirty="0">
                <a:solidFill>
                  <a:srgbClr val="0067B7"/>
                </a:solidFill>
                <a:latin typeface="Comic Sans MS" panose="030F0902030302020204" pitchFamily="66" charset="0"/>
                <a:ea typeface="Nanum Pen Script" panose="03040600000000000000" pitchFamily="66" charset="-127"/>
              </a:rPr>
              <a:t>].partition (int) -- Partition the message was published to. This will be the same as the </a:t>
            </a:r>
            <a:r>
              <a:rPr lang="en-US" sz="1050" dirty="0" err="1">
                <a:solidFill>
                  <a:srgbClr val="0067B7"/>
                </a:solidFill>
                <a:latin typeface="Comic Sans MS" panose="030F0902030302020204" pitchFamily="66" charset="0"/>
                <a:ea typeface="Nanum Pen Script" panose="03040600000000000000" pitchFamily="66" charset="-127"/>
              </a:rPr>
              <a:t>partition_id</a:t>
            </a:r>
            <a:r>
              <a:rPr lang="en-US" sz="1050" dirty="0">
                <a:solidFill>
                  <a:srgbClr val="0067B7"/>
                </a:solidFill>
                <a:latin typeface="Comic Sans MS" panose="030F0902030302020204" pitchFamily="66" charset="0"/>
                <a:ea typeface="Nanum Pen Script" panose="03040600000000000000" pitchFamily="66" charset="-127"/>
              </a:rPr>
              <a:t> parameter and is provided only to maintain consistency with responses from producing to a topic</a:t>
            </a:r>
          </a:p>
          <a:p>
            <a:r>
              <a:rPr lang="en-US" sz="1050" dirty="0">
                <a:solidFill>
                  <a:srgbClr val="0067B7"/>
                </a:solidFill>
                <a:latin typeface="Comic Sans MS" panose="030F0902030302020204" pitchFamily="66" charset="0"/>
                <a:ea typeface="Nanum Pen Script" panose="03040600000000000000" pitchFamily="66" charset="-127"/>
              </a:rPr>
              <a:t>offsets[</a:t>
            </a:r>
            <a:r>
              <a:rPr lang="en-US" sz="1050" dirty="0" err="1">
                <a:solidFill>
                  <a:srgbClr val="0067B7"/>
                </a:solidFill>
                <a:latin typeface="Comic Sans MS" panose="030F0902030302020204" pitchFamily="66" charset="0"/>
                <a:ea typeface="Nanum Pen Script" panose="03040600000000000000" pitchFamily="66" charset="-127"/>
              </a:rPr>
              <a:t>i</a:t>
            </a:r>
            <a:r>
              <a:rPr lang="en-US" sz="1050" dirty="0">
                <a:solidFill>
                  <a:srgbClr val="0067B7"/>
                </a:solidFill>
                <a:latin typeface="Comic Sans MS" panose="030F0902030302020204" pitchFamily="66" charset="0"/>
                <a:ea typeface="Nanum Pen Script" panose="03040600000000000000" pitchFamily="66" charset="-127"/>
              </a:rPr>
              <a:t>].offset (long) -- Offset of the message</a:t>
            </a:r>
          </a:p>
          <a:p>
            <a:r>
              <a:rPr lang="en-US" sz="1050" dirty="0">
                <a:solidFill>
                  <a:srgbClr val="0067B7"/>
                </a:solidFill>
                <a:latin typeface="Comic Sans MS" panose="030F0902030302020204" pitchFamily="66" charset="0"/>
                <a:ea typeface="Nanum Pen Script" panose="03040600000000000000" pitchFamily="66" charset="-127"/>
              </a:rPr>
              <a:t>offsets[</a:t>
            </a:r>
            <a:r>
              <a:rPr lang="en-US" sz="1050" dirty="0" err="1">
                <a:solidFill>
                  <a:srgbClr val="0067B7"/>
                </a:solidFill>
                <a:latin typeface="Comic Sans MS" panose="030F0902030302020204" pitchFamily="66" charset="0"/>
                <a:ea typeface="Nanum Pen Script" panose="03040600000000000000" pitchFamily="66" charset="-127"/>
              </a:rPr>
              <a:t>i</a:t>
            </a:r>
            <a:r>
              <a:rPr lang="en-US" sz="1050" dirty="0">
                <a:solidFill>
                  <a:srgbClr val="0067B7"/>
                </a:solidFill>
                <a:latin typeface="Comic Sans MS" panose="030F0902030302020204" pitchFamily="66" charset="0"/>
                <a:ea typeface="Nanum Pen Script" panose="03040600000000000000" pitchFamily="66" charset="-127"/>
              </a:rPr>
              <a:t>].</a:t>
            </a:r>
            <a:r>
              <a:rPr lang="en-US" sz="1050" dirty="0" err="1">
                <a:solidFill>
                  <a:srgbClr val="0067B7"/>
                </a:solidFill>
                <a:latin typeface="Comic Sans MS" panose="030F0902030302020204" pitchFamily="66" charset="0"/>
                <a:ea typeface="Nanum Pen Script" panose="03040600000000000000" pitchFamily="66" charset="-127"/>
              </a:rPr>
              <a:t>error_code</a:t>
            </a:r>
            <a:r>
              <a:rPr lang="en-US" sz="1050" dirty="0">
                <a:solidFill>
                  <a:srgbClr val="0067B7"/>
                </a:solidFill>
                <a:latin typeface="Comic Sans MS" panose="030F0902030302020204" pitchFamily="66" charset="0"/>
                <a:ea typeface="Nanum Pen Script" panose="03040600000000000000" pitchFamily="66" charset="-127"/>
              </a:rPr>
              <a:t> (long) --</a:t>
            </a:r>
          </a:p>
          <a:p>
            <a:endParaRPr lang="en-US" sz="1050" dirty="0">
              <a:solidFill>
                <a:srgbClr val="0067B7"/>
              </a:solidFill>
              <a:latin typeface="Comic Sans MS" panose="030F0902030302020204" pitchFamily="66" charset="0"/>
              <a:ea typeface="Nanum Pen Script" panose="03040600000000000000" pitchFamily="66" charset="-127"/>
            </a:endParaRPr>
          </a:p>
          <a:p>
            <a:r>
              <a:rPr lang="en-US" sz="1050" dirty="0">
                <a:solidFill>
                  <a:srgbClr val="0067B7"/>
                </a:solidFill>
                <a:latin typeface="Comic Sans MS" panose="030F0902030302020204" pitchFamily="66" charset="0"/>
                <a:ea typeface="Nanum Pen Script" panose="03040600000000000000" pitchFamily="66" charset="-127"/>
              </a:rPr>
              <a:t>An error code classifying the reason this operation failed, or null if it succeeded.</a:t>
            </a:r>
          </a:p>
          <a:p>
            <a:r>
              <a:rPr lang="en-US" sz="1050" dirty="0">
                <a:solidFill>
                  <a:srgbClr val="0067B7"/>
                </a:solidFill>
                <a:latin typeface="Comic Sans MS" panose="030F0902030302020204" pitchFamily="66" charset="0"/>
                <a:ea typeface="Nanum Pen Script" panose="03040600000000000000" pitchFamily="66" charset="-127"/>
              </a:rPr>
              <a:t>    1 - Non-retriable Kafka exception</a:t>
            </a:r>
          </a:p>
          <a:p>
            <a:r>
              <a:rPr lang="en-US" sz="1050" dirty="0">
                <a:solidFill>
                  <a:srgbClr val="0067B7"/>
                </a:solidFill>
                <a:latin typeface="Comic Sans MS" panose="030F0902030302020204" pitchFamily="66" charset="0"/>
                <a:ea typeface="Nanum Pen Script" panose="03040600000000000000" pitchFamily="66" charset="-127"/>
              </a:rPr>
              <a:t>    2 - Retriable Kafka exception; the message might be sent successfully if retried</a:t>
            </a:r>
          </a:p>
          <a:p>
            <a:r>
              <a:rPr lang="en-US" sz="1050" dirty="0">
                <a:solidFill>
                  <a:srgbClr val="0067B7"/>
                </a:solidFill>
                <a:latin typeface="Comic Sans MS" panose="030F0902030302020204" pitchFamily="66" charset="0"/>
                <a:ea typeface="Nanum Pen Script" panose="03040600000000000000" pitchFamily="66" charset="-127"/>
              </a:rPr>
              <a:t>offsets[</a:t>
            </a:r>
            <a:r>
              <a:rPr lang="en-US" sz="1050" dirty="0" err="1">
                <a:solidFill>
                  <a:srgbClr val="0067B7"/>
                </a:solidFill>
                <a:latin typeface="Comic Sans MS" panose="030F0902030302020204" pitchFamily="66" charset="0"/>
                <a:ea typeface="Nanum Pen Script" panose="03040600000000000000" pitchFamily="66" charset="-127"/>
              </a:rPr>
              <a:t>i</a:t>
            </a:r>
            <a:r>
              <a:rPr lang="en-US" sz="1050" dirty="0">
                <a:solidFill>
                  <a:srgbClr val="0067B7"/>
                </a:solidFill>
                <a:latin typeface="Comic Sans MS" panose="030F0902030302020204" pitchFamily="66" charset="0"/>
                <a:ea typeface="Nanum Pen Script" panose="03040600000000000000" pitchFamily="66" charset="-127"/>
              </a:rPr>
              <a:t>].error (string) -- An error message describing why the operation failed, or null if it succeeded</a:t>
            </a:r>
          </a:p>
        </p:txBody>
      </p:sp>
      <p:sp>
        <p:nvSpPr>
          <p:cNvPr id="41" name="Rectangle 40">
            <a:extLst>
              <a:ext uri="{FF2B5EF4-FFF2-40B4-BE49-F238E27FC236}">
                <a16:creationId xmlns:a16="http://schemas.microsoft.com/office/drawing/2014/main" id="{F91148D2-AC41-CC4C-9179-1D2FC066434D}"/>
              </a:ext>
            </a:extLst>
          </p:cNvPr>
          <p:cNvSpPr/>
          <p:nvPr/>
        </p:nvSpPr>
        <p:spPr>
          <a:xfrm rot="19809890">
            <a:off x="3218689" y="2446126"/>
            <a:ext cx="4754880" cy="923330"/>
          </a:xfrm>
          <a:prstGeom prst="rect">
            <a:avLst/>
          </a:prstGeom>
          <a:noFill/>
        </p:spPr>
        <p:txBody>
          <a:bodyPr wrap="square" lIns="91440" tIns="45720" rIns="91440" bIns="45720">
            <a:spAutoFit/>
          </a:bodyPr>
          <a:lstStyle/>
          <a:p>
            <a:pPr algn="ctr"/>
            <a:r>
              <a:rPr lang="en-US" sz="5400" dirty="0">
                <a:ln w="0"/>
                <a:solidFill>
                  <a:schemeClr val="accent1">
                    <a:alpha val="16000"/>
                  </a:schemeClr>
                </a:solidFill>
                <a:effectLst>
                  <a:outerShdw blurRad="38100" dist="25400" dir="5400000" algn="ctr" rotWithShape="0">
                    <a:srgbClr val="6E747A">
                      <a:alpha val="43000"/>
                    </a:srgbClr>
                  </a:outerShdw>
                </a:effectLst>
              </a:rPr>
              <a:t>DRAFT</a:t>
            </a:r>
            <a:endParaRPr lang="en-US" sz="5400" b="0" cap="none" spc="0" dirty="0">
              <a:ln w="0"/>
              <a:solidFill>
                <a:schemeClr val="accent1">
                  <a:alpha val="16000"/>
                </a:schemeClr>
              </a:solidFill>
              <a:effectLst>
                <a:outerShdw blurRad="38100" dist="25400" dir="5400000" algn="ctr" rotWithShape="0">
                  <a:srgbClr val="6E747A">
                    <a:alpha val="43000"/>
                  </a:srgbClr>
                </a:outerShdw>
              </a:effectLst>
            </a:endParaRPr>
          </a:p>
        </p:txBody>
      </p:sp>
    </p:spTree>
    <p:extLst>
      <p:ext uri="{BB962C8B-B14F-4D97-AF65-F5344CB8AC3E}">
        <p14:creationId xmlns:p14="http://schemas.microsoft.com/office/powerpoint/2010/main" val="156178564"/>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8" name="Rectangle 3"/>
          <p:cNvSpPr txBox="1"/>
          <p:nvPr/>
        </p:nvSpPr>
        <p:spPr>
          <a:xfrm>
            <a:off x="377375" y="524553"/>
            <a:ext cx="8037160" cy="369328"/>
          </a:xfrm>
          <a:prstGeom prst="rect">
            <a:avLst/>
          </a:prstGeom>
          <a:ln w="12700">
            <a:miter lim="400000"/>
          </a:ln>
          <a:extLst>
            <a:ext uri="{C572A759-6A51-4108-AA02-DFA0A04FC94B}">
              <ma14:wrappingTextBoxFlag xmlns="" xmlns:ma14="http://schemas.microsoft.com/office/mac/drawingml/2011/main" val="1"/>
            </a:ext>
          </a:extLst>
        </p:spPr>
        <p:txBody>
          <a:bodyPr wrap="square" lIns="45718" tIns="45718" rIns="45718" bIns="45718">
            <a:spAutoFit/>
          </a:bodyPr>
          <a:lstStyle>
            <a:lvl1pPr algn="l" defTabSz="914400">
              <a:defRPr sz="2000">
                <a:solidFill>
                  <a:srgbClr val="104D6A"/>
                </a:solidFill>
                <a:latin typeface="Arial"/>
                <a:ea typeface="Arial"/>
                <a:cs typeface="Arial"/>
                <a:sym typeface="Arial"/>
              </a:defRPr>
            </a:lvl1pPr>
          </a:lstStyle>
          <a:p>
            <a:pPr lvl="0">
              <a:defRPr/>
            </a:pPr>
            <a:r>
              <a:rPr lang="en-US" sz="1800" b="1" dirty="0">
                <a:solidFill>
                  <a:srgbClr val="73C4EF"/>
                </a:solidFill>
              </a:rPr>
              <a:t> Event Hub Architecture -  Internal Structure Of </a:t>
            </a:r>
            <a:r>
              <a:rPr lang="en-US" sz="1800" b="1" dirty="0" err="1">
                <a:solidFill>
                  <a:srgbClr val="73C4EF"/>
                </a:solidFill>
              </a:rPr>
              <a:t>ProducerService</a:t>
            </a:r>
            <a:r>
              <a:rPr lang="en-US" sz="1800" b="1" dirty="0">
                <a:solidFill>
                  <a:srgbClr val="73C4EF"/>
                </a:solidFill>
              </a:rPr>
              <a:t> III</a:t>
            </a:r>
          </a:p>
        </p:txBody>
      </p:sp>
      <p:sp>
        <p:nvSpPr>
          <p:cNvPr id="5" name="Rectangle 3">
            <a:extLst>
              <a:ext uri="{FF2B5EF4-FFF2-40B4-BE49-F238E27FC236}">
                <a16:creationId xmlns:a16="http://schemas.microsoft.com/office/drawing/2014/main" id="{F3BCF96F-43FE-3A4D-B4EC-B79E124C9963}"/>
              </a:ext>
            </a:extLst>
          </p:cNvPr>
          <p:cNvSpPr txBox="1"/>
          <p:nvPr/>
        </p:nvSpPr>
        <p:spPr>
          <a:xfrm>
            <a:off x="404806" y="92199"/>
            <a:ext cx="7585857" cy="400105"/>
          </a:xfrm>
          <a:prstGeom prst="rect">
            <a:avLst/>
          </a:prstGeom>
          <a:ln w="12700">
            <a:miter lim="400000"/>
          </a:ln>
          <a:extLst>
            <a:ext uri="{C572A759-6A51-4108-AA02-DFA0A04FC94B}">
              <ma14:wrappingTextBoxFlag xmlns:ma14="http://schemas.microsoft.com/office/mac/drawingml/2011/main" xmlns="" val="1"/>
            </a:ext>
          </a:extLst>
        </p:spPr>
        <p:txBody>
          <a:bodyPr wrap="square" lIns="45718" tIns="45718" rIns="45718" bIns="45718">
            <a:spAutoFit/>
          </a:bodyPr>
          <a:lstStyle>
            <a:lvl1pPr algn="l" defTabSz="914400">
              <a:defRPr sz="2200" b="1">
                <a:solidFill>
                  <a:srgbClr val="FFFFFF"/>
                </a:solidFill>
                <a:latin typeface="Arial"/>
                <a:ea typeface="Arial"/>
                <a:cs typeface="Arial"/>
                <a:sym typeface="Arial"/>
              </a:defRPr>
            </a:lvl1pPr>
          </a:lstStyle>
          <a:p>
            <a:r>
              <a:rPr lang="en-US" sz="2000" dirty="0">
                <a:solidFill>
                  <a:srgbClr val="016AA2"/>
                </a:solidFill>
              </a:rPr>
              <a:t>Needs and Solution Proposal (XIII)</a:t>
            </a:r>
          </a:p>
        </p:txBody>
      </p:sp>
      <p:sp>
        <p:nvSpPr>
          <p:cNvPr id="40" name="Rectangle 39">
            <a:extLst>
              <a:ext uri="{FF2B5EF4-FFF2-40B4-BE49-F238E27FC236}">
                <a16:creationId xmlns:a16="http://schemas.microsoft.com/office/drawing/2014/main" id="{524A142C-C397-B947-85D3-6AECD9D18004}"/>
              </a:ext>
            </a:extLst>
          </p:cNvPr>
          <p:cNvSpPr/>
          <p:nvPr/>
        </p:nvSpPr>
        <p:spPr>
          <a:xfrm>
            <a:off x="404806" y="1112184"/>
            <a:ext cx="11155776" cy="3323987"/>
          </a:xfrm>
          <a:prstGeom prst="rect">
            <a:avLst/>
          </a:prstGeom>
        </p:spPr>
        <p:txBody>
          <a:bodyPr wrap="square">
            <a:spAutoFit/>
          </a:bodyPr>
          <a:lstStyle/>
          <a:p>
            <a:r>
              <a:rPr lang="en-US" sz="1050" dirty="0">
                <a:solidFill>
                  <a:srgbClr val="C5277F"/>
                </a:solidFill>
                <a:latin typeface="Comic Sans MS" panose="030F0902030302020204" pitchFamily="66" charset="0"/>
                <a:ea typeface="Nanum Pen Script" panose="03040600000000000000" pitchFamily="66" charset="-127"/>
              </a:rPr>
              <a:t>POST /v1/producer/message HTTP/1.1</a:t>
            </a:r>
          </a:p>
          <a:p>
            <a:r>
              <a:rPr lang="en-US" sz="1050" dirty="0">
                <a:solidFill>
                  <a:srgbClr val="C5277F"/>
                </a:solidFill>
                <a:latin typeface="Comic Sans MS" panose="030F0902030302020204" pitchFamily="66" charset="0"/>
                <a:ea typeface="Nanum Pen Script" panose="03040600000000000000" pitchFamily="66" charset="-127"/>
              </a:rPr>
              <a:t>Host: </a:t>
            </a:r>
            <a:r>
              <a:rPr lang="en-US" sz="1050" dirty="0" err="1">
                <a:solidFill>
                  <a:srgbClr val="C5277F"/>
                </a:solidFill>
                <a:latin typeface="Comic Sans MS" panose="030F0902030302020204" pitchFamily="66" charset="0"/>
                <a:ea typeface="Nanum Pen Script" panose="03040600000000000000" pitchFamily="66" charset="-127"/>
              </a:rPr>
              <a:t>kafkaproxy.example.com</a:t>
            </a:r>
            <a:endParaRPr lang="en-US" sz="1050" dirty="0">
              <a:solidFill>
                <a:srgbClr val="C5277F"/>
              </a:solidFill>
              <a:latin typeface="Comic Sans MS" panose="030F0902030302020204" pitchFamily="66" charset="0"/>
              <a:ea typeface="Nanum Pen Script" panose="03040600000000000000" pitchFamily="66" charset="-127"/>
            </a:endParaRPr>
          </a:p>
          <a:p>
            <a:r>
              <a:rPr lang="en-US" sz="1050" dirty="0">
                <a:solidFill>
                  <a:srgbClr val="C5277F"/>
                </a:solidFill>
                <a:latin typeface="Comic Sans MS" panose="030F0902030302020204" pitchFamily="66" charset="0"/>
                <a:ea typeface="Nanum Pen Script" panose="03040600000000000000" pitchFamily="66" charset="-127"/>
              </a:rPr>
              <a:t>Content-Type: application/messaging.v2+json</a:t>
            </a:r>
          </a:p>
          <a:p>
            <a:r>
              <a:rPr lang="en-US" sz="1050" dirty="0">
                <a:solidFill>
                  <a:srgbClr val="C5277F"/>
                </a:solidFill>
                <a:latin typeface="Comic Sans MS" panose="030F0902030302020204" pitchFamily="66" charset="0"/>
                <a:ea typeface="Nanum Pen Script" panose="03040600000000000000" pitchFamily="66" charset="-127"/>
              </a:rPr>
              <a:t>Accept: application/vnd.kafka.v2+json, application/producer-v1.0+json, application/json</a:t>
            </a:r>
          </a:p>
          <a:p>
            <a:endParaRPr lang="en-US" sz="1050" dirty="0">
              <a:solidFill>
                <a:srgbClr val="C5277F"/>
              </a:solidFill>
              <a:latin typeface="Comic Sans MS" panose="030F0902030302020204" pitchFamily="66" charset="0"/>
              <a:ea typeface="Nanum Pen Script" panose="03040600000000000000" pitchFamily="66" charset="-127"/>
            </a:endParaRPr>
          </a:p>
          <a:p>
            <a:r>
              <a:rPr lang="en-US" sz="1050" dirty="0">
                <a:solidFill>
                  <a:srgbClr val="C5277F"/>
                </a:solidFill>
                <a:latin typeface="Comic Sans MS" panose="030F0902030302020204" pitchFamily="66" charset="0"/>
                <a:ea typeface="Nanum Pen Script" panose="03040600000000000000" pitchFamily="66" charset="-127"/>
              </a:rPr>
              <a:t>{</a:t>
            </a:r>
          </a:p>
          <a:p>
            <a:r>
              <a:rPr lang="en-US" sz="1050" dirty="0">
                <a:solidFill>
                  <a:srgbClr val="C5277F"/>
                </a:solidFill>
                <a:latin typeface="Comic Sans MS" panose="030F0902030302020204" pitchFamily="66" charset="0"/>
                <a:ea typeface="Nanum Pen Script" panose="03040600000000000000" pitchFamily="66" charset="-127"/>
              </a:rPr>
              <a:t>  "</a:t>
            </a:r>
            <a:r>
              <a:rPr lang="en-US" sz="1050" dirty="0" err="1">
                <a:solidFill>
                  <a:srgbClr val="C5277F"/>
                </a:solidFill>
                <a:latin typeface="Comic Sans MS" panose="030F0902030302020204" pitchFamily="66" charset="0"/>
                <a:ea typeface="Nanum Pen Script" panose="03040600000000000000" pitchFamily="66" charset="-127"/>
              </a:rPr>
              <a:t>idSystemProducer</a:t>
            </a:r>
            <a:r>
              <a:rPr lang="en-US" sz="1050" dirty="0">
                <a:solidFill>
                  <a:srgbClr val="C5277F"/>
                </a:solidFill>
                <a:latin typeface="Comic Sans MS" panose="030F0902030302020204" pitchFamily="66" charset="0"/>
                <a:ea typeface="Nanum Pen Script" panose="03040600000000000000" pitchFamily="66" charset="-127"/>
              </a:rPr>
              <a:t>",</a:t>
            </a:r>
          </a:p>
          <a:p>
            <a:r>
              <a:rPr lang="en-US" sz="1050" dirty="0">
                <a:solidFill>
                  <a:srgbClr val="C5277F"/>
                </a:solidFill>
                <a:latin typeface="Comic Sans MS" panose="030F0902030302020204" pitchFamily="66" charset="0"/>
                <a:ea typeface="Nanum Pen Script" panose="03040600000000000000" pitchFamily="66" charset="-127"/>
              </a:rPr>
              <a:t>  "</a:t>
            </a:r>
            <a:r>
              <a:rPr lang="en-US" sz="1050" dirty="0" err="1">
                <a:solidFill>
                  <a:srgbClr val="C5277F"/>
                </a:solidFill>
                <a:latin typeface="Comic Sans MS" panose="030F0902030302020204" pitchFamily="66" charset="0"/>
                <a:ea typeface="Nanum Pen Script" panose="03040600000000000000" pitchFamily="66" charset="-127"/>
              </a:rPr>
              <a:t>nameSystemProducer</a:t>
            </a:r>
            <a:r>
              <a:rPr lang="en-US" sz="1050" dirty="0">
                <a:solidFill>
                  <a:srgbClr val="C5277F"/>
                </a:solidFill>
                <a:latin typeface="Comic Sans MS" panose="030F0902030302020204" pitchFamily="66" charset="0"/>
                <a:ea typeface="Nanum Pen Script" panose="03040600000000000000" pitchFamily="66" charset="-127"/>
              </a:rPr>
              <a:t>",</a:t>
            </a:r>
          </a:p>
          <a:p>
            <a:r>
              <a:rPr lang="en-US" sz="1050" dirty="0">
                <a:solidFill>
                  <a:srgbClr val="C5277F"/>
                </a:solidFill>
                <a:latin typeface="Comic Sans MS" panose="030F0902030302020204" pitchFamily="66" charset="0"/>
                <a:ea typeface="Nanum Pen Script" panose="03040600000000000000" pitchFamily="66" charset="-127"/>
              </a:rPr>
              <a:t>  "topic",</a:t>
            </a:r>
          </a:p>
          <a:p>
            <a:r>
              <a:rPr lang="en-US" sz="1050" dirty="0">
                <a:solidFill>
                  <a:srgbClr val="C5277F"/>
                </a:solidFill>
                <a:latin typeface="Comic Sans MS" panose="030F0902030302020204" pitchFamily="66" charset="0"/>
                <a:ea typeface="Nanum Pen Script" panose="03040600000000000000" pitchFamily="66" charset="-127"/>
              </a:rPr>
              <a:t>  </a:t>
            </a:r>
          </a:p>
          <a:p>
            <a:r>
              <a:rPr lang="en-US" sz="1050" dirty="0">
                <a:solidFill>
                  <a:srgbClr val="C5277F"/>
                </a:solidFill>
                <a:latin typeface="Comic Sans MS" panose="030F0902030302020204" pitchFamily="66" charset="0"/>
                <a:ea typeface="Nanum Pen Script" panose="03040600000000000000" pitchFamily="66" charset="-127"/>
              </a:rPr>
              <a:t>  "records": [</a:t>
            </a:r>
          </a:p>
          <a:p>
            <a:r>
              <a:rPr lang="en-US" sz="1050" dirty="0">
                <a:solidFill>
                  <a:srgbClr val="C5277F"/>
                </a:solidFill>
                <a:latin typeface="Comic Sans MS" panose="030F0902030302020204" pitchFamily="66" charset="0"/>
                <a:ea typeface="Nanum Pen Script" panose="03040600000000000000" pitchFamily="66" charset="-127"/>
              </a:rPr>
              <a:t>    {</a:t>
            </a:r>
          </a:p>
          <a:p>
            <a:r>
              <a:rPr lang="en-US" sz="1050" dirty="0">
                <a:solidFill>
                  <a:srgbClr val="C5277F"/>
                </a:solidFill>
                <a:latin typeface="Comic Sans MS" panose="030F0902030302020204" pitchFamily="66" charset="0"/>
                <a:ea typeface="Nanum Pen Script" panose="03040600000000000000" pitchFamily="66" charset="-127"/>
              </a:rPr>
              <a:t>      "key": "</a:t>
            </a:r>
            <a:r>
              <a:rPr lang="en-US" sz="1050" dirty="0" err="1">
                <a:solidFill>
                  <a:srgbClr val="C5277F"/>
                </a:solidFill>
                <a:latin typeface="Comic Sans MS" panose="030F0902030302020204" pitchFamily="66" charset="0"/>
                <a:ea typeface="Nanum Pen Script" panose="03040600000000000000" pitchFamily="66" charset="-127"/>
              </a:rPr>
              <a:t>somekey</a:t>
            </a:r>
            <a:r>
              <a:rPr lang="en-US" sz="1050" dirty="0">
                <a:solidFill>
                  <a:srgbClr val="C5277F"/>
                </a:solidFill>
                <a:latin typeface="Comic Sans MS" panose="030F0902030302020204" pitchFamily="66" charset="0"/>
                <a:ea typeface="Nanum Pen Script" panose="03040600000000000000" pitchFamily="66" charset="-127"/>
              </a:rPr>
              <a:t>",</a:t>
            </a:r>
          </a:p>
          <a:p>
            <a:r>
              <a:rPr lang="en-US" sz="1050" dirty="0">
                <a:solidFill>
                  <a:srgbClr val="C5277F"/>
                </a:solidFill>
                <a:latin typeface="Comic Sans MS" panose="030F0902030302020204" pitchFamily="66" charset="0"/>
                <a:ea typeface="Nanum Pen Script" panose="03040600000000000000" pitchFamily="66" charset="-127"/>
              </a:rPr>
              <a:t>      "value": {"foo": "bar"}</a:t>
            </a:r>
          </a:p>
          <a:p>
            <a:r>
              <a:rPr lang="en-US" sz="1050" dirty="0">
                <a:solidFill>
                  <a:srgbClr val="C5277F"/>
                </a:solidFill>
                <a:latin typeface="Comic Sans MS" panose="030F0902030302020204" pitchFamily="66" charset="0"/>
                <a:ea typeface="Nanum Pen Script" panose="03040600000000000000" pitchFamily="66" charset="-127"/>
              </a:rPr>
              <a:t>    },</a:t>
            </a:r>
          </a:p>
          <a:p>
            <a:r>
              <a:rPr lang="en-US" sz="1050" dirty="0">
                <a:solidFill>
                  <a:srgbClr val="C5277F"/>
                </a:solidFill>
                <a:latin typeface="Comic Sans MS" panose="030F0902030302020204" pitchFamily="66" charset="0"/>
                <a:ea typeface="Nanum Pen Script" panose="03040600000000000000" pitchFamily="66" charset="-127"/>
              </a:rPr>
              <a:t>    {</a:t>
            </a:r>
          </a:p>
          <a:p>
            <a:r>
              <a:rPr lang="en-US" sz="1050" dirty="0">
                <a:solidFill>
                  <a:srgbClr val="C5277F"/>
                </a:solidFill>
                <a:latin typeface="Comic Sans MS" panose="030F0902030302020204" pitchFamily="66" charset="0"/>
                <a:ea typeface="Nanum Pen Script" panose="03040600000000000000" pitchFamily="66" charset="-127"/>
              </a:rPr>
              <a:t>      "value": 53.5</a:t>
            </a:r>
          </a:p>
          <a:p>
            <a:r>
              <a:rPr lang="en-US" sz="1050" dirty="0">
                <a:solidFill>
                  <a:srgbClr val="C5277F"/>
                </a:solidFill>
                <a:latin typeface="Comic Sans MS" panose="030F0902030302020204" pitchFamily="66" charset="0"/>
                <a:ea typeface="Nanum Pen Script" panose="03040600000000000000" pitchFamily="66" charset="-127"/>
              </a:rPr>
              <a:t>    }</a:t>
            </a:r>
          </a:p>
          <a:p>
            <a:r>
              <a:rPr lang="en-US" sz="1050" dirty="0">
                <a:solidFill>
                  <a:srgbClr val="C5277F"/>
                </a:solidFill>
                <a:latin typeface="Comic Sans MS" panose="030F0902030302020204" pitchFamily="66" charset="0"/>
                <a:ea typeface="Nanum Pen Script" panose="03040600000000000000" pitchFamily="66" charset="-127"/>
              </a:rPr>
              <a:t>  ]</a:t>
            </a:r>
          </a:p>
          <a:p>
            <a:r>
              <a:rPr lang="en-US" sz="1050" dirty="0">
                <a:solidFill>
                  <a:srgbClr val="C5277F"/>
                </a:solidFill>
                <a:latin typeface="Comic Sans MS" panose="030F0902030302020204" pitchFamily="66" charset="0"/>
                <a:ea typeface="Nanum Pen Script" panose="03040600000000000000" pitchFamily="66" charset="-127"/>
              </a:rPr>
              <a:t>}</a:t>
            </a:r>
          </a:p>
        </p:txBody>
      </p:sp>
      <p:sp>
        <p:nvSpPr>
          <p:cNvPr id="2" name="Rectangle 1">
            <a:extLst>
              <a:ext uri="{FF2B5EF4-FFF2-40B4-BE49-F238E27FC236}">
                <a16:creationId xmlns:a16="http://schemas.microsoft.com/office/drawing/2014/main" id="{F4B25D9A-9EE4-714D-BADC-BD139AD3B10F}"/>
              </a:ext>
            </a:extLst>
          </p:cNvPr>
          <p:cNvSpPr/>
          <p:nvPr/>
        </p:nvSpPr>
        <p:spPr>
          <a:xfrm rot="19809890">
            <a:off x="3218689" y="2446126"/>
            <a:ext cx="4754880" cy="923330"/>
          </a:xfrm>
          <a:prstGeom prst="rect">
            <a:avLst/>
          </a:prstGeom>
          <a:noFill/>
        </p:spPr>
        <p:txBody>
          <a:bodyPr wrap="square" lIns="91440" tIns="45720" rIns="91440" bIns="45720">
            <a:spAutoFit/>
          </a:bodyPr>
          <a:lstStyle/>
          <a:p>
            <a:pPr algn="ctr"/>
            <a:r>
              <a:rPr lang="en-US" sz="5400" dirty="0">
                <a:ln w="0"/>
                <a:solidFill>
                  <a:schemeClr val="accent1">
                    <a:alpha val="16000"/>
                  </a:schemeClr>
                </a:solidFill>
                <a:effectLst>
                  <a:outerShdw blurRad="38100" dist="25400" dir="5400000" algn="ctr" rotWithShape="0">
                    <a:srgbClr val="6E747A">
                      <a:alpha val="43000"/>
                    </a:srgbClr>
                  </a:outerShdw>
                </a:effectLst>
              </a:rPr>
              <a:t>DRAFT</a:t>
            </a:r>
            <a:endParaRPr lang="en-US" sz="5400" b="0" cap="none" spc="0" dirty="0">
              <a:ln w="0"/>
              <a:solidFill>
                <a:schemeClr val="accent1">
                  <a:alpha val="16000"/>
                </a:schemeClr>
              </a:solidFill>
              <a:effectLst>
                <a:outerShdw blurRad="38100" dist="25400" dir="5400000" algn="ctr" rotWithShape="0">
                  <a:srgbClr val="6E747A">
                    <a:alpha val="43000"/>
                  </a:srgbClr>
                </a:outerShdw>
              </a:effectLst>
            </a:endParaRPr>
          </a:p>
        </p:txBody>
      </p:sp>
    </p:spTree>
    <p:extLst>
      <p:ext uri="{BB962C8B-B14F-4D97-AF65-F5344CB8AC3E}">
        <p14:creationId xmlns:p14="http://schemas.microsoft.com/office/powerpoint/2010/main" val="1598992177"/>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8" name="Rectangle 3"/>
          <p:cNvSpPr txBox="1"/>
          <p:nvPr/>
        </p:nvSpPr>
        <p:spPr>
          <a:xfrm>
            <a:off x="377375" y="524553"/>
            <a:ext cx="8037160" cy="369328"/>
          </a:xfrm>
          <a:prstGeom prst="rect">
            <a:avLst/>
          </a:prstGeom>
          <a:ln w="12700">
            <a:miter lim="400000"/>
          </a:ln>
          <a:extLst>
            <a:ext uri="{C572A759-6A51-4108-AA02-DFA0A04FC94B}">
              <ma14:wrappingTextBoxFlag xmlns="" xmlns:ma14="http://schemas.microsoft.com/office/mac/drawingml/2011/main" val="1"/>
            </a:ext>
          </a:extLst>
        </p:spPr>
        <p:txBody>
          <a:bodyPr wrap="square" lIns="45718" tIns="45718" rIns="45718" bIns="45718">
            <a:spAutoFit/>
          </a:bodyPr>
          <a:lstStyle>
            <a:lvl1pPr algn="l" defTabSz="914400">
              <a:defRPr sz="2000">
                <a:solidFill>
                  <a:srgbClr val="104D6A"/>
                </a:solidFill>
                <a:latin typeface="Arial"/>
                <a:ea typeface="Arial"/>
                <a:cs typeface="Arial"/>
                <a:sym typeface="Arial"/>
              </a:defRPr>
            </a:lvl1pPr>
          </a:lstStyle>
          <a:p>
            <a:pPr lvl="0">
              <a:defRPr/>
            </a:pPr>
            <a:r>
              <a:rPr lang="en-US" sz="1800" b="1" dirty="0">
                <a:solidFill>
                  <a:srgbClr val="73C4EF"/>
                </a:solidFill>
              </a:rPr>
              <a:t> Event Hub Architecture -  Internal Structure Of </a:t>
            </a:r>
            <a:r>
              <a:rPr lang="en-US" sz="1800" b="1" dirty="0" err="1">
                <a:solidFill>
                  <a:srgbClr val="73C4EF"/>
                </a:solidFill>
              </a:rPr>
              <a:t>ConsumerService</a:t>
            </a:r>
            <a:r>
              <a:rPr lang="en-US" sz="1800" b="1" dirty="0">
                <a:solidFill>
                  <a:srgbClr val="73C4EF"/>
                </a:solidFill>
              </a:rPr>
              <a:t> I</a:t>
            </a:r>
          </a:p>
        </p:txBody>
      </p:sp>
      <p:sp>
        <p:nvSpPr>
          <p:cNvPr id="5" name="Rectangle 3">
            <a:extLst>
              <a:ext uri="{FF2B5EF4-FFF2-40B4-BE49-F238E27FC236}">
                <a16:creationId xmlns:a16="http://schemas.microsoft.com/office/drawing/2014/main" id="{F3BCF96F-43FE-3A4D-B4EC-B79E124C9963}"/>
              </a:ext>
            </a:extLst>
          </p:cNvPr>
          <p:cNvSpPr txBox="1"/>
          <p:nvPr/>
        </p:nvSpPr>
        <p:spPr>
          <a:xfrm>
            <a:off x="404806" y="92199"/>
            <a:ext cx="7585857" cy="400105"/>
          </a:xfrm>
          <a:prstGeom prst="rect">
            <a:avLst/>
          </a:prstGeom>
          <a:ln w="12700">
            <a:miter lim="400000"/>
          </a:ln>
          <a:extLst>
            <a:ext uri="{C572A759-6A51-4108-AA02-DFA0A04FC94B}">
              <ma14:wrappingTextBoxFlag xmlns:ma14="http://schemas.microsoft.com/office/mac/drawingml/2011/main" xmlns="" val="1"/>
            </a:ext>
          </a:extLst>
        </p:spPr>
        <p:txBody>
          <a:bodyPr wrap="square" lIns="45718" tIns="45718" rIns="45718" bIns="45718">
            <a:spAutoFit/>
          </a:bodyPr>
          <a:lstStyle>
            <a:lvl1pPr algn="l" defTabSz="914400">
              <a:defRPr sz="2200" b="1">
                <a:solidFill>
                  <a:srgbClr val="FFFFFF"/>
                </a:solidFill>
                <a:latin typeface="Arial"/>
                <a:ea typeface="Arial"/>
                <a:cs typeface="Arial"/>
                <a:sym typeface="Arial"/>
              </a:defRPr>
            </a:lvl1pPr>
          </a:lstStyle>
          <a:p>
            <a:r>
              <a:rPr lang="en-US" sz="2000" dirty="0">
                <a:solidFill>
                  <a:srgbClr val="016AA2"/>
                </a:solidFill>
              </a:rPr>
              <a:t>Needs and Solution Proposal (XIII)</a:t>
            </a:r>
          </a:p>
        </p:txBody>
      </p:sp>
      <p:sp>
        <p:nvSpPr>
          <p:cNvPr id="2" name="Hexagon 1">
            <a:extLst>
              <a:ext uri="{FF2B5EF4-FFF2-40B4-BE49-F238E27FC236}">
                <a16:creationId xmlns:a16="http://schemas.microsoft.com/office/drawing/2014/main" id="{5A15C994-10AE-9D45-92BA-2E2ADDBBD6B4}"/>
              </a:ext>
            </a:extLst>
          </p:cNvPr>
          <p:cNvSpPr/>
          <p:nvPr/>
        </p:nvSpPr>
        <p:spPr>
          <a:xfrm>
            <a:off x="5561076" y="1748243"/>
            <a:ext cx="1417320" cy="1042416"/>
          </a:xfrm>
          <a:prstGeom prst="hexagon">
            <a:avLst/>
          </a:prstGeom>
          <a:solidFill>
            <a:srgbClr val="87CBD8"/>
          </a:solidFill>
          <a:ln w="9525">
            <a:solidFill>
              <a:srgbClr val="0067B7"/>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300" dirty="0">
              <a:solidFill>
                <a:srgbClr val="0067B7"/>
              </a:solidFill>
              <a:effectLst>
                <a:outerShdw blurRad="50800" dist="50800" dir="5400000" algn="ctr" rotWithShape="0">
                  <a:srgbClr val="000000">
                    <a:alpha val="0"/>
                  </a:srgbClr>
                </a:outerShdw>
                <a:reflection endPos="0" dist="50800" dir="5400000" sy="-100000" algn="bl" rotWithShape="0"/>
              </a:effectLst>
              <a:latin typeface="+mj-lt"/>
              <a:ea typeface="Klee Medium" panose="02020600000000000000" pitchFamily="18" charset="-128"/>
            </a:endParaRPr>
          </a:p>
        </p:txBody>
      </p:sp>
      <p:sp>
        <p:nvSpPr>
          <p:cNvPr id="3" name="Rounded Rectangle 2">
            <a:extLst>
              <a:ext uri="{FF2B5EF4-FFF2-40B4-BE49-F238E27FC236}">
                <a16:creationId xmlns:a16="http://schemas.microsoft.com/office/drawing/2014/main" id="{1607C3BC-E32F-8047-9DBE-49D7C20A1F95}"/>
              </a:ext>
            </a:extLst>
          </p:cNvPr>
          <p:cNvSpPr/>
          <p:nvPr/>
        </p:nvSpPr>
        <p:spPr>
          <a:xfrm>
            <a:off x="4653496" y="2188364"/>
            <a:ext cx="737588" cy="196297"/>
          </a:xfrm>
          <a:prstGeom prst="roundRect">
            <a:avLst/>
          </a:prstGeom>
          <a:solidFill>
            <a:srgbClr val="0067B7"/>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900" dirty="0" err="1">
                <a:solidFill>
                  <a:schemeClr val="bg1">
                    <a:lumMod val="95000"/>
                  </a:schemeClr>
                </a:solidFill>
                <a:latin typeface="Arial" pitchFamily="34" charset="0"/>
                <a:cs typeface="Arial" pitchFamily="34" charset="0"/>
              </a:rPr>
              <a:t>Massagge</a:t>
            </a:r>
            <a:endParaRPr lang="en-US" sz="900" dirty="0">
              <a:solidFill>
                <a:schemeClr val="bg1">
                  <a:lumMod val="95000"/>
                </a:schemeClr>
              </a:solidFill>
              <a:latin typeface="Arial" pitchFamily="34" charset="0"/>
              <a:cs typeface="Arial" pitchFamily="34" charset="0"/>
            </a:endParaRPr>
          </a:p>
        </p:txBody>
      </p:sp>
      <p:sp>
        <p:nvSpPr>
          <p:cNvPr id="7" name="Google Shape;61;p12">
            <a:extLst>
              <a:ext uri="{FF2B5EF4-FFF2-40B4-BE49-F238E27FC236}">
                <a16:creationId xmlns:a16="http://schemas.microsoft.com/office/drawing/2014/main" id="{E62C83A0-1A89-EA44-8BA2-7FBA6D441834}"/>
              </a:ext>
            </a:extLst>
          </p:cNvPr>
          <p:cNvSpPr txBox="1">
            <a:spLocks/>
          </p:cNvSpPr>
          <p:nvPr/>
        </p:nvSpPr>
        <p:spPr>
          <a:xfrm>
            <a:off x="4718910" y="2384661"/>
            <a:ext cx="672174" cy="275128"/>
          </a:xfrm>
          <a:prstGeom prst="rect">
            <a:avLst/>
          </a:prstGeom>
        </p:spPr>
        <p:txBody>
          <a:bodyPr spcFirstLastPara="1" vert="horz" wrap="square" lIns="91425" tIns="91425" rIns="91425" bIns="91425" rtlCol="0" anchor="ctr"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spcBef>
                <a:spcPts val="0"/>
              </a:spcBef>
            </a:pPr>
            <a:r>
              <a:rPr lang="en-US" sz="1000" b="1" dirty="0" err="1">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EndPoint</a:t>
            </a:r>
            <a:endParaRPr lang="en-US" sz="1000" b="1" dirty="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endParaRPr>
          </a:p>
        </p:txBody>
      </p:sp>
      <p:sp>
        <p:nvSpPr>
          <p:cNvPr id="12" name="Hexagon 11">
            <a:extLst>
              <a:ext uri="{FF2B5EF4-FFF2-40B4-BE49-F238E27FC236}">
                <a16:creationId xmlns:a16="http://schemas.microsoft.com/office/drawing/2014/main" id="{A2C64534-600A-5D44-AE7B-BC153A3D2E6A}"/>
              </a:ext>
            </a:extLst>
          </p:cNvPr>
          <p:cNvSpPr/>
          <p:nvPr/>
        </p:nvSpPr>
        <p:spPr>
          <a:xfrm>
            <a:off x="5864484" y="1974366"/>
            <a:ext cx="852976" cy="592669"/>
          </a:xfrm>
          <a:prstGeom prst="hexagon">
            <a:avLst/>
          </a:prstGeom>
          <a:solidFill>
            <a:schemeClr val="bg1"/>
          </a:solidFill>
          <a:ln w="9525">
            <a:solidFill>
              <a:srgbClr val="0067B7"/>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800" dirty="0">
                <a:solidFill>
                  <a:srgbClr val="0067B7"/>
                </a:solidFill>
                <a:effectLst>
                  <a:outerShdw blurRad="50800" dist="50800" dir="5400000" algn="ctr" rotWithShape="0">
                    <a:srgbClr val="000000">
                      <a:alpha val="0"/>
                    </a:srgbClr>
                  </a:outerShdw>
                  <a:reflection endPos="0" dist="50800" dir="5400000" sy="-100000" algn="bl" rotWithShape="0"/>
                </a:effectLst>
                <a:latin typeface="+mj-lt"/>
                <a:ea typeface="Klee Medium" panose="02020600000000000000" pitchFamily="18" charset="-128"/>
              </a:rPr>
              <a:t>Business</a:t>
            </a:r>
          </a:p>
          <a:p>
            <a:pPr algn="ctr"/>
            <a:r>
              <a:rPr lang="en-US" sz="800" dirty="0">
                <a:solidFill>
                  <a:srgbClr val="0067B7"/>
                </a:solidFill>
                <a:effectLst>
                  <a:outerShdw blurRad="50800" dist="50800" dir="5400000" algn="ctr" rotWithShape="0">
                    <a:srgbClr val="000000">
                      <a:alpha val="0"/>
                    </a:srgbClr>
                  </a:outerShdw>
                  <a:reflection endPos="0" dist="50800" dir="5400000" sy="-100000" algn="bl" rotWithShape="0"/>
                </a:effectLst>
                <a:latin typeface="+mj-lt"/>
                <a:ea typeface="Klee Medium" panose="02020600000000000000" pitchFamily="18" charset="-128"/>
              </a:rPr>
              <a:t>Logic</a:t>
            </a:r>
          </a:p>
        </p:txBody>
      </p:sp>
      <p:sp>
        <p:nvSpPr>
          <p:cNvPr id="4" name="Rectangle 3">
            <a:extLst>
              <a:ext uri="{FF2B5EF4-FFF2-40B4-BE49-F238E27FC236}">
                <a16:creationId xmlns:a16="http://schemas.microsoft.com/office/drawing/2014/main" id="{829DF995-3414-CD40-80D1-82A37EDFD575}"/>
              </a:ext>
            </a:extLst>
          </p:cNvPr>
          <p:cNvSpPr/>
          <p:nvPr/>
        </p:nvSpPr>
        <p:spPr>
          <a:xfrm rot="16200000">
            <a:off x="5314188" y="2166760"/>
            <a:ext cx="420624" cy="246888"/>
          </a:xfrm>
          <a:prstGeom prst="rect">
            <a:avLst/>
          </a:prstGeom>
          <a:solidFill>
            <a:srgbClr val="F26F27"/>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900" dirty="0">
                <a:solidFill>
                  <a:srgbClr val="002D72"/>
                </a:solidFill>
                <a:latin typeface="Arial" pitchFamily="34" charset="0"/>
                <a:cs typeface="Arial" pitchFamily="34" charset="0"/>
              </a:rPr>
              <a:t>API</a:t>
            </a:r>
          </a:p>
        </p:txBody>
      </p:sp>
      <p:sp>
        <p:nvSpPr>
          <p:cNvPr id="52" name="Google Shape;61;p12">
            <a:extLst>
              <a:ext uri="{FF2B5EF4-FFF2-40B4-BE49-F238E27FC236}">
                <a16:creationId xmlns:a16="http://schemas.microsoft.com/office/drawing/2014/main" id="{FAA5C24C-6A27-2C4D-B26F-3BE3C1B5F63C}"/>
              </a:ext>
            </a:extLst>
          </p:cNvPr>
          <p:cNvSpPr txBox="1">
            <a:spLocks/>
          </p:cNvSpPr>
          <p:nvPr/>
        </p:nvSpPr>
        <p:spPr>
          <a:xfrm>
            <a:off x="3032564" y="2005234"/>
            <a:ext cx="1610960" cy="275128"/>
          </a:xfrm>
          <a:prstGeom prst="rect">
            <a:avLst/>
          </a:prstGeom>
        </p:spPr>
        <p:txBody>
          <a:bodyPr spcFirstLastPara="1" vert="horz" wrap="square" lIns="91425" tIns="91425" rIns="91425" bIns="91425" rtlCol="0" anchor="ctr"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spcBef>
                <a:spcPts val="0"/>
              </a:spcBef>
            </a:pPr>
            <a:r>
              <a:rPr lang="en-US" sz="1000" dirty="0">
                <a:solidFill>
                  <a:schemeClr val="tx1">
                    <a:lumMod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POST 1 PUT 1 PATCH ] /message </a:t>
            </a:r>
          </a:p>
        </p:txBody>
      </p:sp>
      <p:sp>
        <p:nvSpPr>
          <p:cNvPr id="6" name="Can 5">
            <a:extLst>
              <a:ext uri="{FF2B5EF4-FFF2-40B4-BE49-F238E27FC236}">
                <a16:creationId xmlns:a16="http://schemas.microsoft.com/office/drawing/2014/main" id="{A65977E2-6B00-FD4E-AD5D-E72021BEEF77}"/>
              </a:ext>
            </a:extLst>
          </p:cNvPr>
          <p:cNvSpPr/>
          <p:nvPr/>
        </p:nvSpPr>
        <p:spPr>
          <a:xfrm rot="5400000">
            <a:off x="8067186" y="1789912"/>
            <a:ext cx="457200" cy="963308"/>
          </a:xfrm>
          <a:prstGeom prst="can">
            <a:avLst/>
          </a:prstGeom>
          <a:solidFill>
            <a:srgbClr val="0070C0"/>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vert="vert270" tIns="90000" bIns="90000" rtlCol="0" anchor="ctr" anchorCtr="0"/>
          <a:lstStyle/>
          <a:p>
            <a:pPr algn="ctr"/>
            <a:r>
              <a:rPr lang="en-US" sz="900" dirty="0">
                <a:solidFill>
                  <a:schemeClr val="bg1">
                    <a:lumMod val="95000"/>
                  </a:schemeClr>
                </a:solidFill>
                <a:latin typeface="Arial" pitchFamily="34" charset="0"/>
                <a:cs typeface="Arial" pitchFamily="34" charset="0"/>
              </a:rPr>
              <a:t>Event Hub</a:t>
            </a:r>
          </a:p>
        </p:txBody>
      </p:sp>
      <p:cxnSp>
        <p:nvCxnSpPr>
          <p:cNvPr id="31" name="Elbow Connector 30">
            <a:extLst>
              <a:ext uri="{FF2B5EF4-FFF2-40B4-BE49-F238E27FC236}">
                <a16:creationId xmlns:a16="http://schemas.microsoft.com/office/drawing/2014/main" id="{E686CCBD-BBAF-EC4D-A4AC-8BC2E6484963}"/>
              </a:ext>
            </a:extLst>
          </p:cNvPr>
          <p:cNvCxnSpPr>
            <a:cxnSpLocks/>
            <a:stCxn id="2" idx="0"/>
            <a:endCxn id="6" idx="3"/>
          </p:cNvCxnSpPr>
          <p:nvPr/>
        </p:nvCxnSpPr>
        <p:spPr>
          <a:xfrm>
            <a:off x="6978396" y="2269451"/>
            <a:ext cx="835736" cy="2115"/>
          </a:xfrm>
          <a:prstGeom prst="bentConnector3">
            <a:avLst/>
          </a:prstGeom>
          <a:ln>
            <a:solidFill>
              <a:srgbClr val="0067B7"/>
            </a:solidFill>
            <a:tailEnd type="triangle"/>
          </a:ln>
        </p:spPr>
        <p:style>
          <a:lnRef idx="1">
            <a:schemeClr val="accent1"/>
          </a:lnRef>
          <a:fillRef idx="0">
            <a:schemeClr val="accent1"/>
          </a:fillRef>
          <a:effectRef idx="0">
            <a:schemeClr val="accent1"/>
          </a:effectRef>
          <a:fontRef idx="minor">
            <a:schemeClr val="tx1"/>
          </a:fontRef>
        </p:style>
      </p:cxnSp>
      <p:sp>
        <p:nvSpPr>
          <p:cNvPr id="36" name="Hexagon 35">
            <a:extLst>
              <a:ext uri="{FF2B5EF4-FFF2-40B4-BE49-F238E27FC236}">
                <a16:creationId xmlns:a16="http://schemas.microsoft.com/office/drawing/2014/main" id="{959BC435-6F10-7F41-8B20-2954DE3BAAD8}"/>
              </a:ext>
            </a:extLst>
          </p:cNvPr>
          <p:cNvSpPr/>
          <p:nvPr/>
        </p:nvSpPr>
        <p:spPr>
          <a:xfrm>
            <a:off x="9207208" y="1460738"/>
            <a:ext cx="343400" cy="371315"/>
          </a:xfrm>
          <a:prstGeom prst="hexagon">
            <a:avLst/>
          </a:prstGeom>
          <a:solidFill>
            <a:srgbClr val="87CBD8"/>
          </a:solidFill>
          <a:ln w="9525">
            <a:solidFill>
              <a:srgbClr val="0067B7"/>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300" dirty="0">
              <a:solidFill>
                <a:srgbClr val="0067B7"/>
              </a:solidFill>
              <a:effectLst>
                <a:outerShdw blurRad="50800" dist="50800" dir="5400000" algn="ctr" rotWithShape="0">
                  <a:srgbClr val="000000">
                    <a:alpha val="0"/>
                  </a:srgbClr>
                </a:outerShdw>
                <a:reflection endPos="0" dist="50800" dir="5400000" sy="-100000" algn="bl" rotWithShape="0"/>
              </a:effectLst>
              <a:latin typeface="+mj-lt"/>
              <a:ea typeface="Klee Medium" panose="02020600000000000000" pitchFamily="18" charset="-128"/>
            </a:endParaRPr>
          </a:p>
        </p:txBody>
      </p:sp>
      <p:sp>
        <p:nvSpPr>
          <p:cNvPr id="37" name="Hexagon 36">
            <a:extLst>
              <a:ext uri="{FF2B5EF4-FFF2-40B4-BE49-F238E27FC236}">
                <a16:creationId xmlns:a16="http://schemas.microsoft.com/office/drawing/2014/main" id="{0670B304-0A60-724E-914F-3BD586A76CC8}"/>
              </a:ext>
            </a:extLst>
          </p:cNvPr>
          <p:cNvSpPr/>
          <p:nvPr/>
        </p:nvSpPr>
        <p:spPr>
          <a:xfrm>
            <a:off x="9673552" y="2083793"/>
            <a:ext cx="370551" cy="371315"/>
          </a:xfrm>
          <a:prstGeom prst="hexagon">
            <a:avLst/>
          </a:prstGeom>
          <a:solidFill>
            <a:srgbClr val="87CBD8"/>
          </a:solidFill>
          <a:ln w="9525">
            <a:solidFill>
              <a:srgbClr val="0067B7"/>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300" dirty="0">
              <a:solidFill>
                <a:srgbClr val="0067B7"/>
              </a:solidFill>
              <a:effectLst>
                <a:outerShdw blurRad="50800" dist="50800" dir="5400000" algn="ctr" rotWithShape="0">
                  <a:srgbClr val="000000">
                    <a:alpha val="0"/>
                  </a:srgbClr>
                </a:outerShdw>
                <a:reflection endPos="0" dist="50800" dir="5400000" sy="-100000" algn="bl" rotWithShape="0"/>
              </a:effectLst>
              <a:latin typeface="+mj-lt"/>
              <a:ea typeface="Klee Medium" panose="02020600000000000000" pitchFamily="18" charset="-128"/>
            </a:endParaRPr>
          </a:p>
        </p:txBody>
      </p:sp>
      <p:sp>
        <p:nvSpPr>
          <p:cNvPr id="38" name="Hexagon 37">
            <a:extLst>
              <a:ext uri="{FF2B5EF4-FFF2-40B4-BE49-F238E27FC236}">
                <a16:creationId xmlns:a16="http://schemas.microsoft.com/office/drawing/2014/main" id="{DD254DDE-6728-EC45-AFA2-4869E1BED0DC}"/>
              </a:ext>
            </a:extLst>
          </p:cNvPr>
          <p:cNvSpPr/>
          <p:nvPr/>
        </p:nvSpPr>
        <p:spPr>
          <a:xfrm>
            <a:off x="9207208" y="2673793"/>
            <a:ext cx="343400" cy="371315"/>
          </a:xfrm>
          <a:prstGeom prst="hexagon">
            <a:avLst/>
          </a:prstGeom>
          <a:solidFill>
            <a:srgbClr val="87CBD8"/>
          </a:solidFill>
          <a:ln w="9525">
            <a:solidFill>
              <a:srgbClr val="0067B7"/>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300" dirty="0">
              <a:solidFill>
                <a:srgbClr val="0067B7"/>
              </a:solidFill>
              <a:effectLst>
                <a:outerShdw blurRad="50800" dist="50800" dir="5400000" algn="ctr" rotWithShape="0">
                  <a:srgbClr val="000000">
                    <a:alpha val="0"/>
                  </a:srgbClr>
                </a:outerShdw>
                <a:reflection endPos="0" dist="50800" dir="5400000" sy="-100000" algn="bl" rotWithShape="0"/>
              </a:effectLst>
              <a:latin typeface="+mj-lt"/>
              <a:ea typeface="Klee Medium" panose="02020600000000000000" pitchFamily="18" charset="-128"/>
            </a:endParaRPr>
          </a:p>
        </p:txBody>
      </p:sp>
      <p:cxnSp>
        <p:nvCxnSpPr>
          <p:cNvPr id="43" name="Straight Arrow Connector 42">
            <a:extLst>
              <a:ext uri="{FF2B5EF4-FFF2-40B4-BE49-F238E27FC236}">
                <a16:creationId xmlns:a16="http://schemas.microsoft.com/office/drawing/2014/main" id="{822EA1FC-1497-C540-8C1A-A51631996B94}"/>
              </a:ext>
            </a:extLst>
          </p:cNvPr>
          <p:cNvCxnSpPr>
            <a:cxnSpLocks/>
            <a:stCxn id="6" idx="1"/>
            <a:endCxn id="36" idx="3"/>
          </p:cNvCxnSpPr>
          <p:nvPr/>
        </p:nvCxnSpPr>
        <p:spPr>
          <a:xfrm flipV="1">
            <a:off x="8777440" y="1646396"/>
            <a:ext cx="429768" cy="625170"/>
          </a:xfrm>
          <a:prstGeom prst="straightConnector1">
            <a:avLst/>
          </a:prstGeom>
          <a:ln>
            <a:solidFill>
              <a:srgbClr val="0067B7"/>
            </a:solidFill>
            <a:tailEnd type="triangle"/>
          </a:ln>
        </p:spPr>
        <p:style>
          <a:lnRef idx="1">
            <a:schemeClr val="accent1"/>
          </a:lnRef>
          <a:fillRef idx="0">
            <a:schemeClr val="accent1"/>
          </a:fillRef>
          <a:effectRef idx="0">
            <a:schemeClr val="accent1"/>
          </a:effectRef>
          <a:fontRef idx="minor">
            <a:schemeClr val="tx1"/>
          </a:fontRef>
        </p:style>
      </p:cxnSp>
      <p:cxnSp>
        <p:nvCxnSpPr>
          <p:cNvPr id="53" name="Straight Arrow Connector 52">
            <a:extLst>
              <a:ext uri="{FF2B5EF4-FFF2-40B4-BE49-F238E27FC236}">
                <a16:creationId xmlns:a16="http://schemas.microsoft.com/office/drawing/2014/main" id="{3EBDDB87-8700-E24D-9FD1-8544A85AD01C}"/>
              </a:ext>
            </a:extLst>
          </p:cNvPr>
          <p:cNvCxnSpPr>
            <a:cxnSpLocks/>
            <a:stCxn id="6" idx="1"/>
            <a:endCxn id="37" idx="3"/>
          </p:cNvCxnSpPr>
          <p:nvPr/>
        </p:nvCxnSpPr>
        <p:spPr>
          <a:xfrm flipV="1">
            <a:off x="8777440" y="2269451"/>
            <a:ext cx="896112" cy="2115"/>
          </a:xfrm>
          <a:prstGeom prst="straightConnector1">
            <a:avLst/>
          </a:prstGeom>
          <a:ln>
            <a:solidFill>
              <a:srgbClr val="0067B7"/>
            </a:solidFill>
            <a:tailEnd type="triangle"/>
          </a:ln>
        </p:spPr>
        <p:style>
          <a:lnRef idx="1">
            <a:schemeClr val="accent1"/>
          </a:lnRef>
          <a:fillRef idx="0">
            <a:schemeClr val="accent1"/>
          </a:fillRef>
          <a:effectRef idx="0">
            <a:schemeClr val="accent1"/>
          </a:effectRef>
          <a:fontRef idx="minor">
            <a:schemeClr val="tx1"/>
          </a:fontRef>
        </p:style>
      </p:cxnSp>
      <p:cxnSp>
        <p:nvCxnSpPr>
          <p:cNvPr id="55" name="Straight Arrow Connector 54">
            <a:extLst>
              <a:ext uri="{FF2B5EF4-FFF2-40B4-BE49-F238E27FC236}">
                <a16:creationId xmlns:a16="http://schemas.microsoft.com/office/drawing/2014/main" id="{F6113DEB-DA9F-D842-A54E-16CDC75D5CFB}"/>
              </a:ext>
            </a:extLst>
          </p:cNvPr>
          <p:cNvCxnSpPr>
            <a:cxnSpLocks/>
            <a:stCxn id="6" idx="1"/>
            <a:endCxn id="38" idx="3"/>
          </p:cNvCxnSpPr>
          <p:nvPr/>
        </p:nvCxnSpPr>
        <p:spPr>
          <a:xfrm>
            <a:off x="8777440" y="2271566"/>
            <a:ext cx="429768" cy="587885"/>
          </a:xfrm>
          <a:prstGeom prst="straightConnector1">
            <a:avLst/>
          </a:prstGeom>
          <a:ln>
            <a:solidFill>
              <a:srgbClr val="0067B7"/>
            </a:solidFill>
            <a:tailEnd type="triangle"/>
          </a:ln>
        </p:spPr>
        <p:style>
          <a:lnRef idx="1">
            <a:schemeClr val="accent1"/>
          </a:lnRef>
          <a:fillRef idx="0">
            <a:schemeClr val="accent1"/>
          </a:fillRef>
          <a:effectRef idx="0">
            <a:schemeClr val="accent1"/>
          </a:effectRef>
          <a:fontRef idx="minor">
            <a:schemeClr val="tx1"/>
          </a:fontRef>
        </p:style>
      </p:cxnSp>
      <p:sp>
        <p:nvSpPr>
          <p:cNvPr id="58" name="Google Shape;61;p12">
            <a:extLst>
              <a:ext uri="{FF2B5EF4-FFF2-40B4-BE49-F238E27FC236}">
                <a16:creationId xmlns:a16="http://schemas.microsoft.com/office/drawing/2014/main" id="{065A0568-9F93-244E-A2C9-6BEF36A1D27E}"/>
              </a:ext>
            </a:extLst>
          </p:cNvPr>
          <p:cNvSpPr txBox="1">
            <a:spLocks/>
          </p:cNvSpPr>
          <p:nvPr/>
        </p:nvSpPr>
        <p:spPr>
          <a:xfrm>
            <a:off x="8772618" y="1981135"/>
            <a:ext cx="1052310" cy="275128"/>
          </a:xfrm>
          <a:prstGeom prst="rect">
            <a:avLst/>
          </a:prstGeom>
        </p:spPr>
        <p:txBody>
          <a:bodyPr spcFirstLastPara="1" vert="horz" wrap="square" lIns="91425" tIns="91425" rIns="91425" bIns="91425" rtlCol="0" anchor="ctr"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spcBef>
                <a:spcPts val="0"/>
              </a:spcBef>
            </a:pPr>
            <a:r>
              <a:rPr lang="en-US" sz="1100" b="1" dirty="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Events</a:t>
            </a:r>
          </a:p>
        </p:txBody>
      </p:sp>
      <p:sp>
        <p:nvSpPr>
          <p:cNvPr id="62" name="Google Shape;61;p12">
            <a:extLst>
              <a:ext uri="{FF2B5EF4-FFF2-40B4-BE49-F238E27FC236}">
                <a16:creationId xmlns:a16="http://schemas.microsoft.com/office/drawing/2014/main" id="{6CAE5796-A1F9-6843-96BE-20D6EE2B338C}"/>
              </a:ext>
            </a:extLst>
          </p:cNvPr>
          <p:cNvSpPr txBox="1">
            <a:spLocks/>
          </p:cNvSpPr>
          <p:nvPr/>
        </p:nvSpPr>
        <p:spPr>
          <a:xfrm>
            <a:off x="6868836" y="2280362"/>
            <a:ext cx="711623" cy="297585"/>
          </a:xfrm>
          <a:prstGeom prst="rect">
            <a:avLst/>
          </a:prstGeom>
        </p:spPr>
        <p:txBody>
          <a:bodyPr spcFirstLastPara="1" vert="horz" wrap="square" lIns="91425" tIns="91425" rIns="91425" bIns="91425" rtlCol="0" anchor="ctr"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spcBef>
                <a:spcPts val="0"/>
              </a:spcBef>
            </a:pPr>
            <a:r>
              <a:rPr lang="en-US" sz="1100" b="1" dirty="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Commands</a:t>
            </a:r>
          </a:p>
        </p:txBody>
      </p:sp>
      <p:sp>
        <p:nvSpPr>
          <p:cNvPr id="63" name="Google Shape;61;p12">
            <a:extLst>
              <a:ext uri="{FF2B5EF4-FFF2-40B4-BE49-F238E27FC236}">
                <a16:creationId xmlns:a16="http://schemas.microsoft.com/office/drawing/2014/main" id="{231FFC22-4AF4-6B48-ABE8-431E9B1D81DE}"/>
              </a:ext>
            </a:extLst>
          </p:cNvPr>
          <p:cNvSpPr txBox="1">
            <a:spLocks/>
          </p:cNvSpPr>
          <p:nvPr/>
        </p:nvSpPr>
        <p:spPr>
          <a:xfrm>
            <a:off x="781686" y="5118187"/>
            <a:ext cx="10977498" cy="1001689"/>
          </a:xfrm>
          <a:prstGeom prst="rect">
            <a:avLst/>
          </a:prstGeom>
        </p:spPr>
        <p:txBody>
          <a:bodyPr spcFirstLastPara="1" vert="horz" wrap="square" lIns="91425" tIns="91425" rIns="91425" bIns="91425" rtlCol="0" anchor="ctr"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marL="171450" indent="-171450" algn="l">
              <a:spcBef>
                <a:spcPts val="0"/>
              </a:spcBef>
              <a:buFont typeface="Arial" panose="020B0604020202020204" pitchFamily="34" charset="0"/>
              <a:buChar char="•"/>
            </a:pPr>
            <a:r>
              <a:rPr lang="en-US" sz="1200" dirty="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It is combined with event provisioning, as it ensures that all changes made to a resource state are stored as a sequence of immutable events in an event log.</a:t>
            </a:r>
          </a:p>
          <a:p>
            <a:pPr marL="171450" indent="-171450" algn="l">
              <a:spcBef>
                <a:spcPts val="0"/>
              </a:spcBef>
              <a:buFont typeface="Arial" panose="020B0604020202020204" pitchFamily="34" charset="0"/>
              <a:buChar char="•"/>
            </a:pPr>
            <a:r>
              <a:rPr lang="en-US" sz="1200" dirty="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It allows the reconstruction of the last state of the resource simply by reproducing the events.</a:t>
            </a:r>
          </a:p>
          <a:p>
            <a:pPr marL="171450" indent="-171450" algn="l">
              <a:spcBef>
                <a:spcPts val="0"/>
              </a:spcBef>
              <a:buFont typeface="Arial" panose="020B0604020202020204" pitchFamily="34" charset="0"/>
              <a:buChar char="•"/>
            </a:pPr>
            <a:r>
              <a:rPr lang="en-US" sz="1200" dirty="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The solution is very useful not only because it allows different systems to consume changes in resource status such as a series of events in the registry through an Event Hub capability, but also because it allows multiple query or command models to be implemented separately. , thus satisfying the need to admit different representations of data that are easier to scale.</a:t>
            </a:r>
          </a:p>
        </p:txBody>
      </p:sp>
      <p:sp>
        <p:nvSpPr>
          <p:cNvPr id="27" name="Hexagon 26">
            <a:extLst>
              <a:ext uri="{FF2B5EF4-FFF2-40B4-BE49-F238E27FC236}">
                <a16:creationId xmlns:a16="http://schemas.microsoft.com/office/drawing/2014/main" id="{5A411457-B290-DA4E-B445-45036988BAD2}"/>
              </a:ext>
            </a:extLst>
          </p:cNvPr>
          <p:cNvSpPr/>
          <p:nvPr/>
        </p:nvSpPr>
        <p:spPr>
          <a:xfrm>
            <a:off x="5528401" y="3729115"/>
            <a:ext cx="1417320" cy="1042416"/>
          </a:xfrm>
          <a:prstGeom prst="hexagon">
            <a:avLst/>
          </a:prstGeom>
          <a:solidFill>
            <a:srgbClr val="87CBD8"/>
          </a:solidFill>
          <a:ln w="9525">
            <a:solidFill>
              <a:srgbClr val="0067B7"/>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300" dirty="0">
              <a:solidFill>
                <a:srgbClr val="0067B7"/>
              </a:solidFill>
              <a:effectLst>
                <a:outerShdw blurRad="50800" dist="50800" dir="5400000" algn="ctr" rotWithShape="0">
                  <a:srgbClr val="000000">
                    <a:alpha val="0"/>
                  </a:srgbClr>
                </a:outerShdw>
                <a:reflection endPos="0" dist="50800" dir="5400000" sy="-100000" algn="bl" rotWithShape="0"/>
              </a:effectLst>
              <a:latin typeface="+mj-lt"/>
              <a:ea typeface="Klee Medium" panose="02020600000000000000" pitchFamily="18" charset="-128"/>
            </a:endParaRPr>
          </a:p>
        </p:txBody>
      </p:sp>
      <p:sp>
        <p:nvSpPr>
          <p:cNvPr id="28" name="Hexagon 27">
            <a:extLst>
              <a:ext uri="{FF2B5EF4-FFF2-40B4-BE49-F238E27FC236}">
                <a16:creationId xmlns:a16="http://schemas.microsoft.com/office/drawing/2014/main" id="{BD0FCAAC-EFA4-3F43-B51D-FBA69126FEFC}"/>
              </a:ext>
            </a:extLst>
          </p:cNvPr>
          <p:cNvSpPr/>
          <p:nvPr/>
        </p:nvSpPr>
        <p:spPr>
          <a:xfrm>
            <a:off x="5831809" y="3955238"/>
            <a:ext cx="839591" cy="592669"/>
          </a:xfrm>
          <a:prstGeom prst="hexagon">
            <a:avLst/>
          </a:prstGeom>
          <a:solidFill>
            <a:schemeClr val="bg1"/>
          </a:solidFill>
          <a:ln w="9525">
            <a:solidFill>
              <a:srgbClr val="0067B7"/>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800" dirty="0">
                <a:solidFill>
                  <a:srgbClr val="0067B7"/>
                </a:solidFill>
                <a:effectLst>
                  <a:outerShdw blurRad="50800" dist="50800" dir="5400000" algn="ctr" rotWithShape="0">
                    <a:srgbClr val="000000">
                      <a:alpha val="0"/>
                    </a:srgbClr>
                  </a:outerShdw>
                  <a:reflection endPos="0" dist="50800" dir="5400000" sy="-100000" algn="bl" rotWithShape="0"/>
                </a:effectLst>
                <a:latin typeface="+mj-lt"/>
                <a:ea typeface="Klee Medium" panose="02020600000000000000" pitchFamily="18" charset="-128"/>
              </a:rPr>
              <a:t>Business</a:t>
            </a:r>
          </a:p>
          <a:p>
            <a:pPr algn="ctr"/>
            <a:r>
              <a:rPr lang="en-US" sz="800" dirty="0">
                <a:solidFill>
                  <a:srgbClr val="0067B7"/>
                </a:solidFill>
                <a:effectLst>
                  <a:outerShdw blurRad="50800" dist="50800" dir="5400000" algn="ctr" rotWithShape="0">
                    <a:srgbClr val="000000">
                      <a:alpha val="0"/>
                    </a:srgbClr>
                  </a:outerShdw>
                  <a:reflection endPos="0" dist="50800" dir="5400000" sy="-100000" algn="bl" rotWithShape="0"/>
                </a:effectLst>
                <a:latin typeface="+mj-lt"/>
                <a:ea typeface="Klee Medium" panose="02020600000000000000" pitchFamily="18" charset="-128"/>
              </a:rPr>
              <a:t>Logic</a:t>
            </a:r>
          </a:p>
        </p:txBody>
      </p:sp>
      <p:sp>
        <p:nvSpPr>
          <p:cNvPr id="29" name="Rectangle 28">
            <a:extLst>
              <a:ext uri="{FF2B5EF4-FFF2-40B4-BE49-F238E27FC236}">
                <a16:creationId xmlns:a16="http://schemas.microsoft.com/office/drawing/2014/main" id="{AA27B91D-F882-734E-A698-7931DF9BCDF3}"/>
              </a:ext>
            </a:extLst>
          </p:cNvPr>
          <p:cNvSpPr/>
          <p:nvPr/>
        </p:nvSpPr>
        <p:spPr>
          <a:xfrm rot="16200000">
            <a:off x="5281513" y="4147632"/>
            <a:ext cx="420624" cy="246888"/>
          </a:xfrm>
          <a:prstGeom prst="rect">
            <a:avLst/>
          </a:prstGeom>
          <a:solidFill>
            <a:srgbClr val="F26F27"/>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900" dirty="0">
                <a:solidFill>
                  <a:srgbClr val="002D72"/>
                </a:solidFill>
                <a:latin typeface="Arial" pitchFamily="34" charset="0"/>
                <a:cs typeface="Arial" pitchFamily="34" charset="0"/>
              </a:rPr>
              <a:t>API</a:t>
            </a:r>
          </a:p>
        </p:txBody>
      </p:sp>
      <p:pic>
        <p:nvPicPr>
          <p:cNvPr id="65" name="Picture 64">
            <a:extLst>
              <a:ext uri="{FF2B5EF4-FFF2-40B4-BE49-F238E27FC236}">
                <a16:creationId xmlns:a16="http://schemas.microsoft.com/office/drawing/2014/main" id="{7A233ADC-0541-F242-AAA0-2A44D08ADDAA}"/>
              </a:ext>
            </a:extLst>
          </p:cNvPr>
          <p:cNvPicPr>
            <a:picLocks noChangeAspect="1"/>
          </p:cNvPicPr>
          <p:nvPr/>
        </p:nvPicPr>
        <p:blipFill>
          <a:blip r:embed="rId2"/>
          <a:stretch>
            <a:fillRect/>
          </a:stretch>
        </p:blipFill>
        <p:spPr>
          <a:xfrm>
            <a:off x="7814132" y="3782788"/>
            <a:ext cx="939555" cy="939555"/>
          </a:xfrm>
          <a:prstGeom prst="rect">
            <a:avLst/>
          </a:prstGeom>
        </p:spPr>
      </p:pic>
      <p:cxnSp>
        <p:nvCxnSpPr>
          <p:cNvPr id="74" name="Straight Arrow Connector 73">
            <a:extLst>
              <a:ext uri="{FF2B5EF4-FFF2-40B4-BE49-F238E27FC236}">
                <a16:creationId xmlns:a16="http://schemas.microsoft.com/office/drawing/2014/main" id="{5337F612-9F85-EA40-AA24-CBFAA5A1E744}"/>
              </a:ext>
            </a:extLst>
          </p:cNvPr>
          <p:cNvCxnSpPr>
            <a:cxnSpLocks/>
            <a:stCxn id="27" idx="0"/>
            <a:endCxn id="65" idx="1"/>
          </p:cNvCxnSpPr>
          <p:nvPr/>
        </p:nvCxnSpPr>
        <p:spPr>
          <a:xfrm>
            <a:off x="6945721" y="4250323"/>
            <a:ext cx="868411" cy="2243"/>
          </a:xfrm>
          <a:prstGeom prst="straightConnector1">
            <a:avLst/>
          </a:prstGeom>
          <a:ln>
            <a:solidFill>
              <a:srgbClr val="0067B7"/>
            </a:solidFill>
            <a:tailEnd type="triangle"/>
          </a:ln>
        </p:spPr>
        <p:style>
          <a:lnRef idx="1">
            <a:schemeClr val="accent1"/>
          </a:lnRef>
          <a:fillRef idx="0">
            <a:schemeClr val="accent1"/>
          </a:fillRef>
          <a:effectRef idx="0">
            <a:schemeClr val="accent1"/>
          </a:effectRef>
          <a:fontRef idx="minor">
            <a:schemeClr val="tx1"/>
          </a:fontRef>
        </p:style>
      </p:cxnSp>
      <p:sp>
        <p:nvSpPr>
          <p:cNvPr id="77" name="Google Shape;61;p12">
            <a:extLst>
              <a:ext uri="{FF2B5EF4-FFF2-40B4-BE49-F238E27FC236}">
                <a16:creationId xmlns:a16="http://schemas.microsoft.com/office/drawing/2014/main" id="{9336C560-FAB6-5F45-901C-5595A5861E76}"/>
              </a:ext>
            </a:extLst>
          </p:cNvPr>
          <p:cNvSpPr txBox="1">
            <a:spLocks/>
          </p:cNvSpPr>
          <p:nvPr/>
        </p:nvSpPr>
        <p:spPr>
          <a:xfrm>
            <a:off x="3353571" y="3970681"/>
            <a:ext cx="983512" cy="275128"/>
          </a:xfrm>
          <a:prstGeom prst="rect">
            <a:avLst/>
          </a:prstGeom>
        </p:spPr>
        <p:txBody>
          <a:bodyPr spcFirstLastPara="1" vert="horz" wrap="square" lIns="91425" tIns="91425" rIns="91425" bIns="91425" rtlCol="0" anchor="ctr"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spcBef>
                <a:spcPts val="0"/>
              </a:spcBef>
            </a:pPr>
            <a:r>
              <a:rPr lang="en-US" sz="1000" dirty="0">
                <a:solidFill>
                  <a:schemeClr val="tx1">
                    <a:lumMod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GET] /message </a:t>
            </a:r>
          </a:p>
        </p:txBody>
      </p:sp>
      <p:sp>
        <p:nvSpPr>
          <p:cNvPr id="78" name="Rounded Rectangle 77">
            <a:extLst>
              <a:ext uri="{FF2B5EF4-FFF2-40B4-BE49-F238E27FC236}">
                <a16:creationId xmlns:a16="http://schemas.microsoft.com/office/drawing/2014/main" id="{6AB6B368-EA7B-5B44-8BA4-6F84203F5032}"/>
              </a:ext>
            </a:extLst>
          </p:cNvPr>
          <p:cNvSpPr/>
          <p:nvPr/>
        </p:nvSpPr>
        <p:spPr>
          <a:xfrm>
            <a:off x="4626855" y="4172926"/>
            <a:ext cx="737588" cy="196297"/>
          </a:xfrm>
          <a:prstGeom prst="roundRect">
            <a:avLst/>
          </a:prstGeom>
          <a:solidFill>
            <a:srgbClr val="0067B7"/>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900" dirty="0" err="1">
                <a:solidFill>
                  <a:schemeClr val="bg1">
                    <a:lumMod val="95000"/>
                  </a:schemeClr>
                </a:solidFill>
                <a:latin typeface="Arial" pitchFamily="34" charset="0"/>
                <a:cs typeface="Arial" pitchFamily="34" charset="0"/>
              </a:rPr>
              <a:t>Massagge</a:t>
            </a:r>
            <a:endParaRPr lang="en-US" sz="900" dirty="0">
              <a:solidFill>
                <a:schemeClr val="bg1">
                  <a:lumMod val="95000"/>
                </a:schemeClr>
              </a:solidFill>
              <a:latin typeface="Arial" pitchFamily="34" charset="0"/>
              <a:cs typeface="Arial" pitchFamily="34" charset="0"/>
            </a:endParaRPr>
          </a:p>
        </p:txBody>
      </p:sp>
      <p:sp>
        <p:nvSpPr>
          <p:cNvPr id="79" name="Google Shape;61;p12">
            <a:extLst>
              <a:ext uri="{FF2B5EF4-FFF2-40B4-BE49-F238E27FC236}">
                <a16:creationId xmlns:a16="http://schemas.microsoft.com/office/drawing/2014/main" id="{936AA61B-3545-3746-80ED-0177346A8FA6}"/>
              </a:ext>
            </a:extLst>
          </p:cNvPr>
          <p:cNvSpPr txBox="1">
            <a:spLocks/>
          </p:cNvSpPr>
          <p:nvPr/>
        </p:nvSpPr>
        <p:spPr>
          <a:xfrm>
            <a:off x="7024115" y="4309288"/>
            <a:ext cx="711623" cy="202760"/>
          </a:xfrm>
          <a:prstGeom prst="rect">
            <a:avLst/>
          </a:prstGeom>
        </p:spPr>
        <p:txBody>
          <a:bodyPr spcFirstLastPara="1" vert="horz" wrap="square" lIns="91425" tIns="91425" rIns="91425" bIns="91425" rtlCol="0" anchor="ctr"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spcBef>
                <a:spcPts val="0"/>
              </a:spcBef>
            </a:pPr>
            <a:r>
              <a:rPr lang="en-US" sz="1100" b="1" dirty="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Reads</a:t>
            </a:r>
          </a:p>
        </p:txBody>
      </p:sp>
      <p:sp>
        <p:nvSpPr>
          <p:cNvPr id="81" name="Rounded Rectangle 80">
            <a:extLst>
              <a:ext uri="{FF2B5EF4-FFF2-40B4-BE49-F238E27FC236}">
                <a16:creationId xmlns:a16="http://schemas.microsoft.com/office/drawing/2014/main" id="{CA33C6C3-8AEB-3144-8322-9E32C9E23D6A}"/>
              </a:ext>
            </a:extLst>
          </p:cNvPr>
          <p:cNvSpPr/>
          <p:nvPr/>
        </p:nvSpPr>
        <p:spPr>
          <a:xfrm>
            <a:off x="2398843" y="2142798"/>
            <a:ext cx="633721" cy="275128"/>
          </a:xfrm>
          <a:prstGeom prst="roundRect">
            <a:avLst/>
          </a:prstGeom>
          <a:solidFill>
            <a:srgbClr val="C5277F"/>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900" dirty="0">
                <a:solidFill>
                  <a:schemeClr val="bg1">
                    <a:lumMod val="95000"/>
                  </a:schemeClr>
                </a:solidFill>
                <a:latin typeface="Arial" pitchFamily="34" charset="0"/>
                <a:cs typeface="Arial" pitchFamily="34" charset="0"/>
              </a:rPr>
              <a:t>Client</a:t>
            </a:r>
          </a:p>
        </p:txBody>
      </p:sp>
      <p:cxnSp>
        <p:nvCxnSpPr>
          <p:cNvPr id="82" name="Straight Arrow Connector 81">
            <a:extLst>
              <a:ext uri="{FF2B5EF4-FFF2-40B4-BE49-F238E27FC236}">
                <a16:creationId xmlns:a16="http://schemas.microsoft.com/office/drawing/2014/main" id="{0716BD15-24EE-EA48-9551-1A454279C073}"/>
              </a:ext>
            </a:extLst>
          </p:cNvPr>
          <p:cNvCxnSpPr>
            <a:cxnSpLocks/>
            <a:stCxn id="65" idx="0"/>
            <a:endCxn id="6" idx="4"/>
          </p:cNvCxnSpPr>
          <p:nvPr/>
        </p:nvCxnSpPr>
        <p:spPr>
          <a:xfrm flipV="1">
            <a:off x="8283910" y="2500166"/>
            <a:ext cx="11876" cy="1282622"/>
          </a:xfrm>
          <a:prstGeom prst="straightConnector1">
            <a:avLst/>
          </a:prstGeom>
          <a:ln>
            <a:solidFill>
              <a:srgbClr val="0067B7"/>
            </a:solidFill>
            <a:tailEnd type="triangle"/>
          </a:ln>
        </p:spPr>
        <p:style>
          <a:lnRef idx="1">
            <a:schemeClr val="accent1"/>
          </a:lnRef>
          <a:fillRef idx="0">
            <a:schemeClr val="accent1"/>
          </a:fillRef>
          <a:effectRef idx="0">
            <a:schemeClr val="accent1"/>
          </a:effectRef>
          <a:fontRef idx="minor">
            <a:schemeClr val="tx1"/>
          </a:fontRef>
        </p:style>
      </p:cxnSp>
      <p:sp>
        <p:nvSpPr>
          <p:cNvPr id="85" name="Google Shape;61;p12">
            <a:extLst>
              <a:ext uri="{FF2B5EF4-FFF2-40B4-BE49-F238E27FC236}">
                <a16:creationId xmlns:a16="http://schemas.microsoft.com/office/drawing/2014/main" id="{5ABC1C6B-451B-B448-8CFE-F931684DC437}"/>
              </a:ext>
            </a:extLst>
          </p:cNvPr>
          <p:cNvSpPr txBox="1">
            <a:spLocks/>
          </p:cNvSpPr>
          <p:nvPr/>
        </p:nvSpPr>
        <p:spPr>
          <a:xfrm rot="16200000">
            <a:off x="8112816" y="2861183"/>
            <a:ext cx="711623" cy="297585"/>
          </a:xfrm>
          <a:prstGeom prst="rect">
            <a:avLst/>
          </a:prstGeom>
        </p:spPr>
        <p:txBody>
          <a:bodyPr spcFirstLastPara="1" vert="horz" wrap="square" lIns="91425" tIns="91425" rIns="91425" bIns="91425" rtlCol="0" anchor="ctr"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spcBef>
                <a:spcPts val="0"/>
              </a:spcBef>
            </a:pPr>
            <a:r>
              <a:rPr lang="en-US" sz="1100" b="1" dirty="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Event</a:t>
            </a:r>
          </a:p>
        </p:txBody>
      </p:sp>
      <p:cxnSp>
        <p:nvCxnSpPr>
          <p:cNvPr id="86" name="Straight Arrow Connector 85">
            <a:extLst>
              <a:ext uri="{FF2B5EF4-FFF2-40B4-BE49-F238E27FC236}">
                <a16:creationId xmlns:a16="http://schemas.microsoft.com/office/drawing/2014/main" id="{D0A60183-6851-4B47-8698-A0AB9082AC67}"/>
              </a:ext>
            </a:extLst>
          </p:cNvPr>
          <p:cNvCxnSpPr>
            <a:cxnSpLocks/>
            <a:stCxn id="65" idx="1"/>
            <a:endCxn id="27" idx="0"/>
          </p:cNvCxnSpPr>
          <p:nvPr/>
        </p:nvCxnSpPr>
        <p:spPr>
          <a:xfrm flipH="1" flipV="1">
            <a:off x="6945721" y="4250323"/>
            <a:ext cx="868411" cy="2243"/>
          </a:xfrm>
          <a:prstGeom prst="straightConnector1">
            <a:avLst/>
          </a:prstGeom>
          <a:ln>
            <a:solidFill>
              <a:srgbClr val="0067B7"/>
            </a:solidFill>
            <a:tailEnd type="triangle"/>
          </a:ln>
        </p:spPr>
        <p:style>
          <a:lnRef idx="1">
            <a:schemeClr val="accent1"/>
          </a:lnRef>
          <a:fillRef idx="0">
            <a:schemeClr val="accent1"/>
          </a:fillRef>
          <a:effectRef idx="0">
            <a:schemeClr val="accent1"/>
          </a:effectRef>
          <a:fontRef idx="minor">
            <a:schemeClr val="tx1"/>
          </a:fontRef>
        </p:style>
      </p:cxnSp>
      <p:sp>
        <p:nvSpPr>
          <p:cNvPr id="91" name="Rounded Rectangle 90">
            <a:extLst>
              <a:ext uri="{FF2B5EF4-FFF2-40B4-BE49-F238E27FC236}">
                <a16:creationId xmlns:a16="http://schemas.microsoft.com/office/drawing/2014/main" id="{E1FDF41A-9F1A-0B49-9AA5-42230C487E46}"/>
              </a:ext>
            </a:extLst>
          </p:cNvPr>
          <p:cNvSpPr/>
          <p:nvPr/>
        </p:nvSpPr>
        <p:spPr>
          <a:xfrm>
            <a:off x="2385284" y="4124145"/>
            <a:ext cx="633721" cy="275128"/>
          </a:xfrm>
          <a:prstGeom prst="roundRect">
            <a:avLst/>
          </a:prstGeom>
          <a:solidFill>
            <a:srgbClr val="C5277F"/>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900" dirty="0">
                <a:solidFill>
                  <a:schemeClr val="bg1">
                    <a:lumMod val="95000"/>
                  </a:schemeClr>
                </a:solidFill>
                <a:latin typeface="Arial" pitchFamily="34" charset="0"/>
                <a:cs typeface="Arial" pitchFamily="34" charset="0"/>
              </a:rPr>
              <a:t>Client</a:t>
            </a:r>
          </a:p>
        </p:txBody>
      </p:sp>
      <p:cxnSp>
        <p:nvCxnSpPr>
          <p:cNvPr id="92" name="Straight Arrow Connector 91">
            <a:extLst>
              <a:ext uri="{FF2B5EF4-FFF2-40B4-BE49-F238E27FC236}">
                <a16:creationId xmlns:a16="http://schemas.microsoft.com/office/drawing/2014/main" id="{598E6DB1-20BB-8641-9376-364A9CE8EA32}"/>
              </a:ext>
            </a:extLst>
          </p:cNvPr>
          <p:cNvCxnSpPr>
            <a:cxnSpLocks/>
            <a:stCxn id="81" idx="3"/>
            <a:endCxn id="3" idx="1"/>
          </p:cNvCxnSpPr>
          <p:nvPr/>
        </p:nvCxnSpPr>
        <p:spPr>
          <a:xfrm>
            <a:off x="3032564" y="2280362"/>
            <a:ext cx="1620932" cy="6151"/>
          </a:xfrm>
          <a:prstGeom prst="straightConnector1">
            <a:avLst/>
          </a:prstGeom>
          <a:ln>
            <a:solidFill>
              <a:srgbClr val="0067B7"/>
            </a:solidFill>
            <a:tailEnd type="triangle"/>
          </a:ln>
        </p:spPr>
        <p:style>
          <a:lnRef idx="1">
            <a:schemeClr val="accent1"/>
          </a:lnRef>
          <a:fillRef idx="0">
            <a:schemeClr val="accent1"/>
          </a:fillRef>
          <a:effectRef idx="0">
            <a:schemeClr val="accent1"/>
          </a:effectRef>
          <a:fontRef idx="minor">
            <a:schemeClr val="tx1"/>
          </a:fontRef>
        </p:style>
      </p:cxnSp>
      <p:cxnSp>
        <p:nvCxnSpPr>
          <p:cNvPr id="96" name="Straight Arrow Connector 95">
            <a:extLst>
              <a:ext uri="{FF2B5EF4-FFF2-40B4-BE49-F238E27FC236}">
                <a16:creationId xmlns:a16="http://schemas.microsoft.com/office/drawing/2014/main" id="{3893C3D3-D6EF-844D-A3C1-A4AA71667871}"/>
              </a:ext>
            </a:extLst>
          </p:cNvPr>
          <p:cNvCxnSpPr>
            <a:cxnSpLocks/>
            <a:stCxn id="91" idx="3"/>
            <a:endCxn id="78" idx="1"/>
          </p:cNvCxnSpPr>
          <p:nvPr/>
        </p:nvCxnSpPr>
        <p:spPr>
          <a:xfrm>
            <a:off x="3019005" y="4261709"/>
            <a:ext cx="1607850" cy="9366"/>
          </a:xfrm>
          <a:prstGeom prst="straightConnector1">
            <a:avLst/>
          </a:prstGeom>
          <a:ln>
            <a:solidFill>
              <a:srgbClr val="0067B7"/>
            </a:solidFill>
            <a:tailEnd type="triangle"/>
          </a:ln>
        </p:spPr>
        <p:style>
          <a:lnRef idx="1">
            <a:schemeClr val="accent1"/>
          </a:lnRef>
          <a:fillRef idx="0">
            <a:schemeClr val="accent1"/>
          </a:fillRef>
          <a:effectRef idx="0">
            <a:schemeClr val="accent1"/>
          </a:effectRef>
          <a:fontRef idx="minor">
            <a:schemeClr val="tx1"/>
          </a:fontRef>
        </p:style>
      </p:cxnSp>
      <p:grpSp>
        <p:nvGrpSpPr>
          <p:cNvPr id="101" name="Group 100">
            <a:extLst>
              <a:ext uri="{FF2B5EF4-FFF2-40B4-BE49-F238E27FC236}">
                <a16:creationId xmlns:a16="http://schemas.microsoft.com/office/drawing/2014/main" id="{1360E99D-B63E-7F4D-943F-EC970C6E89A0}"/>
              </a:ext>
            </a:extLst>
          </p:cNvPr>
          <p:cNvGrpSpPr/>
          <p:nvPr/>
        </p:nvGrpSpPr>
        <p:grpSpPr>
          <a:xfrm rot="21011211">
            <a:off x="1220063" y="1295599"/>
            <a:ext cx="292910" cy="222927"/>
            <a:chOff x="702590" y="1203599"/>
            <a:chExt cx="301686" cy="290724"/>
          </a:xfrm>
        </p:grpSpPr>
        <p:sp>
          <p:nvSpPr>
            <p:cNvPr id="102" name="Google Shape;431;p39">
              <a:extLst>
                <a:ext uri="{FF2B5EF4-FFF2-40B4-BE49-F238E27FC236}">
                  <a16:creationId xmlns:a16="http://schemas.microsoft.com/office/drawing/2014/main" id="{AC854A42-FF2F-4040-B328-F19323FCA2B2}"/>
                </a:ext>
              </a:extLst>
            </p:cNvPr>
            <p:cNvSpPr/>
            <p:nvPr/>
          </p:nvSpPr>
          <p:spPr>
            <a:xfrm>
              <a:off x="736556" y="1203599"/>
              <a:ext cx="219241" cy="290724"/>
            </a:xfrm>
            <a:custGeom>
              <a:avLst/>
              <a:gdLst/>
              <a:ahLst/>
              <a:cxnLst/>
              <a:rect l="0" t="0" r="0" b="0"/>
              <a:pathLst>
                <a:path w="67641" h="69056" extrusionOk="0">
                  <a:moveTo>
                    <a:pt x="49622" y="2736"/>
                  </a:moveTo>
                  <a:lnTo>
                    <a:pt x="49622" y="2736"/>
                  </a:lnTo>
                  <a:lnTo>
                    <a:pt x="49622" y="2736"/>
                  </a:lnTo>
                  <a:close/>
                  <a:moveTo>
                    <a:pt x="59622" y="55565"/>
                  </a:moveTo>
                  <a:lnTo>
                    <a:pt x="59622" y="55565"/>
                  </a:lnTo>
                  <a:lnTo>
                    <a:pt x="59622" y="55565"/>
                  </a:lnTo>
                  <a:close/>
                  <a:moveTo>
                    <a:pt x="35471" y="0"/>
                  </a:moveTo>
                  <a:lnTo>
                    <a:pt x="34433" y="95"/>
                  </a:lnTo>
                  <a:lnTo>
                    <a:pt x="33584" y="189"/>
                  </a:lnTo>
                  <a:lnTo>
                    <a:pt x="32735" y="378"/>
                  </a:lnTo>
                  <a:lnTo>
                    <a:pt x="32169" y="566"/>
                  </a:lnTo>
                  <a:lnTo>
                    <a:pt x="31509" y="472"/>
                  </a:lnTo>
                  <a:lnTo>
                    <a:pt x="30754" y="472"/>
                  </a:lnTo>
                  <a:lnTo>
                    <a:pt x="29339" y="566"/>
                  </a:lnTo>
                  <a:lnTo>
                    <a:pt x="27830" y="849"/>
                  </a:lnTo>
                  <a:lnTo>
                    <a:pt x="26320" y="1321"/>
                  </a:lnTo>
                  <a:lnTo>
                    <a:pt x="24811" y="1981"/>
                  </a:lnTo>
                  <a:lnTo>
                    <a:pt x="23207" y="2736"/>
                  </a:lnTo>
                  <a:lnTo>
                    <a:pt x="21698" y="3585"/>
                  </a:lnTo>
                  <a:lnTo>
                    <a:pt x="20188" y="4623"/>
                  </a:lnTo>
                  <a:lnTo>
                    <a:pt x="18679" y="5661"/>
                  </a:lnTo>
                  <a:lnTo>
                    <a:pt x="17170" y="6793"/>
                  </a:lnTo>
                  <a:lnTo>
                    <a:pt x="15754" y="8019"/>
                  </a:lnTo>
                  <a:lnTo>
                    <a:pt x="14434" y="9151"/>
                  </a:lnTo>
                  <a:lnTo>
                    <a:pt x="11981" y="11510"/>
                  </a:lnTo>
                  <a:lnTo>
                    <a:pt x="10000" y="13774"/>
                  </a:lnTo>
                  <a:lnTo>
                    <a:pt x="7736" y="16981"/>
                  </a:lnTo>
                  <a:lnTo>
                    <a:pt x="8019" y="16321"/>
                  </a:lnTo>
                  <a:lnTo>
                    <a:pt x="8302" y="15660"/>
                  </a:lnTo>
                  <a:lnTo>
                    <a:pt x="7736" y="16604"/>
                  </a:lnTo>
                  <a:lnTo>
                    <a:pt x="7075" y="17642"/>
                  </a:lnTo>
                  <a:lnTo>
                    <a:pt x="7170" y="17830"/>
                  </a:lnTo>
                  <a:lnTo>
                    <a:pt x="6509" y="18868"/>
                  </a:lnTo>
                  <a:lnTo>
                    <a:pt x="7075" y="17359"/>
                  </a:lnTo>
                  <a:lnTo>
                    <a:pt x="6132" y="19057"/>
                  </a:lnTo>
                  <a:lnTo>
                    <a:pt x="5189" y="20849"/>
                  </a:lnTo>
                  <a:lnTo>
                    <a:pt x="4434" y="22736"/>
                  </a:lnTo>
                  <a:lnTo>
                    <a:pt x="3679" y="24622"/>
                  </a:lnTo>
                  <a:lnTo>
                    <a:pt x="2453" y="28490"/>
                  </a:lnTo>
                  <a:lnTo>
                    <a:pt x="1321" y="32169"/>
                  </a:lnTo>
                  <a:lnTo>
                    <a:pt x="1509" y="32264"/>
                  </a:lnTo>
                  <a:lnTo>
                    <a:pt x="1604" y="32453"/>
                  </a:lnTo>
                  <a:lnTo>
                    <a:pt x="1604" y="32641"/>
                  </a:lnTo>
                  <a:lnTo>
                    <a:pt x="1509" y="32924"/>
                  </a:lnTo>
                  <a:lnTo>
                    <a:pt x="1226" y="33396"/>
                  </a:lnTo>
                  <a:lnTo>
                    <a:pt x="1038" y="33585"/>
                  </a:lnTo>
                  <a:lnTo>
                    <a:pt x="1038" y="33773"/>
                  </a:lnTo>
                  <a:lnTo>
                    <a:pt x="1038" y="35000"/>
                  </a:lnTo>
                  <a:lnTo>
                    <a:pt x="849" y="36132"/>
                  </a:lnTo>
                  <a:lnTo>
                    <a:pt x="660" y="37358"/>
                  </a:lnTo>
                  <a:lnTo>
                    <a:pt x="472" y="38867"/>
                  </a:lnTo>
                  <a:lnTo>
                    <a:pt x="283" y="38301"/>
                  </a:lnTo>
                  <a:lnTo>
                    <a:pt x="94" y="39811"/>
                  </a:lnTo>
                  <a:lnTo>
                    <a:pt x="0" y="41509"/>
                  </a:lnTo>
                  <a:lnTo>
                    <a:pt x="94" y="43301"/>
                  </a:lnTo>
                  <a:lnTo>
                    <a:pt x="283" y="44056"/>
                  </a:lnTo>
                  <a:lnTo>
                    <a:pt x="472" y="44622"/>
                  </a:lnTo>
                  <a:lnTo>
                    <a:pt x="566" y="45660"/>
                  </a:lnTo>
                  <a:lnTo>
                    <a:pt x="755" y="46792"/>
                  </a:lnTo>
                  <a:lnTo>
                    <a:pt x="1226" y="48962"/>
                  </a:lnTo>
                  <a:lnTo>
                    <a:pt x="1981" y="51037"/>
                  </a:lnTo>
                  <a:lnTo>
                    <a:pt x="2924" y="53112"/>
                  </a:lnTo>
                  <a:lnTo>
                    <a:pt x="4057" y="55094"/>
                  </a:lnTo>
                  <a:lnTo>
                    <a:pt x="5283" y="56980"/>
                  </a:lnTo>
                  <a:lnTo>
                    <a:pt x="6698" y="58678"/>
                  </a:lnTo>
                  <a:lnTo>
                    <a:pt x="8113" y="60282"/>
                  </a:lnTo>
                  <a:lnTo>
                    <a:pt x="9056" y="61131"/>
                  </a:lnTo>
                  <a:lnTo>
                    <a:pt x="10000" y="61980"/>
                  </a:lnTo>
                  <a:lnTo>
                    <a:pt x="11038" y="62829"/>
                  </a:lnTo>
                  <a:lnTo>
                    <a:pt x="12075" y="63584"/>
                  </a:lnTo>
                  <a:lnTo>
                    <a:pt x="14339" y="64905"/>
                  </a:lnTo>
                  <a:lnTo>
                    <a:pt x="16604" y="66131"/>
                  </a:lnTo>
                  <a:lnTo>
                    <a:pt x="19056" y="67169"/>
                  </a:lnTo>
                  <a:lnTo>
                    <a:pt x="21509" y="67923"/>
                  </a:lnTo>
                  <a:lnTo>
                    <a:pt x="24056" y="68584"/>
                  </a:lnTo>
                  <a:lnTo>
                    <a:pt x="26603" y="69055"/>
                  </a:lnTo>
                  <a:lnTo>
                    <a:pt x="27830" y="69055"/>
                  </a:lnTo>
                  <a:lnTo>
                    <a:pt x="30188" y="68867"/>
                  </a:lnTo>
                  <a:lnTo>
                    <a:pt x="33113" y="68678"/>
                  </a:lnTo>
                  <a:lnTo>
                    <a:pt x="36509" y="68301"/>
                  </a:lnTo>
                  <a:lnTo>
                    <a:pt x="39811" y="67923"/>
                  </a:lnTo>
                  <a:lnTo>
                    <a:pt x="42735" y="67452"/>
                  </a:lnTo>
                  <a:lnTo>
                    <a:pt x="44905" y="66980"/>
                  </a:lnTo>
                  <a:lnTo>
                    <a:pt x="45565" y="66791"/>
                  </a:lnTo>
                  <a:lnTo>
                    <a:pt x="45943" y="66508"/>
                  </a:lnTo>
                  <a:lnTo>
                    <a:pt x="47358" y="65942"/>
                  </a:lnTo>
                  <a:lnTo>
                    <a:pt x="48018" y="65565"/>
                  </a:lnTo>
                  <a:lnTo>
                    <a:pt x="48678" y="65188"/>
                  </a:lnTo>
                  <a:lnTo>
                    <a:pt x="47924" y="65471"/>
                  </a:lnTo>
                  <a:lnTo>
                    <a:pt x="51509" y="62924"/>
                  </a:lnTo>
                  <a:lnTo>
                    <a:pt x="53301" y="61508"/>
                  </a:lnTo>
                  <a:lnTo>
                    <a:pt x="55093" y="59905"/>
                  </a:lnTo>
                  <a:lnTo>
                    <a:pt x="55093" y="59905"/>
                  </a:lnTo>
                  <a:lnTo>
                    <a:pt x="54810" y="60376"/>
                  </a:lnTo>
                  <a:lnTo>
                    <a:pt x="54339" y="60754"/>
                  </a:lnTo>
                  <a:lnTo>
                    <a:pt x="55376" y="59999"/>
                  </a:lnTo>
                  <a:lnTo>
                    <a:pt x="56320" y="59056"/>
                  </a:lnTo>
                  <a:lnTo>
                    <a:pt x="57075" y="58395"/>
                  </a:lnTo>
                  <a:lnTo>
                    <a:pt x="57169" y="58207"/>
                  </a:lnTo>
                  <a:lnTo>
                    <a:pt x="57075" y="58207"/>
                  </a:lnTo>
                  <a:lnTo>
                    <a:pt x="57924" y="57546"/>
                  </a:lnTo>
                  <a:lnTo>
                    <a:pt x="58678" y="56697"/>
                  </a:lnTo>
                  <a:lnTo>
                    <a:pt x="59339" y="55754"/>
                  </a:lnTo>
                  <a:lnTo>
                    <a:pt x="59905" y="54905"/>
                  </a:lnTo>
                  <a:lnTo>
                    <a:pt x="59716" y="54999"/>
                  </a:lnTo>
                  <a:lnTo>
                    <a:pt x="59622" y="54999"/>
                  </a:lnTo>
                  <a:lnTo>
                    <a:pt x="59810" y="54622"/>
                  </a:lnTo>
                  <a:lnTo>
                    <a:pt x="59150" y="55565"/>
                  </a:lnTo>
                  <a:lnTo>
                    <a:pt x="59527" y="55094"/>
                  </a:lnTo>
                  <a:lnTo>
                    <a:pt x="59433" y="55377"/>
                  </a:lnTo>
                  <a:lnTo>
                    <a:pt x="58867" y="56037"/>
                  </a:lnTo>
                  <a:lnTo>
                    <a:pt x="59056" y="55660"/>
                  </a:lnTo>
                  <a:lnTo>
                    <a:pt x="59056" y="55660"/>
                  </a:lnTo>
                  <a:lnTo>
                    <a:pt x="58678" y="56037"/>
                  </a:lnTo>
                  <a:lnTo>
                    <a:pt x="59810" y="54339"/>
                  </a:lnTo>
                  <a:lnTo>
                    <a:pt x="60282" y="53490"/>
                  </a:lnTo>
                  <a:lnTo>
                    <a:pt x="60282" y="53301"/>
                  </a:lnTo>
                  <a:lnTo>
                    <a:pt x="60188" y="53395"/>
                  </a:lnTo>
                  <a:lnTo>
                    <a:pt x="60188" y="53395"/>
                  </a:lnTo>
                  <a:lnTo>
                    <a:pt x="60565" y="52924"/>
                  </a:lnTo>
                  <a:lnTo>
                    <a:pt x="61037" y="52452"/>
                  </a:lnTo>
                  <a:lnTo>
                    <a:pt x="61886" y="51509"/>
                  </a:lnTo>
                  <a:lnTo>
                    <a:pt x="61508" y="52452"/>
                  </a:lnTo>
                  <a:lnTo>
                    <a:pt x="60848" y="53584"/>
                  </a:lnTo>
                  <a:lnTo>
                    <a:pt x="59622" y="55565"/>
                  </a:lnTo>
                  <a:lnTo>
                    <a:pt x="60376" y="54528"/>
                  </a:lnTo>
                  <a:lnTo>
                    <a:pt x="60942" y="53678"/>
                  </a:lnTo>
                  <a:lnTo>
                    <a:pt x="61980" y="51792"/>
                  </a:lnTo>
                  <a:lnTo>
                    <a:pt x="61886" y="51886"/>
                  </a:lnTo>
                  <a:lnTo>
                    <a:pt x="61886" y="51697"/>
                  </a:lnTo>
                  <a:lnTo>
                    <a:pt x="62169" y="51037"/>
                  </a:lnTo>
                  <a:lnTo>
                    <a:pt x="62735" y="49999"/>
                  </a:lnTo>
                  <a:lnTo>
                    <a:pt x="61508" y="51603"/>
                  </a:lnTo>
                  <a:lnTo>
                    <a:pt x="61603" y="51037"/>
                  </a:lnTo>
                  <a:lnTo>
                    <a:pt x="61697" y="50377"/>
                  </a:lnTo>
                  <a:lnTo>
                    <a:pt x="62169" y="48962"/>
                  </a:lnTo>
                  <a:lnTo>
                    <a:pt x="62829" y="47358"/>
                  </a:lnTo>
                  <a:lnTo>
                    <a:pt x="63678" y="45565"/>
                  </a:lnTo>
                  <a:lnTo>
                    <a:pt x="65376" y="42169"/>
                  </a:lnTo>
                  <a:lnTo>
                    <a:pt x="66131" y="40660"/>
                  </a:lnTo>
                  <a:lnTo>
                    <a:pt x="66697" y="39339"/>
                  </a:lnTo>
                  <a:lnTo>
                    <a:pt x="66603" y="39528"/>
                  </a:lnTo>
                  <a:lnTo>
                    <a:pt x="66697" y="39056"/>
                  </a:lnTo>
                  <a:lnTo>
                    <a:pt x="66791" y="38962"/>
                  </a:lnTo>
                  <a:lnTo>
                    <a:pt x="66791" y="39056"/>
                  </a:lnTo>
                  <a:lnTo>
                    <a:pt x="66886" y="38584"/>
                  </a:lnTo>
                  <a:lnTo>
                    <a:pt x="66791" y="38867"/>
                  </a:lnTo>
                  <a:lnTo>
                    <a:pt x="66980" y="38207"/>
                  </a:lnTo>
                  <a:lnTo>
                    <a:pt x="67169" y="37264"/>
                  </a:lnTo>
                  <a:lnTo>
                    <a:pt x="67263" y="36415"/>
                  </a:lnTo>
                  <a:lnTo>
                    <a:pt x="67357" y="36509"/>
                  </a:lnTo>
                  <a:lnTo>
                    <a:pt x="67452" y="36509"/>
                  </a:lnTo>
                  <a:lnTo>
                    <a:pt x="67546" y="35943"/>
                  </a:lnTo>
                  <a:lnTo>
                    <a:pt x="67546" y="34811"/>
                  </a:lnTo>
                  <a:lnTo>
                    <a:pt x="67640" y="31037"/>
                  </a:lnTo>
                  <a:lnTo>
                    <a:pt x="67640" y="28490"/>
                  </a:lnTo>
                  <a:lnTo>
                    <a:pt x="67546" y="27736"/>
                  </a:lnTo>
                  <a:lnTo>
                    <a:pt x="67546" y="27547"/>
                  </a:lnTo>
                  <a:lnTo>
                    <a:pt x="67452" y="27547"/>
                  </a:lnTo>
                  <a:lnTo>
                    <a:pt x="67074" y="26792"/>
                  </a:lnTo>
                  <a:lnTo>
                    <a:pt x="66791" y="25660"/>
                  </a:lnTo>
                  <a:lnTo>
                    <a:pt x="66508" y="24528"/>
                  </a:lnTo>
                  <a:lnTo>
                    <a:pt x="66414" y="23585"/>
                  </a:lnTo>
                  <a:lnTo>
                    <a:pt x="66320" y="23679"/>
                  </a:lnTo>
                  <a:lnTo>
                    <a:pt x="66320" y="23490"/>
                  </a:lnTo>
                  <a:lnTo>
                    <a:pt x="65942" y="22924"/>
                  </a:lnTo>
                  <a:lnTo>
                    <a:pt x="65565" y="22358"/>
                  </a:lnTo>
                  <a:lnTo>
                    <a:pt x="64527" y="21132"/>
                  </a:lnTo>
                  <a:lnTo>
                    <a:pt x="63584" y="19906"/>
                  </a:lnTo>
                  <a:lnTo>
                    <a:pt x="63207" y="19340"/>
                  </a:lnTo>
                  <a:lnTo>
                    <a:pt x="63018" y="18774"/>
                  </a:lnTo>
                  <a:lnTo>
                    <a:pt x="63112" y="18962"/>
                  </a:lnTo>
                  <a:lnTo>
                    <a:pt x="63301" y="19057"/>
                  </a:lnTo>
                  <a:lnTo>
                    <a:pt x="63301" y="19057"/>
                  </a:lnTo>
                  <a:lnTo>
                    <a:pt x="63207" y="18868"/>
                  </a:lnTo>
                  <a:lnTo>
                    <a:pt x="62923" y="18491"/>
                  </a:lnTo>
                  <a:lnTo>
                    <a:pt x="61980" y="17453"/>
                  </a:lnTo>
                  <a:lnTo>
                    <a:pt x="61037" y="16509"/>
                  </a:lnTo>
                  <a:lnTo>
                    <a:pt x="61037" y="16698"/>
                  </a:lnTo>
                  <a:lnTo>
                    <a:pt x="61037" y="16887"/>
                  </a:lnTo>
                  <a:lnTo>
                    <a:pt x="60093" y="15943"/>
                  </a:lnTo>
                  <a:lnTo>
                    <a:pt x="60376" y="16321"/>
                  </a:lnTo>
                  <a:lnTo>
                    <a:pt x="59527" y="15377"/>
                  </a:lnTo>
                  <a:lnTo>
                    <a:pt x="59056" y="14906"/>
                  </a:lnTo>
                  <a:lnTo>
                    <a:pt x="59244" y="14906"/>
                  </a:lnTo>
                  <a:lnTo>
                    <a:pt x="59905" y="15472"/>
                  </a:lnTo>
                  <a:lnTo>
                    <a:pt x="59905" y="15472"/>
                  </a:lnTo>
                  <a:lnTo>
                    <a:pt x="57641" y="13396"/>
                  </a:lnTo>
                  <a:lnTo>
                    <a:pt x="58112" y="13868"/>
                  </a:lnTo>
                  <a:lnTo>
                    <a:pt x="56886" y="13019"/>
                  </a:lnTo>
                  <a:lnTo>
                    <a:pt x="55754" y="12453"/>
                  </a:lnTo>
                  <a:lnTo>
                    <a:pt x="56603" y="13113"/>
                  </a:lnTo>
                  <a:lnTo>
                    <a:pt x="57452" y="13774"/>
                  </a:lnTo>
                  <a:lnTo>
                    <a:pt x="58961" y="15283"/>
                  </a:lnTo>
                  <a:lnTo>
                    <a:pt x="60376" y="16604"/>
                  </a:lnTo>
                  <a:lnTo>
                    <a:pt x="61225" y="17264"/>
                  </a:lnTo>
                  <a:lnTo>
                    <a:pt x="62074" y="17925"/>
                  </a:lnTo>
                  <a:lnTo>
                    <a:pt x="62074" y="17925"/>
                  </a:lnTo>
                  <a:lnTo>
                    <a:pt x="61414" y="17547"/>
                  </a:lnTo>
                  <a:lnTo>
                    <a:pt x="60659" y="16981"/>
                  </a:lnTo>
                  <a:lnTo>
                    <a:pt x="60754" y="17264"/>
                  </a:lnTo>
                  <a:lnTo>
                    <a:pt x="60942" y="17642"/>
                  </a:lnTo>
                  <a:lnTo>
                    <a:pt x="61980" y="19151"/>
                  </a:lnTo>
                  <a:lnTo>
                    <a:pt x="63301" y="20943"/>
                  </a:lnTo>
                  <a:lnTo>
                    <a:pt x="63207" y="20943"/>
                  </a:lnTo>
                  <a:lnTo>
                    <a:pt x="63395" y="21038"/>
                  </a:lnTo>
                  <a:lnTo>
                    <a:pt x="63490" y="21321"/>
                  </a:lnTo>
                  <a:lnTo>
                    <a:pt x="63678" y="21604"/>
                  </a:lnTo>
                  <a:lnTo>
                    <a:pt x="63773" y="21698"/>
                  </a:lnTo>
                  <a:lnTo>
                    <a:pt x="63584" y="21321"/>
                  </a:lnTo>
                  <a:lnTo>
                    <a:pt x="63584" y="21321"/>
                  </a:lnTo>
                  <a:lnTo>
                    <a:pt x="64244" y="22170"/>
                  </a:lnTo>
                  <a:lnTo>
                    <a:pt x="64716" y="22641"/>
                  </a:lnTo>
                  <a:lnTo>
                    <a:pt x="64905" y="22830"/>
                  </a:lnTo>
                  <a:lnTo>
                    <a:pt x="64999" y="22830"/>
                  </a:lnTo>
                  <a:lnTo>
                    <a:pt x="64999" y="22641"/>
                  </a:lnTo>
                  <a:lnTo>
                    <a:pt x="64905" y="22358"/>
                  </a:lnTo>
                  <a:lnTo>
                    <a:pt x="65282" y="23207"/>
                  </a:lnTo>
                  <a:lnTo>
                    <a:pt x="65565" y="24056"/>
                  </a:lnTo>
                  <a:lnTo>
                    <a:pt x="66225" y="25943"/>
                  </a:lnTo>
                  <a:lnTo>
                    <a:pt x="66697" y="27830"/>
                  </a:lnTo>
                  <a:lnTo>
                    <a:pt x="66886" y="28490"/>
                  </a:lnTo>
                  <a:lnTo>
                    <a:pt x="66980" y="28868"/>
                  </a:lnTo>
                  <a:lnTo>
                    <a:pt x="66886" y="28962"/>
                  </a:lnTo>
                  <a:lnTo>
                    <a:pt x="66697" y="28679"/>
                  </a:lnTo>
                  <a:lnTo>
                    <a:pt x="66697" y="29245"/>
                  </a:lnTo>
                  <a:lnTo>
                    <a:pt x="66791" y="29905"/>
                  </a:lnTo>
                  <a:lnTo>
                    <a:pt x="66886" y="29905"/>
                  </a:lnTo>
                  <a:lnTo>
                    <a:pt x="66886" y="30094"/>
                  </a:lnTo>
                  <a:lnTo>
                    <a:pt x="66886" y="30566"/>
                  </a:lnTo>
                  <a:lnTo>
                    <a:pt x="66697" y="30377"/>
                  </a:lnTo>
                  <a:lnTo>
                    <a:pt x="66603" y="30188"/>
                  </a:lnTo>
                  <a:lnTo>
                    <a:pt x="66603" y="30094"/>
                  </a:lnTo>
                  <a:lnTo>
                    <a:pt x="66697" y="29905"/>
                  </a:lnTo>
                  <a:lnTo>
                    <a:pt x="66508" y="28679"/>
                  </a:lnTo>
                  <a:lnTo>
                    <a:pt x="66225" y="27358"/>
                  </a:lnTo>
                  <a:lnTo>
                    <a:pt x="66603" y="30283"/>
                  </a:lnTo>
                  <a:lnTo>
                    <a:pt x="66697" y="31792"/>
                  </a:lnTo>
                  <a:lnTo>
                    <a:pt x="66697" y="33302"/>
                  </a:lnTo>
                  <a:lnTo>
                    <a:pt x="66603" y="34717"/>
                  </a:lnTo>
                  <a:lnTo>
                    <a:pt x="66414" y="36226"/>
                  </a:lnTo>
                  <a:lnTo>
                    <a:pt x="66131" y="37547"/>
                  </a:lnTo>
                  <a:lnTo>
                    <a:pt x="65659" y="38962"/>
                  </a:lnTo>
                  <a:lnTo>
                    <a:pt x="65848" y="38584"/>
                  </a:lnTo>
                  <a:lnTo>
                    <a:pt x="65942" y="38584"/>
                  </a:lnTo>
                  <a:lnTo>
                    <a:pt x="65848" y="39245"/>
                  </a:lnTo>
                  <a:lnTo>
                    <a:pt x="65565" y="40188"/>
                  </a:lnTo>
                  <a:lnTo>
                    <a:pt x="65471" y="40471"/>
                  </a:lnTo>
                  <a:lnTo>
                    <a:pt x="65282" y="40660"/>
                  </a:lnTo>
                  <a:lnTo>
                    <a:pt x="65282" y="40566"/>
                  </a:lnTo>
                  <a:lnTo>
                    <a:pt x="65093" y="41132"/>
                  </a:lnTo>
                  <a:lnTo>
                    <a:pt x="64433" y="43018"/>
                  </a:lnTo>
                  <a:lnTo>
                    <a:pt x="63678" y="45282"/>
                  </a:lnTo>
                  <a:lnTo>
                    <a:pt x="62735" y="47264"/>
                  </a:lnTo>
                  <a:lnTo>
                    <a:pt x="61697" y="49056"/>
                  </a:lnTo>
                  <a:lnTo>
                    <a:pt x="60659" y="50943"/>
                  </a:lnTo>
                  <a:lnTo>
                    <a:pt x="59433" y="52735"/>
                  </a:lnTo>
                  <a:lnTo>
                    <a:pt x="58207" y="54433"/>
                  </a:lnTo>
                  <a:lnTo>
                    <a:pt x="56886" y="56037"/>
                  </a:lnTo>
                  <a:lnTo>
                    <a:pt x="55376" y="57641"/>
                  </a:lnTo>
                  <a:lnTo>
                    <a:pt x="53867" y="59150"/>
                  </a:lnTo>
                  <a:lnTo>
                    <a:pt x="52169" y="60376"/>
                  </a:lnTo>
                  <a:lnTo>
                    <a:pt x="48961" y="62452"/>
                  </a:lnTo>
                  <a:lnTo>
                    <a:pt x="44528" y="65282"/>
                  </a:lnTo>
                  <a:lnTo>
                    <a:pt x="44622" y="65188"/>
                  </a:lnTo>
                  <a:lnTo>
                    <a:pt x="44716" y="65093"/>
                  </a:lnTo>
                  <a:lnTo>
                    <a:pt x="45094" y="64810"/>
                  </a:lnTo>
                  <a:lnTo>
                    <a:pt x="45660" y="64527"/>
                  </a:lnTo>
                  <a:lnTo>
                    <a:pt x="43867" y="65376"/>
                  </a:lnTo>
                  <a:lnTo>
                    <a:pt x="43113" y="65754"/>
                  </a:lnTo>
                  <a:lnTo>
                    <a:pt x="42924" y="65754"/>
                  </a:lnTo>
                  <a:lnTo>
                    <a:pt x="43113" y="65659"/>
                  </a:lnTo>
                  <a:lnTo>
                    <a:pt x="41603" y="66037"/>
                  </a:lnTo>
                  <a:lnTo>
                    <a:pt x="39999" y="66320"/>
                  </a:lnTo>
                  <a:lnTo>
                    <a:pt x="38396" y="66508"/>
                  </a:lnTo>
                  <a:lnTo>
                    <a:pt x="36792" y="66697"/>
                  </a:lnTo>
                  <a:lnTo>
                    <a:pt x="33584" y="66980"/>
                  </a:lnTo>
                  <a:lnTo>
                    <a:pt x="32169" y="67169"/>
                  </a:lnTo>
                  <a:lnTo>
                    <a:pt x="30754" y="67357"/>
                  </a:lnTo>
                  <a:lnTo>
                    <a:pt x="30094" y="67357"/>
                  </a:lnTo>
                  <a:lnTo>
                    <a:pt x="29339" y="67263"/>
                  </a:lnTo>
                  <a:lnTo>
                    <a:pt x="27830" y="66886"/>
                  </a:lnTo>
                  <a:lnTo>
                    <a:pt x="26415" y="66508"/>
                  </a:lnTo>
                  <a:lnTo>
                    <a:pt x="25754" y="66414"/>
                  </a:lnTo>
                  <a:lnTo>
                    <a:pt x="25094" y="66414"/>
                  </a:lnTo>
                  <a:lnTo>
                    <a:pt x="25566" y="66980"/>
                  </a:lnTo>
                  <a:lnTo>
                    <a:pt x="25471" y="67074"/>
                  </a:lnTo>
                  <a:lnTo>
                    <a:pt x="25188" y="66980"/>
                  </a:lnTo>
                  <a:lnTo>
                    <a:pt x="24339" y="66791"/>
                  </a:lnTo>
                  <a:lnTo>
                    <a:pt x="23773" y="66508"/>
                  </a:lnTo>
                  <a:lnTo>
                    <a:pt x="24245" y="66414"/>
                  </a:lnTo>
                  <a:lnTo>
                    <a:pt x="24717" y="66603"/>
                  </a:lnTo>
                  <a:lnTo>
                    <a:pt x="24811" y="66414"/>
                  </a:lnTo>
                  <a:lnTo>
                    <a:pt x="24811" y="66320"/>
                  </a:lnTo>
                  <a:lnTo>
                    <a:pt x="24717" y="66225"/>
                  </a:lnTo>
                  <a:lnTo>
                    <a:pt x="24528" y="66131"/>
                  </a:lnTo>
                  <a:lnTo>
                    <a:pt x="24151" y="66225"/>
                  </a:lnTo>
                  <a:lnTo>
                    <a:pt x="23679" y="66320"/>
                  </a:lnTo>
                  <a:lnTo>
                    <a:pt x="23018" y="66414"/>
                  </a:lnTo>
                  <a:lnTo>
                    <a:pt x="23490" y="66225"/>
                  </a:lnTo>
                  <a:lnTo>
                    <a:pt x="22075" y="65942"/>
                  </a:lnTo>
                  <a:lnTo>
                    <a:pt x="20943" y="65659"/>
                  </a:lnTo>
                  <a:lnTo>
                    <a:pt x="20000" y="65282"/>
                  </a:lnTo>
                  <a:lnTo>
                    <a:pt x="19056" y="64810"/>
                  </a:lnTo>
                  <a:lnTo>
                    <a:pt x="19056" y="64810"/>
                  </a:lnTo>
                  <a:lnTo>
                    <a:pt x="19717" y="64999"/>
                  </a:lnTo>
                  <a:lnTo>
                    <a:pt x="19151" y="64716"/>
                  </a:lnTo>
                  <a:lnTo>
                    <a:pt x="18962" y="64810"/>
                  </a:lnTo>
                  <a:lnTo>
                    <a:pt x="19151" y="64905"/>
                  </a:lnTo>
                  <a:lnTo>
                    <a:pt x="18490" y="64905"/>
                  </a:lnTo>
                  <a:lnTo>
                    <a:pt x="17830" y="64716"/>
                  </a:lnTo>
                  <a:lnTo>
                    <a:pt x="17264" y="64527"/>
                  </a:lnTo>
                  <a:lnTo>
                    <a:pt x="16698" y="64150"/>
                  </a:lnTo>
                  <a:lnTo>
                    <a:pt x="16981" y="64056"/>
                  </a:lnTo>
                  <a:lnTo>
                    <a:pt x="17264" y="64150"/>
                  </a:lnTo>
                  <a:lnTo>
                    <a:pt x="17264" y="64150"/>
                  </a:lnTo>
                  <a:lnTo>
                    <a:pt x="15188" y="63207"/>
                  </a:lnTo>
                  <a:lnTo>
                    <a:pt x="14622" y="62829"/>
                  </a:lnTo>
                  <a:lnTo>
                    <a:pt x="14717" y="62924"/>
                  </a:lnTo>
                  <a:lnTo>
                    <a:pt x="13773" y="62546"/>
                  </a:lnTo>
                  <a:lnTo>
                    <a:pt x="12924" y="62075"/>
                  </a:lnTo>
                  <a:lnTo>
                    <a:pt x="12358" y="61697"/>
                  </a:lnTo>
                  <a:lnTo>
                    <a:pt x="12264" y="61508"/>
                  </a:lnTo>
                  <a:lnTo>
                    <a:pt x="12170" y="61320"/>
                  </a:lnTo>
                  <a:lnTo>
                    <a:pt x="11698" y="60942"/>
                  </a:lnTo>
                  <a:lnTo>
                    <a:pt x="11132" y="60471"/>
                  </a:lnTo>
                  <a:lnTo>
                    <a:pt x="9906" y="59244"/>
                  </a:lnTo>
                  <a:lnTo>
                    <a:pt x="9906" y="59244"/>
                  </a:lnTo>
                  <a:lnTo>
                    <a:pt x="10566" y="59527"/>
                  </a:lnTo>
                  <a:lnTo>
                    <a:pt x="9434" y="58584"/>
                  </a:lnTo>
                  <a:lnTo>
                    <a:pt x="8207" y="57546"/>
                  </a:lnTo>
                  <a:lnTo>
                    <a:pt x="7547" y="56886"/>
                  </a:lnTo>
                  <a:lnTo>
                    <a:pt x="6981" y="56131"/>
                  </a:lnTo>
                  <a:lnTo>
                    <a:pt x="6226" y="55094"/>
                  </a:lnTo>
                  <a:lnTo>
                    <a:pt x="6415" y="55377"/>
                  </a:lnTo>
                  <a:lnTo>
                    <a:pt x="6038" y="54905"/>
                  </a:lnTo>
                  <a:lnTo>
                    <a:pt x="5472" y="54244"/>
                  </a:lnTo>
                  <a:lnTo>
                    <a:pt x="5283" y="53961"/>
                  </a:lnTo>
                  <a:lnTo>
                    <a:pt x="5094" y="53867"/>
                  </a:lnTo>
                  <a:lnTo>
                    <a:pt x="5377" y="54622"/>
                  </a:lnTo>
                  <a:lnTo>
                    <a:pt x="5849" y="55282"/>
                  </a:lnTo>
                  <a:lnTo>
                    <a:pt x="6321" y="55943"/>
                  </a:lnTo>
                  <a:lnTo>
                    <a:pt x="6698" y="56603"/>
                  </a:lnTo>
                  <a:lnTo>
                    <a:pt x="6226" y="56226"/>
                  </a:lnTo>
                  <a:lnTo>
                    <a:pt x="5943" y="55848"/>
                  </a:lnTo>
                  <a:lnTo>
                    <a:pt x="6038" y="56037"/>
                  </a:lnTo>
                  <a:lnTo>
                    <a:pt x="5943" y="55943"/>
                  </a:lnTo>
                  <a:lnTo>
                    <a:pt x="5377" y="55188"/>
                  </a:lnTo>
                  <a:lnTo>
                    <a:pt x="5000" y="54716"/>
                  </a:lnTo>
                  <a:lnTo>
                    <a:pt x="4717" y="54150"/>
                  </a:lnTo>
                  <a:lnTo>
                    <a:pt x="4528" y="53678"/>
                  </a:lnTo>
                  <a:lnTo>
                    <a:pt x="4528" y="53584"/>
                  </a:lnTo>
                  <a:lnTo>
                    <a:pt x="4623" y="53395"/>
                  </a:lnTo>
                  <a:lnTo>
                    <a:pt x="5094" y="54244"/>
                  </a:lnTo>
                  <a:lnTo>
                    <a:pt x="4717" y="53301"/>
                  </a:lnTo>
                  <a:lnTo>
                    <a:pt x="4528" y="53018"/>
                  </a:lnTo>
                  <a:lnTo>
                    <a:pt x="4151" y="52263"/>
                  </a:lnTo>
                  <a:lnTo>
                    <a:pt x="4151" y="52169"/>
                  </a:lnTo>
                  <a:lnTo>
                    <a:pt x="3774" y="51509"/>
                  </a:lnTo>
                  <a:lnTo>
                    <a:pt x="3396" y="50660"/>
                  </a:lnTo>
                  <a:lnTo>
                    <a:pt x="3585" y="51603"/>
                  </a:lnTo>
                  <a:lnTo>
                    <a:pt x="3396" y="51226"/>
                  </a:lnTo>
                  <a:lnTo>
                    <a:pt x="3208" y="50848"/>
                  </a:lnTo>
                  <a:lnTo>
                    <a:pt x="3208" y="50471"/>
                  </a:lnTo>
                  <a:lnTo>
                    <a:pt x="3208" y="50094"/>
                  </a:lnTo>
                  <a:lnTo>
                    <a:pt x="3585" y="50754"/>
                  </a:lnTo>
                  <a:lnTo>
                    <a:pt x="3868" y="51509"/>
                  </a:lnTo>
                  <a:lnTo>
                    <a:pt x="3868" y="51509"/>
                  </a:lnTo>
                  <a:lnTo>
                    <a:pt x="3208" y="49528"/>
                  </a:lnTo>
                  <a:lnTo>
                    <a:pt x="3208" y="49528"/>
                  </a:lnTo>
                  <a:lnTo>
                    <a:pt x="3868" y="50754"/>
                  </a:lnTo>
                  <a:lnTo>
                    <a:pt x="3208" y="48962"/>
                  </a:lnTo>
                  <a:lnTo>
                    <a:pt x="3585" y="49339"/>
                  </a:lnTo>
                  <a:lnTo>
                    <a:pt x="3774" y="49433"/>
                  </a:lnTo>
                  <a:lnTo>
                    <a:pt x="3962" y="49528"/>
                  </a:lnTo>
                  <a:lnTo>
                    <a:pt x="4057" y="49905"/>
                  </a:lnTo>
                  <a:lnTo>
                    <a:pt x="3868" y="48962"/>
                  </a:lnTo>
                  <a:lnTo>
                    <a:pt x="3491" y="47924"/>
                  </a:lnTo>
                  <a:lnTo>
                    <a:pt x="2641" y="45565"/>
                  </a:lnTo>
                  <a:lnTo>
                    <a:pt x="2170" y="43867"/>
                  </a:lnTo>
                  <a:lnTo>
                    <a:pt x="1698" y="41886"/>
                  </a:lnTo>
                  <a:lnTo>
                    <a:pt x="1698" y="41886"/>
                  </a:lnTo>
                  <a:lnTo>
                    <a:pt x="1887" y="42075"/>
                  </a:lnTo>
                  <a:lnTo>
                    <a:pt x="1981" y="41981"/>
                  </a:lnTo>
                  <a:lnTo>
                    <a:pt x="2075" y="42075"/>
                  </a:lnTo>
                  <a:lnTo>
                    <a:pt x="2264" y="42169"/>
                  </a:lnTo>
                  <a:lnTo>
                    <a:pt x="2170" y="40283"/>
                  </a:lnTo>
                  <a:lnTo>
                    <a:pt x="2075" y="38301"/>
                  </a:lnTo>
                  <a:lnTo>
                    <a:pt x="2170" y="36415"/>
                  </a:lnTo>
                  <a:lnTo>
                    <a:pt x="2358" y="35566"/>
                  </a:lnTo>
                  <a:lnTo>
                    <a:pt x="2453" y="34811"/>
                  </a:lnTo>
                  <a:lnTo>
                    <a:pt x="2830" y="32830"/>
                  </a:lnTo>
                  <a:lnTo>
                    <a:pt x="2830" y="33207"/>
                  </a:lnTo>
                  <a:lnTo>
                    <a:pt x="2924" y="33490"/>
                  </a:lnTo>
                  <a:lnTo>
                    <a:pt x="2924" y="32453"/>
                  </a:lnTo>
                  <a:lnTo>
                    <a:pt x="3019" y="31415"/>
                  </a:lnTo>
                  <a:lnTo>
                    <a:pt x="3396" y="29245"/>
                  </a:lnTo>
                  <a:lnTo>
                    <a:pt x="3868" y="27075"/>
                  </a:lnTo>
                  <a:lnTo>
                    <a:pt x="4623" y="25000"/>
                  </a:lnTo>
                  <a:lnTo>
                    <a:pt x="5566" y="22830"/>
                  </a:lnTo>
                  <a:lnTo>
                    <a:pt x="6604" y="20849"/>
                  </a:lnTo>
                  <a:lnTo>
                    <a:pt x="7830" y="18868"/>
                  </a:lnTo>
                  <a:lnTo>
                    <a:pt x="9151" y="16887"/>
                  </a:lnTo>
                  <a:lnTo>
                    <a:pt x="10566" y="15094"/>
                  </a:lnTo>
                  <a:lnTo>
                    <a:pt x="12075" y="13302"/>
                  </a:lnTo>
                  <a:lnTo>
                    <a:pt x="13773" y="11698"/>
                  </a:lnTo>
                  <a:lnTo>
                    <a:pt x="15377" y="10095"/>
                  </a:lnTo>
                  <a:lnTo>
                    <a:pt x="17170" y="8679"/>
                  </a:lnTo>
                  <a:lnTo>
                    <a:pt x="18962" y="7453"/>
                  </a:lnTo>
                  <a:lnTo>
                    <a:pt x="20754" y="6321"/>
                  </a:lnTo>
                  <a:lnTo>
                    <a:pt x="22547" y="5378"/>
                  </a:lnTo>
                  <a:lnTo>
                    <a:pt x="21603" y="6227"/>
                  </a:lnTo>
                  <a:lnTo>
                    <a:pt x="22641" y="5472"/>
                  </a:lnTo>
                  <a:lnTo>
                    <a:pt x="23302" y="5095"/>
                  </a:lnTo>
                  <a:lnTo>
                    <a:pt x="25377" y="4151"/>
                  </a:lnTo>
                  <a:lnTo>
                    <a:pt x="24811" y="4151"/>
                  </a:lnTo>
                  <a:lnTo>
                    <a:pt x="25660" y="3774"/>
                  </a:lnTo>
                  <a:lnTo>
                    <a:pt x="26886" y="3208"/>
                  </a:lnTo>
                  <a:lnTo>
                    <a:pt x="26603" y="3585"/>
                  </a:lnTo>
                  <a:lnTo>
                    <a:pt x="26886" y="3585"/>
                  </a:lnTo>
                  <a:lnTo>
                    <a:pt x="26886" y="3680"/>
                  </a:lnTo>
                  <a:lnTo>
                    <a:pt x="26792" y="3774"/>
                  </a:lnTo>
                  <a:lnTo>
                    <a:pt x="28301" y="3302"/>
                  </a:lnTo>
                  <a:lnTo>
                    <a:pt x="29622" y="2736"/>
                  </a:lnTo>
                  <a:lnTo>
                    <a:pt x="31037" y="2264"/>
                  </a:lnTo>
                  <a:lnTo>
                    <a:pt x="31792" y="2076"/>
                  </a:lnTo>
                  <a:lnTo>
                    <a:pt x="32641" y="1981"/>
                  </a:lnTo>
                  <a:lnTo>
                    <a:pt x="32547" y="2076"/>
                  </a:lnTo>
                  <a:lnTo>
                    <a:pt x="32924" y="1981"/>
                  </a:lnTo>
                  <a:lnTo>
                    <a:pt x="34245" y="1793"/>
                  </a:lnTo>
                  <a:lnTo>
                    <a:pt x="35848" y="1415"/>
                  </a:lnTo>
                  <a:lnTo>
                    <a:pt x="36981" y="1132"/>
                  </a:lnTo>
                  <a:lnTo>
                    <a:pt x="36981" y="1415"/>
                  </a:lnTo>
                  <a:lnTo>
                    <a:pt x="40943" y="1227"/>
                  </a:lnTo>
                  <a:lnTo>
                    <a:pt x="41509" y="1038"/>
                  </a:lnTo>
                  <a:lnTo>
                    <a:pt x="41697" y="1132"/>
                  </a:lnTo>
                  <a:lnTo>
                    <a:pt x="41509" y="1227"/>
                  </a:lnTo>
                  <a:lnTo>
                    <a:pt x="41320" y="1321"/>
                  </a:lnTo>
                  <a:lnTo>
                    <a:pt x="42263" y="1321"/>
                  </a:lnTo>
                  <a:lnTo>
                    <a:pt x="43113" y="1227"/>
                  </a:lnTo>
                  <a:lnTo>
                    <a:pt x="43396" y="1415"/>
                  </a:lnTo>
                  <a:lnTo>
                    <a:pt x="44056" y="1604"/>
                  </a:lnTo>
                  <a:lnTo>
                    <a:pt x="45943" y="2076"/>
                  </a:lnTo>
                  <a:lnTo>
                    <a:pt x="48018" y="2359"/>
                  </a:lnTo>
                  <a:lnTo>
                    <a:pt x="49622" y="2736"/>
                  </a:lnTo>
                  <a:lnTo>
                    <a:pt x="47641" y="1981"/>
                  </a:lnTo>
                  <a:lnTo>
                    <a:pt x="45282" y="1321"/>
                  </a:lnTo>
                  <a:lnTo>
                    <a:pt x="42735" y="755"/>
                  </a:lnTo>
                  <a:lnTo>
                    <a:pt x="40188" y="283"/>
                  </a:lnTo>
                  <a:lnTo>
                    <a:pt x="37735" y="95"/>
                  </a:lnTo>
                  <a:lnTo>
                    <a:pt x="35471" y="0"/>
                  </a:lnTo>
                  <a:close/>
                </a:path>
              </a:pathLst>
            </a:custGeom>
            <a:solidFill>
              <a:srgbClr val="FF0000"/>
            </a:solidFill>
            <a:ln>
              <a:noFill/>
            </a:ln>
          </p:spPr>
          <p:txBody>
            <a:bodyPr spcFirstLastPara="1" wrap="square" lIns="91425" tIns="91425" rIns="91425" bIns="91425" anchor="ctr" anchorCtr="0">
              <a:noAutofit/>
            </a:bodyPr>
            <a:lstStyle/>
            <a:p>
              <a:pPr marL="0" lvl="0" indent="0">
                <a:spcBef>
                  <a:spcPts val="0"/>
                </a:spcBef>
                <a:spcAft>
                  <a:spcPts val="0"/>
                </a:spcAft>
                <a:buNone/>
              </a:pPr>
              <a:endParaRPr sz="1100"/>
            </a:p>
          </p:txBody>
        </p:sp>
        <p:sp>
          <p:nvSpPr>
            <p:cNvPr id="103" name="TextBox 102">
              <a:extLst>
                <a:ext uri="{FF2B5EF4-FFF2-40B4-BE49-F238E27FC236}">
                  <a16:creationId xmlns:a16="http://schemas.microsoft.com/office/drawing/2014/main" id="{6FCF1FA2-5B2E-0344-807A-F2CF1FCB3696}"/>
                </a:ext>
              </a:extLst>
            </p:cNvPr>
            <p:cNvSpPr txBox="1"/>
            <p:nvPr/>
          </p:nvSpPr>
          <p:spPr>
            <a:xfrm>
              <a:off x="702590" y="1204757"/>
              <a:ext cx="301686" cy="260896"/>
            </a:xfrm>
            <a:prstGeom prst="rect">
              <a:avLst/>
            </a:prstGeom>
            <a:noFill/>
          </p:spPr>
          <p:txBody>
            <a:bodyPr wrap="square" rtlCol="0">
              <a:spAutoFit/>
            </a:bodyPr>
            <a:lstStyle/>
            <a:p>
              <a:r>
                <a:rPr lang="en-US" sz="700" dirty="0">
                  <a:solidFill>
                    <a:srgbClr val="FF0000"/>
                  </a:solidFill>
                </a:rPr>
                <a:t>1.</a:t>
              </a:r>
            </a:p>
          </p:txBody>
        </p:sp>
      </p:grpSp>
      <p:sp>
        <p:nvSpPr>
          <p:cNvPr id="104" name="Google Shape;61;p12">
            <a:extLst>
              <a:ext uri="{FF2B5EF4-FFF2-40B4-BE49-F238E27FC236}">
                <a16:creationId xmlns:a16="http://schemas.microsoft.com/office/drawing/2014/main" id="{3EDD3554-DC29-B741-ACD9-8E18968166FD}"/>
              </a:ext>
            </a:extLst>
          </p:cNvPr>
          <p:cNvSpPr txBox="1">
            <a:spLocks/>
          </p:cNvSpPr>
          <p:nvPr/>
        </p:nvSpPr>
        <p:spPr>
          <a:xfrm>
            <a:off x="1425665" y="1258271"/>
            <a:ext cx="711623" cy="297585"/>
          </a:xfrm>
          <a:prstGeom prst="rect">
            <a:avLst/>
          </a:prstGeom>
        </p:spPr>
        <p:txBody>
          <a:bodyPr spcFirstLastPara="1" vert="horz" wrap="square" lIns="91425" tIns="91425" rIns="91425" bIns="91425" rtlCol="0" anchor="ctr"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spcBef>
                <a:spcPts val="0"/>
              </a:spcBef>
            </a:pPr>
            <a:r>
              <a:rPr lang="en-US" sz="1100" b="1" dirty="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Priority</a:t>
            </a:r>
          </a:p>
        </p:txBody>
      </p:sp>
      <p:sp>
        <p:nvSpPr>
          <p:cNvPr id="8" name="Rectangle 7">
            <a:extLst>
              <a:ext uri="{FF2B5EF4-FFF2-40B4-BE49-F238E27FC236}">
                <a16:creationId xmlns:a16="http://schemas.microsoft.com/office/drawing/2014/main" id="{673749E4-B140-F74F-AEF7-4A0FAEF03AED}"/>
              </a:ext>
            </a:extLst>
          </p:cNvPr>
          <p:cNvSpPr/>
          <p:nvPr/>
        </p:nvSpPr>
        <p:spPr>
          <a:xfrm>
            <a:off x="2191575" y="3399149"/>
            <a:ext cx="7991158" cy="1495888"/>
          </a:xfrm>
          <a:prstGeom prst="rect">
            <a:avLst/>
          </a:prstGeom>
          <a:solidFill>
            <a:srgbClr val="E2E2E2">
              <a:alpha val="56000"/>
            </a:srgbClr>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a:solidFill>
                <a:srgbClr val="002D72"/>
              </a:solidFill>
              <a:latin typeface="Arial" pitchFamily="34" charset="0"/>
              <a:cs typeface="Arial" pitchFamily="34" charset="0"/>
            </a:endParaRPr>
          </a:p>
        </p:txBody>
      </p:sp>
      <p:grpSp>
        <p:nvGrpSpPr>
          <p:cNvPr id="42" name="Group 41">
            <a:extLst>
              <a:ext uri="{FF2B5EF4-FFF2-40B4-BE49-F238E27FC236}">
                <a16:creationId xmlns:a16="http://schemas.microsoft.com/office/drawing/2014/main" id="{A4500220-AFAD-1041-B354-E0C72FE74B10}"/>
              </a:ext>
            </a:extLst>
          </p:cNvPr>
          <p:cNvGrpSpPr/>
          <p:nvPr/>
        </p:nvGrpSpPr>
        <p:grpSpPr>
          <a:xfrm rot="21011211">
            <a:off x="8985926" y="3978568"/>
            <a:ext cx="292910" cy="222927"/>
            <a:chOff x="702590" y="1203599"/>
            <a:chExt cx="301686" cy="290724"/>
          </a:xfrm>
        </p:grpSpPr>
        <p:sp>
          <p:nvSpPr>
            <p:cNvPr id="44" name="Google Shape;431;p39">
              <a:extLst>
                <a:ext uri="{FF2B5EF4-FFF2-40B4-BE49-F238E27FC236}">
                  <a16:creationId xmlns:a16="http://schemas.microsoft.com/office/drawing/2014/main" id="{16CAB1D2-3C97-B344-83A8-89355EA22B19}"/>
                </a:ext>
              </a:extLst>
            </p:cNvPr>
            <p:cNvSpPr/>
            <p:nvPr/>
          </p:nvSpPr>
          <p:spPr>
            <a:xfrm>
              <a:off x="736556" y="1203599"/>
              <a:ext cx="219241" cy="290724"/>
            </a:xfrm>
            <a:custGeom>
              <a:avLst/>
              <a:gdLst/>
              <a:ahLst/>
              <a:cxnLst/>
              <a:rect l="0" t="0" r="0" b="0"/>
              <a:pathLst>
                <a:path w="67641" h="69056" extrusionOk="0">
                  <a:moveTo>
                    <a:pt x="49622" y="2736"/>
                  </a:moveTo>
                  <a:lnTo>
                    <a:pt x="49622" y="2736"/>
                  </a:lnTo>
                  <a:lnTo>
                    <a:pt x="49622" y="2736"/>
                  </a:lnTo>
                  <a:close/>
                  <a:moveTo>
                    <a:pt x="59622" y="55565"/>
                  </a:moveTo>
                  <a:lnTo>
                    <a:pt x="59622" y="55565"/>
                  </a:lnTo>
                  <a:lnTo>
                    <a:pt x="59622" y="55565"/>
                  </a:lnTo>
                  <a:close/>
                  <a:moveTo>
                    <a:pt x="35471" y="0"/>
                  </a:moveTo>
                  <a:lnTo>
                    <a:pt x="34433" y="95"/>
                  </a:lnTo>
                  <a:lnTo>
                    <a:pt x="33584" y="189"/>
                  </a:lnTo>
                  <a:lnTo>
                    <a:pt x="32735" y="378"/>
                  </a:lnTo>
                  <a:lnTo>
                    <a:pt x="32169" y="566"/>
                  </a:lnTo>
                  <a:lnTo>
                    <a:pt x="31509" y="472"/>
                  </a:lnTo>
                  <a:lnTo>
                    <a:pt x="30754" y="472"/>
                  </a:lnTo>
                  <a:lnTo>
                    <a:pt x="29339" y="566"/>
                  </a:lnTo>
                  <a:lnTo>
                    <a:pt x="27830" y="849"/>
                  </a:lnTo>
                  <a:lnTo>
                    <a:pt x="26320" y="1321"/>
                  </a:lnTo>
                  <a:lnTo>
                    <a:pt x="24811" y="1981"/>
                  </a:lnTo>
                  <a:lnTo>
                    <a:pt x="23207" y="2736"/>
                  </a:lnTo>
                  <a:lnTo>
                    <a:pt x="21698" y="3585"/>
                  </a:lnTo>
                  <a:lnTo>
                    <a:pt x="20188" y="4623"/>
                  </a:lnTo>
                  <a:lnTo>
                    <a:pt x="18679" y="5661"/>
                  </a:lnTo>
                  <a:lnTo>
                    <a:pt x="17170" y="6793"/>
                  </a:lnTo>
                  <a:lnTo>
                    <a:pt x="15754" y="8019"/>
                  </a:lnTo>
                  <a:lnTo>
                    <a:pt x="14434" y="9151"/>
                  </a:lnTo>
                  <a:lnTo>
                    <a:pt x="11981" y="11510"/>
                  </a:lnTo>
                  <a:lnTo>
                    <a:pt x="10000" y="13774"/>
                  </a:lnTo>
                  <a:lnTo>
                    <a:pt x="7736" y="16981"/>
                  </a:lnTo>
                  <a:lnTo>
                    <a:pt x="8019" y="16321"/>
                  </a:lnTo>
                  <a:lnTo>
                    <a:pt x="8302" y="15660"/>
                  </a:lnTo>
                  <a:lnTo>
                    <a:pt x="7736" y="16604"/>
                  </a:lnTo>
                  <a:lnTo>
                    <a:pt x="7075" y="17642"/>
                  </a:lnTo>
                  <a:lnTo>
                    <a:pt x="7170" y="17830"/>
                  </a:lnTo>
                  <a:lnTo>
                    <a:pt x="6509" y="18868"/>
                  </a:lnTo>
                  <a:lnTo>
                    <a:pt x="7075" y="17359"/>
                  </a:lnTo>
                  <a:lnTo>
                    <a:pt x="6132" y="19057"/>
                  </a:lnTo>
                  <a:lnTo>
                    <a:pt x="5189" y="20849"/>
                  </a:lnTo>
                  <a:lnTo>
                    <a:pt x="4434" y="22736"/>
                  </a:lnTo>
                  <a:lnTo>
                    <a:pt x="3679" y="24622"/>
                  </a:lnTo>
                  <a:lnTo>
                    <a:pt x="2453" y="28490"/>
                  </a:lnTo>
                  <a:lnTo>
                    <a:pt x="1321" y="32169"/>
                  </a:lnTo>
                  <a:lnTo>
                    <a:pt x="1509" y="32264"/>
                  </a:lnTo>
                  <a:lnTo>
                    <a:pt x="1604" y="32453"/>
                  </a:lnTo>
                  <a:lnTo>
                    <a:pt x="1604" y="32641"/>
                  </a:lnTo>
                  <a:lnTo>
                    <a:pt x="1509" y="32924"/>
                  </a:lnTo>
                  <a:lnTo>
                    <a:pt x="1226" y="33396"/>
                  </a:lnTo>
                  <a:lnTo>
                    <a:pt x="1038" y="33585"/>
                  </a:lnTo>
                  <a:lnTo>
                    <a:pt x="1038" y="33773"/>
                  </a:lnTo>
                  <a:lnTo>
                    <a:pt x="1038" y="35000"/>
                  </a:lnTo>
                  <a:lnTo>
                    <a:pt x="849" y="36132"/>
                  </a:lnTo>
                  <a:lnTo>
                    <a:pt x="660" y="37358"/>
                  </a:lnTo>
                  <a:lnTo>
                    <a:pt x="472" y="38867"/>
                  </a:lnTo>
                  <a:lnTo>
                    <a:pt x="283" y="38301"/>
                  </a:lnTo>
                  <a:lnTo>
                    <a:pt x="94" y="39811"/>
                  </a:lnTo>
                  <a:lnTo>
                    <a:pt x="0" y="41509"/>
                  </a:lnTo>
                  <a:lnTo>
                    <a:pt x="94" y="43301"/>
                  </a:lnTo>
                  <a:lnTo>
                    <a:pt x="283" y="44056"/>
                  </a:lnTo>
                  <a:lnTo>
                    <a:pt x="472" y="44622"/>
                  </a:lnTo>
                  <a:lnTo>
                    <a:pt x="566" y="45660"/>
                  </a:lnTo>
                  <a:lnTo>
                    <a:pt x="755" y="46792"/>
                  </a:lnTo>
                  <a:lnTo>
                    <a:pt x="1226" y="48962"/>
                  </a:lnTo>
                  <a:lnTo>
                    <a:pt x="1981" y="51037"/>
                  </a:lnTo>
                  <a:lnTo>
                    <a:pt x="2924" y="53112"/>
                  </a:lnTo>
                  <a:lnTo>
                    <a:pt x="4057" y="55094"/>
                  </a:lnTo>
                  <a:lnTo>
                    <a:pt x="5283" y="56980"/>
                  </a:lnTo>
                  <a:lnTo>
                    <a:pt x="6698" y="58678"/>
                  </a:lnTo>
                  <a:lnTo>
                    <a:pt x="8113" y="60282"/>
                  </a:lnTo>
                  <a:lnTo>
                    <a:pt x="9056" y="61131"/>
                  </a:lnTo>
                  <a:lnTo>
                    <a:pt x="10000" y="61980"/>
                  </a:lnTo>
                  <a:lnTo>
                    <a:pt x="11038" y="62829"/>
                  </a:lnTo>
                  <a:lnTo>
                    <a:pt x="12075" y="63584"/>
                  </a:lnTo>
                  <a:lnTo>
                    <a:pt x="14339" y="64905"/>
                  </a:lnTo>
                  <a:lnTo>
                    <a:pt x="16604" y="66131"/>
                  </a:lnTo>
                  <a:lnTo>
                    <a:pt x="19056" y="67169"/>
                  </a:lnTo>
                  <a:lnTo>
                    <a:pt x="21509" y="67923"/>
                  </a:lnTo>
                  <a:lnTo>
                    <a:pt x="24056" y="68584"/>
                  </a:lnTo>
                  <a:lnTo>
                    <a:pt x="26603" y="69055"/>
                  </a:lnTo>
                  <a:lnTo>
                    <a:pt x="27830" y="69055"/>
                  </a:lnTo>
                  <a:lnTo>
                    <a:pt x="30188" y="68867"/>
                  </a:lnTo>
                  <a:lnTo>
                    <a:pt x="33113" y="68678"/>
                  </a:lnTo>
                  <a:lnTo>
                    <a:pt x="36509" y="68301"/>
                  </a:lnTo>
                  <a:lnTo>
                    <a:pt x="39811" y="67923"/>
                  </a:lnTo>
                  <a:lnTo>
                    <a:pt x="42735" y="67452"/>
                  </a:lnTo>
                  <a:lnTo>
                    <a:pt x="44905" y="66980"/>
                  </a:lnTo>
                  <a:lnTo>
                    <a:pt x="45565" y="66791"/>
                  </a:lnTo>
                  <a:lnTo>
                    <a:pt x="45943" y="66508"/>
                  </a:lnTo>
                  <a:lnTo>
                    <a:pt x="47358" y="65942"/>
                  </a:lnTo>
                  <a:lnTo>
                    <a:pt x="48018" y="65565"/>
                  </a:lnTo>
                  <a:lnTo>
                    <a:pt x="48678" y="65188"/>
                  </a:lnTo>
                  <a:lnTo>
                    <a:pt x="47924" y="65471"/>
                  </a:lnTo>
                  <a:lnTo>
                    <a:pt x="51509" y="62924"/>
                  </a:lnTo>
                  <a:lnTo>
                    <a:pt x="53301" y="61508"/>
                  </a:lnTo>
                  <a:lnTo>
                    <a:pt x="55093" y="59905"/>
                  </a:lnTo>
                  <a:lnTo>
                    <a:pt x="55093" y="59905"/>
                  </a:lnTo>
                  <a:lnTo>
                    <a:pt x="54810" y="60376"/>
                  </a:lnTo>
                  <a:lnTo>
                    <a:pt x="54339" y="60754"/>
                  </a:lnTo>
                  <a:lnTo>
                    <a:pt x="55376" y="59999"/>
                  </a:lnTo>
                  <a:lnTo>
                    <a:pt x="56320" y="59056"/>
                  </a:lnTo>
                  <a:lnTo>
                    <a:pt x="57075" y="58395"/>
                  </a:lnTo>
                  <a:lnTo>
                    <a:pt x="57169" y="58207"/>
                  </a:lnTo>
                  <a:lnTo>
                    <a:pt x="57075" y="58207"/>
                  </a:lnTo>
                  <a:lnTo>
                    <a:pt x="57924" y="57546"/>
                  </a:lnTo>
                  <a:lnTo>
                    <a:pt x="58678" y="56697"/>
                  </a:lnTo>
                  <a:lnTo>
                    <a:pt x="59339" y="55754"/>
                  </a:lnTo>
                  <a:lnTo>
                    <a:pt x="59905" y="54905"/>
                  </a:lnTo>
                  <a:lnTo>
                    <a:pt x="59716" y="54999"/>
                  </a:lnTo>
                  <a:lnTo>
                    <a:pt x="59622" y="54999"/>
                  </a:lnTo>
                  <a:lnTo>
                    <a:pt x="59810" y="54622"/>
                  </a:lnTo>
                  <a:lnTo>
                    <a:pt x="59150" y="55565"/>
                  </a:lnTo>
                  <a:lnTo>
                    <a:pt x="59527" y="55094"/>
                  </a:lnTo>
                  <a:lnTo>
                    <a:pt x="59433" y="55377"/>
                  </a:lnTo>
                  <a:lnTo>
                    <a:pt x="58867" y="56037"/>
                  </a:lnTo>
                  <a:lnTo>
                    <a:pt x="59056" y="55660"/>
                  </a:lnTo>
                  <a:lnTo>
                    <a:pt x="59056" y="55660"/>
                  </a:lnTo>
                  <a:lnTo>
                    <a:pt x="58678" y="56037"/>
                  </a:lnTo>
                  <a:lnTo>
                    <a:pt x="59810" y="54339"/>
                  </a:lnTo>
                  <a:lnTo>
                    <a:pt x="60282" y="53490"/>
                  </a:lnTo>
                  <a:lnTo>
                    <a:pt x="60282" y="53301"/>
                  </a:lnTo>
                  <a:lnTo>
                    <a:pt x="60188" y="53395"/>
                  </a:lnTo>
                  <a:lnTo>
                    <a:pt x="60188" y="53395"/>
                  </a:lnTo>
                  <a:lnTo>
                    <a:pt x="60565" y="52924"/>
                  </a:lnTo>
                  <a:lnTo>
                    <a:pt x="61037" y="52452"/>
                  </a:lnTo>
                  <a:lnTo>
                    <a:pt x="61886" y="51509"/>
                  </a:lnTo>
                  <a:lnTo>
                    <a:pt x="61508" y="52452"/>
                  </a:lnTo>
                  <a:lnTo>
                    <a:pt x="60848" y="53584"/>
                  </a:lnTo>
                  <a:lnTo>
                    <a:pt x="59622" y="55565"/>
                  </a:lnTo>
                  <a:lnTo>
                    <a:pt x="60376" y="54528"/>
                  </a:lnTo>
                  <a:lnTo>
                    <a:pt x="60942" y="53678"/>
                  </a:lnTo>
                  <a:lnTo>
                    <a:pt x="61980" y="51792"/>
                  </a:lnTo>
                  <a:lnTo>
                    <a:pt x="61886" y="51886"/>
                  </a:lnTo>
                  <a:lnTo>
                    <a:pt x="61886" y="51697"/>
                  </a:lnTo>
                  <a:lnTo>
                    <a:pt x="62169" y="51037"/>
                  </a:lnTo>
                  <a:lnTo>
                    <a:pt x="62735" y="49999"/>
                  </a:lnTo>
                  <a:lnTo>
                    <a:pt x="61508" y="51603"/>
                  </a:lnTo>
                  <a:lnTo>
                    <a:pt x="61603" y="51037"/>
                  </a:lnTo>
                  <a:lnTo>
                    <a:pt x="61697" y="50377"/>
                  </a:lnTo>
                  <a:lnTo>
                    <a:pt x="62169" y="48962"/>
                  </a:lnTo>
                  <a:lnTo>
                    <a:pt x="62829" y="47358"/>
                  </a:lnTo>
                  <a:lnTo>
                    <a:pt x="63678" y="45565"/>
                  </a:lnTo>
                  <a:lnTo>
                    <a:pt x="65376" y="42169"/>
                  </a:lnTo>
                  <a:lnTo>
                    <a:pt x="66131" y="40660"/>
                  </a:lnTo>
                  <a:lnTo>
                    <a:pt x="66697" y="39339"/>
                  </a:lnTo>
                  <a:lnTo>
                    <a:pt x="66603" y="39528"/>
                  </a:lnTo>
                  <a:lnTo>
                    <a:pt x="66697" y="39056"/>
                  </a:lnTo>
                  <a:lnTo>
                    <a:pt x="66791" y="38962"/>
                  </a:lnTo>
                  <a:lnTo>
                    <a:pt x="66791" y="39056"/>
                  </a:lnTo>
                  <a:lnTo>
                    <a:pt x="66886" y="38584"/>
                  </a:lnTo>
                  <a:lnTo>
                    <a:pt x="66791" y="38867"/>
                  </a:lnTo>
                  <a:lnTo>
                    <a:pt x="66980" y="38207"/>
                  </a:lnTo>
                  <a:lnTo>
                    <a:pt x="67169" y="37264"/>
                  </a:lnTo>
                  <a:lnTo>
                    <a:pt x="67263" y="36415"/>
                  </a:lnTo>
                  <a:lnTo>
                    <a:pt x="67357" y="36509"/>
                  </a:lnTo>
                  <a:lnTo>
                    <a:pt x="67452" y="36509"/>
                  </a:lnTo>
                  <a:lnTo>
                    <a:pt x="67546" y="35943"/>
                  </a:lnTo>
                  <a:lnTo>
                    <a:pt x="67546" y="34811"/>
                  </a:lnTo>
                  <a:lnTo>
                    <a:pt x="67640" y="31037"/>
                  </a:lnTo>
                  <a:lnTo>
                    <a:pt x="67640" y="28490"/>
                  </a:lnTo>
                  <a:lnTo>
                    <a:pt x="67546" y="27736"/>
                  </a:lnTo>
                  <a:lnTo>
                    <a:pt x="67546" y="27547"/>
                  </a:lnTo>
                  <a:lnTo>
                    <a:pt x="67452" y="27547"/>
                  </a:lnTo>
                  <a:lnTo>
                    <a:pt x="67074" y="26792"/>
                  </a:lnTo>
                  <a:lnTo>
                    <a:pt x="66791" y="25660"/>
                  </a:lnTo>
                  <a:lnTo>
                    <a:pt x="66508" y="24528"/>
                  </a:lnTo>
                  <a:lnTo>
                    <a:pt x="66414" y="23585"/>
                  </a:lnTo>
                  <a:lnTo>
                    <a:pt x="66320" y="23679"/>
                  </a:lnTo>
                  <a:lnTo>
                    <a:pt x="66320" y="23490"/>
                  </a:lnTo>
                  <a:lnTo>
                    <a:pt x="65942" y="22924"/>
                  </a:lnTo>
                  <a:lnTo>
                    <a:pt x="65565" y="22358"/>
                  </a:lnTo>
                  <a:lnTo>
                    <a:pt x="64527" y="21132"/>
                  </a:lnTo>
                  <a:lnTo>
                    <a:pt x="63584" y="19906"/>
                  </a:lnTo>
                  <a:lnTo>
                    <a:pt x="63207" y="19340"/>
                  </a:lnTo>
                  <a:lnTo>
                    <a:pt x="63018" y="18774"/>
                  </a:lnTo>
                  <a:lnTo>
                    <a:pt x="63112" y="18962"/>
                  </a:lnTo>
                  <a:lnTo>
                    <a:pt x="63301" y="19057"/>
                  </a:lnTo>
                  <a:lnTo>
                    <a:pt x="63301" y="19057"/>
                  </a:lnTo>
                  <a:lnTo>
                    <a:pt x="63207" y="18868"/>
                  </a:lnTo>
                  <a:lnTo>
                    <a:pt x="62923" y="18491"/>
                  </a:lnTo>
                  <a:lnTo>
                    <a:pt x="61980" y="17453"/>
                  </a:lnTo>
                  <a:lnTo>
                    <a:pt x="61037" y="16509"/>
                  </a:lnTo>
                  <a:lnTo>
                    <a:pt x="61037" y="16698"/>
                  </a:lnTo>
                  <a:lnTo>
                    <a:pt x="61037" y="16887"/>
                  </a:lnTo>
                  <a:lnTo>
                    <a:pt x="60093" y="15943"/>
                  </a:lnTo>
                  <a:lnTo>
                    <a:pt x="60376" y="16321"/>
                  </a:lnTo>
                  <a:lnTo>
                    <a:pt x="59527" y="15377"/>
                  </a:lnTo>
                  <a:lnTo>
                    <a:pt x="59056" y="14906"/>
                  </a:lnTo>
                  <a:lnTo>
                    <a:pt x="59244" y="14906"/>
                  </a:lnTo>
                  <a:lnTo>
                    <a:pt x="59905" y="15472"/>
                  </a:lnTo>
                  <a:lnTo>
                    <a:pt x="59905" y="15472"/>
                  </a:lnTo>
                  <a:lnTo>
                    <a:pt x="57641" y="13396"/>
                  </a:lnTo>
                  <a:lnTo>
                    <a:pt x="58112" y="13868"/>
                  </a:lnTo>
                  <a:lnTo>
                    <a:pt x="56886" y="13019"/>
                  </a:lnTo>
                  <a:lnTo>
                    <a:pt x="55754" y="12453"/>
                  </a:lnTo>
                  <a:lnTo>
                    <a:pt x="56603" y="13113"/>
                  </a:lnTo>
                  <a:lnTo>
                    <a:pt x="57452" y="13774"/>
                  </a:lnTo>
                  <a:lnTo>
                    <a:pt x="58961" y="15283"/>
                  </a:lnTo>
                  <a:lnTo>
                    <a:pt x="60376" y="16604"/>
                  </a:lnTo>
                  <a:lnTo>
                    <a:pt x="61225" y="17264"/>
                  </a:lnTo>
                  <a:lnTo>
                    <a:pt x="62074" y="17925"/>
                  </a:lnTo>
                  <a:lnTo>
                    <a:pt x="62074" y="17925"/>
                  </a:lnTo>
                  <a:lnTo>
                    <a:pt x="61414" y="17547"/>
                  </a:lnTo>
                  <a:lnTo>
                    <a:pt x="60659" y="16981"/>
                  </a:lnTo>
                  <a:lnTo>
                    <a:pt x="60754" y="17264"/>
                  </a:lnTo>
                  <a:lnTo>
                    <a:pt x="60942" y="17642"/>
                  </a:lnTo>
                  <a:lnTo>
                    <a:pt x="61980" y="19151"/>
                  </a:lnTo>
                  <a:lnTo>
                    <a:pt x="63301" y="20943"/>
                  </a:lnTo>
                  <a:lnTo>
                    <a:pt x="63207" y="20943"/>
                  </a:lnTo>
                  <a:lnTo>
                    <a:pt x="63395" y="21038"/>
                  </a:lnTo>
                  <a:lnTo>
                    <a:pt x="63490" y="21321"/>
                  </a:lnTo>
                  <a:lnTo>
                    <a:pt x="63678" y="21604"/>
                  </a:lnTo>
                  <a:lnTo>
                    <a:pt x="63773" y="21698"/>
                  </a:lnTo>
                  <a:lnTo>
                    <a:pt x="63584" y="21321"/>
                  </a:lnTo>
                  <a:lnTo>
                    <a:pt x="63584" y="21321"/>
                  </a:lnTo>
                  <a:lnTo>
                    <a:pt x="64244" y="22170"/>
                  </a:lnTo>
                  <a:lnTo>
                    <a:pt x="64716" y="22641"/>
                  </a:lnTo>
                  <a:lnTo>
                    <a:pt x="64905" y="22830"/>
                  </a:lnTo>
                  <a:lnTo>
                    <a:pt x="64999" y="22830"/>
                  </a:lnTo>
                  <a:lnTo>
                    <a:pt x="64999" y="22641"/>
                  </a:lnTo>
                  <a:lnTo>
                    <a:pt x="64905" y="22358"/>
                  </a:lnTo>
                  <a:lnTo>
                    <a:pt x="65282" y="23207"/>
                  </a:lnTo>
                  <a:lnTo>
                    <a:pt x="65565" y="24056"/>
                  </a:lnTo>
                  <a:lnTo>
                    <a:pt x="66225" y="25943"/>
                  </a:lnTo>
                  <a:lnTo>
                    <a:pt x="66697" y="27830"/>
                  </a:lnTo>
                  <a:lnTo>
                    <a:pt x="66886" y="28490"/>
                  </a:lnTo>
                  <a:lnTo>
                    <a:pt x="66980" y="28868"/>
                  </a:lnTo>
                  <a:lnTo>
                    <a:pt x="66886" y="28962"/>
                  </a:lnTo>
                  <a:lnTo>
                    <a:pt x="66697" y="28679"/>
                  </a:lnTo>
                  <a:lnTo>
                    <a:pt x="66697" y="29245"/>
                  </a:lnTo>
                  <a:lnTo>
                    <a:pt x="66791" y="29905"/>
                  </a:lnTo>
                  <a:lnTo>
                    <a:pt x="66886" y="29905"/>
                  </a:lnTo>
                  <a:lnTo>
                    <a:pt x="66886" y="30094"/>
                  </a:lnTo>
                  <a:lnTo>
                    <a:pt x="66886" y="30566"/>
                  </a:lnTo>
                  <a:lnTo>
                    <a:pt x="66697" y="30377"/>
                  </a:lnTo>
                  <a:lnTo>
                    <a:pt x="66603" y="30188"/>
                  </a:lnTo>
                  <a:lnTo>
                    <a:pt x="66603" y="30094"/>
                  </a:lnTo>
                  <a:lnTo>
                    <a:pt x="66697" y="29905"/>
                  </a:lnTo>
                  <a:lnTo>
                    <a:pt x="66508" y="28679"/>
                  </a:lnTo>
                  <a:lnTo>
                    <a:pt x="66225" y="27358"/>
                  </a:lnTo>
                  <a:lnTo>
                    <a:pt x="66603" y="30283"/>
                  </a:lnTo>
                  <a:lnTo>
                    <a:pt x="66697" y="31792"/>
                  </a:lnTo>
                  <a:lnTo>
                    <a:pt x="66697" y="33302"/>
                  </a:lnTo>
                  <a:lnTo>
                    <a:pt x="66603" y="34717"/>
                  </a:lnTo>
                  <a:lnTo>
                    <a:pt x="66414" y="36226"/>
                  </a:lnTo>
                  <a:lnTo>
                    <a:pt x="66131" y="37547"/>
                  </a:lnTo>
                  <a:lnTo>
                    <a:pt x="65659" y="38962"/>
                  </a:lnTo>
                  <a:lnTo>
                    <a:pt x="65848" y="38584"/>
                  </a:lnTo>
                  <a:lnTo>
                    <a:pt x="65942" y="38584"/>
                  </a:lnTo>
                  <a:lnTo>
                    <a:pt x="65848" y="39245"/>
                  </a:lnTo>
                  <a:lnTo>
                    <a:pt x="65565" y="40188"/>
                  </a:lnTo>
                  <a:lnTo>
                    <a:pt x="65471" y="40471"/>
                  </a:lnTo>
                  <a:lnTo>
                    <a:pt x="65282" y="40660"/>
                  </a:lnTo>
                  <a:lnTo>
                    <a:pt x="65282" y="40566"/>
                  </a:lnTo>
                  <a:lnTo>
                    <a:pt x="65093" y="41132"/>
                  </a:lnTo>
                  <a:lnTo>
                    <a:pt x="64433" y="43018"/>
                  </a:lnTo>
                  <a:lnTo>
                    <a:pt x="63678" y="45282"/>
                  </a:lnTo>
                  <a:lnTo>
                    <a:pt x="62735" y="47264"/>
                  </a:lnTo>
                  <a:lnTo>
                    <a:pt x="61697" y="49056"/>
                  </a:lnTo>
                  <a:lnTo>
                    <a:pt x="60659" y="50943"/>
                  </a:lnTo>
                  <a:lnTo>
                    <a:pt x="59433" y="52735"/>
                  </a:lnTo>
                  <a:lnTo>
                    <a:pt x="58207" y="54433"/>
                  </a:lnTo>
                  <a:lnTo>
                    <a:pt x="56886" y="56037"/>
                  </a:lnTo>
                  <a:lnTo>
                    <a:pt x="55376" y="57641"/>
                  </a:lnTo>
                  <a:lnTo>
                    <a:pt x="53867" y="59150"/>
                  </a:lnTo>
                  <a:lnTo>
                    <a:pt x="52169" y="60376"/>
                  </a:lnTo>
                  <a:lnTo>
                    <a:pt x="48961" y="62452"/>
                  </a:lnTo>
                  <a:lnTo>
                    <a:pt x="44528" y="65282"/>
                  </a:lnTo>
                  <a:lnTo>
                    <a:pt x="44622" y="65188"/>
                  </a:lnTo>
                  <a:lnTo>
                    <a:pt x="44716" y="65093"/>
                  </a:lnTo>
                  <a:lnTo>
                    <a:pt x="45094" y="64810"/>
                  </a:lnTo>
                  <a:lnTo>
                    <a:pt x="45660" y="64527"/>
                  </a:lnTo>
                  <a:lnTo>
                    <a:pt x="43867" y="65376"/>
                  </a:lnTo>
                  <a:lnTo>
                    <a:pt x="43113" y="65754"/>
                  </a:lnTo>
                  <a:lnTo>
                    <a:pt x="42924" y="65754"/>
                  </a:lnTo>
                  <a:lnTo>
                    <a:pt x="43113" y="65659"/>
                  </a:lnTo>
                  <a:lnTo>
                    <a:pt x="41603" y="66037"/>
                  </a:lnTo>
                  <a:lnTo>
                    <a:pt x="39999" y="66320"/>
                  </a:lnTo>
                  <a:lnTo>
                    <a:pt x="38396" y="66508"/>
                  </a:lnTo>
                  <a:lnTo>
                    <a:pt x="36792" y="66697"/>
                  </a:lnTo>
                  <a:lnTo>
                    <a:pt x="33584" y="66980"/>
                  </a:lnTo>
                  <a:lnTo>
                    <a:pt x="32169" y="67169"/>
                  </a:lnTo>
                  <a:lnTo>
                    <a:pt x="30754" y="67357"/>
                  </a:lnTo>
                  <a:lnTo>
                    <a:pt x="30094" y="67357"/>
                  </a:lnTo>
                  <a:lnTo>
                    <a:pt x="29339" y="67263"/>
                  </a:lnTo>
                  <a:lnTo>
                    <a:pt x="27830" y="66886"/>
                  </a:lnTo>
                  <a:lnTo>
                    <a:pt x="26415" y="66508"/>
                  </a:lnTo>
                  <a:lnTo>
                    <a:pt x="25754" y="66414"/>
                  </a:lnTo>
                  <a:lnTo>
                    <a:pt x="25094" y="66414"/>
                  </a:lnTo>
                  <a:lnTo>
                    <a:pt x="25566" y="66980"/>
                  </a:lnTo>
                  <a:lnTo>
                    <a:pt x="25471" y="67074"/>
                  </a:lnTo>
                  <a:lnTo>
                    <a:pt x="25188" y="66980"/>
                  </a:lnTo>
                  <a:lnTo>
                    <a:pt x="24339" y="66791"/>
                  </a:lnTo>
                  <a:lnTo>
                    <a:pt x="23773" y="66508"/>
                  </a:lnTo>
                  <a:lnTo>
                    <a:pt x="24245" y="66414"/>
                  </a:lnTo>
                  <a:lnTo>
                    <a:pt x="24717" y="66603"/>
                  </a:lnTo>
                  <a:lnTo>
                    <a:pt x="24811" y="66414"/>
                  </a:lnTo>
                  <a:lnTo>
                    <a:pt x="24811" y="66320"/>
                  </a:lnTo>
                  <a:lnTo>
                    <a:pt x="24717" y="66225"/>
                  </a:lnTo>
                  <a:lnTo>
                    <a:pt x="24528" y="66131"/>
                  </a:lnTo>
                  <a:lnTo>
                    <a:pt x="24151" y="66225"/>
                  </a:lnTo>
                  <a:lnTo>
                    <a:pt x="23679" y="66320"/>
                  </a:lnTo>
                  <a:lnTo>
                    <a:pt x="23018" y="66414"/>
                  </a:lnTo>
                  <a:lnTo>
                    <a:pt x="23490" y="66225"/>
                  </a:lnTo>
                  <a:lnTo>
                    <a:pt x="22075" y="65942"/>
                  </a:lnTo>
                  <a:lnTo>
                    <a:pt x="20943" y="65659"/>
                  </a:lnTo>
                  <a:lnTo>
                    <a:pt x="20000" y="65282"/>
                  </a:lnTo>
                  <a:lnTo>
                    <a:pt x="19056" y="64810"/>
                  </a:lnTo>
                  <a:lnTo>
                    <a:pt x="19056" y="64810"/>
                  </a:lnTo>
                  <a:lnTo>
                    <a:pt x="19717" y="64999"/>
                  </a:lnTo>
                  <a:lnTo>
                    <a:pt x="19151" y="64716"/>
                  </a:lnTo>
                  <a:lnTo>
                    <a:pt x="18962" y="64810"/>
                  </a:lnTo>
                  <a:lnTo>
                    <a:pt x="19151" y="64905"/>
                  </a:lnTo>
                  <a:lnTo>
                    <a:pt x="18490" y="64905"/>
                  </a:lnTo>
                  <a:lnTo>
                    <a:pt x="17830" y="64716"/>
                  </a:lnTo>
                  <a:lnTo>
                    <a:pt x="17264" y="64527"/>
                  </a:lnTo>
                  <a:lnTo>
                    <a:pt x="16698" y="64150"/>
                  </a:lnTo>
                  <a:lnTo>
                    <a:pt x="16981" y="64056"/>
                  </a:lnTo>
                  <a:lnTo>
                    <a:pt x="17264" y="64150"/>
                  </a:lnTo>
                  <a:lnTo>
                    <a:pt x="17264" y="64150"/>
                  </a:lnTo>
                  <a:lnTo>
                    <a:pt x="15188" y="63207"/>
                  </a:lnTo>
                  <a:lnTo>
                    <a:pt x="14622" y="62829"/>
                  </a:lnTo>
                  <a:lnTo>
                    <a:pt x="14717" y="62924"/>
                  </a:lnTo>
                  <a:lnTo>
                    <a:pt x="13773" y="62546"/>
                  </a:lnTo>
                  <a:lnTo>
                    <a:pt x="12924" y="62075"/>
                  </a:lnTo>
                  <a:lnTo>
                    <a:pt x="12358" y="61697"/>
                  </a:lnTo>
                  <a:lnTo>
                    <a:pt x="12264" y="61508"/>
                  </a:lnTo>
                  <a:lnTo>
                    <a:pt x="12170" y="61320"/>
                  </a:lnTo>
                  <a:lnTo>
                    <a:pt x="11698" y="60942"/>
                  </a:lnTo>
                  <a:lnTo>
                    <a:pt x="11132" y="60471"/>
                  </a:lnTo>
                  <a:lnTo>
                    <a:pt x="9906" y="59244"/>
                  </a:lnTo>
                  <a:lnTo>
                    <a:pt x="9906" y="59244"/>
                  </a:lnTo>
                  <a:lnTo>
                    <a:pt x="10566" y="59527"/>
                  </a:lnTo>
                  <a:lnTo>
                    <a:pt x="9434" y="58584"/>
                  </a:lnTo>
                  <a:lnTo>
                    <a:pt x="8207" y="57546"/>
                  </a:lnTo>
                  <a:lnTo>
                    <a:pt x="7547" y="56886"/>
                  </a:lnTo>
                  <a:lnTo>
                    <a:pt x="6981" y="56131"/>
                  </a:lnTo>
                  <a:lnTo>
                    <a:pt x="6226" y="55094"/>
                  </a:lnTo>
                  <a:lnTo>
                    <a:pt x="6415" y="55377"/>
                  </a:lnTo>
                  <a:lnTo>
                    <a:pt x="6038" y="54905"/>
                  </a:lnTo>
                  <a:lnTo>
                    <a:pt x="5472" y="54244"/>
                  </a:lnTo>
                  <a:lnTo>
                    <a:pt x="5283" y="53961"/>
                  </a:lnTo>
                  <a:lnTo>
                    <a:pt x="5094" y="53867"/>
                  </a:lnTo>
                  <a:lnTo>
                    <a:pt x="5377" y="54622"/>
                  </a:lnTo>
                  <a:lnTo>
                    <a:pt x="5849" y="55282"/>
                  </a:lnTo>
                  <a:lnTo>
                    <a:pt x="6321" y="55943"/>
                  </a:lnTo>
                  <a:lnTo>
                    <a:pt x="6698" y="56603"/>
                  </a:lnTo>
                  <a:lnTo>
                    <a:pt x="6226" y="56226"/>
                  </a:lnTo>
                  <a:lnTo>
                    <a:pt x="5943" y="55848"/>
                  </a:lnTo>
                  <a:lnTo>
                    <a:pt x="6038" y="56037"/>
                  </a:lnTo>
                  <a:lnTo>
                    <a:pt x="5943" y="55943"/>
                  </a:lnTo>
                  <a:lnTo>
                    <a:pt x="5377" y="55188"/>
                  </a:lnTo>
                  <a:lnTo>
                    <a:pt x="5000" y="54716"/>
                  </a:lnTo>
                  <a:lnTo>
                    <a:pt x="4717" y="54150"/>
                  </a:lnTo>
                  <a:lnTo>
                    <a:pt x="4528" y="53678"/>
                  </a:lnTo>
                  <a:lnTo>
                    <a:pt x="4528" y="53584"/>
                  </a:lnTo>
                  <a:lnTo>
                    <a:pt x="4623" y="53395"/>
                  </a:lnTo>
                  <a:lnTo>
                    <a:pt x="5094" y="54244"/>
                  </a:lnTo>
                  <a:lnTo>
                    <a:pt x="4717" y="53301"/>
                  </a:lnTo>
                  <a:lnTo>
                    <a:pt x="4528" y="53018"/>
                  </a:lnTo>
                  <a:lnTo>
                    <a:pt x="4151" y="52263"/>
                  </a:lnTo>
                  <a:lnTo>
                    <a:pt x="4151" y="52169"/>
                  </a:lnTo>
                  <a:lnTo>
                    <a:pt x="3774" y="51509"/>
                  </a:lnTo>
                  <a:lnTo>
                    <a:pt x="3396" y="50660"/>
                  </a:lnTo>
                  <a:lnTo>
                    <a:pt x="3585" y="51603"/>
                  </a:lnTo>
                  <a:lnTo>
                    <a:pt x="3396" y="51226"/>
                  </a:lnTo>
                  <a:lnTo>
                    <a:pt x="3208" y="50848"/>
                  </a:lnTo>
                  <a:lnTo>
                    <a:pt x="3208" y="50471"/>
                  </a:lnTo>
                  <a:lnTo>
                    <a:pt x="3208" y="50094"/>
                  </a:lnTo>
                  <a:lnTo>
                    <a:pt x="3585" y="50754"/>
                  </a:lnTo>
                  <a:lnTo>
                    <a:pt x="3868" y="51509"/>
                  </a:lnTo>
                  <a:lnTo>
                    <a:pt x="3868" y="51509"/>
                  </a:lnTo>
                  <a:lnTo>
                    <a:pt x="3208" y="49528"/>
                  </a:lnTo>
                  <a:lnTo>
                    <a:pt x="3208" y="49528"/>
                  </a:lnTo>
                  <a:lnTo>
                    <a:pt x="3868" y="50754"/>
                  </a:lnTo>
                  <a:lnTo>
                    <a:pt x="3208" y="48962"/>
                  </a:lnTo>
                  <a:lnTo>
                    <a:pt x="3585" y="49339"/>
                  </a:lnTo>
                  <a:lnTo>
                    <a:pt x="3774" y="49433"/>
                  </a:lnTo>
                  <a:lnTo>
                    <a:pt x="3962" y="49528"/>
                  </a:lnTo>
                  <a:lnTo>
                    <a:pt x="4057" y="49905"/>
                  </a:lnTo>
                  <a:lnTo>
                    <a:pt x="3868" y="48962"/>
                  </a:lnTo>
                  <a:lnTo>
                    <a:pt x="3491" y="47924"/>
                  </a:lnTo>
                  <a:lnTo>
                    <a:pt x="2641" y="45565"/>
                  </a:lnTo>
                  <a:lnTo>
                    <a:pt x="2170" y="43867"/>
                  </a:lnTo>
                  <a:lnTo>
                    <a:pt x="1698" y="41886"/>
                  </a:lnTo>
                  <a:lnTo>
                    <a:pt x="1698" y="41886"/>
                  </a:lnTo>
                  <a:lnTo>
                    <a:pt x="1887" y="42075"/>
                  </a:lnTo>
                  <a:lnTo>
                    <a:pt x="1981" y="41981"/>
                  </a:lnTo>
                  <a:lnTo>
                    <a:pt x="2075" y="42075"/>
                  </a:lnTo>
                  <a:lnTo>
                    <a:pt x="2264" y="42169"/>
                  </a:lnTo>
                  <a:lnTo>
                    <a:pt x="2170" y="40283"/>
                  </a:lnTo>
                  <a:lnTo>
                    <a:pt x="2075" y="38301"/>
                  </a:lnTo>
                  <a:lnTo>
                    <a:pt x="2170" y="36415"/>
                  </a:lnTo>
                  <a:lnTo>
                    <a:pt x="2358" y="35566"/>
                  </a:lnTo>
                  <a:lnTo>
                    <a:pt x="2453" y="34811"/>
                  </a:lnTo>
                  <a:lnTo>
                    <a:pt x="2830" y="32830"/>
                  </a:lnTo>
                  <a:lnTo>
                    <a:pt x="2830" y="33207"/>
                  </a:lnTo>
                  <a:lnTo>
                    <a:pt x="2924" y="33490"/>
                  </a:lnTo>
                  <a:lnTo>
                    <a:pt x="2924" y="32453"/>
                  </a:lnTo>
                  <a:lnTo>
                    <a:pt x="3019" y="31415"/>
                  </a:lnTo>
                  <a:lnTo>
                    <a:pt x="3396" y="29245"/>
                  </a:lnTo>
                  <a:lnTo>
                    <a:pt x="3868" y="27075"/>
                  </a:lnTo>
                  <a:lnTo>
                    <a:pt x="4623" y="25000"/>
                  </a:lnTo>
                  <a:lnTo>
                    <a:pt x="5566" y="22830"/>
                  </a:lnTo>
                  <a:lnTo>
                    <a:pt x="6604" y="20849"/>
                  </a:lnTo>
                  <a:lnTo>
                    <a:pt x="7830" y="18868"/>
                  </a:lnTo>
                  <a:lnTo>
                    <a:pt x="9151" y="16887"/>
                  </a:lnTo>
                  <a:lnTo>
                    <a:pt x="10566" y="15094"/>
                  </a:lnTo>
                  <a:lnTo>
                    <a:pt x="12075" y="13302"/>
                  </a:lnTo>
                  <a:lnTo>
                    <a:pt x="13773" y="11698"/>
                  </a:lnTo>
                  <a:lnTo>
                    <a:pt x="15377" y="10095"/>
                  </a:lnTo>
                  <a:lnTo>
                    <a:pt x="17170" y="8679"/>
                  </a:lnTo>
                  <a:lnTo>
                    <a:pt x="18962" y="7453"/>
                  </a:lnTo>
                  <a:lnTo>
                    <a:pt x="20754" y="6321"/>
                  </a:lnTo>
                  <a:lnTo>
                    <a:pt x="22547" y="5378"/>
                  </a:lnTo>
                  <a:lnTo>
                    <a:pt x="21603" y="6227"/>
                  </a:lnTo>
                  <a:lnTo>
                    <a:pt x="22641" y="5472"/>
                  </a:lnTo>
                  <a:lnTo>
                    <a:pt x="23302" y="5095"/>
                  </a:lnTo>
                  <a:lnTo>
                    <a:pt x="25377" y="4151"/>
                  </a:lnTo>
                  <a:lnTo>
                    <a:pt x="24811" y="4151"/>
                  </a:lnTo>
                  <a:lnTo>
                    <a:pt x="25660" y="3774"/>
                  </a:lnTo>
                  <a:lnTo>
                    <a:pt x="26886" y="3208"/>
                  </a:lnTo>
                  <a:lnTo>
                    <a:pt x="26603" y="3585"/>
                  </a:lnTo>
                  <a:lnTo>
                    <a:pt x="26886" y="3585"/>
                  </a:lnTo>
                  <a:lnTo>
                    <a:pt x="26886" y="3680"/>
                  </a:lnTo>
                  <a:lnTo>
                    <a:pt x="26792" y="3774"/>
                  </a:lnTo>
                  <a:lnTo>
                    <a:pt x="28301" y="3302"/>
                  </a:lnTo>
                  <a:lnTo>
                    <a:pt x="29622" y="2736"/>
                  </a:lnTo>
                  <a:lnTo>
                    <a:pt x="31037" y="2264"/>
                  </a:lnTo>
                  <a:lnTo>
                    <a:pt x="31792" y="2076"/>
                  </a:lnTo>
                  <a:lnTo>
                    <a:pt x="32641" y="1981"/>
                  </a:lnTo>
                  <a:lnTo>
                    <a:pt x="32547" y="2076"/>
                  </a:lnTo>
                  <a:lnTo>
                    <a:pt x="32924" y="1981"/>
                  </a:lnTo>
                  <a:lnTo>
                    <a:pt x="34245" y="1793"/>
                  </a:lnTo>
                  <a:lnTo>
                    <a:pt x="35848" y="1415"/>
                  </a:lnTo>
                  <a:lnTo>
                    <a:pt x="36981" y="1132"/>
                  </a:lnTo>
                  <a:lnTo>
                    <a:pt x="36981" y="1415"/>
                  </a:lnTo>
                  <a:lnTo>
                    <a:pt x="40943" y="1227"/>
                  </a:lnTo>
                  <a:lnTo>
                    <a:pt x="41509" y="1038"/>
                  </a:lnTo>
                  <a:lnTo>
                    <a:pt x="41697" y="1132"/>
                  </a:lnTo>
                  <a:lnTo>
                    <a:pt x="41509" y="1227"/>
                  </a:lnTo>
                  <a:lnTo>
                    <a:pt x="41320" y="1321"/>
                  </a:lnTo>
                  <a:lnTo>
                    <a:pt x="42263" y="1321"/>
                  </a:lnTo>
                  <a:lnTo>
                    <a:pt x="43113" y="1227"/>
                  </a:lnTo>
                  <a:lnTo>
                    <a:pt x="43396" y="1415"/>
                  </a:lnTo>
                  <a:lnTo>
                    <a:pt x="44056" y="1604"/>
                  </a:lnTo>
                  <a:lnTo>
                    <a:pt x="45943" y="2076"/>
                  </a:lnTo>
                  <a:lnTo>
                    <a:pt x="48018" y="2359"/>
                  </a:lnTo>
                  <a:lnTo>
                    <a:pt x="49622" y="2736"/>
                  </a:lnTo>
                  <a:lnTo>
                    <a:pt x="47641" y="1981"/>
                  </a:lnTo>
                  <a:lnTo>
                    <a:pt x="45282" y="1321"/>
                  </a:lnTo>
                  <a:lnTo>
                    <a:pt x="42735" y="755"/>
                  </a:lnTo>
                  <a:lnTo>
                    <a:pt x="40188" y="283"/>
                  </a:lnTo>
                  <a:lnTo>
                    <a:pt x="37735" y="95"/>
                  </a:lnTo>
                  <a:lnTo>
                    <a:pt x="35471" y="0"/>
                  </a:lnTo>
                  <a:close/>
                </a:path>
              </a:pathLst>
            </a:custGeom>
            <a:solidFill>
              <a:srgbClr val="FF0000"/>
            </a:solidFill>
            <a:ln>
              <a:noFill/>
            </a:ln>
          </p:spPr>
          <p:txBody>
            <a:bodyPr spcFirstLastPara="1" wrap="square" lIns="91425" tIns="91425" rIns="91425" bIns="91425" anchor="ctr" anchorCtr="0">
              <a:noAutofit/>
            </a:bodyPr>
            <a:lstStyle/>
            <a:p>
              <a:pPr marL="0" lvl="0" indent="0">
                <a:spcBef>
                  <a:spcPts val="0"/>
                </a:spcBef>
                <a:spcAft>
                  <a:spcPts val="0"/>
                </a:spcAft>
                <a:buNone/>
              </a:pPr>
              <a:endParaRPr sz="1100"/>
            </a:p>
          </p:txBody>
        </p:sp>
        <p:sp>
          <p:nvSpPr>
            <p:cNvPr id="45" name="TextBox 44">
              <a:extLst>
                <a:ext uri="{FF2B5EF4-FFF2-40B4-BE49-F238E27FC236}">
                  <a16:creationId xmlns:a16="http://schemas.microsoft.com/office/drawing/2014/main" id="{AC5FD33E-D059-0A45-882B-6FC4DEF6A5CF}"/>
                </a:ext>
              </a:extLst>
            </p:cNvPr>
            <p:cNvSpPr txBox="1"/>
            <p:nvPr/>
          </p:nvSpPr>
          <p:spPr>
            <a:xfrm>
              <a:off x="702590" y="1204757"/>
              <a:ext cx="301686" cy="260896"/>
            </a:xfrm>
            <a:prstGeom prst="rect">
              <a:avLst/>
            </a:prstGeom>
            <a:noFill/>
          </p:spPr>
          <p:txBody>
            <a:bodyPr wrap="square" rtlCol="0">
              <a:spAutoFit/>
            </a:bodyPr>
            <a:lstStyle/>
            <a:p>
              <a:r>
                <a:rPr lang="en-US" sz="700" dirty="0">
                  <a:solidFill>
                    <a:srgbClr val="FF0000"/>
                  </a:solidFill>
                </a:rPr>
                <a:t>2.</a:t>
              </a:r>
            </a:p>
          </p:txBody>
        </p:sp>
      </p:grpSp>
      <p:sp>
        <p:nvSpPr>
          <p:cNvPr id="46" name="Google Shape;61;p12">
            <a:extLst>
              <a:ext uri="{FF2B5EF4-FFF2-40B4-BE49-F238E27FC236}">
                <a16:creationId xmlns:a16="http://schemas.microsoft.com/office/drawing/2014/main" id="{F1EF5B37-49BD-5348-89C7-70DE368F7E54}"/>
              </a:ext>
            </a:extLst>
          </p:cNvPr>
          <p:cNvSpPr txBox="1">
            <a:spLocks/>
          </p:cNvSpPr>
          <p:nvPr/>
        </p:nvSpPr>
        <p:spPr>
          <a:xfrm>
            <a:off x="9132178" y="3951131"/>
            <a:ext cx="711623" cy="297585"/>
          </a:xfrm>
          <a:prstGeom prst="rect">
            <a:avLst/>
          </a:prstGeom>
        </p:spPr>
        <p:txBody>
          <a:bodyPr spcFirstLastPara="1" vert="horz" wrap="square" lIns="91425" tIns="91425" rIns="91425" bIns="91425" rtlCol="0" anchor="ctr"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spcBef>
                <a:spcPts val="0"/>
              </a:spcBef>
            </a:pPr>
            <a:r>
              <a:rPr lang="en-US" sz="1100" b="1" dirty="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Priority</a:t>
            </a:r>
          </a:p>
        </p:txBody>
      </p:sp>
      <p:sp>
        <p:nvSpPr>
          <p:cNvPr id="47" name="Rectangle 46">
            <a:extLst>
              <a:ext uri="{FF2B5EF4-FFF2-40B4-BE49-F238E27FC236}">
                <a16:creationId xmlns:a16="http://schemas.microsoft.com/office/drawing/2014/main" id="{80A28592-6B05-2641-8DF0-1597F5CE23F8}"/>
              </a:ext>
            </a:extLst>
          </p:cNvPr>
          <p:cNvSpPr/>
          <p:nvPr/>
        </p:nvSpPr>
        <p:spPr>
          <a:xfrm>
            <a:off x="2191575" y="1175474"/>
            <a:ext cx="7991158" cy="2092785"/>
          </a:xfrm>
          <a:custGeom>
            <a:avLst/>
            <a:gdLst>
              <a:gd name="connsiteX0" fmla="*/ 0 w 7991158"/>
              <a:gd name="connsiteY0" fmla="*/ 0 h 2092785"/>
              <a:gd name="connsiteX1" fmla="*/ 490885 w 7991158"/>
              <a:gd name="connsiteY1" fmla="*/ 0 h 2092785"/>
              <a:gd name="connsiteX2" fmla="*/ 821948 w 7991158"/>
              <a:gd name="connsiteY2" fmla="*/ 0 h 2092785"/>
              <a:gd name="connsiteX3" fmla="*/ 1552568 w 7991158"/>
              <a:gd name="connsiteY3" fmla="*/ 0 h 2092785"/>
              <a:gd name="connsiteX4" fmla="*/ 2043453 w 7991158"/>
              <a:gd name="connsiteY4" fmla="*/ 0 h 2092785"/>
              <a:gd name="connsiteX5" fmla="*/ 2534339 w 7991158"/>
              <a:gd name="connsiteY5" fmla="*/ 0 h 2092785"/>
              <a:gd name="connsiteX6" fmla="*/ 3264959 w 7991158"/>
              <a:gd name="connsiteY6" fmla="*/ 0 h 2092785"/>
              <a:gd name="connsiteX7" fmla="*/ 3675933 w 7991158"/>
              <a:gd name="connsiteY7" fmla="*/ 0 h 2092785"/>
              <a:gd name="connsiteX8" fmla="*/ 4406553 w 7991158"/>
              <a:gd name="connsiteY8" fmla="*/ 0 h 2092785"/>
              <a:gd name="connsiteX9" fmla="*/ 5137173 w 7991158"/>
              <a:gd name="connsiteY9" fmla="*/ 0 h 2092785"/>
              <a:gd name="connsiteX10" fmla="*/ 5707970 w 7991158"/>
              <a:gd name="connsiteY10" fmla="*/ 0 h 2092785"/>
              <a:gd name="connsiteX11" fmla="*/ 6438590 w 7991158"/>
              <a:gd name="connsiteY11" fmla="*/ 0 h 2092785"/>
              <a:gd name="connsiteX12" fmla="*/ 6929476 w 7991158"/>
              <a:gd name="connsiteY12" fmla="*/ 0 h 2092785"/>
              <a:gd name="connsiteX13" fmla="*/ 7420361 w 7991158"/>
              <a:gd name="connsiteY13" fmla="*/ 0 h 2092785"/>
              <a:gd name="connsiteX14" fmla="*/ 7991158 w 7991158"/>
              <a:gd name="connsiteY14" fmla="*/ 0 h 2092785"/>
              <a:gd name="connsiteX15" fmla="*/ 7991158 w 7991158"/>
              <a:gd name="connsiteY15" fmla="*/ 502268 h 2092785"/>
              <a:gd name="connsiteX16" fmla="*/ 7991158 w 7991158"/>
              <a:gd name="connsiteY16" fmla="*/ 1025465 h 2092785"/>
              <a:gd name="connsiteX17" fmla="*/ 7991158 w 7991158"/>
              <a:gd name="connsiteY17" fmla="*/ 1569589 h 2092785"/>
              <a:gd name="connsiteX18" fmla="*/ 7991158 w 7991158"/>
              <a:gd name="connsiteY18" fmla="*/ 2092785 h 2092785"/>
              <a:gd name="connsiteX19" fmla="*/ 7340449 w 7991158"/>
              <a:gd name="connsiteY19" fmla="*/ 2092785 h 2092785"/>
              <a:gd name="connsiteX20" fmla="*/ 6929476 w 7991158"/>
              <a:gd name="connsiteY20" fmla="*/ 2092785 h 2092785"/>
              <a:gd name="connsiteX21" fmla="*/ 6198855 w 7991158"/>
              <a:gd name="connsiteY21" fmla="*/ 2092785 h 2092785"/>
              <a:gd name="connsiteX22" fmla="*/ 5628058 w 7991158"/>
              <a:gd name="connsiteY22" fmla="*/ 2092785 h 2092785"/>
              <a:gd name="connsiteX23" fmla="*/ 5217085 w 7991158"/>
              <a:gd name="connsiteY23" fmla="*/ 2092785 h 2092785"/>
              <a:gd name="connsiteX24" fmla="*/ 4646288 w 7991158"/>
              <a:gd name="connsiteY24" fmla="*/ 2092785 h 2092785"/>
              <a:gd name="connsiteX25" fmla="*/ 4315225 w 7991158"/>
              <a:gd name="connsiteY25" fmla="*/ 2092785 h 2092785"/>
              <a:gd name="connsiteX26" fmla="*/ 3984163 w 7991158"/>
              <a:gd name="connsiteY26" fmla="*/ 2092785 h 2092785"/>
              <a:gd name="connsiteX27" fmla="*/ 3413366 w 7991158"/>
              <a:gd name="connsiteY27" fmla="*/ 2092785 h 2092785"/>
              <a:gd name="connsiteX28" fmla="*/ 3002392 w 7991158"/>
              <a:gd name="connsiteY28" fmla="*/ 2092785 h 2092785"/>
              <a:gd name="connsiteX29" fmla="*/ 2351684 w 7991158"/>
              <a:gd name="connsiteY29" fmla="*/ 2092785 h 2092785"/>
              <a:gd name="connsiteX30" fmla="*/ 1940710 w 7991158"/>
              <a:gd name="connsiteY30" fmla="*/ 2092785 h 2092785"/>
              <a:gd name="connsiteX31" fmla="*/ 1290001 w 7991158"/>
              <a:gd name="connsiteY31" fmla="*/ 2092785 h 2092785"/>
              <a:gd name="connsiteX32" fmla="*/ 958939 w 7991158"/>
              <a:gd name="connsiteY32" fmla="*/ 2092785 h 2092785"/>
              <a:gd name="connsiteX33" fmla="*/ 0 w 7991158"/>
              <a:gd name="connsiteY33" fmla="*/ 2092785 h 2092785"/>
              <a:gd name="connsiteX34" fmla="*/ 0 w 7991158"/>
              <a:gd name="connsiteY34" fmla="*/ 1611444 h 2092785"/>
              <a:gd name="connsiteX35" fmla="*/ 0 w 7991158"/>
              <a:gd name="connsiteY35" fmla="*/ 1046393 h 2092785"/>
              <a:gd name="connsiteX36" fmla="*/ 0 w 7991158"/>
              <a:gd name="connsiteY36" fmla="*/ 544124 h 2092785"/>
              <a:gd name="connsiteX37" fmla="*/ 0 w 7991158"/>
              <a:gd name="connsiteY37" fmla="*/ 0 h 20927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7991158" h="2092785" extrusionOk="0">
                <a:moveTo>
                  <a:pt x="0" y="0"/>
                </a:moveTo>
                <a:cubicBezTo>
                  <a:pt x="205034" y="-29870"/>
                  <a:pt x="279886" y="13114"/>
                  <a:pt x="490885" y="0"/>
                </a:cubicBezTo>
                <a:cubicBezTo>
                  <a:pt x="701884" y="-13114"/>
                  <a:pt x="737542" y="33763"/>
                  <a:pt x="821948" y="0"/>
                </a:cubicBezTo>
                <a:cubicBezTo>
                  <a:pt x="906354" y="-33763"/>
                  <a:pt x="1319837" y="32304"/>
                  <a:pt x="1552568" y="0"/>
                </a:cubicBezTo>
                <a:cubicBezTo>
                  <a:pt x="1785299" y="-32304"/>
                  <a:pt x="1927170" y="27791"/>
                  <a:pt x="2043453" y="0"/>
                </a:cubicBezTo>
                <a:cubicBezTo>
                  <a:pt x="2159737" y="-27791"/>
                  <a:pt x="2371158" y="21656"/>
                  <a:pt x="2534339" y="0"/>
                </a:cubicBezTo>
                <a:cubicBezTo>
                  <a:pt x="2697520" y="-21656"/>
                  <a:pt x="2920102" y="19301"/>
                  <a:pt x="3264959" y="0"/>
                </a:cubicBezTo>
                <a:cubicBezTo>
                  <a:pt x="3609816" y="-19301"/>
                  <a:pt x="3586752" y="48998"/>
                  <a:pt x="3675933" y="0"/>
                </a:cubicBezTo>
                <a:cubicBezTo>
                  <a:pt x="3765114" y="-48998"/>
                  <a:pt x="4109715" y="16611"/>
                  <a:pt x="4406553" y="0"/>
                </a:cubicBezTo>
                <a:cubicBezTo>
                  <a:pt x="4703391" y="-16611"/>
                  <a:pt x="4976221" y="55597"/>
                  <a:pt x="5137173" y="0"/>
                </a:cubicBezTo>
                <a:cubicBezTo>
                  <a:pt x="5298125" y="-55597"/>
                  <a:pt x="5478288" y="4997"/>
                  <a:pt x="5707970" y="0"/>
                </a:cubicBezTo>
                <a:cubicBezTo>
                  <a:pt x="5937652" y="-4997"/>
                  <a:pt x="6227004" y="20800"/>
                  <a:pt x="6438590" y="0"/>
                </a:cubicBezTo>
                <a:cubicBezTo>
                  <a:pt x="6650176" y="-20800"/>
                  <a:pt x="6723586" y="6378"/>
                  <a:pt x="6929476" y="0"/>
                </a:cubicBezTo>
                <a:cubicBezTo>
                  <a:pt x="7135366" y="-6378"/>
                  <a:pt x="7215331" y="58331"/>
                  <a:pt x="7420361" y="0"/>
                </a:cubicBezTo>
                <a:cubicBezTo>
                  <a:pt x="7625392" y="-58331"/>
                  <a:pt x="7848806" y="40147"/>
                  <a:pt x="7991158" y="0"/>
                </a:cubicBezTo>
                <a:cubicBezTo>
                  <a:pt x="8016413" y="134146"/>
                  <a:pt x="7960641" y="363909"/>
                  <a:pt x="7991158" y="502268"/>
                </a:cubicBezTo>
                <a:cubicBezTo>
                  <a:pt x="8021675" y="640627"/>
                  <a:pt x="7973017" y="810063"/>
                  <a:pt x="7991158" y="1025465"/>
                </a:cubicBezTo>
                <a:cubicBezTo>
                  <a:pt x="8009299" y="1240867"/>
                  <a:pt x="7989966" y="1325640"/>
                  <a:pt x="7991158" y="1569589"/>
                </a:cubicBezTo>
                <a:cubicBezTo>
                  <a:pt x="7992350" y="1813538"/>
                  <a:pt x="7934276" y="1895405"/>
                  <a:pt x="7991158" y="2092785"/>
                </a:cubicBezTo>
                <a:cubicBezTo>
                  <a:pt x="7780457" y="2124381"/>
                  <a:pt x="7472147" y="2081722"/>
                  <a:pt x="7340449" y="2092785"/>
                </a:cubicBezTo>
                <a:cubicBezTo>
                  <a:pt x="7208751" y="2103848"/>
                  <a:pt x="7097263" y="2082428"/>
                  <a:pt x="6929476" y="2092785"/>
                </a:cubicBezTo>
                <a:cubicBezTo>
                  <a:pt x="6761689" y="2103142"/>
                  <a:pt x="6352569" y="2047043"/>
                  <a:pt x="6198855" y="2092785"/>
                </a:cubicBezTo>
                <a:cubicBezTo>
                  <a:pt x="6045141" y="2138527"/>
                  <a:pt x="5789722" y="2050131"/>
                  <a:pt x="5628058" y="2092785"/>
                </a:cubicBezTo>
                <a:cubicBezTo>
                  <a:pt x="5466394" y="2135439"/>
                  <a:pt x="5381579" y="2046819"/>
                  <a:pt x="5217085" y="2092785"/>
                </a:cubicBezTo>
                <a:cubicBezTo>
                  <a:pt x="5052591" y="2138751"/>
                  <a:pt x="4861579" y="2067908"/>
                  <a:pt x="4646288" y="2092785"/>
                </a:cubicBezTo>
                <a:cubicBezTo>
                  <a:pt x="4430997" y="2117662"/>
                  <a:pt x="4405406" y="2058270"/>
                  <a:pt x="4315225" y="2092785"/>
                </a:cubicBezTo>
                <a:cubicBezTo>
                  <a:pt x="4225044" y="2127300"/>
                  <a:pt x="4094749" y="2079710"/>
                  <a:pt x="3984163" y="2092785"/>
                </a:cubicBezTo>
                <a:cubicBezTo>
                  <a:pt x="3873577" y="2105860"/>
                  <a:pt x="3556530" y="2070268"/>
                  <a:pt x="3413366" y="2092785"/>
                </a:cubicBezTo>
                <a:cubicBezTo>
                  <a:pt x="3270202" y="2115302"/>
                  <a:pt x="3085982" y="2054270"/>
                  <a:pt x="3002392" y="2092785"/>
                </a:cubicBezTo>
                <a:cubicBezTo>
                  <a:pt x="2918802" y="2131300"/>
                  <a:pt x="2567749" y="2075155"/>
                  <a:pt x="2351684" y="2092785"/>
                </a:cubicBezTo>
                <a:cubicBezTo>
                  <a:pt x="2135619" y="2110415"/>
                  <a:pt x="2117961" y="2070555"/>
                  <a:pt x="1940710" y="2092785"/>
                </a:cubicBezTo>
                <a:cubicBezTo>
                  <a:pt x="1763459" y="2115015"/>
                  <a:pt x="1559800" y="2024478"/>
                  <a:pt x="1290001" y="2092785"/>
                </a:cubicBezTo>
                <a:cubicBezTo>
                  <a:pt x="1020202" y="2161092"/>
                  <a:pt x="1119754" y="2062220"/>
                  <a:pt x="958939" y="2092785"/>
                </a:cubicBezTo>
                <a:cubicBezTo>
                  <a:pt x="798124" y="2123350"/>
                  <a:pt x="432503" y="2026006"/>
                  <a:pt x="0" y="2092785"/>
                </a:cubicBezTo>
                <a:cubicBezTo>
                  <a:pt x="-48208" y="1925118"/>
                  <a:pt x="56188" y="1732210"/>
                  <a:pt x="0" y="1611444"/>
                </a:cubicBezTo>
                <a:cubicBezTo>
                  <a:pt x="-56188" y="1490678"/>
                  <a:pt x="66247" y="1255174"/>
                  <a:pt x="0" y="1046393"/>
                </a:cubicBezTo>
                <a:cubicBezTo>
                  <a:pt x="-66247" y="837612"/>
                  <a:pt x="49955" y="718850"/>
                  <a:pt x="0" y="544124"/>
                </a:cubicBezTo>
                <a:cubicBezTo>
                  <a:pt x="-49955" y="369398"/>
                  <a:pt x="30715" y="121357"/>
                  <a:pt x="0" y="0"/>
                </a:cubicBezTo>
                <a:close/>
              </a:path>
            </a:pathLst>
          </a:custGeom>
          <a:noFill/>
          <a:ln w="9525">
            <a:solidFill>
              <a:srgbClr val="C5277F"/>
            </a:solidFill>
            <a:extLst>
              <a:ext uri="{C807C97D-BFC1-408E-A445-0C87EB9F89A2}">
                <ask:lineSketchStyleProps xmlns:ask="http://schemas.microsoft.com/office/drawing/2018/sketchyshapes" sd="1219033472">
                  <a:prstGeom prst="rect">
                    <a:avLst/>
                  </a:prstGeom>
                  <ask:type>
                    <ask:lineSketchScribble/>
                  </ask:type>
                </ask:lineSketchStyleProps>
              </a:ext>
            </a:extLst>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a:solidFill>
                <a:srgbClr val="002D72"/>
              </a:solidFill>
              <a:latin typeface="Arial" pitchFamily="34" charset="0"/>
              <a:cs typeface="Arial" pitchFamily="34" charset="0"/>
            </a:endParaRPr>
          </a:p>
        </p:txBody>
      </p:sp>
    </p:spTree>
    <p:extLst>
      <p:ext uri="{BB962C8B-B14F-4D97-AF65-F5344CB8AC3E}">
        <p14:creationId xmlns:p14="http://schemas.microsoft.com/office/powerpoint/2010/main" val="1799625081"/>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8" name="Rectangle 3"/>
          <p:cNvSpPr txBox="1"/>
          <p:nvPr/>
        </p:nvSpPr>
        <p:spPr>
          <a:xfrm>
            <a:off x="377375" y="524553"/>
            <a:ext cx="8037160" cy="369328"/>
          </a:xfrm>
          <a:prstGeom prst="rect">
            <a:avLst/>
          </a:prstGeom>
          <a:ln w="12700">
            <a:miter lim="400000"/>
          </a:ln>
          <a:extLst>
            <a:ext uri="{C572A759-6A51-4108-AA02-DFA0A04FC94B}">
              <ma14:wrappingTextBoxFlag xmlns="" xmlns:ma14="http://schemas.microsoft.com/office/mac/drawingml/2011/main" val="1"/>
            </a:ext>
          </a:extLst>
        </p:spPr>
        <p:txBody>
          <a:bodyPr wrap="square" lIns="45718" tIns="45718" rIns="45718" bIns="45718">
            <a:spAutoFit/>
          </a:bodyPr>
          <a:lstStyle>
            <a:lvl1pPr algn="l" defTabSz="914400">
              <a:defRPr sz="2000">
                <a:solidFill>
                  <a:srgbClr val="104D6A"/>
                </a:solidFill>
                <a:latin typeface="Arial"/>
                <a:ea typeface="Arial"/>
                <a:cs typeface="Arial"/>
                <a:sym typeface="Arial"/>
              </a:defRPr>
            </a:lvl1pPr>
          </a:lstStyle>
          <a:p>
            <a:pPr lvl="0">
              <a:defRPr/>
            </a:pPr>
            <a:r>
              <a:rPr lang="en-US" sz="1800" b="1" dirty="0">
                <a:solidFill>
                  <a:srgbClr val="73C4EF"/>
                </a:solidFill>
              </a:rPr>
              <a:t> Event Hub Architecture Internal Structure Of </a:t>
            </a:r>
            <a:r>
              <a:rPr lang="en-US" sz="1800" b="1" dirty="0" err="1">
                <a:solidFill>
                  <a:srgbClr val="73C4EF"/>
                </a:solidFill>
              </a:rPr>
              <a:t>citiIntegration</a:t>
            </a:r>
            <a:r>
              <a:rPr lang="en-US" sz="1800" b="1" dirty="0">
                <a:solidFill>
                  <a:srgbClr val="73C4EF"/>
                </a:solidFill>
              </a:rPr>
              <a:t> (Source)</a:t>
            </a:r>
          </a:p>
        </p:txBody>
      </p:sp>
      <p:pic>
        <p:nvPicPr>
          <p:cNvPr id="3" name="Picture 2">
            <a:extLst>
              <a:ext uri="{FF2B5EF4-FFF2-40B4-BE49-F238E27FC236}">
                <a16:creationId xmlns:a16="http://schemas.microsoft.com/office/drawing/2014/main" id="{EE2E72E4-72F0-414D-AD90-C51F3E59F5F2}"/>
              </a:ext>
            </a:extLst>
          </p:cNvPr>
          <p:cNvPicPr>
            <a:picLocks noChangeAspect="1"/>
          </p:cNvPicPr>
          <p:nvPr/>
        </p:nvPicPr>
        <p:blipFill>
          <a:blip r:embed="rId2"/>
          <a:stretch>
            <a:fillRect/>
          </a:stretch>
        </p:blipFill>
        <p:spPr>
          <a:xfrm>
            <a:off x="377375" y="1037672"/>
            <a:ext cx="11390953" cy="5182761"/>
          </a:xfrm>
          <a:prstGeom prst="rect">
            <a:avLst/>
          </a:prstGeom>
        </p:spPr>
      </p:pic>
      <p:sp>
        <p:nvSpPr>
          <p:cNvPr id="5" name="Rectangle 3">
            <a:extLst>
              <a:ext uri="{FF2B5EF4-FFF2-40B4-BE49-F238E27FC236}">
                <a16:creationId xmlns:a16="http://schemas.microsoft.com/office/drawing/2014/main" id="{F3BCF96F-43FE-3A4D-B4EC-B79E124C9963}"/>
              </a:ext>
            </a:extLst>
          </p:cNvPr>
          <p:cNvSpPr txBox="1"/>
          <p:nvPr/>
        </p:nvSpPr>
        <p:spPr>
          <a:xfrm>
            <a:off x="404806" y="92199"/>
            <a:ext cx="7585857" cy="400105"/>
          </a:xfrm>
          <a:prstGeom prst="rect">
            <a:avLst/>
          </a:prstGeom>
          <a:ln w="12700">
            <a:miter lim="400000"/>
          </a:ln>
          <a:extLst>
            <a:ext uri="{C572A759-6A51-4108-AA02-DFA0A04FC94B}">
              <ma14:wrappingTextBoxFlag xmlns:ma14="http://schemas.microsoft.com/office/mac/drawingml/2011/main" xmlns="" val="1"/>
            </a:ext>
          </a:extLst>
        </p:spPr>
        <p:txBody>
          <a:bodyPr wrap="square" lIns="45718" tIns="45718" rIns="45718" bIns="45718">
            <a:spAutoFit/>
          </a:bodyPr>
          <a:lstStyle>
            <a:lvl1pPr algn="l" defTabSz="914400">
              <a:defRPr sz="2200" b="1">
                <a:solidFill>
                  <a:srgbClr val="FFFFFF"/>
                </a:solidFill>
                <a:latin typeface="Arial"/>
                <a:ea typeface="Arial"/>
                <a:cs typeface="Arial"/>
                <a:sym typeface="Arial"/>
              </a:defRPr>
            </a:lvl1pPr>
          </a:lstStyle>
          <a:p>
            <a:r>
              <a:rPr lang="en-US" sz="2000" dirty="0">
                <a:solidFill>
                  <a:srgbClr val="016AA2"/>
                </a:solidFill>
              </a:rPr>
              <a:t>Needs and Solution Proposal (XXII)</a:t>
            </a:r>
          </a:p>
        </p:txBody>
      </p:sp>
    </p:spTree>
    <p:extLst>
      <p:ext uri="{BB962C8B-B14F-4D97-AF65-F5344CB8AC3E}">
        <p14:creationId xmlns:p14="http://schemas.microsoft.com/office/powerpoint/2010/main" val="366554729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ángulo 4"/>
          <p:cNvSpPr/>
          <p:nvPr/>
        </p:nvSpPr>
        <p:spPr>
          <a:xfrm>
            <a:off x="4581515" y="3028895"/>
            <a:ext cx="3785246" cy="400105"/>
          </a:xfrm>
          <a:prstGeom prst="rect">
            <a:avLst/>
          </a:prstGeom>
          <a:ln w="12700">
            <a:miter lim="400000"/>
          </a:ln>
        </p:spPr>
        <p:txBody>
          <a:bodyPr wrap="square" lIns="45718" tIns="45718" rIns="45718" bIns="45718">
            <a:spAutoFit/>
          </a:bodyPr>
          <a:lstStyle/>
          <a:p>
            <a:pPr defTabSz="914400"/>
            <a:r>
              <a:rPr lang="es-MX" sz="2000" b="1" dirty="0">
                <a:solidFill>
                  <a:srgbClr val="016AA2"/>
                </a:solidFill>
                <a:ea typeface="Arial"/>
                <a:cs typeface="Arial"/>
              </a:rPr>
              <a:t>Features and terminology</a:t>
            </a:r>
          </a:p>
        </p:txBody>
      </p:sp>
    </p:spTree>
    <p:extLst>
      <p:ext uri="{BB962C8B-B14F-4D97-AF65-F5344CB8AC3E}">
        <p14:creationId xmlns:p14="http://schemas.microsoft.com/office/powerpoint/2010/main" val="1149459653"/>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8" name="Rectangle 3"/>
          <p:cNvSpPr txBox="1"/>
          <p:nvPr/>
        </p:nvSpPr>
        <p:spPr>
          <a:xfrm>
            <a:off x="377375" y="637567"/>
            <a:ext cx="6178873" cy="369328"/>
          </a:xfrm>
          <a:prstGeom prst="rect">
            <a:avLst/>
          </a:prstGeom>
          <a:ln w="12700">
            <a:miter lim="400000"/>
          </a:ln>
          <a:extLst>
            <a:ext uri="{C572A759-6A51-4108-AA02-DFA0A04FC94B}">
              <ma14:wrappingTextBoxFlag xmlns="" xmlns:ma14="http://schemas.microsoft.com/office/mac/drawingml/2011/main" val="1"/>
            </a:ext>
          </a:extLst>
        </p:spPr>
        <p:txBody>
          <a:bodyPr wrap="square" lIns="45718" tIns="45718" rIns="45718" bIns="45718">
            <a:spAutoFit/>
          </a:bodyPr>
          <a:lstStyle>
            <a:lvl1pPr algn="l" defTabSz="914400">
              <a:defRPr sz="2000">
                <a:solidFill>
                  <a:srgbClr val="104D6A"/>
                </a:solidFill>
                <a:latin typeface="Arial"/>
                <a:ea typeface="Arial"/>
                <a:cs typeface="Arial"/>
                <a:sym typeface="Arial"/>
              </a:defRPr>
            </a:lvl1pPr>
          </a:lstStyle>
          <a:p>
            <a:pPr>
              <a:defRPr/>
            </a:pPr>
            <a:r>
              <a:rPr lang="en-US" sz="1800" b="1" dirty="0">
                <a:solidFill>
                  <a:srgbClr val="73C4EF"/>
                </a:solidFill>
              </a:rPr>
              <a:t> Architecture Internal Structure Of </a:t>
            </a:r>
            <a:r>
              <a:rPr lang="en-US" sz="1800" b="1" dirty="0" err="1">
                <a:solidFill>
                  <a:srgbClr val="73C4EF"/>
                </a:solidFill>
              </a:rPr>
              <a:t>citiProducerEngine</a:t>
            </a:r>
            <a:endParaRPr lang="en-US" sz="1800" b="1" dirty="0">
              <a:solidFill>
                <a:srgbClr val="73C4EF"/>
              </a:solidFill>
            </a:endParaRPr>
          </a:p>
        </p:txBody>
      </p:sp>
      <p:pic>
        <p:nvPicPr>
          <p:cNvPr id="3" name="Picture 2">
            <a:extLst>
              <a:ext uri="{FF2B5EF4-FFF2-40B4-BE49-F238E27FC236}">
                <a16:creationId xmlns:a16="http://schemas.microsoft.com/office/drawing/2014/main" id="{D4DB8B99-BBCC-C946-B936-4DC737B76398}"/>
              </a:ext>
            </a:extLst>
          </p:cNvPr>
          <p:cNvPicPr>
            <a:picLocks noChangeAspect="1"/>
          </p:cNvPicPr>
          <p:nvPr/>
        </p:nvPicPr>
        <p:blipFill>
          <a:blip r:embed="rId2"/>
          <a:stretch>
            <a:fillRect/>
          </a:stretch>
        </p:blipFill>
        <p:spPr>
          <a:xfrm>
            <a:off x="1537462" y="1323169"/>
            <a:ext cx="9117076" cy="4211661"/>
          </a:xfrm>
          <a:prstGeom prst="rect">
            <a:avLst/>
          </a:prstGeom>
        </p:spPr>
      </p:pic>
      <p:sp>
        <p:nvSpPr>
          <p:cNvPr id="5" name="Rectangle 3">
            <a:extLst>
              <a:ext uri="{FF2B5EF4-FFF2-40B4-BE49-F238E27FC236}">
                <a16:creationId xmlns:a16="http://schemas.microsoft.com/office/drawing/2014/main" id="{46BDFC03-AD40-1F42-953E-F4AB4F66DF16}"/>
              </a:ext>
            </a:extLst>
          </p:cNvPr>
          <p:cNvSpPr txBox="1"/>
          <p:nvPr/>
        </p:nvSpPr>
        <p:spPr>
          <a:xfrm>
            <a:off x="404806" y="205213"/>
            <a:ext cx="7585857" cy="400105"/>
          </a:xfrm>
          <a:prstGeom prst="rect">
            <a:avLst/>
          </a:prstGeom>
          <a:ln w="12700">
            <a:miter lim="400000"/>
          </a:ln>
          <a:extLst>
            <a:ext uri="{C572A759-6A51-4108-AA02-DFA0A04FC94B}">
              <ma14:wrappingTextBoxFlag xmlns:ma14="http://schemas.microsoft.com/office/mac/drawingml/2011/main" xmlns="" val="1"/>
            </a:ext>
          </a:extLst>
        </p:spPr>
        <p:txBody>
          <a:bodyPr wrap="square" lIns="45718" tIns="45718" rIns="45718" bIns="45718">
            <a:spAutoFit/>
          </a:bodyPr>
          <a:lstStyle>
            <a:lvl1pPr algn="l" defTabSz="914400">
              <a:defRPr sz="2200" b="1">
                <a:solidFill>
                  <a:srgbClr val="FFFFFF"/>
                </a:solidFill>
                <a:latin typeface="Arial"/>
                <a:ea typeface="Arial"/>
                <a:cs typeface="Arial"/>
                <a:sym typeface="Arial"/>
              </a:defRPr>
            </a:lvl1pPr>
          </a:lstStyle>
          <a:p>
            <a:r>
              <a:rPr lang="en-US" sz="2000" dirty="0">
                <a:solidFill>
                  <a:srgbClr val="016AA2"/>
                </a:solidFill>
              </a:rPr>
              <a:t>Needs and Solution Proposal (XXIII)</a:t>
            </a:r>
          </a:p>
        </p:txBody>
      </p:sp>
    </p:spTree>
    <p:extLst>
      <p:ext uri="{BB962C8B-B14F-4D97-AF65-F5344CB8AC3E}">
        <p14:creationId xmlns:p14="http://schemas.microsoft.com/office/powerpoint/2010/main" val="3436528118"/>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 name="Rectangle 3">
            <a:extLst>
              <a:ext uri="{FF2B5EF4-FFF2-40B4-BE49-F238E27FC236}">
                <a16:creationId xmlns:a16="http://schemas.microsoft.com/office/drawing/2014/main" id="{58D9D721-035E-794D-8703-60C183CA4576}"/>
              </a:ext>
            </a:extLst>
          </p:cNvPr>
          <p:cNvSpPr txBox="1"/>
          <p:nvPr/>
        </p:nvSpPr>
        <p:spPr>
          <a:xfrm>
            <a:off x="404806" y="82014"/>
            <a:ext cx="7585857" cy="400105"/>
          </a:xfrm>
          <a:prstGeom prst="rect">
            <a:avLst/>
          </a:prstGeom>
          <a:ln w="12700">
            <a:miter lim="400000"/>
          </a:ln>
          <a:extLst>
            <a:ext uri="{C572A759-6A51-4108-AA02-DFA0A04FC94B}">
              <ma14:wrappingTextBoxFlag xmlns:ma14="http://schemas.microsoft.com/office/mac/drawingml/2011/main" xmlns="" val="1"/>
            </a:ext>
          </a:extLst>
        </p:spPr>
        <p:txBody>
          <a:bodyPr wrap="square" lIns="45718" tIns="45718" rIns="45718" bIns="45718">
            <a:spAutoFit/>
          </a:bodyPr>
          <a:lstStyle>
            <a:lvl1pPr algn="l" defTabSz="914400">
              <a:defRPr sz="2200" b="1">
                <a:solidFill>
                  <a:srgbClr val="FFFFFF"/>
                </a:solidFill>
                <a:latin typeface="Arial"/>
                <a:ea typeface="Arial"/>
                <a:cs typeface="Arial"/>
                <a:sym typeface="Arial"/>
              </a:defRPr>
            </a:lvl1pPr>
          </a:lstStyle>
          <a:p>
            <a:r>
              <a:rPr lang="en-US" sz="2000" dirty="0">
                <a:solidFill>
                  <a:srgbClr val="016AA2"/>
                </a:solidFill>
              </a:rPr>
              <a:t>Needs and Solution Proposal (XXIV)</a:t>
            </a:r>
          </a:p>
        </p:txBody>
      </p:sp>
      <p:sp>
        <p:nvSpPr>
          <p:cNvPr id="49" name="Rectangle 3">
            <a:extLst>
              <a:ext uri="{FF2B5EF4-FFF2-40B4-BE49-F238E27FC236}">
                <a16:creationId xmlns:a16="http://schemas.microsoft.com/office/drawing/2014/main" id="{38791581-E21D-6F47-B9BB-5366F04F66C1}"/>
              </a:ext>
            </a:extLst>
          </p:cNvPr>
          <p:cNvSpPr txBox="1"/>
          <p:nvPr/>
        </p:nvSpPr>
        <p:spPr>
          <a:xfrm>
            <a:off x="413951" y="421813"/>
            <a:ext cx="8103516" cy="369328"/>
          </a:xfrm>
          <a:prstGeom prst="rect">
            <a:avLst/>
          </a:prstGeom>
          <a:ln w="12700">
            <a:miter lim="400000"/>
          </a:ln>
          <a:extLst>
            <a:ext uri="{C572A759-6A51-4108-AA02-DFA0A04FC94B}">
              <ma14:wrappingTextBoxFlag xmlns="" xmlns:ma14="http://schemas.microsoft.com/office/mac/drawingml/2011/main" val="1"/>
            </a:ext>
          </a:extLst>
        </p:spPr>
        <p:txBody>
          <a:bodyPr wrap="square" lIns="45718" tIns="45718" rIns="45718" bIns="45718">
            <a:spAutoFit/>
          </a:bodyPr>
          <a:lstStyle>
            <a:lvl1pPr algn="l" defTabSz="914400">
              <a:defRPr sz="2000">
                <a:solidFill>
                  <a:srgbClr val="104D6A"/>
                </a:solidFill>
                <a:latin typeface="Arial"/>
                <a:ea typeface="Arial"/>
                <a:cs typeface="Arial"/>
                <a:sym typeface="Arial"/>
              </a:defRPr>
            </a:lvl1pPr>
          </a:lstStyle>
          <a:p>
            <a:pPr>
              <a:defRPr/>
            </a:pPr>
            <a:r>
              <a:rPr lang="en-US" sz="1800" b="1" dirty="0">
                <a:solidFill>
                  <a:srgbClr val="73C4EF"/>
                </a:solidFill>
              </a:rPr>
              <a:t>Event Hub Architecture – Impact of Dimensions on Systemic Qualities </a:t>
            </a:r>
          </a:p>
        </p:txBody>
      </p:sp>
      <p:graphicFrame>
        <p:nvGraphicFramePr>
          <p:cNvPr id="39" name="Group 4">
            <a:extLst>
              <a:ext uri="{FF2B5EF4-FFF2-40B4-BE49-F238E27FC236}">
                <a16:creationId xmlns:a16="http://schemas.microsoft.com/office/drawing/2014/main" id="{A864DB99-88BD-FA48-96F9-120D60F9396D}"/>
              </a:ext>
            </a:extLst>
          </p:cNvPr>
          <p:cNvGraphicFramePr>
            <a:graphicFrameLocks/>
          </p:cNvGraphicFramePr>
          <p:nvPr>
            <p:extLst>
              <p:ext uri="{D42A27DB-BD31-4B8C-83A1-F6EECF244321}">
                <p14:modId xmlns:p14="http://schemas.microsoft.com/office/powerpoint/2010/main" val="1504363582"/>
              </p:ext>
            </p:extLst>
          </p:nvPr>
        </p:nvGraphicFramePr>
        <p:xfrm>
          <a:off x="707894" y="2055625"/>
          <a:ext cx="10776212" cy="3212890"/>
        </p:xfrm>
        <a:graphic>
          <a:graphicData uri="http://schemas.openxmlformats.org/drawingml/2006/table">
            <a:tbl>
              <a:tblPr/>
              <a:tblGrid>
                <a:gridCol w="1164204">
                  <a:extLst>
                    <a:ext uri="{9D8B030D-6E8A-4147-A177-3AD203B41FA5}">
                      <a16:colId xmlns:a16="http://schemas.microsoft.com/office/drawing/2014/main" val="20000"/>
                    </a:ext>
                  </a:extLst>
                </a:gridCol>
                <a:gridCol w="1164204">
                  <a:extLst>
                    <a:ext uri="{9D8B030D-6E8A-4147-A177-3AD203B41FA5}">
                      <a16:colId xmlns:a16="http://schemas.microsoft.com/office/drawing/2014/main" val="385795312"/>
                    </a:ext>
                  </a:extLst>
                </a:gridCol>
                <a:gridCol w="818547">
                  <a:extLst>
                    <a:ext uri="{9D8B030D-6E8A-4147-A177-3AD203B41FA5}">
                      <a16:colId xmlns:a16="http://schemas.microsoft.com/office/drawing/2014/main" val="20001"/>
                    </a:ext>
                  </a:extLst>
                </a:gridCol>
                <a:gridCol w="1100666">
                  <a:extLst>
                    <a:ext uri="{9D8B030D-6E8A-4147-A177-3AD203B41FA5}">
                      <a16:colId xmlns:a16="http://schemas.microsoft.com/office/drawing/2014/main" val="20002"/>
                    </a:ext>
                  </a:extLst>
                </a:gridCol>
                <a:gridCol w="965200">
                  <a:extLst>
                    <a:ext uri="{9D8B030D-6E8A-4147-A177-3AD203B41FA5}">
                      <a16:colId xmlns:a16="http://schemas.microsoft.com/office/drawing/2014/main" val="2341405923"/>
                    </a:ext>
                  </a:extLst>
                </a:gridCol>
                <a:gridCol w="5563391">
                  <a:extLst>
                    <a:ext uri="{9D8B030D-6E8A-4147-A177-3AD203B41FA5}">
                      <a16:colId xmlns:a16="http://schemas.microsoft.com/office/drawing/2014/main" val="3177161945"/>
                    </a:ext>
                  </a:extLst>
                </a:gridCol>
              </a:tblGrid>
              <a:tr h="298110">
                <a:tc>
                  <a:txBody>
                    <a:bodyPr/>
                    <a:lstStyle/>
                    <a:p>
                      <a:pPr marL="0" marR="0" lvl="0" indent="0" algn="ctr" defTabSz="914400" rtl="0" eaLnBrk="1" fontAlgn="base" latinLnBrk="0" hangingPunct="1">
                        <a:lnSpc>
                          <a:spcPct val="100000"/>
                        </a:lnSpc>
                        <a:spcBef>
                          <a:spcPct val="0"/>
                        </a:spcBef>
                        <a:spcAft>
                          <a:spcPct val="0"/>
                        </a:spcAft>
                        <a:buClr>
                          <a:schemeClr val="bg1"/>
                        </a:buClr>
                        <a:buSzPct val="25000"/>
                        <a:buFont typeface="Times" pitchFamily="18" charset="0"/>
                        <a:buNone/>
                        <a:tabLst/>
                      </a:pPr>
                      <a:r>
                        <a:rPr kumimoji="0" lang="en-US" sz="1050" b="1" i="0" u="none" strike="noStrike" kern="1200" cap="none" normalizeH="0" baseline="0" dirty="0">
                          <a:ln>
                            <a:noFill/>
                          </a:ln>
                          <a:solidFill>
                            <a:schemeClr val="bg1"/>
                          </a:solidFill>
                          <a:effectLst/>
                          <a:latin typeface="Arial" charset="0"/>
                          <a:ea typeface="+mn-ea"/>
                          <a:cs typeface="+mn-cs"/>
                        </a:rPr>
                        <a:t>Family </a:t>
                      </a:r>
                    </a:p>
                  </a:txBody>
                  <a:tcPr marL="90000" marR="90000" marT="46798" marB="46798"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0067B7"/>
                    </a:solidFill>
                  </a:tcPr>
                </a:tc>
                <a:tc>
                  <a:txBody>
                    <a:bodyPr/>
                    <a:lstStyle/>
                    <a:p>
                      <a:pPr marL="0" marR="0" lvl="0" indent="0" algn="ctr" defTabSz="914400" rtl="0" eaLnBrk="1" fontAlgn="base" latinLnBrk="0" hangingPunct="1">
                        <a:lnSpc>
                          <a:spcPct val="100000"/>
                        </a:lnSpc>
                        <a:spcBef>
                          <a:spcPct val="0"/>
                        </a:spcBef>
                        <a:spcAft>
                          <a:spcPct val="0"/>
                        </a:spcAft>
                        <a:buClr>
                          <a:schemeClr val="bg1"/>
                        </a:buClr>
                        <a:buSzPct val="25000"/>
                        <a:buFont typeface="Times" pitchFamily="18" charset="0"/>
                        <a:buNone/>
                        <a:tabLst/>
                      </a:pPr>
                      <a:r>
                        <a:rPr kumimoji="0" lang="en-US" sz="1050" b="1" i="0" u="none" strike="noStrike" kern="1200" cap="none" normalizeH="0" baseline="0" noProof="0" dirty="0">
                          <a:ln>
                            <a:noFill/>
                          </a:ln>
                          <a:solidFill>
                            <a:schemeClr val="bg1"/>
                          </a:solidFill>
                          <a:effectLst/>
                          <a:latin typeface="Arial" charset="0"/>
                          <a:ea typeface="+mn-ea"/>
                          <a:cs typeface="+mn-cs"/>
                        </a:rPr>
                        <a:t>Systemic Qualities</a:t>
                      </a:r>
                    </a:p>
                  </a:txBody>
                  <a:tcPr marL="90000" marR="90000" marT="46798" marB="46798"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0067B7"/>
                    </a:solidFill>
                  </a:tcPr>
                </a:tc>
                <a:tc>
                  <a:txBody>
                    <a:bodyPr/>
                    <a:lstStyle/>
                    <a:p>
                      <a:pPr marL="0" marR="0" lvl="0" indent="0" algn="ctr" defTabSz="914400" rtl="0" eaLnBrk="1" fontAlgn="base" latinLnBrk="0" hangingPunct="1">
                        <a:lnSpc>
                          <a:spcPct val="100000"/>
                        </a:lnSpc>
                        <a:spcBef>
                          <a:spcPct val="0"/>
                        </a:spcBef>
                        <a:spcAft>
                          <a:spcPct val="0"/>
                        </a:spcAft>
                        <a:buClr>
                          <a:srgbClr val="FFFFFF"/>
                        </a:buClr>
                        <a:buSzPct val="25000"/>
                        <a:buFont typeface="Times" pitchFamily="18" charset="0"/>
                        <a:buNone/>
                        <a:tabLst/>
                        <a:defRPr/>
                      </a:pPr>
                      <a:r>
                        <a:rPr kumimoji="0" lang="en-US" sz="1050" b="1" i="0" u="none" strike="noStrike" kern="1200" cap="none" spc="0" normalizeH="0" baseline="0" noProof="0" dirty="0">
                          <a:ln>
                            <a:noFill/>
                          </a:ln>
                          <a:solidFill>
                            <a:srgbClr val="FFFFFF"/>
                          </a:solidFill>
                          <a:effectLst/>
                          <a:uLnTx/>
                          <a:uFillTx/>
                          <a:latin typeface="Arial" charset="0"/>
                          <a:ea typeface="+mn-ea"/>
                          <a:cs typeface="+mn-cs"/>
                        </a:rPr>
                        <a:t>Capacity</a:t>
                      </a:r>
                    </a:p>
                  </a:txBody>
                  <a:tcPr marL="90000" marR="90000" marT="46798" marB="46798"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0067B7"/>
                    </a:solidFill>
                  </a:tcPr>
                </a:tc>
                <a:tc>
                  <a:txBody>
                    <a:bodyPr/>
                    <a:lstStyle/>
                    <a:p>
                      <a:pPr marL="0" marR="0" lvl="0" indent="0" algn="ctr" defTabSz="914400" rtl="0" eaLnBrk="1" fontAlgn="base" latinLnBrk="0" hangingPunct="1">
                        <a:lnSpc>
                          <a:spcPct val="100000"/>
                        </a:lnSpc>
                        <a:spcBef>
                          <a:spcPct val="0"/>
                        </a:spcBef>
                        <a:spcAft>
                          <a:spcPct val="0"/>
                        </a:spcAft>
                        <a:buClr>
                          <a:schemeClr val="bg1"/>
                        </a:buClr>
                        <a:buSzPct val="25000"/>
                        <a:buFont typeface="Times" pitchFamily="18" charset="0"/>
                        <a:buNone/>
                        <a:tabLst/>
                      </a:pPr>
                      <a:r>
                        <a:rPr kumimoji="0" lang="en-US" sz="1050" b="1" i="0" u="none" strike="noStrike" kern="1200" cap="none" normalizeH="0" baseline="0" dirty="0">
                          <a:ln>
                            <a:noFill/>
                          </a:ln>
                          <a:solidFill>
                            <a:schemeClr val="bg1"/>
                          </a:solidFill>
                          <a:effectLst/>
                          <a:latin typeface="Arial" charset="0"/>
                          <a:ea typeface="+mn-ea"/>
                          <a:cs typeface="+mn-cs"/>
                        </a:rPr>
                        <a:t>Redundancy</a:t>
                      </a:r>
                    </a:p>
                  </a:txBody>
                  <a:tcPr marL="90000" marR="90000" marT="46798" marB="46798"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0067B7"/>
                    </a:solidFill>
                  </a:tcPr>
                </a:tc>
                <a:tc>
                  <a:txBody>
                    <a:bodyPr/>
                    <a:lstStyle/>
                    <a:p>
                      <a:pPr marL="0" marR="0" lvl="0" indent="0" algn="ctr" defTabSz="914400" rtl="0" eaLnBrk="1" fontAlgn="base" latinLnBrk="0" hangingPunct="1">
                        <a:lnSpc>
                          <a:spcPct val="100000"/>
                        </a:lnSpc>
                        <a:spcBef>
                          <a:spcPct val="0"/>
                        </a:spcBef>
                        <a:spcAft>
                          <a:spcPct val="0"/>
                        </a:spcAft>
                        <a:buClr>
                          <a:schemeClr val="bg1"/>
                        </a:buClr>
                        <a:buSzPct val="25000"/>
                        <a:buFont typeface="Times" pitchFamily="18" charset="0"/>
                        <a:buNone/>
                        <a:tabLst/>
                        <a:defRPr/>
                      </a:pPr>
                      <a:r>
                        <a:rPr kumimoji="0" lang="en-US" sz="1050" b="1" i="0" u="none" strike="noStrike" kern="1200" cap="none" normalizeH="0" baseline="0" dirty="0">
                          <a:ln>
                            <a:noFill/>
                          </a:ln>
                          <a:solidFill>
                            <a:schemeClr val="bg1"/>
                          </a:solidFill>
                          <a:effectLst/>
                          <a:latin typeface="Arial" charset="0"/>
                          <a:ea typeface="+mn-ea"/>
                          <a:cs typeface="+mn-cs"/>
                        </a:rPr>
                        <a:t>Modularity</a:t>
                      </a:r>
                    </a:p>
                  </a:txBody>
                  <a:tcPr marL="90000" marR="90000" marT="46798" marB="46798"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0067B7"/>
                    </a:solidFill>
                  </a:tcPr>
                </a:tc>
                <a:tc>
                  <a:txBody>
                    <a:bodyPr/>
                    <a:lstStyle/>
                    <a:p>
                      <a:pPr marL="0" marR="0" lvl="0" indent="0" algn="ctr" defTabSz="914400" rtl="0" eaLnBrk="1" fontAlgn="base" latinLnBrk="0" hangingPunct="1">
                        <a:lnSpc>
                          <a:spcPct val="100000"/>
                        </a:lnSpc>
                        <a:spcBef>
                          <a:spcPct val="0"/>
                        </a:spcBef>
                        <a:spcAft>
                          <a:spcPct val="0"/>
                        </a:spcAft>
                        <a:buClr>
                          <a:schemeClr val="bg1"/>
                        </a:buClr>
                        <a:buSzPct val="25000"/>
                        <a:buFont typeface="Times" pitchFamily="18" charset="0"/>
                        <a:buNone/>
                        <a:tabLst/>
                        <a:defRPr/>
                      </a:pPr>
                      <a:r>
                        <a:rPr kumimoji="0" lang="en-US" sz="1050" b="1" i="0" u="none" strike="noStrike" kern="1200" cap="none" normalizeH="0" baseline="0" dirty="0">
                          <a:ln>
                            <a:noFill/>
                          </a:ln>
                          <a:solidFill>
                            <a:schemeClr val="bg1"/>
                          </a:solidFill>
                          <a:effectLst/>
                          <a:latin typeface="Arial" charset="0"/>
                          <a:ea typeface="+mn-ea"/>
                          <a:cs typeface="+mn-cs"/>
                        </a:rPr>
                        <a:t>Comments</a:t>
                      </a:r>
                    </a:p>
                  </a:txBody>
                  <a:tcPr marL="90000" marR="90000" marT="46798" marB="46798"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0067B7"/>
                    </a:solidFill>
                  </a:tcPr>
                </a:tc>
                <a:extLst>
                  <a:ext uri="{0D108BD9-81ED-4DB2-BD59-A6C34878D82A}">
                    <a16:rowId xmlns:a16="http://schemas.microsoft.com/office/drawing/2014/main" val="10000"/>
                  </a:ext>
                </a:extLst>
              </a:tr>
              <a:tr h="389088">
                <a:tc rowSpan="2">
                  <a:txBody>
                    <a:bodyPr/>
                    <a:lstStyle/>
                    <a:p>
                      <a:pPr marL="0" marR="0" lvl="0" indent="0" algn="l" defTabSz="914400" rtl="0" eaLnBrk="1" fontAlgn="base" latinLnBrk="0" hangingPunct="1">
                        <a:lnSpc>
                          <a:spcPct val="93000"/>
                        </a:lnSpc>
                        <a:spcBef>
                          <a:spcPts val="300"/>
                        </a:spcBef>
                        <a:spcAft>
                          <a:spcPct val="0"/>
                        </a:spcAft>
                        <a:buClrTx/>
                        <a:buSzPct val="25000"/>
                        <a:buFontTx/>
                        <a:buNone/>
                        <a:tabLst/>
                        <a:defRPr/>
                      </a:pPr>
                      <a:r>
                        <a:rPr kumimoji="0" lang="es-MX" sz="1000" b="0" i="0" u="none" strike="noStrike" kern="1200" cap="none" normalizeH="0" baseline="0" dirty="0">
                          <a:ln>
                            <a:noFill/>
                          </a:ln>
                          <a:solidFill>
                            <a:schemeClr val="bg2"/>
                          </a:solidFill>
                          <a:effectLst/>
                          <a:latin typeface="Arial" pitchFamily="34" charset="0"/>
                          <a:ea typeface="ＭＳ Ｐゴシック"/>
                          <a:cs typeface="ＭＳ Ｐゴシック"/>
                        </a:rPr>
                        <a:t>Manifest</a:t>
                      </a:r>
                    </a:p>
                  </a:txBody>
                  <a:tcPr marL="90000" marR="90000" marT="46843" marB="46843"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93000"/>
                        </a:lnSpc>
                        <a:spcBef>
                          <a:spcPts val="300"/>
                        </a:spcBef>
                        <a:spcAft>
                          <a:spcPct val="0"/>
                        </a:spcAft>
                        <a:buClrTx/>
                        <a:buSzPct val="25000"/>
                        <a:buFontTx/>
                        <a:buNone/>
                        <a:tabLst/>
                        <a:defRPr/>
                      </a:pPr>
                      <a:r>
                        <a:rPr kumimoji="0" lang="es-MX" sz="1000" b="0" i="0" u="none" strike="noStrike" kern="1200" cap="none" normalizeH="0" baseline="0" dirty="0">
                          <a:ln>
                            <a:noFill/>
                          </a:ln>
                          <a:solidFill>
                            <a:schemeClr val="bg2"/>
                          </a:solidFill>
                          <a:effectLst/>
                          <a:latin typeface="Arial" pitchFamily="34" charset="0"/>
                          <a:ea typeface="ＭＳ Ｐゴシック"/>
                          <a:cs typeface="ＭＳ Ｐゴシック"/>
                        </a:rPr>
                        <a:t>Performance</a:t>
                      </a:r>
                    </a:p>
                  </a:txBody>
                  <a:tcPr marL="90000" marR="90000" marT="46843" marB="46843"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93000"/>
                        </a:lnSpc>
                        <a:spcBef>
                          <a:spcPts val="300"/>
                        </a:spcBef>
                        <a:spcAft>
                          <a:spcPct val="0"/>
                        </a:spcAft>
                        <a:buClrTx/>
                        <a:buSzPct val="25000"/>
                        <a:buFont typeface="Arial" panose="020B0604020202020204" pitchFamily="34" charset="0"/>
                        <a:buNone/>
                        <a:tabLst/>
                      </a:pPr>
                      <a:r>
                        <a:rPr kumimoji="0" lang="es-MX" sz="1000" b="0" i="0" u="none" strike="noStrike" kern="1200" cap="none" normalizeH="0" baseline="0" dirty="0">
                          <a:ln>
                            <a:noFill/>
                          </a:ln>
                          <a:solidFill>
                            <a:schemeClr val="bg2"/>
                          </a:solidFill>
                          <a:effectLst/>
                          <a:latin typeface="Arial" pitchFamily="34" charset="0"/>
                          <a:ea typeface="ＭＳ Ｐゴシック"/>
                          <a:cs typeface="ＭＳ Ｐゴシック"/>
                        </a:rPr>
                        <a:t>+</a:t>
                      </a:r>
                    </a:p>
                  </a:txBody>
                  <a:tcPr marL="90000" marR="90000" marT="46843" marB="46843"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93000"/>
                        </a:lnSpc>
                        <a:spcBef>
                          <a:spcPts val="300"/>
                        </a:spcBef>
                        <a:spcAft>
                          <a:spcPct val="0"/>
                        </a:spcAft>
                        <a:buClrTx/>
                        <a:buSzPct val="100000"/>
                        <a:buFont typeface="Arial" panose="020B0604020202020204" pitchFamily="34" charset="0"/>
                        <a:buNone/>
                        <a:tabLst/>
                      </a:pPr>
                      <a:r>
                        <a:rPr kumimoji="0" lang="es-MX" sz="1000" b="0" i="0" u="none" strike="noStrike" kern="1200" cap="none" normalizeH="0" baseline="0" dirty="0">
                          <a:ln>
                            <a:noFill/>
                          </a:ln>
                          <a:solidFill>
                            <a:schemeClr val="bg2"/>
                          </a:solidFill>
                          <a:effectLst/>
                          <a:latin typeface="Arial" pitchFamily="34" charset="0"/>
                          <a:ea typeface="ＭＳ Ｐゴシック"/>
                          <a:cs typeface="ＭＳ Ｐゴシック"/>
                        </a:rPr>
                        <a:t>+</a:t>
                      </a:r>
                    </a:p>
                  </a:txBody>
                  <a:tcPr marL="90000" marR="90000" marT="46843" marB="46843"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93000"/>
                        </a:lnSpc>
                        <a:spcBef>
                          <a:spcPts val="300"/>
                        </a:spcBef>
                        <a:spcAft>
                          <a:spcPct val="0"/>
                        </a:spcAft>
                        <a:buClrTx/>
                        <a:buSzPct val="100000"/>
                        <a:buFont typeface="Arial" panose="020B0604020202020204" pitchFamily="34" charset="0"/>
                        <a:buNone/>
                        <a:tabLst/>
                      </a:pPr>
                      <a:r>
                        <a:rPr kumimoji="0" lang="es-MX" sz="1000" b="0" i="0" u="none" strike="noStrike" kern="1200" cap="none" normalizeH="0" baseline="0" dirty="0">
                          <a:ln>
                            <a:noFill/>
                          </a:ln>
                          <a:solidFill>
                            <a:schemeClr val="bg2"/>
                          </a:solidFill>
                          <a:effectLst/>
                          <a:latin typeface="Arial" pitchFamily="34" charset="0"/>
                          <a:ea typeface="ＭＳ Ｐゴシック"/>
                          <a:cs typeface="ＭＳ Ｐゴシック"/>
                        </a:rPr>
                        <a:t>+</a:t>
                      </a:r>
                    </a:p>
                  </a:txBody>
                  <a:tcPr marL="90000" marR="90000" marT="46843" marB="46843"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93000"/>
                        </a:lnSpc>
                        <a:spcBef>
                          <a:spcPts val="300"/>
                        </a:spcBef>
                        <a:spcAft>
                          <a:spcPct val="0"/>
                        </a:spcAft>
                        <a:buClrTx/>
                        <a:buSzPct val="100000"/>
                        <a:buFont typeface="Arial" panose="020B0604020202020204" pitchFamily="34" charset="0"/>
                        <a:buNone/>
                        <a:tabLst/>
                      </a:pPr>
                      <a:r>
                        <a:rPr kumimoji="0" lang="es-MX" sz="1000" b="0" i="0" u="none" strike="noStrike" kern="1200" cap="none" normalizeH="0" baseline="0" dirty="0">
                          <a:ln>
                            <a:noFill/>
                          </a:ln>
                          <a:solidFill>
                            <a:schemeClr val="bg2"/>
                          </a:solidFill>
                          <a:effectLst/>
                          <a:latin typeface="Arial" pitchFamily="34" charset="0"/>
                          <a:ea typeface="ＭＳ Ｐゴシック"/>
                          <a:cs typeface="ＭＳ Ｐゴシック"/>
                        </a:rPr>
                        <a:t>The architecture sets a rich and light framework, separation of responsibilities allows each component to fulfill small functionalities.</a:t>
                      </a:r>
                    </a:p>
                  </a:txBody>
                  <a:tcPr marL="90000" marR="90000" marT="46843" marB="46843"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463422">
                <a:tc vMerge="1">
                  <a:txBody>
                    <a:bodyPr/>
                    <a:lstStyle/>
                    <a:p>
                      <a:pPr marL="0" marR="0" lvl="0" indent="0" algn="l" defTabSz="914400" rtl="0" eaLnBrk="1" fontAlgn="base" latinLnBrk="0" hangingPunct="1">
                        <a:lnSpc>
                          <a:spcPct val="93000"/>
                        </a:lnSpc>
                        <a:spcBef>
                          <a:spcPts val="300"/>
                        </a:spcBef>
                        <a:spcAft>
                          <a:spcPct val="0"/>
                        </a:spcAft>
                        <a:buClrTx/>
                        <a:buSzPct val="25000"/>
                        <a:buFontTx/>
                        <a:buNone/>
                        <a:tabLst/>
                        <a:defRPr/>
                      </a:pPr>
                      <a:endParaRPr kumimoji="0" lang="es-MX" sz="1100" b="0" i="0" u="none" strike="noStrike" kern="1200" cap="none" normalizeH="0" baseline="0" dirty="0">
                        <a:ln>
                          <a:noFill/>
                        </a:ln>
                        <a:solidFill>
                          <a:schemeClr val="bg2"/>
                        </a:solidFill>
                        <a:effectLst/>
                        <a:latin typeface="Arial" pitchFamily="34" charset="0"/>
                        <a:ea typeface="ＭＳ Ｐゴシック"/>
                        <a:cs typeface="ＭＳ Ｐゴシック"/>
                      </a:endParaRPr>
                    </a:p>
                  </a:txBody>
                  <a:tcPr marL="90000" marR="90000" marT="46843" marB="46843"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93000"/>
                        </a:lnSpc>
                        <a:spcBef>
                          <a:spcPts val="300"/>
                        </a:spcBef>
                        <a:spcAft>
                          <a:spcPct val="0"/>
                        </a:spcAft>
                        <a:buClrTx/>
                        <a:buSzPct val="25000"/>
                        <a:buFontTx/>
                        <a:buNone/>
                        <a:tabLst/>
                        <a:defRPr/>
                      </a:pPr>
                      <a:r>
                        <a:rPr kumimoji="0" lang="es-MX" sz="1000" b="0" i="0" u="none" strike="noStrike" kern="1200" cap="none" normalizeH="0" baseline="0" dirty="0">
                          <a:ln>
                            <a:noFill/>
                          </a:ln>
                          <a:solidFill>
                            <a:schemeClr val="bg2"/>
                          </a:solidFill>
                          <a:effectLst/>
                          <a:latin typeface="Arial" pitchFamily="34" charset="0"/>
                          <a:ea typeface="ＭＳ Ｐゴシック"/>
                          <a:cs typeface="ＭＳ Ｐゴシック"/>
                        </a:rPr>
                        <a:t>Availability</a:t>
                      </a:r>
                    </a:p>
                  </a:txBody>
                  <a:tcPr marL="90000" marR="90000" marT="46843" marB="46843"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93000"/>
                        </a:lnSpc>
                        <a:spcBef>
                          <a:spcPts val="300"/>
                        </a:spcBef>
                        <a:spcAft>
                          <a:spcPct val="0"/>
                        </a:spcAft>
                        <a:buClrTx/>
                        <a:buSzPct val="25000"/>
                        <a:buFont typeface="Arial" panose="020B0604020202020204" pitchFamily="34" charset="0"/>
                        <a:buNone/>
                        <a:tabLst/>
                      </a:pPr>
                      <a:r>
                        <a:rPr kumimoji="0" lang="es-MX" sz="1000" b="0" i="0" u="none" strike="noStrike" kern="1200" cap="none" normalizeH="0" baseline="0" dirty="0">
                          <a:ln>
                            <a:noFill/>
                          </a:ln>
                          <a:solidFill>
                            <a:schemeClr val="bg2"/>
                          </a:solidFill>
                          <a:effectLst/>
                          <a:latin typeface="Arial" pitchFamily="34" charset="0"/>
                          <a:ea typeface="ＭＳ Ｐゴシック"/>
                          <a:cs typeface="ＭＳ Ｐゴシック"/>
                        </a:rPr>
                        <a:t>+</a:t>
                      </a:r>
                    </a:p>
                  </a:txBody>
                  <a:tcPr marL="90000" marR="90000" marT="46843" marB="46843"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93000"/>
                        </a:lnSpc>
                        <a:spcBef>
                          <a:spcPts val="300"/>
                        </a:spcBef>
                        <a:spcAft>
                          <a:spcPct val="0"/>
                        </a:spcAft>
                        <a:buClrTx/>
                        <a:buSzPct val="100000"/>
                        <a:buFont typeface="Arial" panose="020B0604020202020204" pitchFamily="34" charset="0"/>
                        <a:buNone/>
                        <a:tabLst/>
                      </a:pPr>
                      <a:r>
                        <a:rPr kumimoji="0" lang="es-MX" sz="1000" b="0" i="0" u="none" strike="noStrike" kern="1200" cap="none" normalizeH="0" baseline="0" dirty="0">
                          <a:ln>
                            <a:noFill/>
                          </a:ln>
                          <a:solidFill>
                            <a:schemeClr val="bg2"/>
                          </a:solidFill>
                          <a:effectLst/>
                          <a:latin typeface="Arial" pitchFamily="34" charset="0"/>
                          <a:ea typeface="ＭＳ Ｐゴシック"/>
                          <a:cs typeface="ＭＳ Ｐゴシック"/>
                        </a:rPr>
                        <a:t>+</a:t>
                      </a:r>
                    </a:p>
                  </a:txBody>
                  <a:tcPr marL="90000" marR="90000" marT="46843" marB="46843"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93000"/>
                        </a:lnSpc>
                        <a:spcBef>
                          <a:spcPts val="300"/>
                        </a:spcBef>
                        <a:spcAft>
                          <a:spcPct val="0"/>
                        </a:spcAft>
                        <a:buClrTx/>
                        <a:buSzPct val="100000"/>
                        <a:buFont typeface="Arial" panose="020B0604020202020204" pitchFamily="34" charset="0"/>
                        <a:buNone/>
                        <a:tabLst/>
                      </a:pPr>
                      <a:r>
                        <a:rPr kumimoji="0" lang="es-MX" sz="1000" b="0" i="0" u="none" strike="noStrike" kern="1200" cap="none" normalizeH="0" baseline="0" dirty="0">
                          <a:ln>
                            <a:noFill/>
                          </a:ln>
                          <a:solidFill>
                            <a:schemeClr val="bg2"/>
                          </a:solidFill>
                          <a:effectLst/>
                          <a:latin typeface="Arial" pitchFamily="34" charset="0"/>
                          <a:ea typeface="ＭＳ Ｐゴシック"/>
                          <a:cs typeface="ＭＳ Ｐゴシック"/>
                        </a:rPr>
                        <a:t>+</a:t>
                      </a:r>
                    </a:p>
                  </a:txBody>
                  <a:tcPr marL="90000" marR="90000" marT="46843" marB="46843"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93000"/>
                        </a:lnSpc>
                        <a:spcBef>
                          <a:spcPts val="300"/>
                        </a:spcBef>
                        <a:spcAft>
                          <a:spcPct val="0"/>
                        </a:spcAft>
                        <a:buClrTx/>
                        <a:buSzPct val="100000"/>
                        <a:buFont typeface="Arial" panose="020B0604020202020204" pitchFamily="34" charset="0"/>
                        <a:buNone/>
                        <a:tabLst/>
                      </a:pPr>
                      <a:r>
                        <a:rPr kumimoji="0" lang="en-US" sz="1000" b="0" i="0" u="none" strike="noStrike" kern="1200" cap="none" normalizeH="0" baseline="0" dirty="0">
                          <a:ln>
                            <a:noFill/>
                          </a:ln>
                          <a:solidFill>
                            <a:schemeClr val="bg2"/>
                          </a:solidFill>
                          <a:effectLst/>
                          <a:latin typeface="Arial" pitchFamily="34" charset="0"/>
                          <a:ea typeface="ＭＳ Ｐゴシック"/>
                          <a:cs typeface="+mn-cs"/>
                        </a:rPr>
                        <a:t>Replicator allows you to easily and reliably replicate topics from one Kafka cluster to another. In addition to copying the messages, Replicator will create topics as needed preserving the topic configuration in the source cluster. This includes preserving the number of partitions, the replication factor, and any configuration overrides specified for individual topics.</a:t>
                      </a:r>
                    </a:p>
                    <a:p>
                      <a:pPr marL="0" marR="0" lvl="0" indent="0" algn="l" defTabSz="914400" rtl="0" eaLnBrk="1" fontAlgn="base" latinLnBrk="0" hangingPunct="1">
                        <a:lnSpc>
                          <a:spcPct val="93000"/>
                        </a:lnSpc>
                        <a:spcBef>
                          <a:spcPts val="300"/>
                        </a:spcBef>
                        <a:spcAft>
                          <a:spcPct val="0"/>
                        </a:spcAft>
                        <a:buClrTx/>
                        <a:buSzPct val="100000"/>
                        <a:buFont typeface="Arial" panose="020B0604020202020204" pitchFamily="34" charset="0"/>
                        <a:buNone/>
                        <a:tabLst/>
                      </a:pPr>
                      <a:endParaRPr kumimoji="0" lang="en-US" sz="1000" b="0" i="0" u="none" strike="noStrike" kern="1200" cap="none" normalizeH="0" baseline="0" dirty="0">
                        <a:ln>
                          <a:noFill/>
                        </a:ln>
                        <a:solidFill>
                          <a:schemeClr val="bg2"/>
                        </a:solidFill>
                        <a:effectLst/>
                        <a:latin typeface="Arial" pitchFamily="34" charset="0"/>
                        <a:ea typeface="ＭＳ Ｐゴシック"/>
                        <a:cs typeface="+mn-cs"/>
                      </a:endParaRPr>
                    </a:p>
                    <a:p>
                      <a:pPr marL="0" marR="0" lvl="0" indent="0" algn="l" defTabSz="914400" rtl="0" eaLnBrk="1" fontAlgn="base" latinLnBrk="0" hangingPunct="1">
                        <a:lnSpc>
                          <a:spcPct val="93000"/>
                        </a:lnSpc>
                        <a:spcBef>
                          <a:spcPts val="300"/>
                        </a:spcBef>
                        <a:spcAft>
                          <a:spcPct val="0"/>
                        </a:spcAft>
                        <a:buClrTx/>
                        <a:buSzPct val="100000"/>
                        <a:buFont typeface="Arial" panose="020B0604020202020204" pitchFamily="34" charset="0"/>
                        <a:buNone/>
                        <a:tabLst/>
                      </a:pPr>
                      <a:r>
                        <a:rPr kumimoji="0" lang="en-US" sz="1000" b="0" i="0" u="none" strike="noStrike" kern="1200" cap="none" normalizeH="0" baseline="0" dirty="0">
                          <a:ln>
                            <a:noFill/>
                          </a:ln>
                          <a:solidFill>
                            <a:schemeClr val="bg2"/>
                          </a:solidFill>
                          <a:effectLst/>
                          <a:latin typeface="Arial" pitchFamily="34" charset="0"/>
                          <a:ea typeface="ＭＳ Ｐゴシック"/>
                          <a:cs typeface="+mn-cs"/>
                        </a:rPr>
                        <a:t>Kafka Streams applications can be implemented by running the application jar. It is not necessary to implement the application on a server, which means that you can use any application to run a Kafka Streams application: Docker, Kubernetes, local servers, etc. Something wonderful about Kafka Streams is that it allows horizontal scaling. That is, if it runs on the same JVM, it runs multiple threads, but if multiple instances of the application are started, you can run several JVMs to scale horizontally.</a:t>
                      </a:r>
                    </a:p>
                    <a:p>
                      <a:pPr marL="0" marR="0" lvl="0" indent="0" algn="l" defTabSz="914400" rtl="0" eaLnBrk="1" fontAlgn="base" latinLnBrk="0" hangingPunct="1">
                        <a:lnSpc>
                          <a:spcPct val="93000"/>
                        </a:lnSpc>
                        <a:spcBef>
                          <a:spcPts val="300"/>
                        </a:spcBef>
                        <a:spcAft>
                          <a:spcPct val="0"/>
                        </a:spcAft>
                        <a:buClrTx/>
                        <a:buSzPct val="100000"/>
                        <a:buFont typeface="Arial" panose="020B0604020202020204" pitchFamily="34" charset="0"/>
                        <a:buNone/>
                        <a:tabLst/>
                      </a:pPr>
                      <a:endParaRPr kumimoji="0" lang="en-US" sz="1000" b="0" i="0" u="none" strike="noStrike" kern="1200" cap="none" normalizeH="0" baseline="0" dirty="0">
                        <a:ln>
                          <a:noFill/>
                        </a:ln>
                        <a:solidFill>
                          <a:schemeClr val="bg2"/>
                        </a:solidFill>
                        <a:effectLst/>
                        <a:latin typeface="Arial" pitchFamily="34" charset="0"/>
                        <a:ea typeface="ＭＳ Ｐゴシック"/>
                        <a:cs typeface="+mn-cs"/>
                      </a:endParaRPr>
                    </a:p>
                    <a:p>
                      <a:pPr marL="0" marR="0" lvl="0" indent="0" algn="l" defTabSz="914400" rtl="0" eaLnBrk="1" fontAlgn="base" latinLnBrk="0" hangingPunct="1">
                        <a:lnSpc>
                          <a:spcPct val="93000"/>
                        </a:lnSpc>
                        <a:spcBef>
                          <a:spcPts val="300"/>
                        </a:spcBef>
                        <a:spcAft>
                          <a:spcPct val="0"/>
                        </a:spcAft>
                        <a:buClrTx/>
                        <a:buSzPct val="100000"/>
                        <a:buFont typeface="Arial" panose="020B0604020202020204" pitchFamily="34" charset="0"/>
                        <a:buNone/>
                        <a:tabLst/>
                      </a:pPr>
                      <a:r>
                        <a:rPr kumimoji="0" lang="en-US" sz="1000" b="0" i="0" u="none" strike="noStrike" kern="1200" cap="none" normalizeH="0" baseline="0" dirty="0">
                          <a:ln>
                            <a:noFill/>
                          </a:ln>
                          <a:solidFill>
                            <a:schemeClr val="bg2"/>
                          </a:solidFill>
                          <a:effectLst/>
                          <a:latin typeface="Arial" pitchFamily="34" charset="0"/>
                          <a:ea typeface="ＭＳ Ｐゴシック"/>
                          <a:cs typeface="+mn-cs"/>
                        </a:rPr>
                        <a:t>The main benefit is that each service is implemented independently and can evolve independently of the others.</a:t>
                      </a:r>
                    </a:p>
                    <a:p>
                      <a:pPr marL="0" marR="0" lvl="0" indent="0" algn="l" defTabSz="914400" rtl="0" eaLnBrk="1" fontAlgn="base" latinLnBrk="0" hangingPunct="1">
                        <a:lnSpc>
                          <a:spcPct val="93000"/>
                        </a:lnSpc>
                        <a:spcBef>
                          <a:spcPts val="300"/>
                        </a:spcBef>
                        <a:spcAft>
                          <a:spcPct val="0"/>
                        </a:spcAft>
                        <a:buClrTx/>
                        <a:buSzPct val="100000"/>
                        <a:buFont typeface="Arial" panose="020B0604020202020204" pitchFamily="34" charset="0"/>
                        <a:buNone/>
                        <a:tabLst/>
                      </a:pPr>
                      <a:endParaRPr kumimoji="0" lang="en-US" sz="1000" b="0" i="0" u="none" strike="noStrike" kern="1200" cap="none" normalizeH="0" baseline="0" dirty="0">
                        <a:ln>
                          <a:noFill/>
                        </a:ln>
                        <a:solidFill>
                          <a:schemeClr val="bg2"/>
                        </a:solidFill>
                        <a:effectLst/>
                        <a:latin typeface="Arial" pitchFamily="34" charset="0"/>
                        <a:ea typeface="ＭＳ Ｐゴシック"/>
                        <a:cs typeface="+mn-cs"/>
                      </a:endParaRPr>
                    </a:p>
                  </a:txBody>
                  <a:tcPr marL="90000" marR="90000" marT="46843" marB="46843"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2091516451"/>
                  </a:ext>
                </a:extLst>
              </a:tr>
            </a:tbl>
          </a:graphicData>
        </a:graphic>
      </p:graphicFrame>
      <p:sp>
        <p:nvSpPr>
          <p:cNvPr id="46" name="TextBox 45">
            <a:extLst>
              <a:ext uri="{FF2B5EF4-FFF2-40B4-BE49-F238E27FC236}">
                <a16:creationId xmlns:a16="http://schemas.microsoft.com/office/drawing/2014/main" id="{D02E660C-001D-3749-BC36-8067DE891A1F}"/>
              </a:ext>
            </a:extLst>
          </p:cNvPr>
          <p:cNvSpPr txBox="1"/>
          <p:nvPr/>
        </p:nvSpPr>
        <p:spPr>
          <a:xfrm>
            <a:off x="602943" y="990475"/>
            <a:ext cx="10437589" cy="828089"/>
          </a:xfrm>
          <a:prstGeom prst="rect">
            <a:avLst/>
          </a:prstGeom>
          <a:noFill/>
        </p:spPr>
        <p:txBody>
          <a:bodyPr wrap="square" tIns="90000" bIns="90000" rtlCol="0" anchor="t">
            <a:spAutoFit/>
          </a:bodyPr>
          <a:lstStyle/>
          <a:p>
            <a:r>
              <a:rPr lang="en-US" sz="1400" dirty="0">
                <a:solidFill>
                  <a:srgbClr val="C5277F"/>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Capacity: </a:t>
            </a:r>
            <a:r>
              <a:rPr lang="en-US" sz="1400" dirty="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The dimension of raw power in an element. Capacity is increased through vertical scaling and is sometimes referred to as height.</a:t>
            </a:r>
          </a:p>
          <a:p>
            <a:r>
              <a:rPr lang="en-US" sz="1400" dirty="0">
                <a:solidFill>
                  <a:srgbClr val="C5277F"/>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Redundancy: </a:t>
            </a:r>
            <a:r>
              <a:rPr lang="en-US" sz="1400" dirty="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The dimension in which multiple systems work on the same job. Redundancy is increased through horizontal scaling and is also known as width</a:t>
            </a:r>
          </a:p>
          <a:p>
            <a:r>
              <a:rPr lang="en-US" sz="1400" dirty="0">
                <a:solidFill>
                  <a:srgbClr val="C5277F"/>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Modularity: </a:t>
            </a:r>
            <a:r>
              <a:rPr lang="en-US" sz="1400" dirty="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the dimension into which a system divides into separate elements and disseminates those elements into multiple computer systems</a:t>
            </a:r>
          </a:p>
        </p:txBody>
      </p:sp>
      <p:sp>
        <p:nvSpPr>
          <p:cNvPr id="50" name="Google Shape;61;p12">
            <a:extLst>
              <a:ext uri="{FF2B5EF4-FFF2-40B4-BE49-F238E27FC236}">
                <a16:creationId xmlns:a16="http://schemas.microsoft.com/office/drawing/2014/main" id="{D1A228C7-214F-534D-8401-8C29BB630580}"/>
              </a:ext>
            </a:extLst>
          </p:cNvPr>
          <p:cNvSpPr txBox="1">
            <a:spLocks/>
          </p:cNvSpPr>
          <p:nvPr/>
        </p:nvSpPr>
        <p:spPr>
          <a:xfrm>
            <a:off x="3575044" y="5480950"/>
            <a:ext cx="4493385" cy="275128"/>
          </a:xfrm>
          <a:prstGeom prst="rect">
            <a:avLst/>
          </a:prstGeom>
        </p:spPr>
        <p:txBody>
          <a:bodyPr spcFirstLastPara="1" vert="horz" wrap="square" lIns="91425" tIns="91425" rIns="91425" bIns="91425" rtlCol="0" anchor="ctr"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spcBef>
                <a:spcPts val="0"/>
              </a:spcBef>
            </a:pPr>
            <a:r>
              <a:rPr lang="en-US" sz="1000" b="1"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Table 1-1 shows the impact of these three dimensions on systemic qualities</a:t>
            </a:r>
            <a:r>
              <a:rPr lang="en-US" sz="1000" b="1" dirty="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a:t>
            </a:r>
          </a:p>
        </p:txBody>
      </p:sp>
    </p:spTree>
    <p:extLst>
      <p:ext uri="{BB962C8B-B14F-4D97-AF65-F5344CB8AC3E}">
        <p14:creationId xmlns:p14="http://schemas.microsoft.com/office/powerpoint/2010/main" val="4246607649"/>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 name="Rectangle 3">
            <a:extLst>
              <a:ext uri="{FF2B5EF4-FFF2-40B4-BE49-F238E27FC236}">
                <a16:creationId xmlns:a16="http://schemas.microsoft.com/office/drawing/2014/main" id="{58D9D721-035E-794D-8703-60C183CA4576}"/>
              </a:ext>
            </a:extLst>
          </p:cNvPr>
          <p:cNvSpPr txBox="1"/>
          <p:nvPr/>
        </p:nvSpPr>
        <p:spPr>
          <a:xfrm>
            <a:off x="404806" y="82014"/>
            <a:ext cx="7585857" cy="400105"/>
          </a:xfrm>
          <a:prstGeom prst="rect">
            <a:avLst/>
          </a:prstGeom>
          <a:ln w="12700">
            <a:miter lim="400000"/>
          </a:ln>
          <a:extLst>
            <a:ext uri="{C572A759-6A51-4108-AA02-DFA0A04FC94B}">
              <ma14:wrappingTextBoxFlag xmlns:ma14="http://schemas.microsoft.com/office/mac/drawingml/2011/main" xmlns="" val="1"/>
            </a:ext>
          </a:extLst>
        </p:spPr>
        <p:txBody>
          <a:bodyPr wrap="square" lIns="45718" tIns="45718" rIns="45718" bIns="45718">
            <a:spAutoFit/>
          </a:bodyPr>
          <a:lstStyle>
            <a:lvl1pPr algn="l" defTabSz="914400">
              <a:defRPr sz="2200" b="1">
                <a:solidFill>
                  <a:srgbClr val="FFFFFF"/>
                </a:solidFill>
                <a:latin typeface="Arial"/>
                <a:ea typeface="Arial"/>
                <a:cs typeface="Arial"/>
                <a:sym typeface="Arial"/>
              </a:defRPr>
            </a:lvl1pPr>
          </a:lstStyle>
          <a:p>
            <a:r>
              <a:rPr lang="en-US" sz="2000" dirty="0">
                <a:solidFill>
                  <a:srgbClr val="016AA2"/>
                </a:solidFill>
              </a:rPr>
              <a:t>Needs and Solution Proposal (XXV)</a:t>
            </a:r>
          </a:p>
        </p:txBody>
      </p:sp>
      <p:sp>
        <p:nvSpPr>
          <p:cNvPr id="49" name="Rectangle 3">
            <a:extLst>
              <a:ext uri="{FF2B5EF4-FFF2-40B4-BE49-F238E27FC236}">
                <a16:creationId xmlns:a16="http://schemas.microsoft.com/office/drawing/2014/main" id="{38791581-E21D-6F47-B9BB-5366F04F66C1}"/>
              </a:ext>
            </a:extLst>
          </p:cNvPr>
          <p:cNvSpPr txBox="1"/>
          <p:nvPr/>
        </p:nvSpPr>
        <p:spPr>
          <a:xfrm>
            <a:off x="413951" y="421813"/>
            <a:ext cx="8103516" cy="369328"/>
          </a:xfrm>
          <a:prstGeom prst="rect">
            <a:avLst/>
          </a:prstGeom>
          <a:ln w="12700">
            <a:miter lim="400000"/>
          </a:ln>
          <a:extLst>
            <a:ext uri="{C572A759-6A51-4108-AA02-DFA0A04FC94B}">
              <ma14:wrappingTextBoxFlag xmlns="" xmlns:ma14="http://schemas.microsoft.com/office/mac/drawingml/2011/main" val="1"/>
            </a:ext>
          </a:extLst>
        </p:spPr>
        <p:txBody>
          <a:bodyPr wrap="square" lIns="45718" tIns="45718" rIns="45718" bIns="45718">
            <a:spAutoFit/>
          </a:bodyPr>
          <a:lstStyle>
            <a:lvl1pPr algn="l" defTabSz="914400">
              <a:defRPr sz="2000">
                <a:solidFill>
                  <a:srgbClr val="104D6A"/>
                </a:solidFill>
                <a:latin typeface="Arial"/>
                <a:ea typeface="Arial"/>
                <a:cs typeface="Arial"/>
                <a:sym typeface="Arial"/>
              </a:defRPr>
            </a:lvl1pPr>
          </a:lstStyle>
          <a:p>
            <a:pPr>
              <a:defRPr/>
            </a:pPr>
            <a:r>
              <a:rPr lang="en-US" sz="1800" b="1" dirty="0">
                <a:solidFill>
                  <a:srgbClr val="73C4EF"/>
                </a:solidFill>
              </a:rPr>
              <a:t>Event Hub Architecture – Impact of Dimensions on Systemic Qualities </a:t>
            </a:r>
          </a:p>
        </p:txBody>
      </p:sp>
      <p:graphicFrame>
        <p:nvGraphicFramePr>
          <p:cNvPr id="39" name="Group 4">
            <a:extLst>
              <a:ext uri="{FF2B5EF4-FFF2-40B4-BE49-F238E27FC236}">
                <a16:creationId xmlns:a16="http://schemas.microsoft.com/office/drawing/2014/main" id="{A864DB99-88BD-FA48-96F9-120D60F9396D}"/>
              </a:ext>
            </a:extLst>
          </p:cNvPr>
          <p:cNvGraphicFramePr>
            <a:graphicFrameLocks/>
          </p:cNvGraphicFramePr>
          <p:nvPr>
            <p:extLst>
              <p:ext uri="{D42A27DB-BD31-4B8C-83A1-F6EECF244321}">
                <p14:modId xmlns:p14="http://schemas.microsoft.com/office/powerpoint/2010/main" val="3008691133"/>
              </p:ext>
            </p:extLst>
          </p:nvPr>
        </p:nvGraphicFramePr>
        <p:xfrm>
          <a:off x="707894" y="1877823"/>
          <a:ext cx="10776212" cy="3502280"/>
        </p:xfrm>
        <a:graphic>
          <a:graphicData uri="http://schemas.openxmlformats.org/drawingml/2006/table">
            <a:tbl>
              <a:tblPr/>
              <a:tblGrid>
                <a:gridCol w="1164204">
                  <a:extLst>
                    <a:ext uri="{9D8B030D-6E8A-4147-A177-3AD203B41FA5}">
                      <a16:colId xmlns:a16="http://schemas.microsoft.com/office/drawing/2014/main" val="20000"/>
                    </a:ext>
                  </a:extLst>
                </a:gridCol>
                <a:gridCol w="1164204">
                  <a:extLst>
                    <a:ext uri="{9D8B030D-6E8A-4147-A177-3AD203B41FA5}">
                      <a16:colId xmlns:a16="http://schemas.microsoft.com/office/drawing/2014/main" val="385795312"/>
                    </a:ext>
                  </a:extLst>
                </a:gridCol>
                <a:gridCol w="818547">
                  <a:extLst>
                    <a:ext uri="{9D8B030D-6E8A-4147-A177-3AD203B41FA5}">
                      <a16:colId xmlns:a16="http://schemas.microsoft.com/office/drawing/2014/main" val="20001"/>
                    </a:ext>
                  </a:extLst>
                </a:gridCol>
                <a:gridCol w="1100666">
                  <a:extLst>
                    <a:ext uri="{9D8B030D-6E8A-4147-A177-3AD203B41FA5}">
                      <a16:colId xmlns:a16="http://schemas.microsoft.com/office/drawing/2014/main" val="20002"/>
                    </a:ext>
                  </a:extLst>
                </a:gridCol>
                <a:gridCol w="965200">
                  <a:extLst>
                    <a:ext uri="{9D8B030D-6E8A-4147-A177-3AD203B41FA5}">
                      <a16:colId xmlns:a16="http://schemas.microsoft.com/office/drawing/2014/main" val="2341405923"/>
                    </a:ext>
                  </a:extLst>
                </a:gridCol>
                <a:gridCol w="5563391">
                  <a:extLst>
                    <a:ext uri="{9D8B030D-6E8A-4147-A177-3AD203B41FA5}">
                      <a16:colId xmlns:a16="http://schemas.microsoft.com/office/drawing/2014/main" val="3177161945"/>
                    </a:ext>
                  </a:extLst>
                </a:gridCol>
              </a:tblGrid>
              <a:tr h="298110">
                <a:tc>
                  <a:txBody>
                    <a:bodyPr/>
                    <a:lstStyle/>
                    <a:p>
                      <a:pPr marL="0" marR="0" lvl="0" indent="0" algn="ctr" defTabSz="914400" rtl="0" eaLnBrk="1" fontAlgn="base" latinLnBrk="0" hangingPunct="1">
                        <a:lnSpc>
                          <a:spcPct val="100000"/>
                        </a:lnSpc>
                        <a:spcBef>
                          <a:spcPct val="0"/>
                        </a:spcBef>
                        <a:spcAft>
                          <a:spcPct val="0"/>
                        </a:spcAft>
                        <a:buClr>
                          <a:schemeClr val="bg1"/>
                        </a:buClr>
                        <a:buSzPct val="25000"/>
                        <a:buFont typeface="Times" pitchFamily="18" charset="0"/>
                        <a:buNone/>
                        <a:tabLst/>
                      </a:pPr>
                      <a:r>
                        <a:rPr kumimoji="0" lang="en-US" sz="1050" b="1" i="0" u="none" strike="noStrike" kern="1200" cap="none" normalizeH="0" baseline="0" dirty="0">
                          <a:ln>
                            <a:noFill/>
                          </a:ln>
                          <a:solidFill>
                            <a:schemeClr val="bg1"/>
                          </a:solidFill>
                          <a:effectLst/>
                          <a:latin typeface="Arial" charset="0"/>
                          <a:ea typeface="+mn-ea"/>
                          <a:cs typeface="+mn-cs"/>
                        </a:rPr>
                        <a:t>Family </a:t>
                      </a:r>
                    </a:p>
                  </a:txBody>
                  <a:tcPr marL="90000" marR="90000" marT="46798" marB="46798"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0067B7"/>
                    </a:solidFill>
                  </a:tcPr>
                </a:tc>
                <a:tc>
                  <a:txBody>
                    <a:bodyPr/>
                    <a:lstStyle/>
                    <a:p>
                      <a:pPr marL="0" marR="0" lvl="0" indent="0" algn="ctr" defTabSz="914400" rtl="0" eaLnBrk="1" fontAlgn="base" latinLnBrk="0" hangingPunct="1">
                        <a:lnSpc>
                          <a:spcPct val="100000"/>
                        </a:lnSpc>
                        <a:spcBef>
                          <a:spcPct val="0"/>
                        </a:spcBef>
                        <a:spcAft>
                          <a:spcPct val="0"/>
                        </a:spcAft>
                        <a:buClr>
                          <a:schemeClr val="bg1"/>
                        </a:buClr>
                        <a:buSzPct val="25000"/>
                        <a:buFont typeface="Times" pitchFamily="18" charset="0"/>
                        <a:buNone/>
                        <a:tabLst/>
                      </a:pPr>
                      <a:r>
                        <a:rPr kumimoji="0" lang="en-US" sz="1050" b="1" i="0" u="none" strike="noStrike" kern="1200" cap="none" normalizeH="0" baseline="0" noProof="0" dirty="0">
                          <a:ln>
                            <a:noFill/>
                          </a:ln>
                          <a:solidFill>
                            <a:schemeClr val="bg1"/>
                          </a:solidFill>
                          <a:effectLst/>
                          <a:latin typeface="Arial" charset="0"/>
                          <a:ea typeface="+mn-ea"/>
                          <a:cs typeface="+mn-cs"/>
                        </a:rPr>
                        <a:t>Systemic Qualities</a:t>
                      </a:r>
                    </a:p>
                  </a:txBody>
                  <a:tcPr marL="90000" marR="90000" marT="46798" marB="46798"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0067B7"/>
                    </a:solidFill>
                  </a:tcPr>
                </a:tc>
                <a:tc>
                  <a:txBody>
                    <a:bodyPr/>
                    <a:lstStyle/>
                    <a:p>
                      <a:pPr marL="0" marR="0" lvl="0" indent="0" algn="ctr" defTabSz="914400" rtl="0" eaLnBrk="1" fontAlgn="base" latinLnBrk="0" hangingPunct="1">
                        <a:lnSpc>
                          <a:spcPct val="100000"/>
                        </a:lnSpc>
                        <a:spcBef>
                          <a:spcPct val="0"/>
                        </a:spcBef>
                        <a:spcAft>
                          <a:spcPct val="0"/>
                        </a:spcAft>
                        <a:buClr>
                          <a:srgbClr val="FFFFFF"/>
                        </a:buClr>
                        <a:buSzPct val="25000"/>
                        <a:buFont typeface="Times" pitchFamily="18" charset="0"/>
                        <a:buNone/>
                        <a:tabLst/>
                        <a:defRPr/>
                      </a:pPr>
                      <a:r>
                        <a:rPr kumimoji="0" lang="en-US" sz="1050" b="1" i="0" u="none" strike="noStrike" kern="1200" cap="none" spc="0" normalizeH="0" baseline="0" noProof="0" dirty="0">
                          <a:ln>
                            <a:noFill/>
                          </a:ln>
                          <a:solidFill>
                            <a:srgbClr val="FFFFFF"/>
                          </a:solidFill>
                          <a:effectLst/>
                          <a:uLnTx/>
                          <a:uFillTx/>
                          <a:latin typeface="Arial" charset="0"/>
                          <a:ea typeface="+mn-ea"/>
                          <a:cs typeface="+mn-cs"/>
                        </a:rPr>
                        <a:t>Capacity</a:t>
                      </a:r>
                    </a:p>
                  </a:txBody>
                  <a:tcPr marL="90000" marR="90000" marT="46798" marB="46798"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0067B7"/>
                    </a:solidFill>
                  </a:tcPr>
                </a:tc>
                <a:tc>
                  <a:txBody>
                    <a:bodyPr/>
                    <a:lstStyle/>
                    <a:p>
                      <a:pPr marL="0" marR="0" lvl="0" indent="0" algn="ctr" defTabSz="914400" rtl="0" eaLnBrk="1" fontAlgn="base" latinLnBrk="0" hangingPunct="1">
                        <a:lnSpc>
                          <a:spcPct val="100000"/>
                        </a:lnSpc>
                        <a:spcBef>
                          <a:spcPct val="0"/>
                        </a:spcBef>
                        <a:spcAft>
                          <a:spcPct val="0"/>
                        </a:spcAft>
                        <a:buClr>
                          <a:schemeClr val="bg1"/>
                        </a:buClr>
                        <a:buSzPct val="25000"/>
                        <a:buFont typeface="Times" pitchFamily="18" charset="0"/>
                        <a:buNone/>
                        <a:tabLst/>
                      </a:pPr>
                      <a:r>
                        <a:rPr kumimoji="0" lang="en-US" sz="1050" b="1" i="0" u="none" strike="noStrike" kern="1200" cap="none" normalizeH="0" baseline="0" dirty="0">
                          <a:ln>
                            <a:noFill/>
                          </a:ln>
                          <a:solidFill>
                            <a:schemeClr val="bg1"/>
                          </a:solidFill>
                          <a:effectLst/>
                          <a:latin typeface="Arial" charset="0"/>
                          <a:ea typeface="+mn-ea"/>
                          <a:cs typeface="+mn-cs"/>
                        </a:rPr>
                        <a:t>Redundancy</a:t>
                      </a:r>
                    </a:p>
                  </a:txBody>
                  <a:tcPr marL="90000" marR="90000" marT="46798" marB="46798"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0067B7"/>
                    </a:solidFill>
                  </a:tcPr>
                </a:tc>
                <a:tc>
                  <a:txBody>
                    <a:bodyPr/>
                    <a:lstStyle/>
                    <a:p>
                      <a:pPr marL="0" marR="0" lvl="0" indent="0" algn="ctr" defTabSz="914400" rtl="0" eaLnBrk="1" fontAlgn="base" latinLnBrk="0" hangingPunct="1">
                        <a:lnSpc>
                          <a:spcPct val="100000"/>
                        </a:lnSpc>
                        <a:spcBef>
                          <a:spcPct val="0"/>
                        </a:spcBef>
                        <a:spcAft>
                          <a:spcPct val="0"/>
                        </a:spcAft>
                        <a:buClr>
                          <a:schemeClr val="bg1"/>
                        </a:buClr>
                        <a:buSzPct val="25000"/>
                        <a:buFont typeface="Times" pitchFamily="18" charset="0"/>
                        <a:buNone/>
                        <a:tabLst/>
                        <a:defRPr/>
                      </a:pPr>
                      <a:r>
                        <a:rPr kumimoji="0" lang="en-US" sz="1050" b="1" i="0" u="none" strike="noStrike" kern="1200" cap="none" normalizeH="0" baseline="0" dirty="0">
                          <a:ln>
                            <a:noFill/>
                          </a:ln>
                          <a:solidFill>
                            <a:schemeClr val="bg1"/>
                          </a:solidFill>
                          <a:effectLst/>
                          <a:latin typeface="Arial" charset="0"/>
                          <a:ea typeface="+mn-ea"/>
                          <a:cs typeface="+mn-cs"/>
                        </a:rPr>
                        <a:t>Modularity</a:t>
                      </a:r>
                    </a:p>
                  </a:txBody>
                  <a:tcPr marL="90000" marR="90000" marT="46798" marB="46798"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0067B7"/>
                    </a:solidFill>
                  </a:tcPr>
                </a:tc>
                <a:tc>
                  <a:txBody>
                    <a:bodyPr/>
                    <a:lstStyle/>
                    <a:p>
                      <a:pPr marL="0" marR="0" lvl="0" indent="0" algn="ctr" defTabSz="914400" rtl="0" eaLnBrk="1" fontAlgn="base" latinLnBrk="0" hangingPunct="1">
                        <a:lnSpc>
                          <a:spcPct val="100000"/>
                        </a:lnSpc>
                        <a:spcBef>
                          <a:spcPct val="0"/>
                        </a:spcBef>
                        <a:spcAft>
                          <a:spcPct val="0"/>
                        </a:spcAft>
                        <a:buClr>
                          <a:schemeClr val="bg1"/>
                        </a:buClr>
                        <a:buSzPct val="25000"/>
                        <a:buFont typeface="Times" pitchFamily="18" charset="0"/>
                        <a:buNone/>
                        <a:tabLst/>
                        <a:defRPr/>
                      </a:pPr>
                      <a:r>
                        <a:rPr kumimoji="0" lang="en-US" sz="1050" b="1" i="0" u="none" strike="noStrike" kern="1200" cap="none" normalizeH="0" baseline="0" dirty="0">
                          <a:ln>
                            <a:noFill/>
                          </a:ln>
                          <a:solidFill>
                            <a:schemeClr val="bg1"/>
                          </a:solidFill>
                          <a:effectLst/>
                          <a:latin typeface="Arial" charset="0"/>
                          <a:ea typeface="+mn-ea"/>
                          <a:cs typeface="+mn-cs"/>
                        </a:rPr>
                        <a:t>Comments</a:t>
                      </a:r>
                    </a:p>
                  </a:txBody>
                  <a:tcPr marL="90000" marR="90000" marT="46798" marB="46798"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0067B7"/>
                    </a:solidFill>
                  </a:tcPr>
                </a:tc>
                <a:extLst>
                  <a:ext uri="{0D108BD9-81ED-4DB2-BD59-A6C34878D82A}">
                    <a16:rowId xmlns:a16="http://schemas.microsoft.com/office/drawing/2014/main" val="10000"/>
                  </a:ext>
                </a:extLst>
              </a:tr>
              <a:tr h="463422">
                <a:tc rowSpan="5">
                  <a:txBody>
                    <a:bodyPr/>
                    <a:lstStyle/>
                    <a:p>
                      <a:pPr marL="0" marR="0" lvl="0" indent="0" algn="l" defTabSz="914400" rtl="0" eaLnBrk="1" fontAlgn="base" latinLnBrk="0" hangingPunct="1">
                        <a:lnSpc>
                          <a:spcPct val="93000"/>
                        </a:lnSpc>
                        <a:spcBef>
                          <a:spcPts val="300"/>
                        </a:spcBef>
                        <a:spcAft>
                          <a:spcPct val="0"/>
                        </a:spcAft>
                        <a:buClrTx/>
                        <a:buSzPct val="25000"/>
                        <a:buFontTx/>
                        <a:buNone/>
                        <a:tabLst/>
                        <a:defRPr/>
                      </a:pPr>
                      <a:r>
                        <a:rPr kumimoji="0" lang="es-MX" sz="1000" b="0" i="0" u="none" strike="noStrike" kern="1200" cap="none" normalizeH="0" baseline="0" dirty="0">
                          <a:ln>
                            <a:noFill/>
                          </a:ln>
                          <a:solidFill>
                            <a:schemeClr val="bg2"/>
                          </a:solidFill>
                          <a:effectLst/>
                          <a:latin typeface="Arial" pitchFamily="34" charset="0"/>
                          <a:ea typeface="ＭＳ Ｐゴシック"/>
                          <a:cs typeface="ＭＳ Ｐゴシック"/>
                        </a:rPr>
                        <a:t>Operational</a:t>
                      </a:r>
                    </a:p>
                  </a:txBody>
                  <a:tcPr marL="90000" marR="90000" marT="46843" marB="46843"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93000"/>
                        </a:lnSpc>
                        <a:spcBef>
                          <a:spcPts val="300"/>
                        </a:spcBef>
                        <a:spcAft>
                          <a:spcPct val="0"/>
                        </a:spcAft>
                        <a:buClrTx/>
                        <a:buSzPct val="25000"/>
                        <a:buFontTx/>
                        <a:buNone/>
                        <a:tabLst/>
                        <a:defRPr/>
                      </a:pPr>
                      <a:r>
                        <a:rPr kumimoji="0" lang="es-MX" sz="1000" b="0" i="0" u="none" strike="noStrike" kern="1200" cap="none" normalizeH="0" baseline="0" dirty="0">
                          <a:ln>
                            <a:noFill/>
                          </a:ln>
                          <a:solidFill>
                            <a:schemeClr val="bg2"/>
                          </a:solidFill>
                          <a:effectLst/>
                          <a:latin typeface="Arial" pitchFamily="34" charset="0"/>
                          <a:ea typeface="ＭＳ Ｐゴシック"/>
                          <a:cs typeface="ＭＳ Ｐゴシック"/>
                        </a:rPr>
                        <a:t>Throughput</a:t>
                      </a:r>
                    </a:p>
                  </a:txBody>
                  <a:tcPr marL="90000" marR="90000" marT="46843" marB="46843"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93000"/>
                        </a:lnSpc>
                        <a:spcBef>
                          <a:spcPts val="300"/>
                        </a:spcBef>
                        <a:spcAft>
                          <a:spcPct val="0"/>
                        </a:spcAft>
                        <a:buClrTx/>
                        <a:buSzPct val="25000"/>
                        <a:buFont typeface="Arial" panose="020B0604020202020204" pitchFamily="34" charset="0"/>
                        <a:buNone/>
                        <a:tabLst/>
                      </a:pPr>
                      <a:r>
                        <a:rPr kumimoji="0" lang="es-MX" sz="1000" b="0" i="0" u="none" strike="noStrike" kern="1200" cap="none" normalizeH="0" baseline="0" dirty="0">
                          <a:ln>
                            <a:noFill/>
                          </a:ln>
                          <a:solidFill>
                            <a:schemeClr val="bg2"/>
                          </a:solidFill>
                          <a:effectLst/>
                          <a:latin typeface="Arial" pitchFamily="34" charset="0"/>
                          <a:ea typeface="ＭＳ Ｐゴシック"/>
                          <a:cs typeface="ＭＳ Ｐゴシック"/>
                        </a:rPr>
                        <a:t>+</a:t>
                      </a:r>
                    </a:p>
                  </a:txBody>
                  <a:tcPr marL="90000" marR="90000" marT="46843" marB="46843"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93000"/>
                        </a:lnSpc>
                        <a:spcBef>
                          <a:spcPts val="300"/>
                        </a:spcBef>
                        <a:spcAft>
                          <a:spcPct val="0"/>
                        </a:spcAft>
                        <a:buClrTx/>
                        <a:buSzPct val="100000"/>
                        <a:buFont typeface="Arial" panose="020B0604020202020204" pitchFamily="34" charset="0"/>
                        <a:buNone/>
                        <a:tabLst/>
                      </a:pPr>
                      <a:r>
                        <a:rPr kumimoji="0" lang="es-MX" sz="1000" b="0" i="0" u="none" strike="noStrike" kern="1200" cap="none" normalizeH="0" baseline="0" dirty="0">
                          <a:ln>
                            <a:noFill/>
                          </a:ln>
                          <a:solidFill>
                            <a:schemeClr val="bg2"/>
                          </a:solidFill>
                          <a:effectLst/>
                          <a:latin typeface="Arial" pitchFamily="34" charset="0"/>
                          <a:ea typeface="ＭＳ Ｐゴシック"/>
                          <a:cs typeface="ＭＳ Ｐゴシック"/>
                        </a:rPr>
                        <a:t>+</a:t>
                      </a:r>
                    </a:p>
                  </a:txBody>
                  <a:tcPr marL="90000" marR="90000" marT="46843" marB="46843"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93000"/>
                        </a:lnSpc>
                        <a:spcBef>
                          <a:spcPts val="300"/>
                        </a:spcBef>
                        <a:spcAft>
                          <a:spcPct val="0"/>
                        </a:spcAft>
                        <a:buClrTx/>
                        <a:buSzPct val="100000"/>
                        <a:buFont typeface="Arial" panose="020B0604020202020204" pitchFamily="34" charset="0"/>
                        <a:buNone/>
                        <a:tabLst/>
                      </a:pPr>
                      <a:r>
                        <a:rPr kumimoji="0" lang="es-MX" sz="1000" b="0" i="0" u="none" strike="noStrike" kern="1200" cap="none" normalizeH="0" baseline="0" dirty="0">
                          <a:ln>
                            <a:noFill/>
                          </a:ln>
                          <a:solidFill>
                            <a:schemeClr val="bg2"/>
                          </a:solidFill>
                          <a:effectLst/>
                          <a:latin typeface="Arial" pitchFamily="34" charset="0"/>
                          <a:ea typeface="ＭＳ Ｐゴシック"/>
                          <a:cs typeface="ＭＳ Ｐゴシック"/>
                        </a:rPr>
                        <a:t>+/-</a:t>
                      </a:r>
                    </a:p>
                  </a:txBody>
                  <a:tcPr marL="90000" marR="90000" marT="46843" marB="46843"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93000"/>
                        </a:lnSpc>
                        <a:spcBef>
                          <a:spcPts val="300"/>
                        </a:spcBef>
                        <a:spcAft>
                          <a:spcPct val="0"/>
                        </a:spcAft>
                        <a:buClrTx/>
                        <a:buSzPct val="25000"/>
                        <a:buFontTx/>
                        <a:buNone/>
                        <a:tabLst/>
                        <a:defRPr/>
                      </a:pPr>
                      <a:r>
                        <a:rPr kumimoji="0" lang="en-US" sz="1000" b="0" i="0" u="none" strike="noStrike" kern="1200" cap="none" normalizeH="0" baseline="0" dirty="0">
                          <a:ln>
                            <a:noFill/>
                          </a:ln>
                          <a:solidFill>
                            <a:schemeClr val="bg2"/>
                          </a:solidFill>
                          <a:effectLst/>
                          <a:latin typeface="Arial" pitchFamily="34" charset="0"/>
                          <a:ea typeface="ＭＳ Ｐゴシック"/>
                        </a:rPr>
                        <a:t>The partition performance that can be achieved in the producer depends on configurations such as batch processing size, compression codec, recognition type, replication factor, etc. However, in general,</a:t>
                      </a:r>
                      <a:br>
                        <a:rPr kumimoji="0" lang="en-US" sz="1000" b="0" i="0" u="none" strike="noStrike" kern="1200" cap="none" normalizeH="0" baseline="0" dirty="0">
                          <a:ln>
                            <a:noFill/>
                          </a:ln>
                          <a:solidFill>
                            <a:schemeClr val="bg2"/>
                          </a:solidFill>
                          <a:effectLst/>
                          <a:latin typeface="Arial" pitchFamily="34" charset="0"/>
                          <a:ea typeface="ＭＳ Ｐゴシック"/>
                        </a:rPr>
                      </a:br>
                      <a:r>
                        <a:rPr kumimoji="0" lang="en-US" sz="1000" b="0" i="0" u="none" strike="noStrike" kern="1200" cap="none" normalizeH="0" baseline="0" dirty="0">
                          <a:ln>
                            <a:noFill/>
                          </a:ln>
                          <a:solidFill>
                            <a:schemeClr val="bg2"/>
                          </a:solidFill>
                          <a:effectLst/>
                          <a:latin typeface="Arial" pitchFamily="34" charset="0"/>
                          <a:ea typeface="ＭＳ Ｐゴシック"/>
                        </a:rPr>
                        <a:t>can be produced at 10s of MB / sec with only a single partition as shown in this reference point.</a:t>
                      </a:r>
                      <a:endParaRPr kumimoji="0" lang="en-US" sz="1000" b="0" i="0" u="none" strike="noStrike" kern="1200" cap="none" normalizeH="0" baseline="0" dirty="0">
                        <a:ln>
                          <a:noFill/>
                        </a:ln>
                        <a:solidFill>
                          <a:schemeClr val="bg2"/>
                        </a:solidFill>
                        <a:effectLst/>
                        <a:latin typeface="Arial" pitchFamily="34" charset="0"/>
                        <a:ea typeface="ＭＳ Ｐゴシック"/>
                        <a:cs typeface="+mn-cs"/>
                      </a:endParaRPr>
                    </a:p>
                  </a:txBody>
                  <a:tcPr marL="90000" marR="90000" marT="46843" marB="46843"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758572076"/>
                  </a:ext>
                </a:extLst>
              </a:tr>
              <a:tr h="463422">
                <a:tc vMerge="1">
                  <a:txBody>
                    <a:bodyPr/>
                    <a:lstStyle/>
                    <a:p>
                      <a:pPr marL="0" marR="0" lvl="0" indent="0" algn="l" defTabSz="914400" rtl="0" eaLnBrk="1" fontAlgn="base" latinLnBrk="0" hangingPunct="1">
                        <a:lnSpc>
                          <a:spcPct val="93000"/>
                        </a:lnSpc>
                        <a:spcBef>
                          <a:spcPts val="300"/>
                        </a:spcBef>
                        <a:spcAft>
                          <a:spcPct val="0"/>
                        </a:spcAft>
                        <a:buClrTx/>
                        <a:buSzPct val="25000"/>
                        <a:buFontTx/>
                        <a:buNone/>
                        <a:tabLst/>
                        <a:defRPr/>
                      </a:pPr>
                      <a:endParaRPr kumimoji="0" lang="es-MX" sz="1000" b="0" i="0" u="none" strike="noStrike" kern="1200" cap="none" normalizeH="0" baseline="0" dirty="0">
                        <a:ln>
                          <a:noFill/>
                        </a:ln>
                        <a:solidFill>
                          <a:schemeClr val="bg2"/>
                        </a:solidFill>
                        <a:effectLst/>
                        <a:latin typeface="Arial" pitchFamily="34" charset="0"/>
                        <a:ea typeface="ＭＳ Ｐゴシック"/>
                        <a:cs typeface="ＭＳ Ｐゴシック"/>
                      </a:endParaRPr>
                    </a:p>
                  </a:txBody>
                  <a:tcPr marL="90000" marR="90000" marT="46843" marB="46843"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93000"/>
                        </a:lnSpc>
                        <a:spcBef>
                          <a:spcPts val="300"/>
                        </a:spcBef>
                        <a:spcAft>
                          <a:spcPct val="0"/>
                        </a:spcAft>
                        <a:buClrTx/>
                        <a:buSzPct val="25000"/>
                        <a:buFontTx/>
                        <a:buNone/>
                        <a:tabLst/>
                        <a:defRPr/>
                      </a:pPr>
                      <a:r>
                        <a:rPr kumimoji="0" lang="es-MX" sz="1000" b="0" i="0" u="none" strike="noStrike" kern="1200" cap="none" normalizeH="0" baseline="0" dirty="0">
                          <a:ln>
                            <a:noFill/>
                          </a:ln>
                          <a:solidFill>
                            <a:schemeClr val="bg2"/>
                          </a:solidFill>
                          <a:effectLst/>
                          <a:latin typeface="Arial" pitchFamily="34" charset="0"/>
                          <a:ea typeface="ＭＳ Ｐゴシック"/>
                          <a:cs typeface="ＭＳ Ｐゴシック"/>
                        </a:rPr>
                        <a:t>Manageability</a:t>
                      </a:r>
                    </a:p>
                  </a:txBody>
                  <a:tcPr marL="90000" marR="90000" marT="46843" marB="46843"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93000"/>
                        </a:lnSpc>
                        <a:spcBef>
                          <a:spcPts val="300"/>
                        </a:spcBef>
                        <a:spcAft>
                          <a:spcPct val="0"/>
                        </a:spcAft>
                        <a:buClrTx/>
                        <a:buSzPct val="25000"/>
                        <a:buFont typeface="Arial" panose="020B0604020202020204" pitchFamily="34" charset="0"/>
                        <a:buNone/>
                        <a:tabLst/>
                      </a:pPr>
                      <a:r>
                        <a:rPr kumimoji="0" lang="es-MX" sz="1000" b="0" i="0" u="none" strike="noStrike" kern="1200" cap="none" normalizeH="0" baseline="0" dirty="0">
                          <a:ln>
                            <a:noFill/>
                          </a:ln>
                          <a:solidFill>
                            <a:schemeClr val="bg2"/>
                          </a:solidFill>
                          <a:effectLst/>
                          <a:latin typeface="Arial" pitchFamily="34" charset="0"/>
                          <a:ea typeface="ＭＳ Ｐゴシック"/>
                          <a:cs typeface="ＭＳ Ｐゴシック"/>
                        </a:rPr>
                        <a:t>-</a:t>
                      </a:r>
                    </a:p>
                  </a:txBody>
                  <a:tcPr marL="90000" marR="90000" marT="46843" marB="46843"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93000"/>
                        </a:lnSpc>
                        <a:spcBef>
                          <a:spcPts val="300"/>
                        </a:spcBef>
                        <a:spcAft>
                          <a:spcPct val="0"/>
                        </a:spcAft>
                        <a:buClrTx/>
                        <a:buSzPct val="100000"/>
                        <a:buFont typeface="Arial" panose="020B0604020202020204" pitchFamily="34" charset="0"/>
                        <a:buNone/>
                        <a:tabLst/>
                      </a:pPr>
                      <a:r>
                        <a:rPr kumimoji="0" lang="es-MX" sz="1000" b="0" i="0" u="none" strike="noStrike" kern="1200" cap="none" normalizeH="0" baseline="0" dirty="0">
                          <a:ln>
                            <a:noFill/>
                          </a:ln>
                          <a:solidFill>
                            <a:schemeClr val="bg2"/>
                          </a:solidFill>
                          <a:effectLst/>
                          <a:latin typeface="Arial" pitchFamily="34" charset="0"/>
                          <a:ea typeface="ＭＳ Ｐゴシック"/>
                          <a:cs typeface="ＭＳ Ｐゴシック"/>
                        </a:rPr>
                        <a:t>-</a:t>
                      </a:r>
                    </a:p>
                  </a:txBody>
                  <a:tcPr marL="90000" marR="90000" marT="46843" marB="46843"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93000"/>
                        </a:lnSpc>
                        <a:spcBef>
                          <a:spcPts val="300"/>
                        </a:spcBef>
                        <a:spcAft>
                          <a:spcPct val="0"/>
                        </a:spcAft>
                        <a:buClrTx/>
                        <a:buSzPct val="100000"/>
                        <a:buFont typeface="Arial" panose="020B0604020202020204" pitchFamily="34" charset="0"/>
                        <a:buNone/>
                        <a:tabLst/>
                      </a:pPr>
                      <a:r>
                        <a:rPr kumimoji="0" lang="es-MX" sz="1000" b="0" i="0" u="none" strike="noStrike" kern="1200" cap="none" normalizeH="0" baseline="0" dirty="0">
                          <a:ln>
                            <a:noFill/>
                          </a:ln>
                          <a:solidFill>
                            <a:schemeClr val="bg2"/>
                          </a:solidFill>
                          <a:effectLst/>
                          <a:latin typeface="Arial" pitchFamily="34" charset="0"/>
                          <a:ea typeface="ＭＳ Ｐゴシック"/>
                          <a:cs typeface="ＭＳ Ｐゴシック"/>
                        </a:rPr>
                        <a:t>-</a:t>
                      </a:r>
                    </a:p>
                  </a:txBody>
                  <a:tcPr marL="90000" marR="90000" marT="46843" marB="46843"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93000"/>
                        </a:lnSpc>
                        <a:spcBef>
                          <a:spcPts val="300"/>
                        </a:spcBef>
                        <a:spcAft>
                          <a:spcPct val="0"/>
                        </a:spcAft>
                        <a:buClrTx/>
                        <a:buSzPct val="25000"/>
                        <a:buFontTx/>
                        <a:buNone/>
                        <a:tabLst/>
                        <a:defRPr/>
                      </a:pPr>
                      <a:r>
                        <a:rPr kumimoji="0" lang="en-US" sz="1000" b="0" i="0" u="none" strike="noStrike" kern="1200" cap="none" normalizeH="0" baseline="0" dirty="0">
                          <a:ln>
                            <a:noFill/>
                          </a:ln>
                          <a:solidFill>
                            <a:schemeClr val="bg2"/>
                          </a:solidFill>
                          <a:effectLst/>
                          <a:latin typeface="Arial" pitchFamily="34" charset="0"/>
                          <a:ea typeface="ＭＳ Ｐゴシック"/>
                          <a:cs typeface="+mn-cs"/>
                        </a:rPr>
                        <a:t>Since it is a microservice architecture where your client projects micro-front, in order that the Event Hub is self-service, and with this it is possible to reduce the dependence on manual processes.</a:t>
                      </a:r>
                    </a:p>
                  </a:txBody>
                  <a:tcPr marL="90000" marR="90000" marT="46843" marB="46843"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469488408"/>
                  </a:ext>
                </a:extLst>
              </a:tr>
              <a:tr h="463422">
                <a:tc vMerge="1">
                  <a:txBody>
                    <a:bodyPr/>
                    <a:lstStyle/>
                    <a:p>
                      <a:pPr marL="0" marR="0" lvl="0" indent="0" algn="l" defTabSz="914400" rtl="0" eaLnBrk="1" fontAlgn="base" latinLnBrk="0" hangingPunct="1">
                        <a:lnSpc>
                          <a:spcPct val="93000"/>
                        </a:lnSpc>
                        <a:spcBef>
                          <a:spcPts val="300"/>
                        </a:spcBef>
                        <a:spcAft>
                          <a:spcPct val="0"/>
                        </a:spcAft>
                        <a:buClrTx/>
                        <a:buSzPct val="25000"/>
                        <a:buFontTx/>
                        <a:buNone/>
                        <a:tabLst/>
                        <a:defRPr/>
                      </a:pPr>
                      <a:endParaRPr kumimoji="0" lang="es-MX" sz="1000" b="0" i="0" u="none" strike="noStrike" kern="1200" cap="none" normalizeH="0" baseline="0" dirty="0">
                        <a:ln>
                          <a:noFill/>
                        </a:ln>
                        <a:solidFill>
                          <a:schemeClr val="bg2"/>
                        </a:solidFill>
                        <a:effectLst/>
                        <a:latin typeface="Arial" pitchFamily="34" charset="0"/>
                        <a:ea typeface="ＭＳ Ｐゴシック"/>
                        <a:cs typeface="ＭＳ Ｐゴシック"/>
                      </a:endParaRPr>
                    </a:p>
                  </a:txBody>
                  <a:tcPr marL="90000" marR="90000" marT="46843" marB="46843"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93000"/>
                        </a:lnSpc>
                        <a:spcBef>
                          <a:spcPts val="300"/>
                        </a:spcBef>
                        <a:spcAft>
                          <a:spcPct val="0"/>
                        </a:spcAft>
                        <a:buClrTx/>
                        <a:buSzPct val="25000"/>
                        <a:buFontTx/>
                        <a:buNone/>
                        <a:tabLst/>
                        <a:defRPr/>
                      </a:pPr>
                      <a:r>
                        <a:rPr kumimoji="0" lang="es-MX" sz="1000" b="0" i="0" u="none" strike="noStrike" kern="1200" cap="none" normalizeH="0" baseline="0" dirty="0">
                          <a:ln>
                            <a:noFill/>
                          </a:ln>
                          <a:solidFill>
                            <a:schemeClr val="bg2"/>
                          </a:solidFill>
                          <a:effectLst/>
                          <a:latin typeface="Arial" pitchFamily="34" charset="0"/>
                          <a:ea typeface="ＭＳ Ｐゴシック"/>
                          <a:cs typeface="ＭＳ Ｐゴシック"/>
                        </a:rPr>
                        <a:t>Security</a:t>
                      </a:r>
                    </a:p>
                  </a:txBody>
                  <a:tcPr marL="90000" marR="90000" marT="46843" marB="46843"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93000"/>
                        </a:lnSpc>
                        <a:spcBef>
                          <a:spcPts val="300"/>
                        </a:spcBef>
                        <a:spcAft>
                          <a:spcPct val="0"/>
                        </a:spcAft>
                        <a:buClrTx/>
                        <a:buSzPct val="25000"/>
                        <a:buFont typeface="Arial" panose="020B0604020202020204" pitchFamily="34" charset="0"/>
                        <a:buNone/>
                        <a:tabLst/>
                      </a:pPr>
                      <a:r>
                        <a:rPr kumimoji="0" lang="es-MX" sz="1000" b="0" i="0" u="none" strike="noStrike" kern="1200" cap="none" normalizeH="0" baseline="0" dirty="0">
                          <a:ln>
                            <a:noFill/>
                          </a:ln>
                          <a:solidFill>
                            <a:schemeClr val="bg2"/>
                          </a:solidFill>
                          <a:effectLst/>
                          <a:latin typeface="Arial" pitchFamily="34" charset="0"/>
                          <a:ea typeface="ＭＳ Ｐゴシック"/>
                          <a:cs typeface="ＭＳ Ｐゴシック"/>
                        </a:rPr>
                        <a:t>+</a:t>
                      </a:r>
                    </a:p>
                  </a:txBody>
                  <a:tcPr marL="90000" marR="90000" marT="46843" marB="46843"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93000"/>
                        </a:lnSpc>
                        <a:spcBef>
                          <a:spcPts val="300"/>
                        </a:spcBef>
                        <a:spcAft>
                          <a:spcPct val="0"/>
                        </a:spcAft>
                        <a:buClrTx/>
                        <a:buSzPct val="100000"/>
                        <a:buFont typeface="Arial" panose="020B0604020202020204" pitchFamily="34" charset="0"/>
                        <a:buNone/>
                        <a:tabLst/>
                      </a:pPr>
                      <a:r>
                        <a:rPr kumimoji="0" lang="es-MX" sz="1000" b="0" i="0" u="none" strike="noStrike" kern="1200" cap="none" normalizeH="0" baseline="0" dirty="0">
                          <a:ln>
                            <a:noFill/>
                          </a:ln>
                          <a:solidFill>
                            <a:schemeClr val="bg2"/>
                          </a:solidFill>
                          <a:effectLst/>
                          <a:latin typeface="Arial" pitchFamily="34" charset="0"/>
                          <a:ea typeface="ＭＳ Ｐゴシック"/>
                          <a:cs typeface="ＭＳ Ｐゴシック"/>
                        </a:rPr>
                        <a:t>+</a:t>
                      </a:r>
                    </a:p>
                  </a:txBody>
                  <a:tcPr marL="90000" marR="90000" marT="46843" marB="46843"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93000"/>
                        </a:lnSpc>
                        <a:spcBef>
                          <a:spcPts val="300"/>
                        </a:spcBef>
                        <a:spcAft>
                          <a:spcPct val="0"/>
                        </a:spcAft>
                        <a:buClrTx/>
                        <a:buSzPct val="100000"/>
                        <a:buFont typeface="Arial" panose="020B0604020202020204" pitchFamily="34" charset="0"/>
                        <a:buNone/>
                        <a:tabLst/>
                      </a:pPr>
                      <a:r>
                        <a:rPr kumimoji="0" lang="es-MX" sz="1000" b="0" i="0" u="none" strike="noStrike" kern="1200" cap="none" normalizeH="0" baseline="0" dirty="0">
                          <a:ln>
                            <a:noFill/>
                          </a:ln>
                          <a:solidFill>
                            <a:schemeClr val="bg2"/>
                          </a:solidFill>
                          <a:effectLst/>
                          <a:latin typeface="Arial" pitchFamily="34" charset="0"/>
                          <a:ea typeface="ＭＳ Ｐゴシック"/>
                          <a:cs typeface="ＭＳ Ｐゴシック"/>
                        </a:rPr>
                        <a:t>+</a:t>
                      </a:r>
                    </a:p>
                  </a:txBody>
                  <a:tcPr marL="90000" marR="90000" marT="46843" marB="46843"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93000"/>
                        </a:lnSpc>
                        <a:spcBef>
                          <a:spcPts val="300"/>
                        </a:spcBef>
                        <a:spcAft>
                          <a:spcPct val="0"/>
                        </a:spcAft>
                        <a:buClrTx/>
                        <a:buSzPct val="25000"/>
                        <a:buFontTx/>
                        <a:buNone/>
                        <a:tabLst/>
                        <a:defRPr/>
                      </a:pPr>
                      <a:r>
                        <a:rPr kumimoji="0" lang="en-US" sz="1000" b="0" i="0" u="none" strike="noStrike" kern="1200" cap="none" normalizeH="0" baseline="0" dirty="0">
                          <a:ln>
                            <a:noFill/>
                          </a:ln>
                          <a:solidFill>
                            <a:schemeClr val="bg2"/>
                          </a:solidFill>
                          <a:effectLst/>
                          <a:latin typeface="Arial" pitchFamily="34" charset="0"/>
                          <a:ea typeface="ＭＳ Ｐゴシック"/>
                          <a:cs typeface="+mn-cs"/>
                        </a:rPr>
                        <a:t>The use of SSL and Kerberos in the Kafka Cluster, Sprig Security for microservices and / or encryption / decryption algorithms (MD5, Sha1, Sha256) and masking for the data that so require.</a:t>
                      </a:r>
                    </a:p>
                  </a:txBody>
                  <a:tcPr marL="90000" marR="90000" marT="46843" marB="46843"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3032476495"/>
                  </a:ext>
                </a:extLst>
              </a:tr>
              <a:tr h="463422">
                <a:tc vMerge="1">
                  <a:txBody>
                    <a:bodyPr/>
                    <a:lstStyle/>
                    <a:p>
                      <a:pPr marL="0" marR="0" lvl="0" indent="0" algn="l" defTabSz="914400" rtl="0" eaLnBrk="1" fontAlgn="base" latinLnBrk="0" hangingPunct="1">
                        <a:lnSpc>
                          <a:spcPct val="93000"/>
                        </a:lnSpc>
                        <a:spcBef>
                          <a:spcPts val="300"/>
                        </a:spcBef>
                        <a:spcAft>
                          <a:spcPct val="0"/>
                        </a:spcAft>
                        <a:buClrTx/>
                        <a:buSzPct val="25000"/>
                        <a:buFontTx/>
                        <a:buNone/>
                        <a:tabLst/>
                        <a:defRPr/>
                      </a:pPr>
                      <a:endParaRPr kumimoji="0" lang="es-MX" sz="1000" b="0" i="0" u="none" strike="noStrike" kern="1200" cap="none" normalizeH="0" baseline="0" dirty="0">
                        <a:ln>
                          <a:noFill/>
                        </a:ln>
                        <a:solidFill>
                          <a:schemeClr val="bg2"/>
                        </a:solidFill>
                        <a:effectLst/>
                        <a:latin typeface="Arial" pitchFamily="34" charset="0"/>
                        <a:ea typeface="ＭＳ Ｐゴシック"/>
                        <a:cs typeface="ＭＳ Ｐゴシック"/>
                      </a:endParaRPr>
                    </a:p>
                  </a:txBody>
                  <a:tcPr marL="90000" marR="90000" marT="46843" marB="46843"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93000"/>
                        </a:lnSpc>
                        <a:spcBef>
                          <a:spcPts val="300"/>
                        </a:spcBef>
                        <a:spcAft>
                          <a:spcPct val="0"/>
                        </a:spcAft>
                        <a:buClrTx/>
                        <a:buSzPct val="25000"/>
                        <a:buFontTx/>
                        <a:buNone/>
                        <a:tabLst/>
                        <a:defRPr/>
                      </a:pPr>
                      <a:r>
                        <a:rPr kumimoji="0" lang="es-MX" sz="1000" b="0" i="0" u="none" strike="noStrike" kern="1200" cap="none" normalizeH="0" baseline="0" dirty="0">
                          <a:ln>
                            <a:noFill/>
                          </a:ln>
                          <a:solidFill>
                            <a:schemeClr val="bg2"/>
                          </a:solidFill>
                          <a:effectLst/>
                          <a:latin typeface="Arial" pitchFamily="34" charset="0"/>
                          <a:ea typeface="ＭＳ Ｐゴシック"/>
                          <a:cs typeface="ＭＳ Ｐゴシック"/>
                        </a:rPr>
                        <a:t>Serviceability</a:t>
                      </a:r>
                    </a:p>
                  </a:txBody>
                  <a:tcPr marL="90000" marR="90000" marT="46843" marB="46843"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93000"/>
                        </a:lnSpc>
                        <a:spcBef>
                          <a:spcPts val="300"/>
                        </a:spcBef>
                        <a:spcAft>
                          <a:spcPct val="0"/>
                        </a:spcAft>
                        <a:buClrTx/>
                        <a:buSzPct val="25000"/>
                        <a:buFont typeface="Arial" panose="020B0604020202020204" pitchFamily="34" charset="0"/>
                        <a:buNone/>
                        <a:tabLst/>
                      </a:pPr>
                      <a:r>
                        <a:rPr kumimoji="0" lang="es-MX" sz="1000" b="0" i="0" u="none" strike="noStrike" kern="1200" cap="none" normalizeH="0" baseline="0" dirty="0">
                          <a:ln>
                            <a:noFill/>
                          </a:ln>
                          <a:solidFill>
                            <a:schemeClr val="bg2"/>
                          </a:solidFill>
                          <a:effectLst/>
                          <a:latin typeface="Arial" pitchFamily="34" charset="0"/>
                          <a:ea typeface="ＭＳ Ｐゴシック"/>
                          <a:cs typeface="ＭＳ Ｐゴシック"/>
                        </a:rPr>
                        <a:t>-</a:t>
                      </a:r>
                    </a:p>
                  </a:txBody>
                  <a:tcPr marL="90000" marR="90000" marT="46843" marB="46843"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93000"/>
                        </a:lnSpc>
                        <a:spcBef>
                          <a:spcPts val="300"/>
                        </a:spcBef>
                        <a:spcAft>
                          <a:spcPct val="0"/>
                        </a:spcAft>
                        <a:buClrTx/>
                        <a:buSzPct val="100000"/>
                        <a:buFont typeface="Arial" panose="020B0604020202020204" pitchFamily="34" charset="0"/>
                        <a:buNone/>
                        <a:tabLst/>
                      </a:pPr>
                      <a:r>
                        <a:rPr kumimoji="0" lang="es-MX" sz="1000" b="0" i="0" u="none" strike="noStrike" kern="1200" cap="none" normalizeH="0" baseline="0" dirty="0">
                          <a:ln>
                            <a:noFill/>
                          </a:ln>
                          <a:solidFill>
                            <a:schemeClr val="bg2"/>
                          </a:solidFill>
                          <a:effectLst/>
                          <a:latin typeface="Arial" pitchFamily="34" charset="0"/>
                          <a:ea typeface="ＭＳ Ｐゴシック"/>
                          <a:cs typeface="ＭＳ Ｐゴシック"/>
                        </a:rPr>
                        <a:t>-</a:t>
                      </a:r>
                    </a:p>
                  </a:txBody>
                  <a:tcPr marL="90000" marR="90000" marT="46843" marB="46843"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93000"/>
                        </a:lnSpc>
                        <a:spcBef>
                          <a:spcPts val="300"/>
                        </a:spcBef>
                        <a:spcAft>
                          <a:spcPct val="0"/>
                        </a:spcAft>
                        <a:buClrTx/>
                        <a:buSzPct val="100000"/>
                        <a:buFont typeface="Arial" panose="020B0604020202020204" pitchFamily="34" charset="0"/>
                        <a:buNone/>
                        <a:tabLst/>
                      </a:pPr>
                      <a:r>
                        <a:rPr kumimoji="0" lang="es-MX" sz="1000" b="0" i="0" u="none" strike="noStrike" kern="1200" cap="none" normalizeH="0" baseline="0" dirty="0">
                          <a:ln>
                            <a:noFill/>
                          </a:ln>
                          <a:solidFill>
                            <a:schemeClr val="bg2"/>
                          </a:solidFill>
                          <a:effectLst/>
                          <a:latin typeface="Arial" pitchFamily="34" charset="0"/>
                          <a:ea typeface="ＭＳ Ｐゴシック"/>
                          <a:cs typeface="ＭＳ Ｐゴシック"/>
                        </a:rPr>
                        <a:t>-</a:t>
                      </a:r>
                    </a:p>
                  </a:txBody>
                  <a:tcPr marL="90000" marR="90000" marT="46843" marB="46843"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93000"/>
                        </a:lnSpc>
                        <a:spcBef>
                          <a:spcPts val="300"/>
                        </a:spcBef>
                        <a:spcAft>
                          <a:spcPct val="0"/>
                        </a:spcAft>
                        <a:buClrTx/>
                        <a:buSzPct val="100000"/>
                        <a:buFont typeface="Arial" panose="020B0604020202020204" pitchFamily="34" charset="0"/>
                        <a:buNone/>
                        <a:tabLst/>
                      </a:pPr>
                      <a:r>
                        <a:rPr kumimoji="0" lang="en-US" sz="1100" b="0" i="0" u="none" strike="noStrike" kern="1200" cap="none" normalizeH="0" baseline="0" dirty="0">
                          <a:ln>
                            <a:noFill/>
                          </a:ln>
                          <a:solidFill>
                            <a:schemeClr val="bg2"/>
                          </a:solidFill>
                          <a:effectLst/>
                          <a:latin typeface="Arial" pitchFamily="34" charset="0"/>
                          <a:ea typeface="ＭＳ Ｐゴシック"/>
                          <a:cs typeface="+mn-cs"/>
                        </a:rPr>
                        <a:t>The measure of this capacity is reduced because the use of IC / CD tools is contemplated in order to shorten times for setting in different environments.</a:t>
                      </a:r>
                    </a:p>
                  </a:txBody>
                  <a:tcPr marL="90000" marR="90000" marT="46843" marB="46843"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4103266945"/>
                  </a:ext>
                </a:extLst>
              </a:tr>
              <a:tr h="463422">
                <a:tc vMerge="1">
                  <a:txBody>
                    <a:bodyPr/>
                    <a:lstStyle/>
                    <a:p>
                      <a:pPr marL="0" marR="0" lvl="0" indent="0" algn="l" defTabSz="914400" rtl="0" eaLnBrk="1" fontAlgn="base" latinLnBrk="0" hangingPunct="1">
                        <a:lnSpc>
                          <a:spcPct val="93000"/>
                        </a:lnSpc>
                        <a:spcBef>
                          <a:spcPts val="300"/>
                        </a:spcBef>
                        <a:spcAft>
                          <a:spcPct val="0"/>
                        </a:spcAft>
                        <a:buClrTx/>
                        <a:buSzPct val="25000"/>
                        <a:buFontTx/>
                        <a:buNone/>
                        <a:tabLst/>
                        <a:defRPr/>
                      </a:pPr>
                      <a:endParaRPr kumimoji="0" lang="es-MX" sz="1000" b="0" i="0" u="none" strike="noStrike" kern="1200" cap="none" normalizeH="0" baseline="0" dirty="0">
                        <a:ln>
                          <a:noFill/>
                        </a:ln>
                        <a:solidFill>
                          <a:schemeClr val="bg2"/>
                        </a:solidFill>
                        <a:effectLst/>
                        <a:latin typeface="Arial" pitchFamily="34" charset="0"/>
                        <a:ea typeface="ＭＳ Ｐゴシック"/>
                        <a:cs typeface="ＭＳ Ｐゴシック"/>
                      </a:endParaRPr>
                    </a:p>
                  </a:txBody>
                  <a:tcPr marL="90000" marR="90000" marT="46843" marB="46843"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93000"/>
                        </a:lnSpc>
                        <a:spcBef>
                          <a:spcPts val="300"/>
                        </a:spcBef>
                        <a:spcAft>
                          <a:spcPct val="0"/>
                        </a:spcAft>
                        <a:buClrTx/>
                        <a:buSzPct val="25000"/>
                        <a:buFontTx/>
                        <a:buNone/>
                        <a:tabLst/>
                        <a:defRPr/>
                      </a:pPr>
                      <a:r>
                        <a:rPr kumimoji="0" lang="es-MX" sz="1000" b="0" i="0" u="none" strike="noStrike" kern="1200" cap="none" normalizeH="0" baseline="0" dirty="0">
                          <a:ln>
                            <a:noFill/>
                          </a:ln>
                          <a:solidFill>
                            <a:schemeClr val="bg2"/>
                          </a:solidFill>
                          <a:effectLst/>
                          <a:latin typeface="Arial" pitchFamily="34" charset="0"/>
                          <a:ea typeface="ＭＳ Ｐゴシック"/>
                          <a:cs typeface="ＭＳ Ｐゴシック"/>
                        </a:rPr>
                        <a:t>Testability</a:t>
                      </a:r>
                    </a:p>
                  </a:txBody>
                  <a:tcPr marL="90000" marR="90000" marT="46843" marB="46843"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93000"/>
                        </a:lnSpc>
                        <a:spcBef>
                          <a:spcPts val="300"/>
                        </a:spcBef>
                        <a:spcAft>
                          <a:spcPct val="0"/>
                        </a:spcAft>
                        <a:buClrTx/>
                        <a:buSzPct val="25000"/>
                        <a:buFont typeface="Arial" panose="020B0604020202020204" pitchFamily="34" charset="0"/>
                        <a:buNone/>
                        <a:tabLst/>
                      </a:pPr>
                      <a:r>
                        <a:rPr kumimoji="0" lang="es-MX" sz="1000" b="0" i="0" u="none" strike="noStrike" kern="1200" cap="none" normalizeH="0" baseline="0" dirty="0">
                          <a:ln>
                            <a:noFill/>
                          </a:ln>
                          <a:solidFill>
                            <a:schemeClr val="bg2"/>
                          </a:solidFill>
                          <a:effectLst/>
                          <a:latin typeface="Arial" pitchFamily="34" charset="0"/>
                          <a:ea typeface="ＭＳ Ｐゴシック"/>
                          <a:cs typeface="ＭＳ Ｐゴシック"/>
                        </a:rPr>
                        <a:t>+</a:t>
                      </a:r>
                    </a:p>
                  </a:txBody>
                  <a:tcPr marL="90000" marR="90000" marT="46843" marB="46843"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93000"/>
                        </a:lnSpc>
                        <a:spcBef>
                          <a:spcPts val="300"/>
                        </a:spcBef>
                        <a:spcAft>
                          <a:spcPct val="0"/>
                        </a:spcAft>
                        <a:buClrTx/>
                        <a:buSzPct val="100000"/>
                        <a:buFont typeface="Arial" panose="020B0604020202020204" pitchFamily="34" charset="0"/>
                        <a:buNone/>
                        <a:tabLst/>
                      </a:pPr>
                      <a:r>
                        <a:rPr kumimoji="0" lang="es-MX" sz="1000" b="0" i="0" u="none" strike="noStrike" kern="1200" cap="none" normalizeH="0" baseline="0" dirty="0">
                          <a:ln>
                            <a:noFill/>
                          </a:ln>
                          <a:solidFill>
                            <a:schemeClr val="bg2"/>
                          </a:solidFill>
                          <a:effectLst/>
                          <a:latin typeface="Arial" pitchFamily="34" charset="0"/>
                          <a:ea typeface="ＭＳ Ｐゴシック"/>
                          <a:cs typeface="ＭＳ Ｐゴシック"/>
                        </a:rPr>
                        <a:t>+</a:t>
                      </a:r>
                    </a:p>
                  </a:txBody>
                  <a:tcPr marL="90000" marR="90000" marT="46843" marB="46843"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93000"/>
                        </a:lnSpc>
                        <a:spcBef>
                          <a:spcPts val="300"/>
                        </a:spcBef>
                        <a:spcAft>
                          <a:spcPct val="0"/>
                        </a:spcAft>
                        <a:buClrTx/>
                        <a:buSzPct val="100000"/>
                        <a:buFont typeface="Arial" panose="020B0604020202020204" pitchFamily="34" charset="0"/>
                        <a:buNone/>
                        <a:tabLst/>
                      </a:pPr>
                      <a:r>
                        <a:rPr kumimoji="0" lang="es-MX" sz="1000" b="0" i="0" u="none" strike="noStrike" kern="1200" cap="none" normalizeH="0" baseline="0" dirty="0">
                          <a:ln>
                            <a:noFill/>
                          </a:ln>
                          <a:solidFill>
                            <a:schemeClr val="bg2"/>
                          </a:solidFill>
                          <a:effectLst/>
                          <a:latin typeface="Arial" pitchFamily="34" charset="0"/>
                          <a:ea typeface="ＭＳ Ｐゴシック"/>
                          <a:cs typeface="ＭＳ Ｐゴシック"/>
                        </a:rPr>
                        <a:t>+</a:t>
                      </a:r>
                    </a:p>
                  </a:txBody>
                  <a:tcPr marL="90000" marR="90000" marT="46843" marB="46843"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93000"/>
                        </a:lnSpc>
                        <a:spcBef>
                          <a:spcPts val="300"/>
                        </a:spcBef>
                        <a:spcAft>
                          <a:spcPct val="0"/>
                        </a:spcAft>
                        <a:buClrTx/>
                        <a:buSzPct val="100000"/>
                        <a:buFont typeface="Arial" panose="020B0604020202020204" pitchFamily="34" charset="0"/>
                        <a:buNone/>
                        <a:tabLst/>
                      </a:pPr>
                      <a:r>
                        <a:rPr kumimoji="0" lang="en-US" sz="1100" b="0" i="0" u="none" strike="noStrike" kern="1200" cap="none" normalizeH="0" baseline="0" dirty="0">
                          <a:ln>
                            <a:noFill/>
                          </a:ln>
                          <a:solidFill>
                            <a:schemeClr val="bg2"/>
                          </a:solidFill>
                          <a:effectLst/>
                          <a:latin typeface="Arial" pitchFamily="34" charset="0"/>
                          <a:ea typeface="ＭＳ Ｐゴシック"/>
                          <a:cs typeface="+mn-cs"/>
                        </a:rPr>
                        <a:t>Validate the message and send any defective event to a topic dedicated to Kafka called invalid messages</a:t>
                      </a:r>
                    </a:p>
                  </a:txBody>
                  <a:tcPr marL="90000" marR="90000" marT="46843" marB="46843"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4254771966"/>
                  </a:ext>
                </a:extLst>
              </a:tr>
              <a:tr h="463422">
                <a:tc>
                  <a:txBody>
                    <a:bodyPr/>
                    <a:lstStyle/>
                    <a:p>
                      <a:pPr marL="0" marR="0" lvl="0" indent="0" algn="l" defTabSz="914400" rtl="0" eaLnBrk="1" fontAlgn="base" latinLnBrk="0" hangingPunct="1">
                        <a:lnSpc>
                          <a:spcPct val="93000"/>
                        </a:lnSpc>
                        <a:spcBef>
                          <a:spcPts val="300"/>
                        </a:spcBef>
                        <a:spcAft>
                          <a:spcPct val="0"/>
                        </a:spcAft>
                        <a:buClrTx/>
                        <a:buSzPct val="25000"/>
                        <a:buFontTx/>
                        <a:buNone/>
                        <a:tabLst/>
                        <a:defRPr/>
                      </a:pPr>
                      <a:r>
                        <a:rPr kumimoji="0" lang="es-MX" sz="1000" b="0" i="0" u="none" strike="noStrike" kern="1200" cap="none" normalizeH="0" baseline="0" dirty="0">
                          <a:ln>
                            <a:noFill/>
                          </a:ln>
                          <a:solidFill>
                            <a:schemeClr val="bg2"/>
                          </a:solidFill>
                          <a:effectLst/>
                          <a:latin typeface="Arial" pitchFamily="34" charset="0"/>
                          <a:ea typeface="ＭＳ Ｐゴシック"/>
                          <a:cs typeface="ＭＳ Ｐゴシック"/>
                        </a:rPr>
                        <a:t>Developmental</a:t>
                      </a:r>
                    </a:p>
                  </a:txBody>
                  <a:tcPr marL="90000" marR="90000" marT="46843" marB="46843"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93000"/>
                        </a:lnSpc>
                        <a:spcBef>
                          <a:spcPts val="300"/>
                        </a:spcBef>
                        <a:spcAft>
                          <a:spcPct val="0"/>
                        </a:spcAft>
                        <a:buClrTx/>
                        <a:buSzPct val="25000"/>
                        <a:buFontTx/>
                        <a:buNone/>
                        <a:tabLst/>
                        <a:defRPr/>
                      </a:pPr>
                      <a:r>
                        <a:rPr kumimoji="0" lang="es-MX" sz="1000" b="0" i="0" u="none" strike="noStrike" kern="1200" cap="none" normalizeH="0" baseline="0" dirty="0">
                          <a:ln>
                            <a:noFill/>
                          </a:ln>
                          <a:solidFill>
                            <a:schemeClr val="bg2"/>
                          </a:solidFill>
                          <a:effectLst/>
                          <a:latin typeface="Arial" pitchFamily="34" charset="0"/>
                          <a:ea typeface="ＭＳ Ｐゴシック"/>
                          <a:cs typeface="ＭＳ Ｐゴシック"/>
                        </a:rPr>
                        <a:t>Realizability </a:t>
                      </a:r>
                    </a:p>
                  </a:txBody>
                  <a:tcPr marL="90000" marR="90000" marT="46843" marB="46843"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93000"/>
                        </a:lnSpc>
                        <a:spcBef>
                          <a:spcPts val="300"/>
                        </a:spcBef>
                        <a:spcAft>
                          <a:spcPct val="0"/>
                        </a:spcAft>
                        <a:buClrTx/>
                        <a:buSzPct val="25000"/>
                        <a:buFont typeface="Arial" panose="020B0604020202020204" pitchFamily="34" charset="0"/>
                        <a:buNone/>
                        <a:tabLst/>
                      </a:pPr>
                      <a:r>
                        <a:rPr kumimoji="0" lang="es-MX" sz="1000" b="0" i="0" u="none" strike="noStrike" kern="1200" cap="none" normalizeH="0" baseline="0" dirty="0">
                          <a:ln>
                            <a:noFill/>
                          </a:ln>
                          <a:solidFill>
                            <a:schemeClr val="bg2"/>
                          </a:solidFill>
                          <a:effectLst/>
                          <a:latin typeface="Arial" pitchFamily="34" charset="0"/>
                          <a:ea typeface="ＭＳ Ｐゴシック"/>
                          <a:cs typeface="ＭＳ Ｐゴシック"/>
                        </a:rPr>
                        <a:t>+</a:t>
                      </a:r>
                    </a:p>
                  </a:txBody>
                  <a:tcPr marL="90000" marR="90000" marT="46843" marB="46843"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93000"/>
                        </a:lnSpc>
                        <a:spcBef>
                          <a:spcPts val="300"/>
                        </a:spcBef>
                        <a:spcAft>
                          <a:spcPct val="0"/>
                        </a:spcAft>
                        <a:buClrTx/>
                        <a:buSzPct val="100000"/>
                        <a:buFont typeface="Arial" panose="020B0604020202020204" pitchFamily="34" charset="0"/>
                        <a:buNone/>
                        <a:tabLst/>
                      </a:pPr>
                      <a:r>
                        <a:rPr kumimoji="0" lang="es-MX" sz="1000" b="0" i="0" u="none" strike="noStrike" kern="1200" cap="none" normalizeH="0" baseline="0" dirty="0">
                          <a:ln>
                            <a:noFill/>
                          </a:ln>
                          <a:solidFill>
                            <a:schemeClr val="bg2"/>
                          </a:solidFill>
                          <a:effectLst/>
                          <a:latin typeface="Arial" pitchFamily="34" charset="0"/>
                          <a:ea typeface="ＭＳ Ｐゴシック"/>
                          <a:cs typeface="ＭＳ Ｐゴシック"/>
                        </a:rPr>
                        <a:t>+</a:t>
                      </a:r>
                    </a:p>
                  </a:txBody>
                  <a:tcPr marL="90000" marR="90000" marT="46843" marB="46843"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93000"/>
                        </a:lnSpc>
                        <a:spcBef>
                          <a:spcPts val="300"/>
                        </a:spcBef>
                        <a:spcAft>
                          <a:spcPct val="0"/>
                        </a:spcAft>
                        <a:buClrTx/>
                        <a:buSzPct val="100000"/>
                        <a:buFont typeface="Arial" panose="020B0604020202020204" pitchFamily="34" charset="0"/>
                        <a:buNone/>
                        <a:tabLst/>
                      </a:pPr>
                      <a:r>
                        <a:rPr kumimoji="0" lang="es-MX" sz="1000" b="0" i="0" u="none" strike="noStrike" kern="1200" cap="none" normalizeH="0" baseline="0" dirty="0">
                          <a:ln>
                            <a:noFill/>
                          </a:ln>
                          <a:solidFill>
                            <a:schemeClr val="bg2"/>
                          </a:solidFill>
                          <a:effectLst/>
                          <a:latin typeface="Arial" pitchFamily="34" charset="0"/>
                          <a:ea typeface="ＭＳ Ｐゴシック"/>
                          <a:cs typeface="ＭＳ Ｐゴシック"/>
                        </a:rPr>
                        <a:t>+</a:t>
                      </a:r>
                    </a:p>
                  </a:txBody>
                  <a:tcPr marL="90000" marR="90000" marT="46843" marB="46843"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93000"/>
                        </a:lnSpc>
                        <a:spcBef>
                          <a:spcPts val="300"/>
                        </a:spcBef>
                        <a:spcAft>
                          <a:spcPct val="0"/>
                        </a:spcAft>
                        <a:buClrTx/>
                        <a:buSzPct val="100000"/>
                        <a:buFont typeface="Arial" panose="020B0604020202020204" pitchFamily="34" charset="0"/>
                        <a:buNone/>
                        <a:tabLst/>
                        <a:defRPr/>
                      </a:pPr>
                      <a:r>
                        <a:rPr kumimoji="0" lang="en-US" sz="1050" b="0" i="0" u="none" strike="noStrike" kern="1200" cap="none" normalizeH="0" baseline="0" dirty="0">
                          <a:ln>
                            <a:noFill/>
                          </a:ln>
                          <a:solidFill>
                            <a:schemeClr val="bg2"/>
                          </a:solidFill>
                          <a:effectLst/>
                          <a:latin typeface="Arial" pitchFamily="34" charset="0"/>
                          <a:ea typeface="ＭＳ Ｐゴシック"/>
                          <a:cs typeface="+mn-cs"/>
                        </a:rPr>
                        <a:t>The measure of this capacity is reduced because the use of IC / CD tools is contemplated in order to shorten times for setting in different environments.</a:t>
                      </a:r>
                    </a:p>
                  </a:txBody>
                  <a:tcPr marL="90000" marR="90000" marT="46843" marB="46843"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289588188"/>
                  </a:ext>
                </a:extLst>
              </a:tr>
            </a:tbl>
          </a:graphicData>
        </a:graphic>
      </p:graphicFrame>
      <p:sp>
        <p:nvSpPr>
          <p:cNvPr id="46" name="TextBox 45">
            <a:extLst>
              <a:ext uri="{FF2B5EF4-FFF2-40B4-BE49-F238E27FC236}">
                <a16:creationId xmlns:a16="http://schemas.microsoft.com/office/drawing/2014/main" id="{D02E660C-001D-3749-BC36-8067DE891A1F}"/>
              </a:ext>
            </a:extLst>
          </p:cNvPr>
          <p:cNvSpPr txBox="1"/>
          <p:nvPr/>
        </p:nvSpPr>
        <p:spPr>
          <a:xfrm>
            <a:off x="602943" y="880404"/>
            <a:ext cx="10437589" cy="905033"/>
          </a:xfrm>
          <a:prstGeom prst="rect">
            <a:avLst/>
          </a:prstGeom>
          <a:noFill/>
        </p:spPr>
        <p:txBody>
          <a:bodyPr wrap="square" tIns="90000" bIns="90000" rtlCol="0" anchor="t">
            <a:spAutoFit/>
          </a:bodyPr>
          <a:lstStyle/>
          <a:p>
            <a:r>
              <a:rPr lang="en-US" sz="1100" dirty="0">
                <a:solidFill>
                  <a:srgbClr val="C5277F"/>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Capacity: </a:t>
            </a:r>
            <a:r>
              <a:rPr lang="en-US" sz="1100" dirty="0">
                <a:solidFill>
                  <a:srgbClr val="0067B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The dimension of raw power in an element. Capacity is increased through vertical scaling and is sometimes referred to as height.</a:t>
            </a:r>
          </a:p>
          <a:p>
            <a:r>
              <a:rPr lang="en-US" sz="1100" dirty="0">
                <a:solidFill>
                  <a:srgbClr val="C5277F"/>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Redundancy: </a:t>
            </a:r>
            <a:r>
              <a:rPr lang="en-US" sz="1100" dirty="0">
                <a:solidFill>
                  <a:srgbClr val="0067B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The dimension in which multiple systems work on the same job. Redundancy is increased through horizontal scaling and is also known as width</a:t>
            </a:r>
          </a:p>
          <a:p>
            <a:r>
              <a:rPr lang="en-US" sz="1100" dirty="0">
                <a:solidFill>
                  <a:srgbClr val="C5277F"/>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Modularity: </a:t>
            </a:r>
            <a:r>
              <a:rPr lang="en-US" sz="1100" dirty="0">
                <a:solidFill>
                  <a:srgbClr val="0067B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the dimension into which a system divides into separate elements and disseminates those elements into multiple computer systems</a:t>
            </a:r>
          </a:p>
          <a:p>
            <a:endParaRPr lang="en-US" sz="1400" dirty="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endParaRPr>
          </a:p>
        </p:txBody>
      </p:sp>
      <p:sp>
        <p:nvSpPr>
          <p:cNvPr id="3" name="TextBox 2">
            <a:extLst>
              <a:ext uri="{FF2B5EF4-FFF2-40B4-BE49-F238E27FC236}">
                <a16:creationId xmlns:a16="http://schemas.microsoft.com/office/drawing/2014/main" id="{8FC8CCFE-9D9A-8B40-BB76-E80610B38BC7}"/>
              </a:ext>
            </a:extLst>
          </p:cNvPr>
          <p:cNvSpPr txBox="1"/>
          <p:nvPr/>
        </p:nvSpPr>
        <p:spPr>
          <a:xfrm>
            <a:off x="237835" y="2700867"/>
            <a:ext cx="184731" cy="397201"/>
          </a:xfrm>
          <a:prstGeom prst="rect">
            <a:avLst/>
          </a:prstGeom>
          <a:noFill/>
        </p:spPr>
        <p:txBody>
          <a:bodyPr wrap="none" tIns="90000" bIns="90000" rtlCol="0" anchor="t">
            <a:spAutoFit/>
          </a:bodyPr>
          <a:lstStyle/>
          <a:p>
            <a:pPr algn="ctr"/>
            <a:endParaRPr lang="en-US" sz="1400" dirty="0" err="1">
              <a:solidFill>
                <a:srgbClr val="002D72"/>
              </a:solidFill>
              <a:latin typeface="Arial" pitchFamily="34" charset="0"/>
              <a:cs typeface="Arial" pitchFamily="34" charset="0"/>
            </a:endParaRPr>
          </a:p>
        </p:txBody>
      </p:sp>
      <p:sp>
        <p:nvSpPr>
          <p:cNvPr id="7" name="Google Shape;61;p12">
            <a:extLst>
              <a:ext uri="{FF2B5EF4-FFF2-40B4-BE49-F238E27FC236}">
                <a16:creationId xmlns:a16="http://schemas.microsoft.com/office/drawing/2014/main" id="{099CA364-62A2-814A-86C6-B3054AA3CED9}"/>
              </a:ext>
            </a:extLst>
          </p:cNvPr>
          <p:cNvSpPr txBox="1">
            <a:spLocks/>
          </p:cNvSpPr>
          <p:nvPr/>
        </p:nvSpPr>
        <p:spPr>
          <a:xfrm>
            <a:off x="3575044" y="5480950"/>
            <a:ext cx="4493385" cy="275128"/>
          </a:xfrm>
          <a:prstGeom prst="rect">
            <a:avLst/>
          </a:prstGeom>
        </p:spPr>
        <p:txBody>
          <a:bodyPr spcFirstLastPara="1" vert="horz" wrap="square" lIns="91425" tIns="91425" rIns="91425" bIns="91425" rtlCol="0" anchor="ctr"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spcBef>
                <a:spcPts val="0"/>
              </a:spcBef>
            </a:pPr>
            <a:r>
              <a:rPr lang="en-US" sz="1000" b="1"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Table 1-1 shows the impact of these three dimensions on systemic qualities</a:t>
            </a:r>
            <a:r>
              <a:rPr lang="en-US" sz="1000" b="1" dirty="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a:t>
            </a:r>
          </a:p>
        </p:txBody>
      </p:sp>
    </p:spTree>
    <p:extLst>
      <p:ext uri="{BB962C8B-B14F-4D97-AF65-F5344CB8AC3E}">
        <p14:creationId xmlns:p14="http://schemas.microsoft.com/office/powerpoint/2010/main" val="3026535120"/>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ounded Rectangle 3">
            <a:extLst>
              <a:ext uri="{FF2B5EF4-FFF2-40B4-BE49-F238E27FC236}">
                <a16:creationId xmlns:a16="http://schemas.microsoft.com/office/drawing/2014/main" id="{FDE55D67-97F5-094D-A6E0-2916B97871E5}"/>
              </a:ext>
            </a:extLst>
          </p:cNvPr>
          <p:cNvSpPr/>
          <p:nvPr/>
        </p:nvSpPr>
        <p:spPr>
          <a:xfrm>
            <a:off x="1163737" y="2004637"/>
            <a:ext cx="1286877" cy="557658"/>
          </a:xfrm>
          <a:prstGeom prst="roundRect">
            <a:avLst/>
          </a:prstGeom>
          <a:solidFill>
            <a:srgbClr val="4093BE">
              <a:alpha val="47000"/>
            </a:srgbClr>
          </a:solidFill>
          <a:ln w="6350">
            <a:solidFill>
              <a:schemeClr val="bg1">
                <a:alpha val="53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r>
              <a:rPr lang="en-US" dirty="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Code</a:t>
            </a:r>
          </a:p>
        </p:txBody>
      </p:sp>
      <p:sp>
        <p:nvSpPr>
          <p:cNvPr id="5" name="Rounded Rectangle 4">
            <a:extLst>
              <a:ext uri="{FF2B5EF4-FFF2-40B4-BE49-F238E27FC236}">
                <a16:creationId xmlns:a16="http://schemas.microsoft.com/office/drawing/2014/main" id="{23272163-4D5F-0340-9FE5-6F29C74CA330}"/>
              </a:ext>
            </a:extLst>
          </p:cNvPr>
          <p:cNvSpPr/>
          <p:nvPr/>
        </p:nvSpPr>
        <p:spPr>
          <a:xfrm>
            <a:off x="2642017" y="2004637"/>
            <a:ext cx="1286877" cy="557658"/>
          </a:xfrm>
          <a:prstGeom prst="roundRect">
            <a:avLst/>
          </a:prstGeom>
          <a:solidFill>
            <a:srgbClr val="4093BE">
              <a:alpha val="47000"/>
            </a:srgbClr>
          </a:solidFill>
          <a:ln w="6350">
            <a:solidFill>
              <a:schemeClr val="bg1">
                <a:alpha val="53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r>
              <a:rPr lang="en-US" dirty="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Build</a:t>
            </a:r>
          </a:p>
        </p:txBody>
      </p:sp>
      <p:sp>
        <p:nvSpPr>
          <p:cNvPr id="6" name="Rounded Rectangle 5">
            <a:extLst>
              <a:ext uri="{FF2B5EF4-FFF2-40B4-BE49-F238E27FC236}">
                <a16:creationId xmlns:a16="http://schemas.microsoft.com/office/drawing/2014/main" id="{EEEF2EDC-554C-2B4D-AEBD-A39EA2E45936}"/>
              </a:ext>
            </a:extLst>
          </p:cNvPr>
          <p:cNvSpPr/>
          <p:nvPr/>
        </p:nvSpPr>
        <p:spPr>
          <a:xfrm>
            <a:off x="4074577" y="2004637"/>
            <a:ext cx="1286877" cy="557658"/>
          </a:xfrm>
          <a:prstGeom prst="roundRect">
            <a:avLst/>
          </a:prstGeom>
          <a:solidFill>
            <a:srgbClr val="4093BE">
              <a:alpha val="47000"/>
            </a:srgbClr>
          </a:solidFill>
          <a:ln w="6350">
            <a:solidFill>
              <a:schemeClr val="bg1">
                <a:alpha val="53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r>
              <a:rPr lang="en-US" dirty="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Integrate</a:t>
            </a:r>
          </a:p>
        </p:txBody>
      </p:sp>
      <p:sp>
        <p:nvSpPr>
          <p:cNvPr id="7" name="Rounded Rectangle 6">
            <a:extLst>
              <a:ext uri="{FF2B5EF4-FFF2-40B4-BE49-F238E27FC236}">
                <a16:creationId xmlns:a16="http://schemas.microsoft.com/office/drawing/2014/main" id="{54746F67-840B-D044-B994-01DF7648A914}"/>
              </a:ext>
            </a:extLst>
          </p:cNvPr>
          <p:cNvSpPr/>
          <p:nvPr/>
        </p:nvSpPr>
        <p:spPr>
          <a:xfrm>
            <a:off x="5552857" y="2004637"/>
            <a:ext cx="1286877" cy="557658"/>
          </a:xfrm>
          <a:prstGeom prst="roundRect">
            <a:avLst/>
          </a:prstGeom>
          <a:solidFill>
            <a:srgbClr val="4093BE">
              <a:alpha val="47000"/>
            </a:srgbClr>
          </a:solidFill>
          <a:ln w="6350">
            <a:solidFill>
              <a:schemeClr val="bg1">
                <a:alpha val="53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r>
              <a:rPr lang="en-US" dirty="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Test</a:t>
            </a:r>
          </a:p>
        </p:txBody>
      </p:sp>
      <p:sp>
        <p:nvSpPr>
          <p:cNvPr id="8" name="Rounded Rectangle 7">
            <a:extLst>
              <a:ext uri="{FF2B5EF4-FFF2-40B4-BE49-F238E27FC236}">
                <a16:creationId xmlns:a16="http://schemas.microsoft.com/office/drawing/2014/main" id="{6DE27AB1-6330-5E40-A539-89EBAAF3FEC6}"/>
              </a:ext>
            </a:extLst>
          </p:cNvPr>
          <p:cNvSpPr/>
          <p:nvPr/>
        </p:nvSpPr>
        <p:spPr>
          <a:xfrm>
            <a:off x="7031137" y="2004637"/>
            <a:ext cx="1286877" cy="557658"/>
          </a:xfrm>
          <a:prstGeom prst="roundRect">
            <a:avLst/>
          </a:prstGeom>
          <a:solidFill>
            <a:srgbClr val="4093BE">
              <a:alpha val="47000"/>
            </a:srgbClr>
          </a:solidFill>
          <a:ln w="6350">
            <a:solidFill>
              <a:schemeClr val="bg1">
                <a:alpha val="53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r>
              <a:rPr lang="en-US" dirty="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Release</a:t>
            </a:r>
          </a:p>
        </p:txBody>
      </p:sp>
      <p:sp>
        <p:nvSpPr>
          <p:cNvPr id="9" name="Rounded Rectangle 8">
            <a:extLst>
              <a:ext uri="{FF2B5EF4-FFF2-40B4-BE49-F238E27FC236}">
                <a16:creationId xmlns:a16="http://schemas.microsoft.com/office/drawing/2014/main" id="{CB66F471-579A-C54C-8C0F-1AC977F266CE}"/>
              </a:ext>
            </a:extLst>
          </p:cNvPr>
          <p:cNvSpPr/>
          <p:nvPr/>
        </p:nvSpPr>
        <p:spPr>
          <a:xfrm>
            <a:off x="8509417" y="2004637"/>
            <a:ext cx="1286877" cy="557658"/>
          </a:xfrm>
          <a:prstGeom prst="roundRect">
            <a:avLst/>
          </a:prstGeom>
          <a:solidFill>
            <a:srgbClr val="4093BE">
              <a:alpha val="47000"/>
            </a:srgbClr>
          </a:solidFill>
          <a:ln w="6350">
            <a:solidFill>
              <a:schemeClr val="bg1">
                <a:alpha val="53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r>
              <a:rPr lang="en-US" dirty="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Deploy</a:t>
            </a:r>
          </a:p>
        </p:txBody>
      </p:sp>
      <p:grpSp>
        <p:nvGrpSpPr>
          <p:cNvPr id="2" name="Group 1">
            <a:extLst>
              <a:ext uri="{FF2B5EF4-FFF2-40B4-BE49-F238E27FC236}">
                <a16:creationId xmlns:a16="http://schemas.microsoft.com/office/drawing/2014/main" id="{7566641E-7DE1-A841-9BCB-F8FAD659F3FE}"/>
              </a:ext>
            </a:extLst>
          </p:cNvPr>
          <p:cNvGrpSpPr/>
          <p:nvPr/>
        </p:nvGrpSpPr>
        <p:grpSpPr>
          <a:xfrm>
            <a:off x="1163738" y="4860193"/>
            <a:ext cx="8632556" cy="287618"/>
            <a:chOff x="1163737" y="2088103"/>
            <a:chExt cx="8678277" cy="287618"/>
          </a:xfrm>
        </p:grpSpPr>
        <p:sp>
          <p:nvSpPr>
            <p:cNvPr id="10" name="Right Arrow 9">
              <a:extLst>
                <a:ext uri="{FF2B5EF4-FFF2-40B4-BE49-F238E27FC236}">
                  <a16:creationId xmlns:a16="http://schemas.microsoft.com/office/drawing/2014/main" id="{4C2537B7-D378-4848-A35D-B9B62D42AFFC}"/>
                </a:ext>
              </a:extLst>
            </p:cNvPr>
            <p:cNvSpPr/>
            <p:nvPr/>
          </p:nvSpPr>
          <p:spPr>
            <a:xfrm>
              <a:off x="1300964" y="2100959"/>
              <a:ext cx="8541050" cy="259380"/>
            </a:xfrm>
            <a:prstGeom prst="rightArrow">
              <a:avLst/>
            </a:prstGeom>
            <a:solidFill>
              <a:srgbClr val="4093BE">
                <a:alpha val="47000"/>
              </a:srgbClr>
            </a:solidFill>
            <a:ln w="6350">
              <a:solidFill>
                <a:schemeClr val="bg1">
                  <a:alpha val="53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solidFill>
                  <a:schemeClr val="accent1">
                    <a:lumMod val="75000"/>
                  </a:schemeClr>
                </a:solidFill>
                <a:latin typeface="Nanum Brush Script" panose="03060600000000000000" pitchFamily="66" charset="-127"/>
                <a:ea typeface="Nanum Brush Script" panose="03060600000000000000" pitchFamily="66" charset="-127"/>
              </a:endParaRPr>
            </a:p>
          </p:txBody>
        </p:sp>
        <p:sp>
          <p:nvSpPr>
            <p:cNvPr id="11" name="Left Arrow 10">
              <a:extLst>
                <a:ext uri="{FF2B5EF4-FFF2-40B4-BE49-F238E27FC236}">
                  <a16:creationId xmlns:a16="http://schemas.microsoft.com/office/drawing/2014/main" id="{00E1D785-B10B-9C4D-B4C6-6F32635A183D}"/>
                </a:ext>
              </a:extLst>
            </p:cNvPr>
            <p:cNvSpPr/>
            <p:nvPr/>
          </p:nvSpPr>
          <p:spPr>
            <a:xfrm>
              <a:off x="1163737" y="2088103"/>
              <a:ext cx="8541050" cy="287618"/>
            </a:xfrm>
            <a:prstGeom prst="leftArrow">
              <a:avLst>
                <a:gd name="adj1" fmla="val 50000"/>
                <a:gd name="adj2" fmla="val 54125"/>
              </a:avLst>
            </a:prstGeom>
            <a:solidFill>
              <a:srgbClr val="4093BE">
                <a:alpha val="47000"/>
              </a:srgbClr>
            </a:solidFill>
            <a:ln w="6350">
              <a:solidFill>
                <a:schemeClr val="bg1">
                  <a:alpha val="53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1" dirty="0">
                <a:solidFill>
                  <a:srgbClr val="325DA6"/>
                </a:solidFill>
                <a:latin typeface="Nanum Pen Script" panose="03040600000000000000" pitchFamily="66" charset="-127"/>
                <a:ea typeface="Nanum Pen Script" panose="03040600000000000000" pitchFamily="66" charset="-127"/>
              </a:endParaRPr>
            </a:p>
          </p:txBody>
        </p:sp>
      </p:grpSp>
      <p:grpSp>
        <p:nvGrpSpPr>
          <p:cNvPr id="13" name="Group 12">
            <a:extLst>
              <a:ext uri="{FF2B5EF4-FFF2-40B4-BE49-F238E27FC236}">
                <a16:creationId xmlns:a16="http://schemas.microsoft.com/office/drawing/2014/main" id="{841ADDCC-C61E-9543-89E8-71E6E2C93CDA}"/>
              </a:ext>
            </a:extLst>
          </p:cNvPr>
          <p:cNvGrpSpPr/>
          <p:nvPr/>
        </p:nvGrpSpPr>
        <p:grpSpPr>
          <a:xfrm>
            <a:off x="1163737" y="2977347"/>
            <a:ext cx="2765158" cy="287618"/>
            <a:chOff x="1163735" y="2088103"/>
            <a:chExt cx="8678279" cy="287618"/>
          </a:xfrm>
        </p:grpSpPr>
        <p:sp>
          <p:nvSpPr>
            <p:cNvPr id="14" name="Right Arrow 13">
              <a:extLst>
                <a:ext uri="{FF2B5EF4-FFF2-40B4-BE49-F238E27FC236}">
                  <a16:creationId xmlns:a16="http://schemas.microsoft.com/office/drawing/2014/main" id="{050E1637-7CE6-B04E-BE96-2EB8810EE604}"/>
                </a:ext>
              </a:extLst>
            </p:cNvPr>
            <p:cNvSpPr/>
            <p:nvPr/>
          </p:nvSpPr>
          <p:spPr>
            <a:xfrm>
              <a:off x="1594414" y="2100959"/>
              <a:ext cx="8247600" cy="259380"/>
            </a:xfrm>
            <a:prstGeom prst="rightArrow">
              <a:avLst/>
            </a:prstGeom>
            <a:solidFill>
              <a:srgbClr val="4093BE">
                <a:alpha val="47000"/>
              </a:srgbClr>
            </a:solidFill>
            <a:ln w="6350">
              <a:solidFill>
                <a:schemeClr val="bg1">
                  <a:alpha val="53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solidFill>
                  <a:schemeClr val="accent1">
                    <a:lumMod val="75000"/>
                  </a:schemeClr>
                </a:solidFill>
                <a:latin typeface="Nanum Brush Script" panose="03060600000000000000" pitchFamily="66" charset="-127"/>
                <a:ea typeface="Nanum Brush Script" panose="03060600000000000000" pitchFamily="66" charset="-127"/>
              </a:endParaRPr>
            </a:p>
          </p:txBody>
        </p:sp>
        <p:sp>
          <p:nvSpPr>
            <p:cNvPr id="15" name="Left Arrow 14">
              <a:extLst>
                <a:ext uri="{FF2B5EF4-FFF2-40B4-BE49-F238E27FC236}">
                  <a16:creationId xmlns:a16="http://schemas.microsoft.com/office/drawing/2014/main" id="{6D3270A9-E49B-9843-82B0-C1D1E26A5A6C}"/>
                </a:ext>
              </a:extLst>
            </p:cNvPr>
            <p:cNvSpPr/>
            <p:nvPr/>
          </p:nvSpPr>
          <p:spPr>
            <a:xfrm>
              <a:off x="1163735" y="2088103"/>
              <a:ext cx="8247600" cy="287618"/>
            </a:xfrm>
            <a:prstGeom prst="leftArrow">
              <a:avLst>
                <a:gd name="adj1" fmla="val 50000"/>
                <a:gd name="adj2" fmla="val 54125"/>
              </a:avLst>
            </a:prstGeom>
            <a:solidFill>
              <a:srgbClr val="4093BE">
                <a:alpha val="47000"/>
              </a:srgbClr>
            </a:solidFill>
            <a:ln w="6350">
              <a:solidFill>
                <a:schemeClr val="bg1">
                  <a:alpha val="53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1" dirty="0">
                <a:solidFill>
                  <a:srgbClr val="325DA6"/>
                </a:solidFill>
                <a:latin typeface="Nanum Pen Script" panose="03040600000000000000" pitchFamily="66" charset="-127"/>
                <a:ea typeface="Nanum Pen Script" panose="03040600000000000000" pitchFamily="66" charset="-127"/>
              </a:endParaRPr>
            </a:p>
          </p:txBody>
        </p:sp>
      </p:grpSp>
      <p:sp>
        <p:nvSpPr>
          <p:cNvPr id="16" name="Rectangle 15">
            <a:extLst>
              <a:ext uri="{FF2B5EF4-FFF2-40B4-BE49-F238E27FC236}">
                <a16:creationId xmlns:a16="http://schemas.microsoft.com/office/drawing/2014/main" id="{7EC907C9-C298-1D4C-87EA-9B4CC3AB5942}"/>
              </a:ext>
            </a:extLst>
          </p:cNvPr>
          <p:cNvSpPr/>
          <p:nvPr/>
        </p:nvSpPr>
        <p:spPr>
          <a:xfrm>
            <a:off x="2398828" y="2728190"/>
            <a:ext cx="1392217" cy="3291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r>
              <a:rPr lang="en-US" sz="1400" dirty="0">
                <a:solidFill>
                  <a:srgbClr val="035DA2"/>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Agile Development</a:t>
            </a:r>
          </a:p>
        </p:txBody>
      </p:sp>
      <p:cxnSp>
        <p:nvCxnSpPr>
          <p:cNvPr id="17" name="Straight Connector 16">
            <a:extLst>
              <a:ext uri="{FF2B5EF4-FFF2-40B4-BE49-F238E27FC236}">
                <a16:creationId xmlns:a16="http://schemas.microsoft.com/office/drawing/2014/main" id="{34CC6294-BB38-BE45-A2F2-BC09E6363907}"/>
              </a:ext>
            </a:extLst>
          </p:cNvPr>
          <p:cNvCxnSpPr>
            <a:cxnSpLocks/>
          </p:cNvCxnSpPr>
          <p:nvPr/>
        </p:nvCxnSpPr>
        <p:spPr>
          <a:xfrm flipV="1">
            <a:off x="3997711" y="2004637"/>
            <a:ext cx="0" cy="989136"/>
          </a:xfrm>
          <a:prstGeom prst="line">
            <a:avLst/>
          </a:prstGeom>
          <a:ln>
            <a:solidFill>
              <a:srgbClr val="035DA2">
                <a:alpha val="50000"/>
              </a:srgbClr>
            </a:solidFill>
            <a:prstDash val="dash"/>
            <a:head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AC036B06-7A94-9647-AD60-8B490892CB3B}"/>
              </a:ext>
            </a:extLst>
          </p:cNvPr>
          <p:cNvCxnSpPr>
            <a:cxnSpLocks/>
          </p:cNvCxnSpPr>
          <p:nvPr/>
        </p:nvCxnSpPr>
        <p:spPr>
          <a:xfrm flipV="1">
            <a:off x="6937241" y="2015965"/>
            <a:ext cx="0" cy="1650440"/>
          </a:xfrm>
          <a:prstGeom prst="line">
            <a:avLst/>
          </a:prstGeom>
          <a:ln>
            <a:solidFill>
              <a:srgbClr val="035DA2">
                <a:alpha val="50000"/>
              </a:srgbClr>
            </a:solidFill>
            <a:prstDash val="dash"/>
            <a:headEnd type="none"/>
          </a:ln>
        </p:spPr>
        <p:style>
          <a:lnRef idx="1">
            <a:schemeClr val="accent1"/>
          </a:lnRef>
          <a:fillRef idx="0">
            <a:schemeClr val="accent1"/>
          </a:fillRef>
          <a:effectRef idx="0">
            <a:schemeClr val="accent1"/>
          </a:effectRef>
          <a:fontRef idx="minor">
            <a:schemeClr val="tx1"/>
          </a:fontRef>
        </p:style>
      </p:cxnSp>
      <p:grpSp>
        <p:nvGrpSpPr>
          <p:cNvPr id="20" name="Group 19">
            <a:extLst>
              <a:ext uri="{FF2B5EF4-FFF2-40B4-BE49-F238E27FC236}">
                <a16:creationId xmlns:a16="http://schemas.microsoft.com/office/drawing/2014/main" id="{84D2EC38-441F-4145-A42E-894190D9258A}"/>
              </a:ext>
            </a:extLst>
          </p:cNvPr>
          <p:cNvGrpSpPr/>
          <p:nvPr/>
        </p:nvGrpSpPr>
        <p:grpSpPr>
          <a:xfrm>
            <a:off x="1163734" y="3520289"/>
            <a:ext cx="5675999" cy="287618"/>
            <a:chOff x="1163734" y="2626924"/>
            <a:chExt cx="5773498" cy="287618"/>
          </a:xfrm>
        </p:grpSpPr>
        <p:sp>
          <p:nvSpPr>
            <p:cNvPr id="23" name="Right Arrow 22">
              <a:extLst>
                <a:ext uri="{FF2B5EF4-FFF2-40B4-BE49-F238E27FC236}">
                  <a16:creationId xmlns:a16="http://schemas.microsoft.com/office/drawing/2014/main" id="{2AF6A4BF-ACB5-C94B-AE1A-24421A4F60C5}"/>
                </a:ext>
              </a:extLst>
            </p:cNvPr>
            <p:cNvSpPr/>
            <p:nvPr/>
          </p:nvSpPr>
          <p:spPr>
            <a:xfrm>
              <a:off x="1300964" y="2639780"/>
              <a:ext cx="5636268" cy="259380"/>
            </a:xfrm>
            <a:prstGeom prst="rightArrow">
              <a:avLst/>
            </a:prstGeom>
            <a:solidFill>
              <a:srgbClr val="4093BE">
                <a:alpha val="47000"/>
              </a:srgbClr>
            </a:solidFill>
            <a:ln w="6350">
              <a:solidFill>
                <a:schemeClr val="bg1">
                  <a:alpha val="53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solidFill>
                  <a:schemeClr val="accent1">
                    <a:lumMod val="75000"/>
                  </a:schemeClr>
                </a:solidFill>
                <a:latin typeface="Nanum Brush Script" panose="03060600000000000000" pitchFamily="66" charset="-127"/>
                <a:ea typeface="Nanum Brush Script" panose="03060600000000000000" pitchFamily="66" charset="-127"/>
              </a:endParaRPr>
            </a:p>
          </p:txBody>
        </p:sp>
        <p:sp>
          <p:nvSpPr>
            <p:cNvPr id="24" name="Left Arrow 23">
              <a:extLst>
                <a:ext uri="{FF2B5EF4-FFF2-40B4-BE49-F238E27FC236}">
                  <a16:creationId xmlns:a16="http://schemas.microsoft.com/office/drawing/2014/main" id="{15574526-3B7E-3E4C-BDD1-7C04042937EE}"/>
                </a:ext>
              </a:extLst>
            </p:cNvPr>
            <p:cNvSpPr/>
            <p:nvPr/>
          </p:nvSpPr>
          <p:spPr>
            <a:xfrm>
              <a:off x="1163734" y="2626924"/>
              <a:ext cx="5636262" cy="287618"/>
            </a:xfrm>
            <a:prstGeom prst="leftArrow">
              <a:avLst>
                <a:gd name="adj1" fmla="val 50000"/>
                <a:gd name="adj2" fmla="val 54125"/>
              </a:avLst>
            </a:prstGeom>
            <a:solidFill>
              <a:srgbClr val="4093BE">
                <a:alpha val="47000"/>
              </a:srgbClr>
            </a:solidFill>
            <a:ln w="6350">
              <a:solidFill>
                <a:schemeClr val="bg1">
                  <a:alpha val="53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1" dirty="0">
                <a:solidFill>
                  <a:srgbClr val="325DA6"/>
                </a:solidFill>
                <a:latin typeface="Nanum Pen Script" panose="03040600000000000000" pitchFamily="66" charset="-127"/>
                <a:ea typeface="Nanum Pen Script" panose="03040600000000000000" pitchFamily="66" charset="-127"/>
              </a:endParaRPr>
            </a:p>
          </p:txBody>
        </p:sp>
      </p:grpSp>
      <p:cxnSp>
        <p:nvCxnSpPr>
          <p:cNvPr id="28" name="Straight Connector 27">
            <a:extLst>
              <a:ext uri="{FF2B5EF4-FFF2-40B4-BE49-F238E27FC236}">
                <a16:creationId xmlns:a16="http://schemas.microsoft.com/office/drawing/2014/main" id="{51A92AD2-A74A-6947-8851-3794A22AE65A}"/>
              </a:ext>
            </a:extLst>
          </p:cNvPr>
          <p:cNvCxnSpPr>
            <a:cxnSpLocks/>
          </p:cNvCxnSpPr>
          <p:nvPr/>
        </p:nvCxnSpPr>
        <p:spPr>
          <a:xfrm flipV="1">
            <a:off x="8403435" y="2031347"/>
            <a:ext cx="0" cy="2304687"/>
          </a:xfrm>
          <a:prstGeom prst="line">
            <a:avLst/>
          </a:prstGeom>
          <a:ln>
            <a:solidFill>
              <a:srgbClr val="035DA2">
                <a:alpha val="50000"/>
              </a:srgbClr>
            </a:solidFill>
            <a:prstDash val="dash"/>
            <a:headEnd type="none"/>
          </a:ln>
        </p:spPr>
        <p:style>
          <a:lnRef idx="1">
            <a:schemeClr val="accent1"/>
          </a:lnRef>
          <a:fillRef idx="0">
            <a:schemeClr val="accent1"/>
          </a:fillRef>
          <a:effectRef idx="0">
            <a:schemeClr val="accent1"/>
          </a:effectRef>
          <a:fontRef idx="minor">
            <a:schemeClr val="tx1"/>
          </a:fontRef>
        </p:style>
      </p:cxnSp>
      <p:sp>
        <p:nvSpPr>
          <p:cNvPr id="29" name="Rectangle 28">
            <a:extLst>
              <a:ext uri="{FF2B5EF4-FFF2-40B4-BE49-F238E27FC236}">
                <a16:creationId xmlns:a16="http://schemas.microsoft.com/office/drawing/2014/main" id="{F9D6D701-45FD-1245-983F-D7E098E8A0EF}"/>
              </a:ext>
            </a:extLst>
          </p:cNvPr>
          <p:cNvSpPr/>
          <p:nvPr/>
        </p:nvSpPr>
        <p:spPr>
          <a:xfrm>
            <a:off x="4718014" y="3260808"/>
            <a:ext cx="2051828" cy="3291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r>
              <a:rPr lang="en-US" sz="1400" dirty="0">
                <a:solidFill>
                  <a:srgbClr val="035DA2"/>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Continuous Integration </a:t>
            </a:r>
          </a:p>
        </p:txBody>
      </p:sp>
      <p:grpSp>
        <p:nvGrpSpPr>
          <p:cNvPr id="30" name="Group 29">
            <a:extLst>
              <a:ext uri="{FF2B5EF4-FFF2-40B4-BE49-F238E27FC236}">
                <a16:creationId xmlns:a16="http://schemas.microsoft.com/office/drawing/2014/main" id="{75AE039C-714D-6A46-B172-A07C9E558A01}"/>
              </a:ext>
            </a:extLst>
          </p:cNvPr>
          <p:cNvGrpSpPr/>
          <p:nvPr/>
        </p:nvGrpSpPr>
        <p:grpSpPr>
          <a:xfrm>
            <a:off x="1159711" y="4147686"/>
            <a:ext cx="7158299" cy="314468"/>
            <a:chOff x="1163734" y="2608677"/>
            <a:chExt cx="5773498" cy="314468"/>
          </a:xfrm>
        </p:grpSpPr>
        <p:sp>
          <p:nvSpPr>
            <p:cNvPr id="31" name="Right Arrow 30">
              <a:extLst>
                <a:ext uri="{FF2B5EF4-FFF2-40B4-BE49-F238E27FC236}">
                  <a16:creationId xmlns:a16="http://schemas.microsoft.com/office/drawing/2014/main" id="{FEC86664-3F57-E349-99C2-068A7F3C2AF6}"/>
                </a:ext>
              </a:extLst>
            </p:cNvPr>
            <p:cNvSpPr/>
            <p:nvPr/>
          </p:nvSpPr>
          <p:spPr>
            <a:xfrm>
              <a:off x="1300964" y="2608677"/>
              <a:ext cx="5636268" cy="314468"/>
            </a:xfrm>
            <a:prstGeom prst="rightArrow">
              <a:avLst/>
            </a:prstGeom>
            <a:solidFill>
              <a:srgbClr val="4093BE">
                <a:alpha val="47000"/>
              </a:srgbClr>
            </a:solidFill>
            <a:ln w="6350">
              <a:solidFill>
                <a:schemeClr val="bg1">
                  <a:alpha val="53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solidFill>
                  <a:schemeClr val="accent1">
                    <a:lumMod val="75000"/>
                  </a:schemeClr>
                </a:solidFill>
                <a:latin typeface="Nanum Brush Script" panose="03060600000000000000" pitchFamily="66" charset="-127"/>
                <a:ea typeface="Nanum Brush Script" panose="03060600000000000000" pitchFamily="66" charset="-127"/>
              </a:endParaRPr>
            </a:p>
          </p:txBody>
        </p:sp>
        <p:sp>
          <p:nvSpPr>
            <p:cNvPr id="32" name="Left Arrow 31">
              <a:extLst>
                <a:ext uri="{FF2B5EF4-FFF2-40B4-BE49-F238E27FC236}">
                  <a16:creationId xmlns:a16="http://schemas.microsoft.com/office/drawing/2014/main" id="{BA71B447-63F7-E346-95F4-34B882E6F4C6}"/>
                </a:ext>
              </a:extLst>
            </p:cNvPr>
            <p:cNvSpPr/>
            <p:nvPr/>
          </p:nvSpPr>
          <p:spPr>
            <a:xfrm>
              <a:off x="1163734" y="2626924"/>
              <a:ext cx="5636262" cy="287618"/>
            </a:xfrm>
            <a:prstGeom prst="leftArrow">
              <a:avLst>
                <a:gd name="adj1" fmla="val 50000"/>
                <a:gd name="adj2" fmla="val 54125"/>
              </a:avLst>
            </a:prstGeom>
            <a:solidFill>
              <a:srgbClr val="4093BE">
                <a:alpha val="47000"/>
              </a:srgbClr>
            </a:solidFill>
            <a:ln w="6350">
              <a:solidFill>
                <a:schemeClr val="bg1">
                  <a:alpha val="53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1" dirty="0">
                <a:solidFill>
                  <a:srgbClr val="325DA6"/>
                </a:solidFill>
                <a:latin typeface="Nanum Pen Script" panose="03040600000000000000" pitchFamily="66" charset="-127"/>
                <a:ea typeface="Nanum Pen Script" panose="03040600000000000000" pitchFamily="66" charset="-127"/>
              </a:endParaRPr>
            </a:p>
          </p:txBody>
        </p:sp>
      </p:grpSp>
      <p:sp>
        <p:nvSpPr>
          <p:cNvPr id="36" name="Rectangle 35">
            <a:extLst>
              <a:ext uri="{FF2B5EF4-FFF2-40B4-BE49-F238E27FC236}">
                <a16:creationId xmlns:a16="http://schemas.microsoft.com/office/drawing/2014/main" id="{53E282AA-B6C1-464B-A8F9-B4F595B9F4FA}"/>
              </a:ext>
            </a:extLst>
          </p:cNvPr>
          <p:cNvSpPr/>
          <p:nvPr/>
        </p:nvSpPr>
        <p:spPr>
          <a:xfrm>
            <a:off x="6155030" y="3901508"/>
            <a:ext cx="1979974" cy="3291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r>
              <a:rPr lang="en-US" sz="1400" dirty="0">
                <a:solidFill>
                  <a:srgbClr val="035DA2"/>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Continuous Delivery</a:t>
            </a:r>
          </a:p>
        </p:txBody>
      </p:sp>
      <p:sp>
        <p:nvSpPr>
          <p:cNvPr id="37" name="Rectangle 36">
            <a:extLst>
              <a:ext uri="{FF2B5EF4-FFF2-40B4-BE49-F238E27FC236}">
                <a16:creationId xmlns:a16="http://schemas.microsoft.com/office/drawing/2014/main" id="{2428189C-829C-6D40-9E98-BBFF9A987B8F}"/>
              </a:ext>
            </a:extLst>
          </p:cNvPr>
          <p:cNvSpPr/>
          <p:nvPr/>
        </p:nvSpPr>
        <p:spPr>
          <a:xfrm>
            <a:off x="7674575" y="4610821"/>
            <a:ext cx="1979974" cy="3291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r>
              <a:rPr lang="en-US" sz="1400" dirty="0">
                <a:solidFill>
                  <a:srgbClr val="035DA2"/>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Continuous Delivery</a:t>
            </a:r>
          </a:p>
        </p:txBody>
      </p:sp>
      <p:cxnSp>
        <p:nvCxnSpPr>
          <p:cNvPr id="38" name="Straight Connector 37">
            <a:extLst>
              <a:ext uri="{FF2B5EF4-FFF2-40B4-BE49-F238E27FC236}">
                <a16:creationId xmlns:a16="http://schemas.microsoft.com/office/drawing/2014/main" id="{58552C4A-85D6-F84E-91D2-1C3A039214B2}"/>
              </a:ext>
            </a:extLst>
          </p:cNvPr>
          <p:cNvCxnSpPr>
            <a:cxnSpLocks/>
          </p:cNvCxnSpPr>
          <p:nvPr/>
        </p:nvCxnSpPr>
        <p:spPr>
          <a:xfrm flipV="1">
            <a:off x="9922180" y="2031348"/>
            <a:ext cx="0" cy="2974961"/>
          </a:xfrm>
          <a:prstGeom prst="line">
            <a:avLst/>
          </a:prstGeom>
          <a:ln>
            <a:solidFill>
              <a:srgbClr val="035DA2">
                <a:alpha val="50000"/>
              </a:srgbClr>
            </a:solidFill>
            <a:prstDash val="dash"/>
            <a:headEnd type="none"/>
          </a:ln>
        </p:spPr>
        <p:style>
          <a:lnRef idx="1">
            <a:schemeClr val="accent1"/>
          </a:lnRef>
          <a:fillRef idx="0">
            <a:schemeClr val="accent1"/>
          </a:fillRef>
          <a:effectRef idx="0">
            <a:schemeClr val="accent1"/>
          </a:effectRef>
          <a:fontRef idx="minor">
            <a:schemeClr val="tx1"/>
          </a:fontRef>
        </p:style>
      </p:cxnSp>
      <p:sp>
        <p:nvSpPr>
          <p:cNvPr id="40" name="Rounded Rectangle 39">
            <a:extLst>
              <a:ext uri="{FF2B5EF4-FFF2-40B4-BE49-F238E27FC236}">
                <a16:creationId xmlns:a16="http://schemas.microsoft.com/office/drawing/2014/main" id="{1B366DBD-F466-1D43-ABCE-32CFF8D93BC6}"/>
              </a:ext>
            </a:extLst>
          </p:cNvPr>
          <p:cNvSpPr/>
          <p:nvPr/>
        </p:nvSpPr>
        <p:spPr>
          <a:xfrm>
            <a:off x="10058684" y="2007673"/>
            <a:ext cx="1286877" cy="557658"/>
          </a:xfrm>
          <a:prstGeom prst="roundRect">
            <a:avLst/>
          </a:prstGeom>
          <a:solidFill>
            <a:srgbClr val="4093BE">
              <a:alpha val="47000"/>
            </a:srgbClr>
          </a:solidFill>
          <a:ln w="6350">
            <a:solidFill>
              <a:schemeClr val="bg1">
                <a:alpha val="53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r>
              <a:rPr lang="en-US" dirty="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Operate</a:t>
            </a:r>
          </a:p>
        </p:txBody>
      </p:sp>
      <p:cxnSp>
        <p:nvCxnSpPr>
          <p:cNvPr id="41" name="Straight Connector 40">
            <a:extLst>
              <a:ext uri="{FF2B5EF4-FFF2-40B4-BE49-F238E27FC236}">
                <a16:creationId xmlns:a16="http://schemas.microsoft.com/office/drawing/2014/main" id="{EAC7AAC3-8984-F34A-8EBB-2F66B090DE33}"/>
              </a:ext>
            </a:extLst>
          </p:cNvPr>
          <p:cNvCxnSpPr>
            <a:cxnSpLocks/>
          </p:cNvCxnSpPr>
          <p:nvPr/>
        </p:nvCxnSpPr>
        <p:spPr>
          <a:xfrm flipV="1">
            <a:off x="11430415" y="2031347"/>
            <a:ext cx="0" cy="3714275"/>
          </a:xfrm>
          <a:prstGeom prst="line">
            <a:avLst/>
          </a:prstGeom>
          <a:ln>
            <a:solidFill>
              <a:srgbClr val="035DA2">
                <a:alpha val="50000"/>
              </a:srgbClr>
            </a:solidFill>
            <a:prstDash val="dash"/>
            <a:headEnd type="none"/>
          </a:ln>
        </p:spPr>
        <p:style>
          <a:lnRef idx="1">
            <a:schemeClr val="accent1"/>
          </a:lnRef>
          <a:fillRef idx="0">
            <a:schemeClr val="accent1"/>
          </a:fillRef>
          <a:effectRef idx="0">
            <a:schemeClr val="accent1"/>
          </a:effectRef>
          <a:fontRef idx="minor">
            <a:schemeClr val="tx1"/>
          </a:fontRef>
        </p:style>
      </p:cxnSp>
      <p:grpSp>
        <p:nvGrpSpPr>
          <p:cNvPr id="42" name="Group 41">
            <a:extLst>
              <a:ext uri="{FF2B5EF4-FFF2-40B4-BE49-F238E27FC236}">
                <a16:creationId xmlns:a16="http://schemas.microsoft.com/office/drawing/2014/main" id="{25C74F4A-3B8A-3B47-AF99-218EAA8A0A75}"/>
              </a:ext>
            </a:extLst>
          </p:cNvPr>
          <p:cNvGrpSpPr/>
          <p:nvPr/>
        </p:nvGrpSpPr>
        <p:grpSpPr>
          <a:xfrm>
            <a:off x="1159711" y="5584124"/>
            <a:ext cx="10185850" cy="296221"/>
            <a:chOff x="1163737" y="2088103"/>
            <a:chExt cx="8678277" cy="296221"/>
          </a:xfrm>
        </p:grpSpPr>
        <p:sp>
          <p:nvSpPr>
            <p:cNvPr id="43" name="Right Arrow 42">
              <a:extLst>
                <a:ext uri="{FF2B5EF4-FFF2-40B4-BE49-F238E27FC236}">
                  <a16:creationId xmlns:a16="http://schemas.microsoft.com/office/drawing/2014/main" id="{CDA15ADB-199C-484D-B08D-6B0EA5D13BF9}"/>
                </a:ext>
              </a:extLst>
            </p:cNvPr>
            <p:cNvSpPr/>
            <p:nvPr/>
          </p:nvSpPr>
          <p:spPr>
            <a:xfrm>
              <a:off x="1300964" y="2096706"/>
              <a:ext cx="8541050" cy="287618"/>
            </a:xfrm>
            <a:prstGeom prst="rightArrow">
              <a:avLst/>
            </a:prstGeom>
            <a:solidFill>
              <a:srgbClr val="4093BE">
                <a:alpha val="47000"/>
              </a:srgbClr>
            </a:solidFill>
            <a:ln w="6350">
              <a:solidFill>
                <a:schemeClr val="bg1">
                  <a:alpha val="53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solidFill>
                  <a:schemeClr val="accent1">
                    <a:lumMod val="75000"/>
                  </a:schemeClr>
                </a:solidFill>
                <a:latin typeface="Nanum Brush Script" panose="03060600000000000000" pitchFamily="66" charset="-127"/>
                <a:ea typeface="Nanum Brush Script" panose="03060600000000000000" pitchFamily="66" charset="-127"/>
              </a:endParaRPr>
            </a:p>
          </p:txBody>
        </p:sp>
        <p:sp>
          <p:nvSpPr>
            <p:cNvPr id="44" name="Left Arrow 43">
              <a:extLst>
                <a:ext uri="{FF2B5EF4-FFF2-40B4-BE49-F238E27FC236}">
                  <a16:creationId xmlns:a16="http://schemas.microsoft.com/office/drawing/2014/main" id="{EE66E9D7-C532-E847-A0CA-CFFCFAA07246}"/>
                </a:ext>
              </a:extLst>
            </p:cNvPr>
            <p:cNvSpPr/>
            <p:nvPr/>
          </p:nvSpPr>
          <p:spPr>
            <a:xfrm>
              <a:off x="1163737" y="2088103"/>
              <a:ext cx="8541047" cy="287618"/>
            </a:xfrm>
            <a:prstGeom prst="leftArrow">
              <a:avLst>
                <a:gd name="adj1" fmla="val 50000"/>
                <a:gd name="adj2" fmla="val 54125"/>
              </a:avLst>
            </a:prstGeom>
            <a:solidFill>
              <a:srgbClr val="4093BE">
                <a:alpha val="47000"/>
              </a:srgbClr>
            </a:solidFill>
            <a:ln w="6350">
              <a:solidFill>
                <a:schemeClr val="bg1">
                  <a:alpha val="53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1" dirty="0">
                <a:solidFill>
                  <a:srgbClr val="325DA6"/>
                </a:solidFill>
                <a:latin typeface="Nanum Pen Script" panose="03040600000000000000" pitchFamily="66" charset="-127"/>
                <a:ea typeface="Nanum Pen Script" panose="03040600000000000000" pitchFamily="66" charset="-127"/>
              </a:endParaRPr>
            </a:p>
          </p:txBody>
        </p:sp>
      </p:grpSp>
      <p:sp>
        <p:nvSpPr>
          <p:cNvPr id="45" name="Rectangle 44">
            <a:extLst>
              <a:ext uri="{FF2B5EF4-FFF2-40B4-BE49-F238E27FC236}">
                <a16:creationId xmlns:a16="http://schemas.microsoft.com/office/drawing/2014/main" id="{F95468BA-6013-014E-B77E-F0B344A1E826}"/>
              </a:ext>
            </a:extLst>
          </p:cNvPr>
          <p:cNvSpPr/>
          <p:nvPr/>
        </p:nvSpPr>
        <p:spPr>
          <a:xfrm>
            <a:off x="10129575" y="5329506"/>
            <a:ext cx="1054912" cy="3291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r>
              <a:rPr lang="en-US" sz="1400" dirty="0">
                <a:solidFill>
                  <a:srgbClr val="035DA2"/>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DevOps</a:t>
            </a:r>
          </a:p>
        </p:txBody>
      </p:sp>
      <p:sp>
        <p:nvSpPr>
          <p:cNvPr id="48" name="Rectangle 3">
            <a:extLst>
              <a:ext uri="{FF2B5EF4-FFF2-40B4-BE49-F238E27FC236}">
                <a16:creationId xmlns:a16="http://schemas.microsoft.com/office/drawing/2014/main" id="{AD5CC012-E834-8946-B8D2-129DD3B14E0D}"/>
              </a:ext>
            </a:extLst>
          </p:cNvPr>
          <p:cNvSpPr txBox="1"/>
          <p:nvPr/>
        </p:nvSpPr>
        <p:spPr>
          <a:xfrm>
            <a:off x="3285455" y="1407625"/>
            <a:ext cx="5403733" cy="307773"/>
          </a:xfrm>
          <a:prstGeom prst="rect">
            <a:avLst/>
          </a:prstGeom>
          <a:ln w="12700">
            <a:miter lim="400000"/>
          </a:ln>
          <a:extLst>
            <a:ext uri="{C572A759-6A51-4108-AA02-DFA0A04FC94B}">
              <ma14:wrappingTextBoxFlag xmlns="" xmlns:ma14="http://schemas.microsoft.com/office/mac/drawingml/2011/main" val="1"/>
            </a:ext>
          </a:extLst>
        </p:spPr>
        <p:txBody>
          <a:bodyPr wrap="square" lIns="45718" tIns="45718" rIns="45718" bIns="45718">
            <a:spAutoFit/>
          </a:bodyPr>
          <a:lstStyle>
            <a:lvl1pPr algn="l" defTabSz="914400">
              <a:defRPr sz="2000">
                <a:solidFill>
                  <a:srgbClr val="104D6A"/>
                </a:solidFill>
                <a:latin typeface="Arial"/>
                <a:ea typeface="Arial"/>
                <a:cs typeface="Arial"/>
                <a:sym typeface="Arial"/>
              </a:defRPr>
            </a:lvl1pPr>
          </a:lstStyle>
          <a:p>
            <a:pPr lvl="0" algn="ctr">
              <a:defRPr/>
            </a:pPr>
            <a:r>
              <a:rPr lang="en-US" sz="1400" b="1" dirty="0">
                <a:solidFill>
                  <a:srgbClr val="F26F27"/>
                </a:solidFill>
                <a:latin typeface="Comic Sans MS" panose="030F0902030302020204" pitchFamily="66" charset="0"/>
                <a:ea typeface="Nanum Brush Script" panose="03060600000000000000" pitchFamily="66" charset="-127"/>
              </a:rPr>
              <a:t>Continuous Delivery / Deployment (CD)  </a:t>
            </a:r>
          </a:p>
        </p:txBody>
      </p:sp>
      <p:sp>
        <p:nvSpPr>
          <p:cNvPr id="47" name="Rectangle 3">
            <a:extLst>
              <a:ext uri="{FF2B5EF4-FFF2-40B4-BE49-F238E27FC236}">
                <a16:creationId xmlns:a16="http://schemas.microsoft.com/office/drawing/2014/main" id="{58D9D721-035E-794D-8703-60C183CA4576}"/>
              </a:ext>
            </a:extLst>
          </p:cNvPr>
          <p:cNvSpPr txBox="1"/>
          <p:nvPr/>
        </p:nvSpPr>
        <p:spPr>
          <a:xfrm>
            <a:off x="404806" y="82014"/>
            <a:ext cx="7585857" cy="400105"/>
          </a:xfrm>
          <a:prstGeom prst="rect">
            <a:avLst/>
          </a:prstGeom>
          <a:ln w="12700">
            <a:miter lim="400000"/>
          </a:ln>
          <a:extLst>
            <a:ext uri="{C572A759-6A51-4108-AA02-DFA0A04FC94B}">
              <ma14:wrappingTextBoxFlag xmlns:ma14="http://schemas.microsoft.com/office/mac/drawingml/2011/main" xmlns="" val="1"/>
            </a:ext>
          </a:extLst>
        </p:spPr>
        <p:txBody>
          <a:bodyPr wrap="square" lIns="45718" tIns="45718" rIns="45718" bIns="45718">
            <a:spAutoFit/>
          </a:bodyPr>
          <a:lstStyle>
            <a:lvl1pPr algn="l" defTabSz="914400">
              <a:defRPr sz="2200" b="1">
                <a:solidFill>
                  <a:srgbClr val="FFFFFF"/>
                </a:solidFill>
                <a:latin typeface="Arial"/>
                <a:ea typeface="Arial"/>
                <a:cs typeface="Arial"/>
                <a:sym typeface="Arial"/>
              </a:defRPr>
            </a:lvl1pPr>
          </a:lstStyle>
          <a:p>
            <a:r>
              <a:rPr lang="en-US" sz="2000" dirty="0">
                <a:solidFill>
                  <a:srgbClr val="016AA2"/>
                </a:solidFill>
              </a:rPr>
              <a:t>Needs and Solution Proposal (XXVI)</a:t>
            </a:r>
          </a:p>
        </p:txBody>
      </p:sp>
      <p:sp>
        <p:nvSpPr>
          <p:cNvPr id="49" name="Rectangle 3">
            <a:extLst>
              <a:ext uri="{FF2B5EF4-FFF2-40B4-BE49-F238E27FC236}">
                <a16:creationId xmlns:a16="http://schemas.microsoft.com/office/drawing/2014/main" id="{38791581-E21D-6F47-B9BB-5366F04F66C1}"/>
              </a:ext>
            </a:extLst>
          </p:cNvPr>
          <p:cNvSpPr txBox="1"/>
          <p:nvPr/>
        </p:nvSpPr>
        <p:spPr>
          <a:xfrm>
            <a:off x="413951" y="421813"/>
            <a:ext cx="5695981" cy="369328"/>
          </a:xfrm>
          <a:prstGeom prst="rect">
            <a:avLst/>
          </a:prstGeom>
          <a:ln w="12700">
            <a:miter lim="400000"/>
          </a:ln>
          <a:extLst>
            <a:ext uri="{C572A759-6A51-4108-AA02-DFA0A04FC94B}">
              <ma14:wrappingTextBoxFlag xmlns="" xmlns:ma14="http://schemas.microsoft.com/office/mac/drawingml/2011/main" val="1"/>
            </a:ext>
          </a:extLst>
        </p:spPr>
        <p:txBody>
          <a:bodyPr wrap="square" lIns="45718" tIns="45718" rIns="45718" bIns="45718">
            <a:spAutoFit/>
          </a:bodyPr>
          <a:lstStyle>
            <a:lvl1pPr algn="l" defTabSz="914400">
              <a:defRPr sz="2000">
                <a:solidFill>
                  <a:srgbClr val="104D6A"/>
                </a:solidFill>
                <a:latin typeface="Arial"/>
                <a:ea typeface="Arial"/>
                <a:cs typeface="Arial"/>
                <a:sym typeface="Arial"/>
              </a:defRPr>
            </a:lvl1pPr>
          </a:lstStyle>
          <a:p>
            <a:pPr lvl="0">
              <a:defRPr/>
            </a:pPr>
            <a:r>
              <a:rPr lang="en-US" sz="1800" b="1" dirty="0">
                <a:solidFill>
                  <a:srgbClr val="73C4EF"/>
                </a:solidFill>
              </a:rPr>
              <a:t>Event Hub Architecture – Agile and DevOps</a:t>
            </a:r>
          </a:p>
        </p:txBody>
      </p:sp>
    </p:spTree>
    <p:extLst>
      <p:ext uri="{BB962C8B-B14F-4D97-AF65-F5344CB8AC3E}">
        <p14:creationId xmlns:p14="http://schemas.microsoft.com/office/powerpoint/2010/main" val="4116237381"/>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E45314F-733E-634D-8FC2-56C19D321D9B}"/>
              </a:ext>
            </a:extLst>
          </p:cNvPr>
          <p:cNvPicPr>
            <a:picLocks noChangeAspect="1"/>
          </p:cNvPicPr>
          <p:nvPr/>
        </p:nvPicPr>
        <p:blipFill>
          <a:blip r:embed="rId2">
            <a:alphaModFix amt="82000"/>
          </a:blip>
          <a:stretch>
            <a:fillRect/>
          </a:stretch>
        </p:blipFill>
        <p:spPr>
          <a:xfrm>
            <a:off x="1474470" y="2935545"/>
            <a:ext cx="939546" cy="652780"/>
          </a:xfrm>
          <a:prstGeom prst="rect">
            <a:avLst/>
          </a:prstGeom>
        </p:spPr>
      </p:pic>
      <p:sp>
        <p:nvSpPr>
          <p:cNvPr id="6" name="Rectangle 5">
            <a:extLst>
              <a:ext uri="{FF2B5EF4-FFF2-40B4-BE49-F238E27FC236}">
                <a16:creationId xmlns:a16="http://schemas.microsoft.com/office/drawing/2014/main" id="{BBEFA006-73B9-A54F-9F4C-F1E1E3270522}"/>
              </a:ext>
            </a:extLst>
          </p:cNvPr>
          <p:cNvSpPr/>
          <p:nvPr/>
        </p:nvSpPr>
        <p:spPr>
          <a:xfrm>
            <a:off x="1697355" y="3417178"/>
            <a:ext cx="493776" cy="1437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r>
              <a:rPr lang="en-US" sz="1200" b="1" dirty="0">
                <a:solidFill>
                  <a:schemeClr val="bg1"/>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Dev}</a:t>
            </a:r>
          </a:p>
        </p:txBody>
      </p:sp>
      <p:pic>
        <p:nvPicPr>
          <p:cNvPr id="7" name="Picture 6">
            <a:extLst>
              <a:ext uri="{FF2B5EF4-FFF2-40B4-BE49-F238E27FC236}">
                <a16:creationId xmlns:a16="http://schemas.microsoft.com/office/drawing/2014/main" id="{E5D3F8CD-9C0C-8B4D-821E-F7573940450F}"/>
              </a:ext>
            </a:extLst>
          </p:cNvPr>
          <p:cNvPicPr>
            <a:picLocks noChangeAspect="1"/>
          </p:cNvPicPr>
          <p:nvPr/>
        </p:nvPicPr>
        <p:blipFill>
          <a:blip r:embed="rId3"/>
          <a:stretch>
            <a:fillRect/>
          </a:stretch>
        </p:blipFill>
        <p:spPr>
          <a:xfrm>
            <a:off x="3793368" y="1895669"/>
            <a:ext cx="808736" cy="820420"/>
          </a:xfrm>
          <a:prstGeom prst="rect">
            <a:avLst/>
          </a:prstGeom>
        </p:spPr>
      </p:pic>
      <p:grpSp>
        <p:nvGrpSpPr>
          <p:cNvPr id="8" name="Google Shape;425;p39">
            <a:extLst>
              <a:ext uri="{FF2B5EF4-FFF2-40B4-BE49-F238E27FC236}">
                <a16:creationId xmlns:a16="http://schemas.microsoft.com/office/drawing/2014/main" id="{6488F416-7503-2940-BBE7-859BE56F8FAA}"/>
              </a:ext>
            </a:extLst>
          </p:cNvPr>
          <p:cNvGrpSpPr/>
          <p:nvPr/>
        </p:nvGrpSpPr>
        <p:grpSpPr>
          <a:xfrm rot="17550685" flipV="1">
            <a:off x="2352324" y="1890798"/>
            <a:ext cx="1234603" cy="1025500"/>
            <a:chOff x="1113100" y="2199475"/>
            <a:chExt cx="801900" cy="1052172"/>
          </a:xfrm>
        </p:grpSpPr>
        <p:sp>
          <p:nvSpPr>
            <p:cNvPr id="9" name="Google Shape;426;p39">
              <a:extLst>
                <a:ext uri="{FF2B5EF4-FFF2-40B4-BE49-F238E27FC236}">
                  <a16:creationId xmlns:a16="http://schemas.microsoft.com/office/drawing/2014/main" id="{1E079343-EE9E-B549-BD38-2E469F88EA5B}"/>
                </a:ext>
              </a:extLst>
            </p:cNvPr>
            <p:cNvSpPr/>
            <p:nvPr/>
          </p:nvSpPr>
          <p:spPr>
            <a:xfrm>
              <a:off x="1113100" y="2291451"/>
              <a:ext cx="735850" cy="960196"/>
            </a:xfrm>
            <a:custGeom>
              <a:avLst/>
              <a:gdLst/>
              <a:ahLst/>
              <a:cxnLst/>
              <a:rect l="0" t="0" r="0" b="0"/>
              <a:pathLst>
                <a:path w="29434" h="24718" extrusionOk="0">
                  <a:moveTo>
                    <a:pt x="26604" y="13869"/>
                  </a:moveTo>
                  <a:lnTo>
                    <a:pt x="26509" y="13963"/>
                  </a:lnTo>
                  <a:lnTo>
                    <a:pt x="26509" y="14057"/>
                  </a:lnTo>
                  <a:lnTo>
                    <a:pt x="26604" y="14246"/>
                  </a:lnTo>
                  <a:lnTo>
                    <a:pt x="26604" y="13869"/>
                  </a:lnTo>
                  <a:close/>
                  <a:moveTo>
                    <a:pt x="7925" y="23397"/>
                  </a:moveTo>
                  <a:lnTo>
                    <a:pt x="8302" y="23491"/>
                  </a:lnTo>
                  <a:lnTo>
                    <a:pt x="8113" y="23491"/>
                  </a:lnTo>
                  <a:lnTo>
                    <a:pt x="7925" y="23397"/>
                  </a:lnTo>
                  <a:close/>
                  <a:moveTo>
                    <a:pt x="28962" y="1"/>
                  </a:moveTo>
                  <a:lnTo>
                    <a:pt x="28962" y="95"/>
                  </a:lnTo>
                  <a:lnTo>
                    <a:pt x="28774" y="284"/>
                  </a:lnTo>
                  <a:lnTo>
                    <a:pt x="28868" y="284"/>
                  </a:lnTo>
                  <a:lnTo>
                    <a:pt x="28868" y="567"/>
                  </a:lnTo>
                  <a:lnTo>
                    <a:pt x="28679" y="567"/>
                  </a:lnTo>
                  <a:lnTo>
                    <a:pt x="28868" y="661"/>
                  </a:lnTo>
                  <a:lnTo>
                    <a:pt x="28679" y="850"/>
                  </a:lnTo>
                  <a:lnTo>
                    <a:pt x="28679" y="1039"/>
                  </a:lnTo>
                  <a:lnTo>
                    <a:pt x="28585" y="1039"/>
                  </a:lnTo>
                  <a:lnTo>
                    <a:pt x="28491" y="1227"/>
                  </a:lnTo>
                  <a:lnTo>
                    <a:pt x="28679" y="1416"/>
                  </a:lnTo>
                  <a:lnTo>
                    <a:pt x="28962" y="1605"/>
                  </a:lnTo>
                  <a:lnTo>
                    <a:pt x="28585" y="1793"/>
                  </a:lnTo>
                  <a:lnTo>
                    <a:pt x="28868" y="1982"/>
                  </a:lnTo>
                  <a:lnTo>
                    <a:pt x="28962" y="2171"/>
                  </a:lnTo>
                  <a:lnTo>
                    <a:pt x="28868" y="2265"/>
                  </a:lnTo>
                  <a:lnTo>
                    <a:pt x="28774" y="2359"/>
                  </a:lnTo>
                  <a:lnTo>
                    <a:pt x="28868" y="2359"/>
                  </a:lnTo>
                  <a:lnTo>
                    <a:pt x="28774" y="2454"/>
                  </a:lnTo>
                  <a:lnTo>
                    <a:pt x="28868" y="2548"/>
                  </a:lnTo>
                  <a:lnTo>
                    <a:pt x="28868" y="2642"/>
                  </a:lnTo>
                  <a:lnTo>
                    <a:pt x="28585" y="2642"/>
                  </a:lnTo>
                  <a:lnTo>
                    <a:pt x="28679" y="2737"/>
                  </a:lnTo>
                  <a:lnTo>
                    <a:pt x="28774" y="2831"/>
                  </a:lnTo>
                  <a:lnTo>
                    <a:pt x="28774" y="3303"/>
                  </a:lnTo>
                  <a:lnTo>
                    <a:pt x="28679" y="3680"/>
                  </a:lnTo>
                  <a:lnTo>
                    <a:pt x="28585" y="3963"/>
                  </a:lnTo>
                  <a:lnTo>
                    <a:pt x="28774" y="4058"/>
                  </a:lnTo>
                  <a:lnTo>
                    <a:pt x="28774" y="4341"/>
                  </a:lnTo>
                  <a:lnTo>
                    <a:pt x="28585" y="4246"/>
                  </a:lnTo>
                  <a:lnTo>
                    <a:pt x="28585" y="4341"/>
                  </a:lnTo>
                  <a:lnTo>
                    <a:pt x="28679" y="4435"/>
                  </a:lnTo>
                  <a:lnTo>
                    <a:pt x="28491" y="4435"/>
                  </a:lnTo>
                  <a:lnTo>
                    <a:pt x="28585" y="4718"/>
                  </a:lnTo>
                  <a:lnTo>
                    <a:pt x="28491" y="5001"/>
                  </a:lnTo>
                  <a:lnTo>
                    <a:pt x="28774" y="4907"/>
                  </a:lnTo>
                  <a:lnTo>
                    <a:pt x="29057" y="5095"/>
                  </a:lnTo>
                  <a:lnTo>
                    <a:pt x="29057" y="5095"/>
                  </a:lnTo>
                  <a:lnTo>
                    <a:pt x="28774" y="5001"/>
                  </a:lnTo>
                  <a:lnTo>
                    <a:pt x="28679" y="5001"/>
                  </a:lnTo>
                  <a:lnTo>
                    <a:pt x="28774" y="5095"/>
                  </a:lnTo>
                  <a:lnTo>
                    <a:pt x="28585" y="5095"/>
                  </a:lnTo>
                  <a:lnTo>
                    <a:pt x="28396" y="5567"/>
                  </a:lnTo>
                  <a:lnTo>
                    <a:pt x="28396" y="5756"/>
                  </a:lnTo>
                  <a:lnTo>
                    <a:pt x="28585" y="6039"/>
                  </a:lnTo>
                  <a:lnTo>
                    <a:pt x="28396" y="6982"/>
                  </a:lnTo>
                  <a:lnTo>
                    <a:pt x="28302" y="7359"/>
                  </a:lnTo>
                  <a:lnTo>
                    <a:pt x="28113" y="7737"/>
                  </a:lnTo>
                  <a:lnTo>
                    <a:pt x="28113" y="7642"/>
                  </a:lnTo>
                  <a:lnTo>
                    <a:pt x="28113" y="7548"/>
                  </a:lnTo>
                  <a:lnTo>
                    <a:pt x="27830" y="8114"/>
                  </a:lnTo>
                  <a:lnTo>
                    <a:pt x="27830" y="8114"/>
                  </a:lnTo>
                  <a:lnTo>
                    <a:pt x="27924" y="8020"/>
                  </a:lnTo>
                  <a:lnTo>
                    <a:pt x="27453" y="8963"/>
                  </a:lnTo>
                  <a:lnTo>
                    <a:pt x="27736" y="8963"/>
                  </a:lnTo>
                  <a:lnTo>
                    <a:pt x="27547" y="9246"/>
                  </a:lnTo>
                  <a:lnTo>
                    <a:pt x="27547" y="9435"/>
                  </a:lnTo>
                  <a:lnTo>
                    <a:pt x="27641" y="9529"/>
                  </a:lnTo>
                  <a:lnTo>
                    <a:pt x="27641" y="9812"/>
                  </a:lnTo>
                  <a:lnTo>
                    <a:pt x="27547" y="9906"/>
                  </a:lnTo>
                  <a:lnTo>
                    <a:pt x="27453" y="9906"/>
                  </a:lnTo>
                  <a:lnTo>
                    <a:pt x="27358" y="9718"/>
                  </a:lnTo>
                  <a:lnTo>
                    <a:pt x="27264" y="9812"/>
                  </a:lnTo>
                  <a:lnTo>
                    <a:pt x="27075" y="9906"/>
                  </a:lnTo>
                  <a:lnTo>
                    <a:pt x="27170" y="10001"/>
                  </a:lnTo>
                  <a:lnTo>
                    <a:pt x="27075" y="10095"/>
                  </a:lnTo>
                  <a:lnTo>
                    <a:pt x="27075" y="10284"/>
                  </a:lnTo>
                  <a:lnTo>
                    <a:pt x="27170" y="10472"/>
                  </a:lnTo>
                  <a:lnTo>
                    <a:pt x="27170" y="10755"/>
                  </a:lnTo>
                  <a:lnTo>
                    <a:pt x="26792" y="10755"/>
                  </a:lnTo>
                  <a:lnTo>
                    <a:pt x="26698" y="10661"/>
                  </a:lnTo>
                  <a:lnTo>
                    <a:pt x="26698" y="10850"/>
                  </a:lnTo>
                  <a:lnTo>
                    <a:pt x="26604" y="10944"/>
                  </a:lnTo>
                  <a:lnTo>
                    <a:pt x="26415" y="10944"/>
                  </a:lnTo>
                  <a:lnTo>
                    <a:pt x="26415" y="11038"/>
                  </a:lnTo>
                  <a:lnTo>
                    <a:pt x="26509" y="11038"/>
                  </a:lnTo>
                  <a:lnTo>
                    <a:pt x="26604" y="11133"/>
                  </a:lnTo>
                  <a:lnTo>
                    <a:pt x="26604" y="11321"/>
                  </a:lnTo>
                  <a:lnTo>
                    <a:pt x="26604" y="11510"/>
                  </a:lnTo>
                  <a:lnTo>
                    <a:pt x="26509" y="11510"/>
                  </a:lnTo>
                  <a:lnTo>
                    <a:pt x="26509" y="11416"/>
                  </a:lnTo>
                  <a:lnTo>
                    <a:pt x="26415" y="11416"/>
                  </a:lnTo>
                  <a:lnTo>
                    <a:pt x="26415" y="11321"/>
                  </a:lnTo>
                  <a:lnTo>
                    <a:pt x="26321" y="11793"/>
                  </a:lnTo>
                  <a:lnTo>
                    <a:pt x="26226" y="11699"/>
                  </a:lnTo>
                  <a:lnTo>
                    <a:pt x="26132" y="11793"/>
                  </a:lnTo>
                  <a:lnTo>
                    <a:pt x="26226" y="11793"/>
                  </a:lnTo>
                  <a:lnTo>
                    <a:pt x="26321" y="12076"/>
                  </a:lnTo>
                  <a:lnTo>
                    <a:pt x="26415" y="12359"/>
                  </a:lnTo>
                  <a:lnTo>
                    <a:pt x="26038" y="12548"/>
                  </a:lnTo>
                  <a:lnTo>
                    <a:pt x="25755" y="12737"/>
                  </a:lnTo>
                  <a:lnTo>
                    <a:pt x="25660" y="12925"/>
                  </a:lnTo>
                  <a:lnTo>
                    <a:pt x="25755" y="12925"/>
                  </a:lnTo>
                  <a:lnTo>
                    <a:pt x="25755" y="13020"/>
                  </a:lnTo>
                  <a:lnTo>
                    <a:pt x="25849" y="12737"/>
                  </a:lnTo>
                  <a:lnTo>
                    <a:pt x="25943" y="13020"/>
                  </a:lnTo>
                  <a:lnTo>
                    <a:pt x="26038" y="12831"/>
                  </a:lnTo>
                  <a:lnTo>
                    <a:pt x="26132" y="12925"/>
                  </a:lnTo>
                  <a:lnTo>
                    <a:pt x="25943" y="13208"/>
                  </a:lnTo>
                  <a:lnTo>
                    <a:pt x="25660" y="13114"/>
                  </a:lnTo>
                  <a:lnTo>
                    <a:pt x="25472" y="13208"/>
                  </a:lnTo>
                  <a:lnTo>
                    <a:pt x="25377" y="13397"/>
                  </a:lnTo>
                  <a:lnTo>
                    <a:pt x="25283" y="13869"/>
                  </a:lnTo>
                  <a:lnTo>
                    <a:pt x="25189" y="14435"/>
                  </a:lnTo>
                  <a:lnTo>
                    <a:pt x="25094" y="14623"/>
                  </a:lnTo>
                  <a:lnTo>
                    <a:pt x="25000" y="14812"/>
                  </a:lnTo>
                  <a:lnTo>
                    <a:pt x="24906" y="14718"/>
                  </a:lnTo>
                  <a:lnTo>
                    <a:pt x="24811" y="14529"/>
                  </a:lnTo>
                  <a:lnTo>
                    <a:pt x="24717" y="14906"/>
                  </a:lnTo>
                  <a:lnTo>
                    <a:pt x="24717" y="15189"/>
                  </a:lnTo>
                  <a:lnTo>
                    <a:pt x="24717" y="15284"/>
                  </a:lnTo>
                  <a:lnTo>
                    <a:pt x="24811" y="15284"/>
                  </a:lnTo>
                  <a:lnTo>
                    <a:pt x="24528" y="15378"/>
                  </a:lnTo>
                  <a:lnTo>
                    <a:pt x="24340" y="15472"/>
                  </a:lnTo>
                  <a:lnTo>
                    <a:pt x="24057" y="15944"/>
                  </a:lnTo>
                  <a:lnTo>
                    <a:pt x="23962" y="16416"/>
                  </a:lnTo>
                  <a:lnTo>
                    <a:pt x="23774" y="16699"/>
                  </a:lnTo>
                  <a:lnTo>
                    <a:pt x="23396" y="16699"/>
                  </a:lnTo>
                  <a:lnTo>
                    <a:pt x="23208" y="16982"/>
                  </a:lnTo>
                  <a:lnTo>
                    <a:pt x="23019" y="17359"/>
                  </a:lnTo>
                  <a:lnTo>
                    <a:pt x="22830" y="17831"/>
                  </a:lnTo>
                  <a:lnTo>
                    <a:pt x="22830" y="17736"/>
                  </a:lnTo>
                  <a:lnTo>
                    <a:pt x="22736" y="17642"/>
                  </a:lnTo>
                  <a:lnTo>
                    <a:pt x="22736" y="17642"/>
                  </a:lnTo>
                  <a:lnTo>
                    <a:pt x="22830" y="17925"/>
                  </a:lnTo>
                  <a:lnTo>
                    <a:pt x="22453" y="17925"/>
                  </a:lnTo>
                  <a:lnTo>
                    <a:pt x="22547" y="17736"/>
                  </a:lnTo>
                  <a:lnTo>
                    <a:pt x="22453" y="17736"/>
                  </a:lnTo>
                  <a:lnTo>
                    <a:pt x="22359" y="17831"/>
                  </a:lnTo>
                  <a:lnTo>
                    <a:pt x="22264" y="18208"/>
                  </a:lnTo>
                  <a:lnTo>
                    <a:pt x="22170" y="18491"/>
                  </a:lnTo>
                  <a:lnTo>
                    <a:pt x="22076" y="18585"/>
                  </a:lnTo>
                  <a:lnTo>
                    <a:pt x="21887" y="18585"/>
                  </a:lnTo>
                  <a:lnTo>
                    <a:pt x="21698" y="19152"/>
                  </a:lnTo>
                  <a:lnTo>
                    <a:pt x="21604" y="18869"/>
                  </a:lnTo>
                  <a:lnTo>
                    <a:pt x="21604" y="19057"/>
                  </a:lnTo>
                  <a:lnTo>
                    <a:pt x="21415" y="19152"/>
                  </a:lnTo>
                  <a:lnTo>
                    <a:pt x="20943" y="19529"/>
                  </a:lnTo>
                  <a:lnTo>
                    <a:pt x="20377" y="19812"/>
                  </a:lnTo>
                  <a:lnTo>
                    <a:pt x="19906" y="20095"/>
                  </a:lnTo>
                  <a:lnTo>
                    <a:pt x="20094" y="20189"/>
                  </a:lnTo>
                  <a:lnTo>
                    <a:pt x="20189" y="20284"/>
                  </a:lnTo>
                  <a:lnTo>
                    <a:pt x="19906" y="20378"/>
                  </a:lnTo>
                  <a:lnTo>
                    <a:pt x="19906" y="20284"/>
                  </a:lnTo>
                  <a:lnTo>
                    <a:pt x="19811" y="20189"/>
                  </a:lnTo>
                  <a:lnTo>
                    <a:pt x="19811" y="20284"/>
                  </a:lnTo>
                  <a:lnTo>
                    <a:pt x="19811" y="20378"/>
                  </a:lnTo>
                  <a:lnTo>
                    <a:pt x="19245" y="20284"/>
                  </a:lnTo>
                  <a:lnTo>
                    <a:pt x="19340" y="20378"/>
                  </a:lnTo>
                  <a:lnTo>
                    <a:pt x="19245" y="20472"/>
                  </a:lnTo>
                  <a:lnTo>
                    <a:pt x="19434" y="20567"/>
                  </a:lnTo>
                  <a:lnTo>
                    <a:pt x="19340" y="20661"/>
                  </a:lnTo>
                  <a:lnTo>
                    <a:pt x="18962" y="20661"/>
                  </a:lnTo>
                  <a:lnTo>
                    <a:pt x="18585" y="21038"/>
                  </a:lnTo>
                  <a:lnTo>
                    <a:pt x="18113" y="21416"/>
                  </a:lnTo>
                  <a:lnTo>
                    <a:pt x="17736" y="21699"/>
                  </a:lnTo>
                  <a:lnTo>
                    <a:pt x="17359" y="21793"/>
                  </a:lnTo>
                  <a:lnTo>
                    <a:pt x="17076" y="22076"/>
                  </a:lnTo>
                  <a:lnTo>
                    <a:pt x="16793" y="22359"/>
                  </a:lnTo>
                  <a:lnTo>
                    <a:pt x="16698" y="22265"/>
                  </a:lnTo>
                  <a:lnTo>
                    <a:pt x="16604" y="22170"/>
                  </a:lnTo>
                  <a:lnTo>
                    <a:pt x="16321" y="22170"/>
                  </a:lnTo>
                  <a:lnTo>
                    <a:pt x="15849" y="22453"/>
                  </a:lnTo>
                  <a:lnTo>
                    <a:pt x="14340" y="22831"/>
                  </a:lnTo>
                  <a:lnTo>
                    <a:pt x="14340" y="22925"/>
                  </a:lnTo>
                  <a:lnTo>
                    <a:pt x="14340" y="23019"/>
                  </a:lnTo>
                  <a:lnTo>
                    <a:pt x="14245" y="23114"/>
                  </a:lnTo>
                  <a:lnTo>
                    <a:pt x="14057" y="23019"/>
                  </a:lnTo>
                  <a:lnTo>
                    <a:pt x="13962" y="22925"/>
                  </a:lnTo>
                  <a:lnTo>
                    <a:pt x="13774" y="22925"/>
                  </a:lnTo>
                  <a:lnTo>
                    <a:pt x="13774" y="23208"/>
                  </a:lnTo>
                  <a:lnTo>
                    <a:pt x="13491" y="23114"/>
                  </a:lnTo>
                  <a:lnTo>
                    <a:pt x="13113" y="23114"/>
                  </a:lnTo>
                  <a:lnTo>
                    <a:pt x="12642" y="23208"/>
                  </a:lnTo>
                  <a:lnTo>
                    <a:pt x="12453" y="23302"/>
                  </a:lnTo>
                  <a:lnTo>
                    <a:pt x="12076" y="23208"/>
                  </a:lnTo>
                  <a:lnTo>
                    <a:pt x="11793" y="23114"/>
                  </a:lnTo>
                  <a:lnTo>
                    <a:pt x="11510" y="23585"/>
                  </a:lnTo>
                  <a:lnTo>
                    <a:pt x="11321" y="23397"/>
                  </a:lnTo>
                  <a:lnTo>
                    <a:pt x="11132" y="23302"/>
                  </a:lnTo>
                  <a:lnTo>
                    <a:pt x="10849" y="23302"/>
                  </a:lnTo>
                  <a:lnTo>
                    <a:pt x="10566" y="23397"/>
                  </a:lnTo>
                  <a:lnTo>
                    <a:pt x="10566" y="23302"/>
                  </a:lnTo>
                  <a:lnTo>
                    <a:pt x="10189" y="23302"/>
                  </a:lnTo>
                  <a:lnTo>
                    <a:pt x="9717" y="23491"/>
                  </a:lnTo>
                  <a:lnTo>
                    <a:pt x="9717" y="23302"/>
                  </a:lnTo>
                  <a:lnTo>
                    <a:pt x="9623" y="23491"/>
                  </a:lnTo>
                  <a:lnTo>
                    <a:pt x="9434" y="23680"/>
                  </a:lnTo>
                  <a:lnTo>
                    <a:pt x="9340" y="23585"/>
                  </a:lnTo>
                  <a:lnTo>
                    <a:pt x="9434" y="23585"/>
                  </a:lnTo>
                  <a:lnTo>
                    <a:pt x="9340" y="23491"/>
                  </a:lnTo>
                  <a:lnTo>
                    <a:pt x="9246" y="23491"/>
                  </a:lnTo>
                  <a:lnTo>
                    <a:pt x="9246" y="23585"/>
                  </a:lnTo>
                  <a:lnTo>
                    <a:pt x="9151" y="23491"/>
                  </a:lnTo>
                  <a:lnTo>
                    <a:pt x="8868" y="23680"/>
                  </a:lnTo>
                  <a:lnTo>
                    <a:pt x="8774" y="23680"/>
                  </a:lnTo>
                  <a:lnTo>
                    <a:pt x="8680" y="23491"/>
                  </a:lnTo>
                  <a:lnTo>
                    <a:pt x="8585" y="23585"/>
                  </a:lnTo>
                  <a:lnTo>
                    <a:pt x="8491" y="23585"/>
                  </a:lnTo>
                  <a:lnTo>
                    <a:pt x="8397" y="23491"/>
                  </a:lnTo>
                  <a:lnTo>
                    <a:pt x="8302" y="23491"/>
                  </a:lnTo>
                  <a:lnTo>
                    <a:pt x="8208" y="23302"/>
                  </a:lnTo>
                  <a:lnTo>
                    <a:pt x="8302" y="23114"/>
                  </a:lnTo>
                  <a:lnTo>
                    <a:pt x="8302" y="23114"/>
                  </a:lnTo>
                  <a:lnTo>
                    <a:pt x="8019" y="23208"/>
                  </a:lnTo>
                  <a:lnTo>
                    <a:pt x="7642" y="23208"/>
                  </a:lnTo>
                  <a:lnTo>
                    <a:pt x="7359" y="23302"/>
                  </a:lnTo>
                  <a:lnTo>
                    <a:pt x="7264" y="23302"/>
                  </a:lnTo>
                  <a:lnTo>
                    <a:pt x="7264" y="23397"/>
                  </a:lnTo>
                  <a:lnTo>
                    <a:pt x="7547" y="23397"/>
                  </a:lnTo>
                  <a:lnTo>
                    <a:pt x="7453" y="23491"/>
                  </a:lnTo>
                  <a:lnTo>
                    <a:pt x="7359" y="23491"/>
                  </a:lnTo>
                  <a:lnTo>
                    <a:pt x="7170" y="23680"/>
                  </a:lnTo>
                  <a:lnTo>
                    <a:pt x="6981" y="23397"/>
                  </a:lnTo>
                  <a:lnTo>
                    <a:pt x="6698" y="23208"/>
                  </a:lnTo>
                  <a:lnTo>
                    <a:pt x="6604" y="23114"/>
                  </a:lnTo>
                  <a:lnTo>
                    <a:pt x="6415" y="23208"/>
                  </a:lnTo>
                  <a:lnTo>
                    <a:pt x="6227" y="23302"/>
                  </a:lnTo>
                  <a:lnTo>
                    <a:pt x="6132" y="23491"/>
                  </a:lnTo>
                  <a:lnTo>
                    <a:pt x="6038" y="23491"/>
                  </a:lnTo>
                  <a:lnTo>
                    <a:pt x="6038" y="23397"/>
                  </a:lnTo>
                  <a:lnTo>
                    <a:pt x="6132" y="23208"/>
                  </a:lnTo>
                  <a:lnTo>
                    <a:pt x="5849" y="23302"/>
                  </a:lnTo>
                  <a:lnTo>
                    <a:pt x="5661" y="23397"/>
                  </a:lnTo>
                  <a:lnTo>
                    <a:pt x="5095" y="23208"/>
                  </a:lnTo>
                  <a:lnTo>
                    <a:pt x="4057" y="23019"/>
                  </a:lnTo>
                  <a:lnTo>
                    <a:pt x="2925" y="22831"/>
                  </a:lnTo>
                  <a:lnTo>
                    <a:pt x="2265" y="22831"/>
                  </a:lnTo>
                  <a:lnTo>
                    <a:pt x="2265" y="22642"/>
                  </a:lnTo>
                  <a:lnTo>
                    <a:pt x="1887" y="22642"/>
                  </a:lnTo>
                  <a:lnTo>
                    <a:pt x="1510" y="22548"/>
                  </a:lnTo>
                  <a:lnTo>
                    <a:pt x="944" y="22076"/>
                  </a:lnTo>
                  <a:lnTo>
                    <a:pt x="944" y="21887"/>
                  </a:lnTo>
                  <a:lnTo>
                    <a:pt x="1038" y="21699"/>
                  </a:lnTo>
                  <a:lnTo>
                    <a:pt x="755" y="21699"/>
                  </a:lnTo>
                  <a:lnTo>
                    <a:pt x="472" y="21793"/>
                  </a:lnTo>
                  <a:lnTo>
                    <a:pt x="95" y="22076"/>
                  </a:lnTo>
                  <a:lnTo>
                    <a:pt x="0" y="22265"/>
                  </a:lnTo>
                  <a:lnTo>
                    <a:pt x="0" y="22359"/>
                  </a:lnTo>
                  <a:lnTo>
                    <a:pt x="283" y="22453"/>
                  </a:lnTo>
                  <a:lnTo>
                    <a:pt x="189" y="22548"/>
                  </a:lnTo>
                  <a:lnTo>
                    <a:pt x="95" y="22453"/>
                  </a:lnTo>
                  <a:lnTo>
                    <a:pt x="95" y="22642"/>
                  </a:lnTo>
                  <a:lnTo>
                    <a:pt x="283" y="22642"/>
                  </a:lnTo>
                  <a:lnTo>
                    <a:pt x="566" y="22736"/>
                  </a:lnTo>
                  <a:lnTo>
                    <a:pt x="472" y="22831"/>
                  </a:lnTo>
                  <a:lnTo>
                    <a:pt x="472" y="22925"/>
                  </a:lnTo>
                  <a:lnTo>
                    <a:pt x="661" y="22736"/>
                  </a:lnTo>
                  <a:lnTo>
                    <a:pt x="755" y="22925"/>
                  </a:lnTo>
                  <a:lnTo>
                    <a:pt x="755" y="23019"/>
                  </a:lnTo>
                  <a:lnTo>
                    <a:pt x="661" y="23019"/>
                  </a:lnTo>
                  <a:lnTo>
                    <a:pt x="944" y="23114"/>
                  </a:lnTo>
                  <a:lnTo>
                    <a:pt x="1132" y="23208"/>
                  </a:lnTo>
                  <a:lnTo>
                    <a:pt x="1604" y="23397"/>
                  </a:lnTo>
                  <a:lnTo>
                    <a:pt x="1510" y="23491"/>
                  </a:lnTo>
                  <a:lnTo>
                    <a:pt x="1510" y="23585"/>
                  </a:lnTo>
                  <a:lnTo>
                    <a:pt x="1793" y="23680"/>
                  </a:lnTo>
                  <a:lnTo>
                    <a:pt x="2170" y="23774"/>
                  </a:lnTo>
                  <a:lnTo>
                    <a:pt x="2453" y="23774"/>
                  </a:lnTo>
                  <a:lnTo>
                    <a:pt x="2359" y="23868"/>
                  </a:lnTo>
                  <a:lnTo>
                    <a:pt x="2642" y="24057"/>
                  </a:lnTo>
                  <a:lnTo>
                    <a:pt x="2736" y="23868"/>
                  </a:lnTo>
                  <a:lnTo>
                    <a:pt x="3019" y="23680"/>
                  </a:lnTo>
                  <a:lnTo>
                    <a:pt x="2925" y="23963"/>
                  </a:lnTo>
                  <a:lnTo>
                    <a:pt x="2831" y="24151"/>
                  </a:lnTo>
                  <a:lnTo>
                    <a:pt x="3114" y="23868"/>
                  </a:lnTo>
                  <a:lnTo>
                    <a:pt x="3208" y="24151"/>
                  </a:lnTo>
                  <a:lnTo>
                    <a:pt x="3302" y="23963"/>
                  </a:lnTo>
                  <a:lnTo>
                    <a:pt x="3491" y="24057"/>
                  </a:lnTo>
                  <a:lnTo>
                    <a:pt x="3585" y="24340"/>
                  </a:lnTo>
                  <a:lnTo>
                    <a:pt x="3680" y="24246"/>
                  </a:lnTo>
                  <a:lnTo>
                    <a:pt x="3774" y="24057"/>
                  </a:lnTo>
                  <a:lnTo>
                    <a:pt x="3868" y="24151"/>
                  </a:lnTo>
                  <a:lnTo>
                    <a:pt x="3868" y="24340"/>
                  </a:lnTo>
                  <a:lnTo>
                    <a:pt x="4434" y="24151"/>
                  </a:lnTo>
                  <a:lnTo>
                    <a:pt x="4717" y="24057"/>
                  </a:lnTo>
                  <a:lnTo>
                    <a:pt x="4812" y="24151"/>
                  </a:lnTo>
                  <a:lnTo>
                    <a:pt x="4812" y="23868"/>
                  </a:lnTo>
                  <a:lnTo>
                    <a:pt x="5000" y="23774"/>
                  </a:lnTo>
                  <a:lnTo>
                    <a:pt x="5000" y="23868"/>
                  </a:lnTo>
                  <a:lnTo>
                    <a:pt x="4906" y="24057"/>
                  </a:lnTo>
                  <a:lnTo>
                    <a:pt x="5095" y="23963"/>
                  </a:lnTo>
                  <a:lnTo>
                    <a:pt x="5378" y="23963"/>
                  </a:lnTo>
                  <a:lnTo>
                    <a:pt x="5378" y="24151"/>
                  </a:lnTo>
                  <a:lnTo>
                    <a:pt x="5000" y="24151"/>
                  </a:lnTo>
                  <a:lnTo>
                    <a:pt x="5095" y="24246"/>
                  </a:lnTo>
                  <a:lnTo>
                    <a:pt x="5000" y="24246"/>
                  </a:lnTo>
                  <a:lnTo>
                    <a:pt x="5000" y="24434"/>
                  </a:lnTo>
                  <a:lnTo>
                    <a:pt x="5378" y="24434"/>
                  </a:lnTo>
                  <a:lnTo>
                    <a:pt x="5566" y="24246"/>
                  </a:lnTo>
                  <a:lnTo>
                    <a:pt x="5944" y="24340"/>
                  </a:lnTo>
                  <a:lnTo>
                    <a:pt x="6415" y="24340"/>
                  </a:lnTo>
                  <a:lnTo>
                    <a:pt x="6321" y="24434"/>
                  </a:lnTo>
                  <a:lnTo>
                    <a:pt x="6510" y="24434"/>
                  </a:lnTo>
                  <a:lnTo>
                    <a:pt x="6604" y="24340"/>
                  </a:lnTo>
                  <a:lnTo>
                    <a:pt x="6604" y="24246"/>
                  </a:lnTo>
                  <a:lnTo>
                    <a:pt x="6793" y="24340"/>
                  </a:lnTo>
                  <a:lnTo>
                    <a:pt x="6604" y="24434"/>
                  </a:lnTo>
                  <a:lnTo>
                    <a:pt x="6793" y="24434"/>
                  </a:lnTo>
                  <a:lnTo>
                    <a:pt x="6887" y="24340"/>
                  </a:lnTo>
                  <a:lnTo>
                    <a:pt x="6981" y="24434"/>
                  </a:lnTo>
                  <a:lnTo>
                    <a:pt x="7264" y="24434"/>
                  </a:lnTo>
                  <a:lnTo>
                    <a:pt x="7925" y="24623"/>
                  </a:lnTo>
                  <a:lnTo>
                    <a:pt x="8680" y="24623"/>
                  </a:lnTo>
                  <a:lnTo>
                    <a:pt x="9057" y="24529"/>
                  </a:lnTo>
                  <a:lnTo>
                    <a:pt x="9529" y="24529"/>
                  </a:lnTo>
                  <a:lnTo>
                    <a:pt x="10000" y="24623"/>
                  </a:lnTo>
                  <a:lnTo>
                    <a:pt x="10566" y="24717"/>
                  </a:lnTo>
                  <a:lnTo>
                    <a:pt x="11415" y="24623"/>
                  </a:lnTo>
                  <a:lnTo>
                    <a:pt x="12359" y="24529"/>
                  </a:lnTo>
                  <a:lnTo>
                    <a:pt x="12830" y="24340"/>
                  </a:lnTo>
                  <a:lnTo>
                    <a:pt x="12925" y="24529"/>
                  </a:lnTo>
                  <a:lnTo>
                    <a:pt x="13019" y="24340"/>
                  </a:lnTo>
                  <a:lnTo>
                    <a:pt x="13113" y="24529"/>
                  </a:lnTo>
                  <a:lnTo>
                    <a:pt x="13208" y="24434"/>
                  </a:lnTo>
                  <a:lnTo>
                    <a:pt x="13113" y="24340"/>
                  </a:lnTo>
                  <a:lnTo>
                    <a:pt x="13962" y="24340"/>
                  </a:lnTo>
                  <a:lnTo>
                    <a:pt x="13962" y="24434"/>
                  </a:lnTo>
                  <a:lnTo>
                    <a:pt x="13962" y="24529"/>
                  </a:lnTo>
                  <a:lnTo>
                    <a:pt x="14717" y="24246"/>
                  </a:lnTo>
                  <a:lnTo>
                    <a:pt x="15566" y="24057"/>
                  </a:lnTo>
                  <a:lnTo>
                    <a:pt x="15378" y="23963"/>
                  </a:lnTo>
                  <a:lnTo>
                    <a:pt x="15472" y="23868"/>
                  </a:lnTo>
                  <a:lnTo>
                    <a:pt x="15566" y="23963"/>
                  </a:lnTo>
                  <a:lnTo>
                    <a:pt x="15472" y="23774"/>
                  </a:lnTo>
                  <a:lnTo>
                    <a:pt x="15661" y="23868"/>
                  </a:lnTo>
                  <a:lnTo>
                    <a:pt x="15566" y="24057"/>
                  </a:lnTo>
                  <a:lnTo>
                    <a:pt x="16038" y="23963"/>
                  </a:lnTo>
                  <a:lnTo>
                    <a:pt x="16698" y="23680"/>
                  </a:lnTo>
                  <a:lnTo>
                    <a:pt x="17264" y="23397"/>
                  </a:lnTo>
                  <a:lnTo>
                    <a:pt x="17453" y="23208"/>
                  </a:lnTo>
                  <a:lnTo>
                    <a:pt x="17547" y="23019"/>
                  </a:lnTo>
                  <a:lnTo>
                    <a:pt x="17736" y="23114"/>
                  </a:lnTo>
                  <a:lnTo>
                    <a:pt x="17830" y="23114"/>
                  </a:lnTo>
                  <a:lnTo>
                    <a:pt x="18019" y="23019"/>
                  </a:lnTo>
                  <a:lnTo>
                    <a:pt x="18208" y="22736"/>
                  </a:lnTo>
                  <a:lnTo>
                    <a:pt x="18302" y="22548"/>
                  </a:lnTo>
                  <a:lnTo>
                    <a:pt x="18868" y="22359"/>
                  </a:lnTo>
                  <a:lnTo>
                    <a:pt x="19623" y="22076"/>
                  </a:lnTo>
                  <a:lnTo>
                    <a:pt x="20189" y="21699"/>
                  </a:lnTo>
                  <a:lnTo>
                    <a:pt x="20849" y="21227"/>
                  </a:lnTo>
                  <a:lnTo>
                    <a:pt x="21321" y="20755"/>
                  </a:lnTo>
                  <a:lnTo>
                    <a:pt x="21510" y="20472"/>
                  </a:lnTo>
                  <a:lnTo>
                    <a:pt x="22170" y="19906"/>
                  </a:lnTo>
                  <a:lnTo>
                    <a:pt x="22736" y="19435"/>
                  </a:lnTo>
                  <a:lnTo>
                    <a:pt x="23113" y="18963"/>
                  </a:lnTo>
                  <a:lnTo>
                    <a:pt x="23302" y="18585"/>
                  </a:lnTo>
                  <a:lnTo>
                    <a:pt x="23396" y="18774"/>
                  </a:lnTo>
                  <a:lnTo>
                    <a:pt x="23585" y="18397"/>
                  </a:lnTo>
                  <a:lnTo>
                    <a:pt x="23774" y="18114"/>
                  </a:lnTo>
                  <a:lnTo>
                    <a:pt x="24057" y="17736"/>
                  </a:lnTo>
                  <a:lnTo>
                    <a:pt x="24245" y="17453"/>
                  </a:lnTo>
                  <a:lnTo>
                    <a:pt x="24340" y="17453"/>
                  </a:lnTo>
                  <a:lnTo>
                    <a:pt x="24434" y="17359"/>
                  </a:lnTo>
                  <a:lnTo>
                    <a:pt x="24623" y="16982"/>
                  </a:lnTo>
                  <a:lnTo>
                    <a:pt x="25189" y="16227"/>
                  </a:lnTo>
                  <a:lnTo>
                    <a:pt x="25566" y="15661"/>
                  </a:lnTo>
                  <a:lnTo>
                    <a:pt x="25943" y="15189"/>
                  </a:lnTo>
                  <a:lnTo>
                    <a:pt x="26226" y="14529"/>
                  </a:lnTo>
                  <a:lnTo>
                    <a:pt x="26509" y="13680"/>
                  </a:lnTo>
                  <a:lnTo>
                    <a:pt x="26604" y="13869"/>
                  </a:lnTo>
                  <a:lnTo>
                    <a:pt x="26604" y="13586"/>
                  </a:lnTo>
                  <a:lnTo>
                    <a:pt x="26698" y="13303"/>
                  </a:lnTo>
                  <a:lnTo>
                    <a:pt x="26792" y="13303"/>
                  </a:lnTo>
                  <a:lnTo>
                    <a:pt x="26887" y="13397"/>
                  </a:lnTo>
                  <a:lnTo>
                    <a:pt x="27170" y="12831"/>
                  </a:lnTo>
                  <a:lnTo>
                    <a:pt x="27264" y="12548"/>
                  </a:lnTo>
                  <a:lnTo>
                    <a:pt x="27264" y="12454"/>
                  </a:lnTo>
                  <a:lnTo>
                    <a:pt x="26981" y="12076"/>
                  </a:lnTo>
                  <a:lnTo>
                    <a:pt x="27075" y="12171"/>
                  </a:lnTo>
                  <a:lnTo>
                    <a:pt x="27170" y="12076"/>
                  </a:lnTo>
                  <a:lnTo>
                    <a:pt x="27358" y="12076"/>
                  </a:lnTo>
                  <a:lnTo>
                    <a:pt x="27453" y="12171"/>
                  </a:lnTo>
                  <a:lnTo>
                    <a:pt x="27453" y="11982"/>
                  </a:lnTo>
                  <a:lnTo>
                    <a:pt x="27547" y="11793"/>
                  </a:lnTo>
                  <a:lnTo>
                    <a:pt x="27641" y="11793"/>
                  </a:lnTo>
                  <a:lnTo>
                    <a:pt x="27547" y="11510"/>
                  </a:lnTo>
                  <a:lnTo>
                    <a:pt x="27641" y="11133"/>
                  </a:lnTo>
                  <a:lnTo>
                    <a:pt x="27830" y="10755"/>
                  </a:lnTo>
                  <a:lnTo>
                    <a:pt x="27924" y="10661"/>
                  </a:lnTo>
                  <a:lnTo>
                    <a:pt x="28113" y="10661"/>
                  </a:lnTo>
                  <a:lnTo>
                    <a:pt x="28019" y="10378"/>
                  </a:lnTo>
                  <a:lnTo>
                    <a:pt x="28019" y="10284"/>
                  </a:lnTo>
                  <a:lnTo>
                    <a:pt x="28019" y="10095"/>
                  </a:lnTo>
                  <a:lnTo>
                    <a:pt x="28113" y="10284"/>
                  </a:lnTo>
                  <a:lnTo>
                    <a:pt x="28208" y="10001"/>
                  </a:lnTo>
                  <a:lnTo>
                    <a:pt x="28019" y="10001"/>
                  </a:lnTo>
                  <a:lnTo>
                    <a:pt x="27924" y="9906"/>
                  </a:lnTo>
                  <a:lnTo>
                    <a:pt x="28113" y="9718"/>
                  </a:lnTo>
                  <a:lnTo>
                    <a:pt x="28208" y="9718"/>
                  </a:lnTo>
                  <a:lnTo>
                    <a:pt x="28113" y="9529"/>
                  </a:lnTo>
                  <a:lnTo>
                    <a:pt x="28396" y="9529"/>
                  </a:lnTo>
                  <a:lnTo>
                    <a:pt x="28302" y="9057"/>
                  </a:lnTo>
                  <a:lnTo>
                    <a:pt x="28396" y="9057"/>
                  </a:lnTo>
                  <a:lnTo>
                    <a:pt x="28396" y="8963"/>
                  </a:lnTo>
                  <a:lnTo>
                    <a:pt x="28396" y="8774"/>
                  </a:lnTo>
                  <a:lnTo>
                    <a:pt x="28491" y="8491"/>
                  </a:lnTo>
                  <a:lnTo>
                    <a:pt x="28585" y="8114"/>
                  </a:lnTo>
                  <a:lnTo>
                    <a:pt x="28774" y="8303"/>
                  </a:lnTo>
                  <a:lnTo>
                    <a:pt x="28962" y="7454"/>
                  </a:lnTo>
                  <a:lnTo>
                    <a:pt x="29057" y="6699"/>
                  </a:lnTo>
                  <a:lnTo>
                    <a:pt x="29245" y="5661"/>
                  </a:lnTo>
                  <a:lnTo>
                    <a:pt x="29340" y="4718"/>
                  </a:lnTo>
                  <a:lnTo>
                    <a:pt x="29340" y="4341"/>
                  </a:lnTo>
                  <a:lnTo>
                    <a:pt x="29057" y="4435"/>
                  </a:lnTo>
                  <a:lnTo>
                    <a:pt x="28962" y="4435"/>
                  </a:lnTo>
                  <a:lnTo>
                    <a:pt x="28962" y="4246"/>
                  </a:lnTo>
                  <a:lnTo>
                    <a:pt x="29151" y="4341"/>
                  </a:lnTo>
                  <a:lnTo>
                    <a:pt x="29245" y="4152"/>
                  </a:lnTo>
                  <a:lnTo>
                    <a:pt x="29151" y="4152"/>
                  </a:lnTo>
                  <a:lnTo>
                    <a:pt x="29057" y="3963"/>
                  </a:lnTo>
                  <a:lnTo>
                    <a:pt x="28962" y="3680"/>
                  </a:lnTo>
                  <a:lnTo>
                    <a:pt x="28962" y="3680"/>
                  </a:lnTo>
                  <a:lnTo>
                    <a:pt x="29245" y="3774"/>
                  </a:lnTo>
                  <a:lnTo>
                    <a:pt x="29057" y="3586"/>
                  </a:lnTo>
                  <a:lnTo>
                    <a:pt x="29057" y="3397"/>
                  </a:lnTo>
                  <a:lnTo>
                    <a:pt x="29245" y="3586"/>
                  </a:lnTo>
                  <a:lnTo>
                    <a:pt x="29245" y="3491"/>
                  </a:lnTo>
                  <a:lnTo>
                    <a:pt x="29434" y="3114"/>
                  </a:lnTo>
                  <a:lnTo>
                    <a:pt x="29245" y="2925"/>
                  </a:lnTo>
                  <a:lnTo>
                    <a:pt x="28962" y="2642"/>
                  </a:lnTo>
                  <a:lnTo>
                    <a:pt x="28962" y="2642"/>
                  </a:lnTo>
                  <a:lnTo>
                    <a:pt x="29245" y="2831"/>
                  </a:lnTo>
                  <a:lnTo>
                    <a:pt x="29340" y="2737"/>
                  </a:lnTo>
                  <a:lnTo>
                    <a:pt x="29434" y="2359"/>
                  </a:lnTo>
                  <a:lnTo>
                    <a:pt x="29434" y="2265"/>
                  </a:lnTo>
                  <a:lnTo>
                    <a:pt x="29434" y="2171"/>
                  </a:lnTo>
                  <a:lnTo>
                    <a:pt x="29340" y="2171"/>
                  </a:lnTo>
                  <a:lnTo>
                    <a:pt x="28774" y="944"/>
                  </a:lnTo>
                  <a:lnTo>
                    <a:pt x="28962" y="661"/>
                  </a:lnTo>
                  <a:lnTo>
                    <a:pt x="29057" y="473"/>
                  </a:lnTo>
                  <a:lnTo>
                    <a:pt x="29151" y="473"/>
                  </a:lnTo>
                  <a:lnTo>
                    <a:pt x="28868" y="190"/>
                  </a:lnTo>
                  <a:lnTo>
                    <a:pt x="29057" y="190"/>
                  </a:lnTo>
                  <a:lnTo>
                    <a:pt x="28962" y="1"/>
                  </a:lnTo>
                  <a:close/>
                </a:path>
              </a:pathLst>
            </a:custGeom>
            <a:solidFill>
              <a:srgbClr val="0067B7">
                <a:alpha val="48000"/>
              </a:srgbClr>
            </a:solidFill>
            <a:ln>
              <a:noFill/>
            </a:ln>
          </p:spPr>
          <p:txBody>
            <a:bodyPr spcFirstLastPara="1" wrap="square" lIns="91425" tIns="91425" rIns="91425" bIns="91425" anchor="ctr" anchorCtr="0">
              <a:noAutofit/>
            </a:bodyPr>
            <a:lstStyle/>
            <a:p>
              <a:pPr marL="0" lvl="0" indent="0">
                <a:spcBef>
                  <a:spcPts val="0"/>
                </a:spcBef>
                <a:spcAft>
                  <a:spcPts val="0"/>
                </a:spcAft>
                <a:buNone/>
              </a:pPr>
              <a:endParaRPr dirty="0">
                <a:solidFill>
                  <a:srgbClr val="87CBD8"/>
                </a:solidFill>
              </a:endParaRPr>
            </a:p>
          </p:txBody>
        </p:sp>
        <p:sp>
          <p:nvSpPr>
            <p:cNvPr id="10" name="Google Shape;427;p39">
              <a:extLst>
                <a:ext uri="{FF2B5EF4-FFF2-40B4-BE49-F238E27FC236}">
                  <a16:creationId xmlns:a16="http://schemas.microsoft.com/office/drawing/2014/main" id="{A16C2BDC-2483-754F-98B9-C4D4FA3BC062}"/>
                </a:ext>
              </a:extLst>
            </p:cNvPr>
            <p:cNvSpPr/>
            <p:nvPr/>
          </p:nvSpPr>
          <p:spPr>
            <a:xfrm>
              <a:off x="1745175" y="2199475"/>
              <a:ext cx="169825" cy="162775"/>
            </a:xfrm>
            <a:custGeom>
              <a:avLst/>
              <a:gdLst/>
              <a:ahLst/>
              <a:cxnLst/>
              <a:rect l="0" t="0" r="0" b="0"/>
              <a:pathLst>
                <a:path w="6793" h="6511" extrusionOk="0">
                  <a:moveTo>
                    <a:pt x="1038" y="6416"/>
                  </a:moveTo>
                  <a:lnTo>
                    <a:pt x="1038" y="6463"/>
                  </a:lnTo>
                  <a:lnTo>
                    <a:pt x="1038" y="6463"/>
                  </a:lnTo>
                  <a:lnTo>
                    <a:pt x="943" y="6416"/>
                  </a:lnTo>
                  <a:close/>
                  <a:moveTo>
                    <a:pt x="2641" y="1"/>
                  </a:moveTo>
                  <a:lnTo>
                    <a:pt x="2641" y="190"/>
                  </a:lnTo>
                  <a:lnTo>
                    <a:pt x="2641" y="473"/>
                  </a:lnTo>
                  <a:lnTo>
                    <a:pt x="2641" y="567"/>
                  </a:lnTo>
                  <a:lnTo>
                    <a:pt x="2547" y="284"/>
                  </a:lnTo>
                  <a:lnTo>
                    <a:pt x="2547" y="756"/>
                  </a:lnTo>
                  <a:lnTo>
                    <a:pt x="2453" y="284"/>
                  </a:lnTo>
                  <a:lnTo>
                    <a:pt x="2453" y="473"/>
                  </a:lnTo>
                  <a:lnTo>
                    <a:pt x="2453" y="661"/>
                  </a:lnTo>
                  <a:lnTo>
                    <a:pt x="2075" y="1227"/>
                  </a:lnTo>
                  <a:lnTo>
                    <a:pt x="1509" y="2171"/>
                  </a:lnTo>
                  <a:lnTo>
                    <a:pt x="849" y="3114"/>
                  </a:lnTo>
                  <a:lnTo>
                    <a:pt x="377" y="3774"/>
                  </a:lnTo>
                  <a:lnTo>
                    <a:pt x="283" y="4152"/>
                  </a:lnTo>
                  <a:lnTo>
                    <a:pt x="472" y="4246"/>
                  </a:lnTo>
                  <a:lnTo>
                    <a:pt x="472" y="4340"/>
                  </a:lnTo>
                  <a:lnTo>
                    <a:pt x="377" y="4435"/>
                  </a:lnTo>
                  <a:lnTo>
                    <a:pt x="283" y="4435"/>
                  </a:lnTo>
                  <a:lnTo>
                    <a:pt x="566" y="4529"/>
                  </a:lnTo>
                  <a:lnTo>
                    <a:pt x="472" y="4435"/>
                  </a:lnTo>
                  <a:lnTo>
                    <a:pt x="566" y="4435"/>
                  </a:lnTo>
                  <a:lnTo>
                    <a:pt x="849" y="4623"/>
                  </a:lnTo>
                  <a:lnTo>
                    <a:pt x="566" y="4623"/>
                  </a:lnTo>
                  <a:lnTo>
                    <a:pt x="472" y="4812"/>
                  </a:lnTo>
                  <a:lnTo>
                    <a:pt x="377" y="5284"/>
                  </a:lnTo>
                  <a:lnTo>
                    <a:pt x="283" y="5944"/>
                  </a:lnTo>
                  <a:lnTo>
                    <a:pt x="189" y="6133"/>
                  </a:lnTo>
                  <a:lnTo>
                    <a:pt x="0" y="6227"/>
                  </a:lnTo>
                  <a:lnTo>
                    <a:pt x="566" y="6416"/>
                  </a:lnTo>
                  <a:lnTo>
                    <a:pt x="1038" y="6494"/>
                  </a:lnTo>
                  <a:lnTo>
                    <a:pt x="1038" y="6494"/>
                  </a:lnTo>
                  <a:lnTo>
                    <a:pt x="1038" y="6510"/>
                  </a:lnTo>
                  <a:lnTo>
                    <a:pt x="1051" y="6497"/>
                  </a:lnTo>
                  <a:lnTo>
                    <a:pt x="1051" y="6497"/>
                  </a:lnTo>
                  <a:lnTo>
                    <a:pt x="1132" y="6510"/>
                  </a:lnTo>
                  <a:lnTo>
                    <a:pt x="1069" y="6479"/>
                  </a:lnTo>
                  <a:lnTo>
                    <a:pt x="1069" y="6479"/>
                  </a:lnTo>
                  <a:lnTo>
                    <a:pt x="1132" y="6416"/>
                  </a:lnTo>
                  <a:lnTo>
                    <a:pt x="1226" y="6133"/>
                  </a:lnTo>
                  <a:lnTo>
                    <a:pt x="1226" y="5944"/>
                  </a:lnTo>
                  <a:lnTo>
                    <a:pt x="1038" y="5755"/>
                  </a:lnTo>
                  <a:lnTo>
                    <a:pt x="1415" y="5755"/>
                  </a:lnTo>
                  <a:lnTo>
                    <a:pt x="1321" y="5661"/>
                  </a:lnTo>
                  <a:lnTo>
                    <a:pt x="1415" y="5661"/>
                  </a:lnTo>
                  <a:lnTo>
                    <a:pt x="1604" y="5755"/>
                  </a:lnTo>
                  <a:lnTo>
                    <a:pt x="1415" y="5567"/>
                  </a:lnTo>
                  <a:lnTo>
                    <a:pt x="1038" y="5189"/>
                  </a:lnTo>
                  <a:lnTo>
                    <a:pt x="1226" y="5284"/>
                  </a:lnTo>
                  <a:lnTo>
                    <a:pt x="1604" y="5378"/>
                  </a:lnTo>
                  <a:lnTo>
                    <a:pt x="2264" y="3491"/>
                  </a:lnTo>
                  <a:lnTo>
                    <a:pt x="3019" y="1605"/>
                  </a:lnTo>
                  <a:lnTo>
                    <a:pt x="3019" y="1888"/>
                  </a:lnTo>
                  <a:lnTo>
                    <a:pt x="3113" y="1699"/>
                  </a:lnTo>
                  <a:lnTo>
                    <a:pt x="3113" y="1888"/>
                  </a:lnTo>
                  <a:lnTo>
                    <a:pt x="3302" y="1699"/>
                  </a:lnTo>
                  <a:lnTo>
                    <a:pt x="3208" y="1888"/>
                  </a:lnTo>
                  <a:lnTo>
                    <a:pt x="3302" y="1982"/>
                  </a:lnTo>
                  <a:lnTo>
                    <a:pt x="3585" y="2076"/>
                  </a:lnTo>
                  <a:lnTo>
                    <a:pt x="3962" y="2171"/>
                  </a:lnTo>
                  <a:lnTo>
                    <a:pt x="4340" y="1982"/>
                  </a:lnTo>
                  <a:lnTo>
                    <a:pt x="4151" y="2171"/>
                  </a:lnTo>
                  <a:lnTo>
                    <a:pt x="4151" y="2359"/>
                  </a:lnTo>
                  <a:lnTo>
                    <a:pt x="4151" y="2454"/>
                  </a:lnTo>
                  <a:lnTo>
                    <a:pt x="4245" y="2548"/>
                  </a:lnTo>
                  <a:lnTo>
                    <a:pt x="4623" y="2548"/>
                  </a:lnTo>
                  <a:lnTo>
                    <a:pt x="4811" y="2359"/>
                  </a:lnTo>
                  <a:lnTo>
                    <a:pt x="5000" y="2642"/>
                  </a:lnTo>
                  <a:lnTo>
                    <a:pt x="5283" y="3020"/>
                  </a:lnTo>
                  <a:lnTo>
                    <a:pt x="5755" y="3208"/>
                  </a:lnTo>
                  <a:lnTo>
                    <a:pt x="6132" y="3208"/>
                  </a:lnTo>
                  <a:lnTo>
                    <a:pt x="6038" y="3397"/>
                  </a:lnTo>
                  <a:lnTo>
                    <a:pt x="6038" y="3586"/>
                  </a:lnTo>
                  <a:lnTo>
                    <a:pt x="6132" y="3680"/>
                  </a:lnTo>
                  <a:lnTo>
                    <a:pt x="6321" y="3680"/>
                  </a:lnTo>
                  <a:lnTo>
                    <a:pt x="6698" y="3586"/>
                  </a:lnTo>
                  <a:lnTo>
                    <a:pt x="6698" y="3869"/>
                  </a:lnTo>
                  <a:lnTo>
                    <a:pt x="6509" y="3963"/>
                  </a:lnTo>
                  <a:lnTo>
                    <a:pt x="6509" y="3963"/>
                  </a:lnTo>
                  <a:lnTo>
                    <a:pt x="6792" y="3869"/>
                  </a:lnTo>
                  <a:lnTo>
                    <a:pt x="6792" y="3491"/>
                  </a:lnTo>
                  <a:lnTo>
                    <a:pt x="6698" y="3397"/>
                  </a:lnTo>
                  <a:lnTo>
                    <a:pt x="6509" y="3586"/>
                  </a:lnTo>
                  <a:lnTo>
                    <a:pt x="6509" y="3586"/>
                  </a:lnTo>
                  <a:lnTo>
                    <a:pt x="6604" y="3303"/>
                  </a:lnTo>
                  <a:lnTo>
                    <a:pt x="6604" y="3114"/>
                  </a:lnTo>
                  <a:lnTo>
                    <a:pt x="6509" y="3020"/>
                  </a:lnTo>
                  <a:lnTo>
                    <a:pt x="6226" y="3020"/>
                  </a:lnTo>
                  <a:lnTo>
                    <a:pt x="5849" y="3114"/>
                  </a:lnTo>
                  <a:lnTo>
                    <a:pt x="5849" y="3114"/>
                  </a:lnTo>
                  <a:lnTo>
                    <a:pt x="5943" y="2831"/>
                  </a:lnTo>
                  <a:lnTo>
                    <a:pt x="5943" y="2925"/>
                  </a:lnTo>
                  <a:lnTo>
                    <a:pt x="6132" y="2548"/>
                  </a:lnTo>
                  <a:lnTo>
                    <a:pt x="5660" y="2359"/>
                  </a:lnTo>
                  <a:lnTo>
                    <a:pt x="5283" y="2171"/>
                  </a:lnTo>
                  <a:lnTo>
                    <a:pt x="4906" y="2171"/>
                  </a:lnTo>
                  <a:lnTo>
                    <a:pt x="4906" y="1699"/>
                  </a:lnTo>
                  <a:lnTo>
                    <a:pt x="5094" y="1322"/>
                  </a:lnTo>
                  <a:lnTo>
                    <a:pt x="4717" y="1605"/>
                  </a:lnTo>
                  <a:lnTo>
                    <a:pt x="4811" y="1322"/>
                  </a:lnTo>
                  <a:lnTo>
                    <a:pt x="4811" y="1322"/>
                  </a:lnTo>
                  <a:lnTo>
                    <a:pt x="4717" y="1416"/>
                  </a:lnTo>
                  <a:lnTo>
                    <a:pt x="4434" y="1605"/>
                  </a:lnTo>
                  <a:lnTo>
                    <a:pt x="4623" y="1322"/>
                  </a:lnTo>
                  <a:lnTo>
                    <a:pt x="4623" y="1227"/>
                  </a:lnTo>
                  <a:lnTo>
                    <a:pt x="4528" y="1133"/>
                  </a:lnTo>
                  <a:lnTo>
                    <a:pt x="4340" y="1322"/>
                  </a:lnTo>
                  <a:lnTo>
                    <a:pt x="4340" y="1510"/>
                  </a:lnTo>
                  <a:lnTo>
                    <a:pt x="4245" y="1322"/>
                  </a:lnTo>
                  <a:lnTo>
                    <a:pt x="4151" y="1227"/>
                  </a:lnTo>
                  <a:lnTo>
                    <a:pt x="3868" y="944"/>
                  </a:lnTo>
                  <a:lnTo>
                    <a:pt x="3208" y="567"/>
                  </a:lnTo>
                  <a:lnTo>
                    <a:pt x="2925" y="378"/>
                  </a:lnTo>
                  <a:lnTo>
                    <a:pt x="2736" y="1"/>
                  </a:lnTo>
                  <a:close/>
                </a:path>
              </a:pathLst>
            </a:custGeom>
            <a:solidFill>
              <a:srgbClr val="0067B7">
                <a:alpha val="50000"/>
              </a:srgbClr>
            </a:solidFill>
            <a:ln>
              <a:noFill/>
            </a:ln>
          </p:spPr>
          <p:txBody>
            <a:bodyPr spcFirstLastPara="1" wrap="square" lIns="91425" tIns="91425" rIns="91425" bIns="91425" anchor="ctr" anchorCtr="0">
              <a:noAutofit/>
            </a:bodyPr>
            <a:lstStyle/>
            <a:p>
              <a:pPr marL="0" lvl="0" indent="0">
                <a:spcBef>
                  <a:spcPts val="0"/>
                </a:spcBef>
                <a:spcAft>
                  <a:spcPts val="0"/>
                </a:spcAft>
                <a:buNone/>
              </a:pPr>
              <a:endParaRPr dirty="0"/>
            </a:p>
          </p:txBody>
        </p:sp>
      </p:grpSp>
      <p:sp>
        <p:nvSpPr>
          <p:cNvPr id="11" name="Rectangle 10">
            <a:extLst>
              <a:ext uri="{FF2B5EF4-FFF2-40B4-BE49-F238E27FC236}">
                <a16:creationId xmlns:a16="http://schemas.microsoft.com/office/drawing/2014/main" id="{B6F2D388-CFBE-F845-A5C1-DC420AEBF459}"/>
              </a:ext>
            </a:extLst>
          </p:cNvPr>
          <p:cNvSpPr/>
          <p:nvPr/>
        </p:nvSpPr>
        <p:spPr>
          <a:xfrm>
            <a:off x="2299254" y="1784188"/>
            <a:ext cx="494110" cy="30228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r>
              <a:rPr lang="en-US" sz="1200" b="1" dirty="0">
                <a:solidFill>
                  <a:srgbClr val="035DA2"/>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Pull</a:t>
            </a:r>
          </a:p>
        </p:txBody>
      </p:sp>
      <p:pic>
        <p:nvPicPr>
          <p:cNvPr id="13" name="Picture 12">
            <a:extLst>
              <a:ext uri="{FF2B5EF4-FFF2-40B4-BE49-F238E27FC236}">
                <a16:creationId xmlns:a16="http://schemas.microsoft.com/office/drawing/2014/main" id="{32675E63-3FA5-9F4A-A261-C60909D0255A}"/>
              </a:ext>
            </a:extLst>
          </p:cNvPr>
          <p:cNvPicPr>
            <a:picLocks noChangeAspect="1"/>
          </p:cNvPicPr>
          <p:nvPr/>
        </p:nvPicPr>
        <p:blipFill>
          <a:blip r:embed="rId4"/>
          <a:stretch>
            <a:fillRect/>
          </a:stretch>
        </p:blipFill>
        <p:spPr>
          <a:xfrm>
            <a:off x="3787526" y="3880509"/>
            <a:ext cx="820420" cy="649382"/>
          </a:xfrm>
          <a:prstGeom prst="rect">
            <a:avLst/>
          </a:prstGeom>
        </p:spPr>
      </p:pic>
      <p:grpSp>
        <p:nvGrpSpPr>
          <p:cNvPr id="15" name="Google Shape;236;p27">
            <a:extLst>
              <a:ext uri="{FF2B5EF4-FFF2-40B4-BE49-F238E27FC236}">
                <a16:creationId xmlns:a16="http://schemas.microsoft.com/office/drawing/2014/main" id="{11BFCC7D-E453-0F4A-901C-9A0217B28E92}"/>
              </a:ext>
            </a:extLst>
          </p:cNvPr>
          <p:cNvGrpSpPr/>
          <p:nvPr/>
        </p:nvGrpSpPr>
        <p:grpSpPr>
          <a:xfrm rot="5636591">
            <a:off x="3630491" y="3196635"/>
            <a:ext cx="1134489" cy="130601"/>
            <a:chOff x="3103836" y="2764475"/>
            <a:chExt cx="954587" cy="281287"/>
          </a:xfrm>
        </p:grpSpPr>
        <p:sp>
          <p:nvSpPr>
            <p:cNvPr id="16" name="Google Shape;237;p27">
              <a:extLst>
                <a:ext uri="{FF2B5EF4-FFF2-40B4-BE49-F238E27FC236}">
                  <a16:creationId xmlns:a16="http://schemas.microsoft.com/office/drawing/2014/main" id="{91589FD9-031B-8E40-B9A9-64C7C4D97A13}"/>
                </a:ext>
              </a:extLst>
            </p:cNvPr>
            <p:cNvSpPr/>
            <p:nvPr/>
          </p:nvSpPr>
          <p:spPr>
            <a:xfrm>
              <a:off x="3103836" y="2815253"/>
              <a:ext cx="838038" cy="230509"/>
            </a:xfrm>
            <a:custGeom>
              <a:avLst/>
              <a:gdLst/>
              <a:ahLst/>
              <a:cxnLst/>
              <a:rect l="0" t="0" r="0" b="0"/>
              <a:pathLst>
                <a:path w="27831" h="2831" extrusionOk="0">
                  <a:moveTo>
                    <a:pt x="27264" y="944"/>
                  </a:moveTo>
                  <a:lnTo>
                    <a:pt x="27359" y="1086"/>
                  </a:lnTo>
                  <a:lnTo>
                    <a:pt x="27359" y="944"/>
                  </a:lnTo>
                  <a:close/>
                  <a:moveTo>
                    <a:pt x="27359" y="1086"/>
                  </a:moveTo>
                  <a:lnTo>
                    <a:pt x="27359" y="1133"/>
                  </a:lnTo>
                  <a:lnTo>
                    <a:pt x="27372" y="1106"/>
                  </a:lnTo>
                  <a:lnTo>
                    <a:pt x="27372" y="1106"/>
                  </a:lnTo>
                  <a:lnTo>
                    <a:pt x="27359" y="1086"/>
                  </a:lnTo>
                  <a:close/>
                  <a:moveTo>
                    <a:pt x="27453" y="944"/>
                  </a:moveTo>
                  <a:lnTo>
                    <a:pt x="27372" y="1106"/>
                  </a:lnTo>
                  <a:lnTo>
                    <a:pt x="27372" y="1106"/>
                  </a:lnTo>
                  <a:lnTo>
                    <a:pt x="27453" y="1227"/>
                  </a:lnTo>
                  <a:lnTo>
                    <a:pt x="27453" y="944"/>
                  </a:lnTo>
                  <a:close/>
                  <a:moveTo>
                    <a:pt x="27642" y="1039"/>
                  </a:moveTo>
                  <a:lnTo>
                    <a:pt x="27453" y="1227"/>
                  </a:lnTo>
                  <a:lnTo>
                    <a:pt x="27453" y="1322"/>
                  </a:lnTo>
                  <a:lnTo>
                    <a:pt x="27453" y="1416"/>
                  </a:lnTo>
                  <a:lnTo>
                    <a:pt x="27830" y="1416"/>
                  </a:lnTo>
                  <a:lnTo>
                    <a:pt x="27830" y="1227"/>
                  </a:lnTo>
                  <a:lnTo>
                    <a:pt x="27736" y="1322"/>
                  </a:lnTo>
                  <a:lnTo>
                    <a:pt x="27736" y="1227"/>
                  </a:lnTo>
                  <a:lnTo>
                    <a:pt x="27736" y="1133"/>
                  </a:lnTo>
                  <a:lnTo>
                    <a:pt x="27642" y="1039"/>
                  </a:lnTo>
                  <a:close/>
                  <a:moveTo>
                    <a:pt x="20189" y="1"/>
                  </a:moveTo>
                  <a:lnTo>
                    <a:pt x="20095" y="190"/>
                  </a:lnTo>
                  <a:lnTo>
                    <a:pt x="20000" y="95"/>
                  </a:lnTo>
                  <a:lnTo>
                    <a:pt x="19906" y="284"/>
                  </a:lnTo>
                  <a:lnTo>
                    <a:pt x="19812" y="473"/>
                  </a:lnTo>
                  <a:lnTo>
                    <a:pt x="19529" y="284"/>
                  </a:lnTo>
                  <a:lnTo>
                    <a:pt x="19340" y="95"/>
                  </a:lnTo>
                  <a:lnTo>
                    <a:pt x="19246" y="95"/>
                  </a:lnTo>
                  <a:lnTo>
                    <a:pt x="19246" y="190"/>
                  </a:lnTo>
                  <a:lnTo>
                    <a:pt x="19151" y="378"/>
                  </a:lnTo>
                  <a:lnTo>
                    <a:pt x="19434" y="190"/>
                  </a:lnTo>
                  <a:lnTo>
                    <a:pt x="19246" y="473"/>
                  </a:lnTo>
                  <a:lnTo>
                    <a:pt x="19434" y="378"/>
                  </a:lnTo>
                  <a:lnTo>
                    <a:pt x="19434" y="567"/>
                  </a:lnTo>
                  <a:lnTo>
                    <a:pt x="19151" y="567"/>
                  </a:lnTo>
                  <a:lnTo>
                    <a:pt x="19151" y="190"/>
                  </a:lnTo>
                  <a:lnTo>
                    <a:pt x="19057" y="95"/>
                  </a:lnTo>
                  <a:lnTo>
                    <a:pt x="18963" y="95"/>
                  </a:lnTo>
                  <a:lnTo>
                    <a:pt x="18774" y="284"/>
                  </a:lnTo>
                  <a:lnTo>
                    <a:pt x="18680" y="473"/>
                  </a:lnTo>
                  <a:lnTo>
                    <a:pt x="18585" y="378"/>
                  </a:lnTo>
                  <a:lnTo>
                    <a:pt x="18491" y="190"/>
                  </a:lnTo>
                  <a:lnTo>
                    <a:pt x="18397" y="378"/>
                  </a:lnTo>
                  <a:lnTo>
                    <a:pt x="17925" y="567"/>
                  </a:lnTo>
                  <a:lnTo>
                    <a:pt x="18019" y="284"/>
                  </a:lnTo>
                  <a:lnTo>
                    <a:pt x="17831" y="378"/>
                  </a:lnTo>
                  <a:lnTo>
                    <a:pt x="17642" y="567"/>
                  </a:lnTo>
                  <a:lnTo>
                    <a:pt x="17642" y="661"/>
                  </a:lnTo>
                  <a:lnTo>
                    <a:pt x="17453" y="567"/>
                  </a:lnTo>
                  <a:lnTo>
                    <a:pt x="17170" y="473"/>
                  </a:lnTo>
                  <a:lnTo>
                    <a:pt x="16699" y="473"/>
                  </a:lnTo>
                  <a:lnTo>
                    <a:pt x="16699" y="567"/>
                  </a:lnTo>
                  <a:lnTo>
                    <a:pt x="16604" y="661"/>
                  </a:lnTo>
                  <a:lnTo>
                    <a:pt x="16416" y="378"/>
                  </a:lnTo>
                  <a:lnTo>
                    <a:pt x="16227" y="378"/>
                  </a:lnTo>
                  <a:lnTo>
                    <a:pt x="15661" y="661"/>
                  </a:lnTo>
                  <a:lnTo>
                    <a:pt x="15661" y="473"/>
                  </a:lnTo>
                  <a:lnTo>
                    <a:pt x="15567" y="756"/>
                  </a:lnTo>
                  <a:lnTo>
                    <a:pt x="15378" y="473"/>
                  </a:lnTo>
                  <a:lnTo>
                    <a:pt x="15567" y="473"/>
                  </a:lnTo>
                  <a:lnTo>
                    <a:pt x="15472" y="378"/>
                  </a:lnTo>
                  <a:lnTo>
                    <a:pt x="15378" y="378"/>
                  </a:lnTo>
                  <a:lnTo>
                    <a:pt x="15189" y="473"/>
                  </a:lnTo>
                  <a:lnTo>
                    <a:pt x="15000" y="756"/>
                  </a:lnTo>
                  <a:lnTo>
                    <a:pt x="14906" y="661"/>
                  </a:lnTo>
                  <a:lnTo>
                    <a:pt x="14812" y="473"/>
                  </a:lnTo>
                  <a:lnTo>
                    <a:pt x="14529" y="756"/>
                  </a:lnTo>
                  <a:lnTo>
                    <a:pt x="14623" y="567"/>
                  </a:lnTo>
                  <a:lnTo>
                    <a:pt x="14529" y="661"/>
                  </a:lnTo>
                  <a:lnTo>
                    <a:pt x="14340" y="756"/>
                  </a:lnTo>
                  <a:lnTo>
                    <a:pt x="14340" y="567"/>
                  </a:lnTo>
                  <a:lnTo>
                    <a:pt x="14246" y="473"/>
                  </a:lnTo>
                  <a:lnTo>
                    <a:pt x="13963" y="378"/>
                  </a:lnTo>
                  <a:lnTo>
                    <a:pt x="13585" y="284"/>
                  </a:lnTo>
                  <a:lnTo>
                    <a:pt x="13302" y="284"/>
                  </a:lnTo>
                  <a:lnTo>
                    <a:pt x="13302" y="378"/>
                  </a:lnTo>
                  <a:lnTo>
                    <a:pt x="13302" y="473"/>
                  </a:lnTo>
                  <a:lnTo>
                    <a:pt x="13208" y="473"/>
                  </a:lnTo>
                  <a:lnTo>
                    <a:pt x="13208" y="661"/>
                  </a:lnTo>
                  <a:lnTo>
                    <a:pt x="13114" y="661"/>
                  </a:lnTo>
                  <a:lnTo>
                    <a:pt x="13019" y="567"/>
                  </a:lnTo>
                  <a:lnTo>
                    <a:pt x="12925" y="378"/>
                  </a:lnTo>
                  <a:lnTo>
                    <a:pt x="12831" y="95"/>
                  </a:lnTo>
                  <a:lnTo>
                    <a:pt x="12831" y="378"/>
                  </a:lnTo>
                  <a:lnTo>
                    <a:pt x="12736" y="378"/>
                  </a:lnTo>
                  <a:lnTo>
                    <a:pt x="12642" y="284"/>
                  </a:lnTo>
                  <a:lnTo>
                    <a:pt x="12548" y="190"/>
                  </a:lnTo>
                  <a:lnTo>
                    <a:pt x="12265" y="190"/>
                  </a:lnTo>
                  <a:lnTo>
                    <a:pt x="12170" y="473"/>
                  </a:lnTo>
                  <a:lnTo>
                    <a:pt x="12076" y="378"/>
                  </a:lnTo>
                  <a:lnTo>
                    <a:pt x="11887" y="284"/>
                  </a:lnTo>
                  <a:lnTo>
                    <a:pt x="11510" y="378"/>
                  </a:lnTo>
                  <a:lnTo>
                    <a:pt x="10755" y="661"/>
                  </a:lnTo>
                  <a:lnTo>
                    <a:pt x="10661" y="473"/>
                  </a:lnTo>
                  <a:lnTo>
                    <a:pt x="10567" y="378"/>
                  </a:lnTo>
                  <a:lnTo>
                    <a:pt x="10095" y="378"/>
                  </a:lnTo>
                  <a:lnTo>
                    <a:pt x="9529" y="473"/>
                  </a:lnTo>
                  <a:lnTo>
                    <a:pt x="9340" y="473"/>
                  </a:lnTo>
                  <a:lnTo>
                    <a:pt x="9152" y="378"/>
                  </a:lnTo>
                  <a:lnTo>
                    <a:pt x="9152" y="473"/>
                  </a:lnTo>
                  <a:lnTo>
                    <a:pt x="9152" y="567"/>
                  </a:lnTo>
                  <a:lnTo>
                    <a:pt x="8963" y="661"/>
                  </a:lnTo>
                  <a:lnTo>
                    <a:pt x="8869" y="567"/>
                  </a:lnTo>
                  <a:lnTo>
                    <a:pt x="8680" y="473"/>
                  </a:lnTo>
                  <a:lnTo>
                    <a:pt x="8680" y="756"/>
                  </a:lnTo>
                  <a:lnTo>
                    <a:pt x="8491" y="661"/>
                  </a:lnTo>
                  <a:lnTo>
                    <a:pt x="8208" y="567"/>
                  </a:lnTo>
                  <a:lnTo>
                    <a:pt x="7925" y="661"/>
                  </a:lnTo>
                  <a:lnTo>
                    <a:pt x="7831" y="756"/>
                  </a:lnTo>
                  <a:lnTo>
                    <a:pt x="7548" y="567"/>
                  </a:lnTo>
                  <a:lnTo>
                    <a:pt x="7359" y="473"/>
                  </a:lnTo>
                  <a:lnTo>
                    <a:pt x="7170" y="944"/>
                  </a:lnTo>
                  <a:lnTo>
                    <a:pt x="6982" y="661"/>
                  </a:lnTo>
                  <a:lnTo>
                    <a:pt x="6793" y="661"/>
                  </a:lnTo>
                  <a:lnTo>
                    <a:pt x="6604" y="756"/>
                  </a:lnTo>
                  <a:lnTo>
                    <a:pt x="6510" y="661"/>
                  </a:lnTo>
                  <a:lnTo>
                    <a:pt x="6416" y="756"/>
                  </a:lnTo>
                  <a:lnTo>
                    <a:pt x="6038" y="944"/>
                  </a:lnTo>
                  <a:lnTo>
                    <a:pt x="6038" y="1039"/>
                  </a:lnTo>
                  <a:lnTo>
                    <a:pt x="5850" y="1133"/>
                  </a:lnTo>
                  <a:lnTo>
                    <a:pt x="5850" y="1039"/>
                  </a:lnTo>
                  <a:lnTo>
                    <a:pt x="5755" y="1039"/>
                  </a:lnTo>
                  <a:lnTo>
                    <a:pt x="5567" y="1227"/>
                  </a:lnTo>
                  <a:lnTo>
                    <a:pt x="5472" y="1227"/>
                  </a:lnTo>
                  <a:lnTo>
                    <a:pt x="5378" y="1039"/>
                  </a:lnTo>
                  <a:lnTo>
                    <a:pt x="5378" y="1133"/>
                  </a:lnTo>
                  <a:lnTo>
                    <a:pt x="5189" y="1227"/>
                  </a:lnTo>
                  <a:lnTo>
                    <a:pt x="5095" y="1133"/>
                  </a:lnTo>
                  <a:lnTo>
                    <a:pt x="4906" y="1039"/>
                  </a:lnTo>
                  <a:lnTo>
                    <a:pt x="5189" y="1039"/>
                  </a:lnTo>
                  <a:lnTo>
                    <a:pt x="5095" y="944"/>
                  </a:lnTo>
                  <a:lnTo>
                    <a:pt x="5095" y="756"/>
                  </a:lnTo>
                  <a:lnTo>
                    <a:pt x="5001" y="944"/>
                  </a:lnTo>
                  <a:lnTo>
                    <a:pt x="4529" y="944"/>
                  </a:lnTo>
                  <a:lnTo>
                    <a:pt x="4529" y="1133"/>
                  </a:lnTo>
                  <a:lnTo>
                    <a:pt x="4718" y="1133"/>
                  </a:lnTo>
                  <a:lnTo>
                    <a:pt x="4623" y="1227"/>
                  </a:lnTo>
                  <a:lnTo>
                    <a:pt x="4623" y="1133"/>
                  </a:lnTo>
                  <a:lnTo>
                    <a:pt x="4529" y="1416"/>
                  </a:lnTo>
                  <a:lnTo>
                    <a:pt x="4340" y="1227"/>
                  </a:lnTo>
                  <a:lnTo>
                    <a:pt x="4152" y="1039"/>
                  </a:lnTo>
                  <a:lnTo>
                    <a:pt x="3963" y="1039"/>
                  </a:lnTo>
                  <a:lnTo>
                    <a:pt x="3774" y="1416"/>
                  </a:lnTo>
                  <a:lnTo>
                    <a:pt x="3774" y="1322"/>
                  </a:lnTo>
                  <a:lnTo>
                    <a:pt x="3774" y="1227"/>
                  </a:lnTo>
                  <a:lnTo>
                    <a:pt x="3680" y="1322"/>
                  </a:lnTo>
                  <a:lnTo>
                    <a:pt x="3586" y="1510"/>
                  </a:lnTo>
                  <a:lnTo>
                    <a:pt x="3208" y="1416"/>
                  </a:lnTo>
                  <a:lnTo>
                    <a:pt x="2454" y="1416"/>
                  </a:lnTo>
                  <a:lnTo>
                    <a:pt x="1793" y="1510"/>
                  </a:lnTo>
                  <a:lnTo>
                    <a:pt x="1510" y="1605"/>
                  </a:lnTo>
                  <a:lnTo>
                    <a:pt x="1321" y="1699"/>
                  </a:lnTo>
                  <a:lnTo>
                    <a:pt x="1321" y="1605"/>
                  </a:lnTo>
                  <a:lnTo>
                    <a:pt x="1038" y="1699"/>
                  </a:lnTo>
                  <a:lnTo>
                    <a:pt x="755" y="1793"/>
                  </a:lnTo>
                  <a:lnTo>
                    <a:pt x="567" y="1793"/>
                  </a:lnTo>
                  <a:lnTo>
                    <a:pt x="378" y="1888"/>
                  </a:lnTo>
                  <a:lnTo>
                    <a:pt x="284" y="1699"/>
                  </a:lnTo>
                  <a:lnTo>
                    <a:pt x="95" y="1605"/>
                  </a:lnTo>
                  <a:lnTo>
                    <a:pt x="1" y="1793"/>
                  </a:lnTo>
                  <a:lnTo>
                    <a:pt x="1" y="2076"/>
                  </a:lnTo>
                  <a:lnTo>
                    <a:pt x="95" y="2548"/>
                  </a:lnTo>
                  <a:lnTo>
                    <a:pt x="189" y="2831"/>
                  </a:lnTo>
                  <a:lnTo>
                    <a:pt x="284" y="2737"/>
                  </a:lnTo>
                  <a:lnTo>
                    <a:pt x="472" y="2831"/>
                  </a:lnTo>
                  <a:lnTo>
                    <a:pt x="567" y="2548"/>
                  </a:lnTo>
                  <a:lnTo>
                    <a:pt x="661" y="2642"/>
                  </a:lnTo>
                  <a:lnTo>
                    <a:pt x="661" y="2737"/>
                  </a:lnTo>
                  <a:lnTo>
                    <a:pt x="755" y="2642"/>
                  </a:lnTo>
                  <a:lnTo>
                    <a:pt x="944" y="2548"/>
                  </a:lnTo>
                  <a:lnTo>
                    <a:pt x="1227" y="2548"/>
                  </a:lnTo>
                  <a:lnTo>
                    <a:pt x="1227" y="2642"/>
                  </a:lnTo>
                  <a:lnTo>
                    <a:pt x="1321" y="2737"/>
                  </a:lnTo>
                  <a:lnTo>
                    <a:pt x="1416" y="2831"/>
                  </a:lnTo>
                  <a:lnTo>
                    <a:pt x="1510" y="2642"/>
                  </a:lnTo>
                  <a:lnTo>
                    <a:pt x="1793" y="2548"/>
                  </a:lnTo>
                  <a:lnTo>
                    <a:pt x="1699" y="2642"/>
                  </a:lnTo>
                  <a:lnTo>
                    <a:pt x="1887" y="2737"/>
                  </a:lnTo>
                  <a:lnTo>
                    <a:pt x="1887" y="2454"/>
                  </a:lnTo>
                  <a:lnTo>
                    <a:pt x="1982" y="2265"/>
                  </a:lnTo>
                  <a:lnTo>
                    <a:pt x="2076" y="2737"/>
                  </a:lnTo>
                  <a:lnTo>
                    <a:pt x="2171" y="2359"/>
                  </a:lnTo>
                  <a:lnTo>
                    <a:pt x="2265" y="2642"/>
                  </a:lnTo>
                  <a:lnTo>
                    <a:pt x="2265" y="2548"/>
                  </a:lnTo>
                  <a:lnTo>
                    <a:pt x="2359" y="2454"/>
                  </a:lnTo>
                  <a:lnTo>
                    <a:pt x="2454" y="2548"/>
                  </a:lnTo>
                  <a:lnTo>
                    <a:pt x="2454" y="2737"/>
                  </a:lnTo>
                  <a:lnTo>
                    <a:pt x="2548" y="2548"/>
                  </a:lnTo>
                  <a:lnTo>
                    <a:pt x="2548" y="2454"/>
                  </a:lnTo>
                  <a:lnTo>
                    <a:pt x="2642" y="2548"/>
                  </a:lnTo>
                  <a:lnTo>
                    <a:pt x="2642" y="2642"/>
                  </a:lnTo>
                  <a:lnTo>
                    <a:pt x="2831" y="2454"/>
                  </a:lnTo>
                  <a:lnTo>
                    <a:pt x="3020" y="2454"/>
                  </a:lnTo>
                  <a:lnTo>
                    <a:pt x="3114" y="2265"/>
                  </a:lnTo>
                  <a:lnTo>
                    <a:pt x="3114" y="2076"/>
                  </a:lnTo>
                  <a:lnTo>
                    <a:pt x="3208" y="1982"/>
                  </a:lnTo>
                  <a:lnTo>
                    <a:pt x="3208" y="2076"/>
                  </a:lnTo>
                  <a:lnTo>
                    <a:pt x="3208" y="2265"/>
                  </a:lnTo>
                  <a:lnTo>
                    <a:pt x="3303" y="2076"/>
                  </a:lnTo>
                  <a:lnTo>
                    <a:pt x="3491" y="2076"/>
                  </a:lnTo>
                  <a:lnTo>
                    <a:pt x="3491" y="2171"/>
                  </a:lnTo>
                  <a:lnTo>
                    <a:pt x="3397" y="2265"/>
                  </a:lnTo>
                  <a:lnTo>
                    <a:pt x="3303" y="2359"/>
                  </a:lnTo>
                  <a:lnTo>
                    <a:pt x="3303" y="2548"/>
                  </a:lnTo>
                  <a:lnTo>
                    <a:pt x="3491" y="2548"/>
                  </a:lnTo>
                  <a:lnTo>
                    <a:pt x="3586" y="2454"/>
                  </a:lnTo>
                  <a:lnTo>
                    <a:pt x="3680" y="2265"/>
                  </a:lnTo>
                  <a:lnTo>
                    <a:pt x="4152" y="2265"/>
                  </a:lnTo>
                  <a:lnTo>
                    <a:pt x="4152" y="2359"/>
                  </a:lnTo>
                  <a:lnTo>
                    <a:pt x="4246" y="2171"/>
                  </a:lnTo>
                  <a:lnTo>
                    <a:pt x="4340" y="2171"/>
                  </a:lnTo>
                  <a:lnTo>
                    <a:pt x="4246" y="2265"/>
                  </a:lnTo>
                  <a:lnTo>
                    <a:pt x="5284" y="2265"/>
                  </a:lnTo>
                  <a:lnTo>
                    <a:pt x="5567" y="2171"/>
                  </a:lnTo>
                  <a:lnTo>
                    <a:pt x="5755" y="2171"/>
                  </a:lnTo>
                  <a:lnTo>
                    <a:pt x="5755" y="2076"/>
                  </a:lnTo>
                  <a:lnTo>
                    <a:pt x="6416" y="2076"/>
                  </a:lnTo>
                  <a:lnTo>
                    <a:pt x="6510" y="1888"/>
                  </a:lnTo>
                  <a:lnTo>
                    <a:pt x="6604" y="1888"/>
                  </a:lnTo>
                  <a:lnTo>
                    <a:pt x="7170" y="1982"/>
                  </a:lnTo>
                  <a:lnTo>
                    <a:pt x="7453" y="1888"/>
                  </a:lnTo>
                  <a:lnTo>
                    <a:pt x="7548" y="1888"/>
                  </a:lnTo>
                  <a:lnTo>
                    <a:pt x="7642" y="1699"/>
                  </a:lnTo>
                  <a:lnTo>
                    <a:pt x="7736" y="1888"/>
                  </a:lnTo>
                  <a:lnTo>
                    <a:pt x="7925" y="2076"/>
                  </a:lnTo>
                  <a:lnTo>
                    <a:pt x="8114" y="1793"/>
                  </a:lnTo>
                  <a:lnTo>
                    <a:pt x="8114" y="1982"/>
                  </a:lnTo>
                  <a:lnTo>
                    <a:pt x="8208" y="1793"/>
                  </a:lnTo>
                  <a:lnTo>
                    <a:pt x="8302" y="1982"/>
                  </a:lnTo>
                  <a:lnTo>
                    <a:pt x="8302" y="1888"/>
                  </a:lnTo>
                  <a:lnTo>
                    <a:pt x="8302" y="1793"/>
                  </a:lnTo>
                  <a:lnTo>
                    <a:pt x="8491" y="1793"/>
                  </a:lnTo>
                  <a:lnTo>
                    <a:pt x="8585" y="1888"/>
                  </a:lnTo>
                  <a:lnTo>
                    <a:pt x="8774" y="1793"/>
                  </a:lnTo>
                  <a:lnTo>
                    <a:pt x="8774" y="1982"/>
                  </a:lnTo>
                  <a:lnTo>
                    <a:pt x="8869" y="1888"/>
                  </a:lnTo>
                  <a:lnTo>
                    <a:pt x="9718" y="1888"/>
                  </a:lnTo>
                  <a:lnTo>
                    <a:pt x="9623" y="1793"/>
                  </a:lnTo>
                  <a:lnTo>
                    <a:pt x="9718" y="1605"/>
                  </a:lnTo>
                  <a:lnTo>
                    <a:pt x="9812" y="1699"/>
                  </a:lnTo>
                  <a:lnTo>
                    <a:pt x="9812" y="1793"/>
                  </a:lnTo>
                  <a:lnTo>
                    <a:pt x="9906" y="1888"/>
                  </a:lnTo>
                  <a:lnTo>
                    <a:pt x="10095" y="1982"/>
                  </a:lnTo>
                  <a:lnTo>
                    <a:pt x="10661" y="1793"/>
                  </a:lnTo>
                  <a:lnTo>
                    <a:pt x="11038" y="1510"/>
                  </a:lnTo>
                  <a:lnTo>
                    <a:pt x="11133" y="1699"/>
                  </a:lnTo>
                  <a:lnTo>
                    <a:pt x="11321" y="1699"/>
                  </a:lnTo>
                  <a:lnTo>
                    <a:pt x="11510" y="1605"/>
                  </a:lnTo>
                  <a:lnTo>
                    <a:pt x="11604" y="1416"/>
                  </a:lnTo>
                  <a:lnTo>
                    <a:pt x="11982" y="1605"/>
                  </a:lnTo>
                  <a:lnTo>
                    <a:pt x="12453" y="1699"/>
                  </a:lnTo>
                  <a:lnTo>
                    <a:pt x="12642" y="1510"/>
                  </a:lnTo>
                  <a:lnTo>
                    <a:pt x="12642" y="1699"/>
                  </a:lnTo>
                  <a:lnTo>
                    <a:pt x="12925" y="1510"/>
                  </a:lnTo>
                  <a:lnTo>
                    <a:pt x="13208" y="1510"/>
                  </a:lnTo>
                  <a:lnTo>
                    <a:pt x="14057" y="1699"/>
                  </a:lnTo>
                  <a:lnTo>
                    <a:pt x="14434" y="1793"/>
                  </a:lnTo>
                  <a:lnTo>
                    <a:pt x="14812" y="1793"/>
                  </a:lnTo>
                  <a:lnTo>
                    <a:pt x="15095" y="1699"/>
                  </a:lnTo>
                  <a:lnTo>
                    <a:pt x="15378" y="1510"/>
                  </a:lnTo>
                  <a:lnTo>
                    <a:pt x="15472" y="1416"/>
                  </a:lnTo>
                  <a:lnTo>
                    <a:pt x="15472" y="1510"/>
                  </a:lnTo>
                  <a:lnTo>
                    <a:pt x="15472" y="1699"/>
                  </a:lnTo>
                  <a:lnTo>
                    <a:pt x="16416" y="1510"/>
                  </a:lnTo>
                  <a:lnTo>
                    <a:pt x="16416" y="1605"/>
                  </a:lnTo>
                  <a:lnTo>
                    <a:pt x="16510" y="1605"/>
                  </a:lnTo>
                  <a:lnTo>
                    <a:pt x="16604" y="1510"/>
                  </a:lnTo>
                  <a:lnTo>
                    <a:pt x="17642" y="1510"/>
                  </a:lnTo>
                  <a:lnTo>
                    <a:pt x="17736" y="1605"/>
                  </a:lnTo>
                  <a:lnTo>
                    <a:pt x="17831" y="1605"/>
                  </a:lnTo>
                  <a:lnTo>
                    <a:pt x="18397" y="1510"/>
                  </a:lnTo>
                  <a:lnTo>
                    <a:pt x="19057" y="1322"/>
                  </a:lnTo>
                  <a:lnTo>
                    <a:pt x="18774" y="1605"/>
                  </a:lnTo>
                  <a:lnTo>
                    <a:pt x="19151" y="1322"/>
                  </a:lnTo>
                  <a:lnTo>
                    <a:pt x="19340" y="1322"/>
                  </a:lnTo>
                  <a:lnTo>
                    <a:pt x="19340" y="1510"/>
                  </a:lnTo>
                  <a:lnTo>
                    <a:pt x="19529" y="1416"/>
                  </a:lnTo>
                  <a:lnTo>
                    <a:pt x="19906" y="1416"/>
                  </a:lnTo>
                  <a:lnTo>
                    <a:pt x="20000" y="1322"/>
                  </a:lnTo>
                  <a:lnTo>
                    <a:pt x="20095" y="944"/>
                  </a:lnTo>
                  <a:lnTo>
                    <a:pt x="20095" y="1133"/>
                  </a:lnTo>
                  <a:lnTo>
                    <a:pt x="20189" y="1227"/>
                  </a:lnTo>
                  <a:lnTo>
                    <a:pt x="20189" y="1416"/>
                  </a:lnTo>
                  <a:lnTo>
                    <a:pt x="20283" y="1322"/>
                  </a:lnTo>
                  <a:lnTo>
                    <a:pt x="20378" y="1322"/>
                  </a:lnTo>
                  <a:lnTo>
                    <a:pt x="20378" y="1416"/>
                  </a:lnTo>
                  <a:lnTo>
                    <a:pt x="20661" y="1227"/>
                  </a:lnTo>
                  <a:lnTo>
                    <a:pt x="20944" y="1133"/>
                  </a:lnTo>
                  <a:lnTo>
                    <a:pt x="21038" y="1133"/>
                  </a:lnTo>
                  <a:lnTo>
                    <a:pt x="21132" y="1416"/>
                  </a:lnTo>
                  <a:lnTo>
                    <a:pt x="21604" y="1227"/>
                  </a:lnTo>
                  <a:lnTo>
                    <a:pt x="21510" y="1039"/>
                  </a:lnTo>
                  <a:lnTo>
                    <a:pt x="21510" y="944"/>
                  </a:lnTo>
                  <a:lnTo>
                    <a:pt x="21698" y="944"/>
                  </a:lnTo>
                  <a:lnTo>
                    <a:pt x="21604" y="1039"/>
                  </a:lnTo>
                  <a:lnTo>
                    <a:pt x="21982" y="1039"/>
                  </a:lnTo>
                  <a:lnTo>
                    <a:pt x="21887" y="1227"/>
                  </a:lnTo>
                  <a:lnTo>
                    <a:pt x="21887" y="1227"/>
                  </a:lnTo>
                  <a:lnTo>
                    <a:pt x="22170" y="1039"/>
                  </a:lnTo>
                  <a:lnTo>
                    <a:pt x="22265" y="1227"/>
                  </a:lnTo>
                  <a:lnTo>
                    <a:pt x="22265" y="1133"/>
                  </a:lnTo>
                  <a:lnTo>
                    <a:pt x="22265" y="1039"/>
                  </a:lnTo>
                  <a:lnTo>
                    <a:pt x="22548" y="1039"/>
                  </a:lnTo>
                  <a:lnTo>
                    <a:pt x="22642" y="1322"/>
                  </a:lnTo>
                  <a:lnTo>
                    <a:pt x="23019" y="1227"/>
                  </a:lnTo>
                  <a:lnTo>
                    <a:pt x="23208" y="1133"/>
                  </a:lnTo>
                  <a:lnTo>
                    <a:pt x="23302" y="1039"/>
                  </a:lnTo>
                  <a:lnTo>
                    <a:pt x="23397" y="1133"/>
                  </a:lnTo>
                  <a:lnTo>
                    <a:pt x="23397" y="1227"/>
                  </a:lnTo>
                  <a:lnTo>
                    <a:pt x="23680" y="1227"/>
                  </a:lnTo>
                  <a:lnTo>
                    <a:pt x="23868" y="1133"/>
                  </a:lnTo>
                  <a:lnTo>
                    <a:pt x="24057" y="1227"/>
                  </a:lnTo>
                  <a:lnTo>
                    <a:pt x="24246" y="1227"/>
                  </a:lnTo>
                  <a:lnTo>
                    <a:pt x="24246" y="1133"/>
                  </a:lnTo>
                  <a:lnTo>
                    <a:pt x="24529" y="1227"/>
                  </a:lnTo>
                  <a:lnTo>
                    <a:pt x="24906" y="1322"/>
                  </a:lnTo>
                  <a:lnTo>
                    <a:pt x="25179" y="1048"/>
                  </a:lnTo>
                  <a:lnTo>
                    <a:pt x="25095" y="1133"/>
                  </a:lnTo>
                  <a:lnTo>
                    <a:pt x="25189" y="1227"/>
                  </a:lnTo>
                  <a:lnTo>
                    <a:pt x="25189" y="1133"/>
                  </a:lnTo>
                  <a:lnTo>
                    <a:pt x="25283" y="1039"/>
                  </a:lnTo>
                  <a:lnTo>
                    <a:pt x="25378" y="944"/>
                  </a:lnTo>
                  <a:lnTo>
                    <a:pt x="25472" y="944"/>
                  </a:lnTo>
                  <a:lnTo>
                    <a:pt x="25472" y="1133"/>
                  </a:lnTo>
                  <a:lnTo>
                    <a:pt x="25566" y="1039"/>
                  </a:lnTo>
                  <a:lnTo>
                    <a:pt x="25661" y="1039"/>
                  </a:lnTo>
                  <a:lnTo>
                    <a:pt x="25566" y="1133"/>
                  </a:lnTo>
                  <a:lnTo>
                    <a:pt x="25661" y="1227"/>
                  </a:lnTo>
                  <a:lnTo>
                    <a:pt x="25849" y="1322"/>
                  </a:lnTo>
                  <a:lnTo>
                    <a:pt x="25944" y="1133"/>
                  </a:lnTo>
                  <a:lnTo>
                    <a:pt x="26132" y="1039"/>
                  </a:lnTo>
                  <a:lnTo>
                    <a:pt x="26132" y="1039"/>
                  </a:lnTo>
                  <a:lnTo>
                    <a:pt x="26038" y="1227"/>
                  </a:lnTo>
                  <a:lnTo>
                    <a:pt x="26132" y="1322"/>
                  </a:lnTo>
                  <a:lnTo>
                    <a:pt x="26321" y="1416"/>
                  </a:lnTo>
                  <a:lnTo>
                    <a:pt x="26415" y="1416"/>
                  </a:lnTo>
                  <a:lnTo>
                    <a:pt x="26887" y="1227"/>
                  </a:lnTo>
                  <a:lnTo>
                    <a:pt x="27264" y="944"/>
                  </a:lnTo>
                  <a:lnTo>
                    <a:pt x="27170" y="944"/>
                  </a:lnTo>
                  <a:lnTo>
                    <a:pt x="27264" y="850"/>
                  </a:lnTo>
                  <a:lnTo>
                    <a:pt x="26981" y="756"/>
                  </a:lnTo>
                  <a:lnTo>
                    <a:pt x="26887" y="944"/>
                  </a:lnTo>
                  <a:lnTo>
                    <a:pt x="26793" y="1133"/>
                  </a:lnTo>
                  <a:lnTo>
                    <a:pt x="26793" y="661"/>
                  </a:lnTo>
                  <a:lnTo>
                    <a:pt x="26604" y="944"/>
                  </a:lnTo>
                  <a:lnTo>
                    <a:pt x="26510" y="850"/>
                  </a:lnTo>
                  <a:lnTo>
                    <a:pt x="26415" y="756"/>
                  </a:lnTo>
                  <a:lnTo>
                    <a:pt x="26321" y="944"/>
                  </a:lnTo>
                  <a:lnTo>
                    <a:pt x="26227" y="661"/>
                  </a:lnTo>
                  <a:lnTo>
                    <a:pt x="26038" y="756"/>
                  </a:lnTo>
                  <a:lnTo>
                    <a:pt x="25849" y="661"/>
                  </a:lnTo>
                  <a:lnTo>
                    <a:pt x="25378" y="567"/>
                  </a:lnTo>
                  <a:lnTo>
                    <a:pt x="25283" y="661"/>
                  </a:lnTo>
                  <a:lnTo>
                    <a:pt x="25095" y="756"/>
                  </a:lnTo>
                  <a:lnTo>
                    <a:pt x="25189" y="473"/>
                  </a:lnTo>
                  <a:lnTo>
                    <a:pt x="25000" y="661"/>
                  </a:lnTo>
                  <a:lnTo>
                    <a:pt x="25000" y="661"/>
                  </a:lnTo>
                  <a:lnTo>
                    <a:pt x="25095" y="473"/>
                  </a:lnTo>
                  <a:lnTo>
                    <a:pt x="24906" y="567"/>
                  </a:lnTo>
                  <a:lnTo>
                    <a:pt x="24717" y="567"/>
                  </a:lnTo>
                  <a:lnTo>
                    <a:pt x="24717" y="756"/>
                  </a:lnTo>
                  <a:lnTo>
                    <a:pt x="24623" y="1039"/>
                  </a:lnTo>
                  <a:lnTo>
                    <a:pt x="24623" y="850"/>
                  </a:lnTo>
                  <a:lnTo>
                    <a:pt x="24717" y="661"/>
                  </a:lnTo>
                  <a:lnTo>
                    <a:pt x="24623" y="756"/>
                  </a:lnTo>
                  <a:lnTo>
                    <a:pt x="24623" y="661"/>
                  </a:lnTo>
                  <a:lnTo>
                    <a:pt x="24529" y="473"/>
                  </a:lnTo>
                  <a:lnTo>
                    <a:pt x="24529" y="661"/>
                  </a:lnTo>
                  <a:lnTo>
                    <a:pt x="24434" y="567"/>
                  </a:lnTo>
                  <a:lnTo>
                    <a:pt x="24340" y="378"/>
                  </a:lnTo>
                  <a:lnTo>
                    <a:pt x="24246" y="567"/>
                  </a:lnTo>
                  <a:lnTo>
                    <a:pt x="23963" y="567"/>
                  </a:lnTo>
                  <a:lnTo>
                    <a:pt x="23397" y="661"/>
                  </a:lnTo>
                  <a:lnTo>
                    <a:pt x="23114" y="661"/>
                  </a:lnTo>
                  <a:lnTo>
                    <a:pt x="22925" y="567"/>
                  </a:lnTo>
                  <a:lnTo>
                    <a:pt x="22925" y="473"/>
                  </a:lnTo>
                  <a:lnTo>
                    <a:pt x="23019" y="473"/>
                  </a:lnTo>
                  <a:lnTo>
                    <a:pt x="22642" y="378"/>
                  </a:lnTo>
                  <a:lnTo>
                    <a:pt x="22736" y="473"/>
                  </a:lnTo>
                  <a:lnTo>
                    <a:pt x="22548" y="473"/>
                  </a:lnTo>
                  <a:lnTo>
                    <a:pt x="22642" y="284"/>
                  </a:lnTo>
                  <a:lnTo>
                    <a:pt x="22548" y="190"/>
                  </a:lnTo>
                  <a:lnTo>
                    <a:pt x="22453" y="190"/>
                  </a:lnTo>
                  <a:lnTo>
                    <a:pt x="22359" y="284"/>
                  </a:lnTo>
                  <a:lnTo>
                    <a:pt x="22170" y="378"/>
                  </a:lnTo>
                  <a:lnTo>
                    <a:pt x="22076" y="284"/>
                  </a:lnTo>
                  <a:lnTo>
                    <a:pt x="22170" y="473"/>
                  </a:lnTo>
                  <a:lnTo>
                    <a:pt x="21887" y="190"/>
                  </a:lnTo>
                  <a:lnTo>
                    <a:pt x="21793" y="190"/>
                  </a:lnTo>
                  <a:lnTo>
                    <a:pt x="21698" y="378"/>
                  </a:lnTo>
                  <a:lnTo>
                    <a:pt x="21604" y="756"/>
                  </a:lnTo>
                  <a:lnTo>
                    <a:pt x="21415" y="661"/>
                  </a:lnTo>
                  <a:lnTo>
                    <a:pt x="21510" y="473"/>
                  </a:lnTo>
                  <a:lnTo>
                    <a:pt x="21604" y="284"/>
                  </a:lnTo>
                  <a:lnTo>
                    <a:pt x="21415" y="284"/>
                  </a:lnTo>
                  <a:lnTo>
                    <a:pt x="21415" y="190"/>
                  </a:lnTo>
                  <a:lnTo>
                    <a:pt x="21227" y="378"/>
                  </a:lnTo>
                  <a:lnTo>
                    <a:pt x="20944" y="567"/>
                  </a:lnTo>
                  <a:lnTo>
                    <a:pt x="20566" y="1"/>
                  </a:lnTo>
                  <a:lnTo>
                    <a:pt x="20472" y="95"/>
                  </a:lnTo>
                  <a:lnTo>
                    <a:pt x="20472" y="190"/>
                  </a:lnTo>
                  <a:lnTo>
                    <a:pt x="20472" y="378"/>
                  </a:lnTo>
                  <a:lnTo>
                    <a:pt x="20283" y="284"/>
                  </a:lnTo>
                  <a:lnTo>
                    <a:pt x="20283" y="190"/>
                  </a:lnTo>
                  <a:lnTo>
                    <a:pt x="20378" y="95"/>
                  </a:lnTo>
                  <a:lnTo>
                    <a:pt x="20283" y="1"/>
                  </a:lnTo>
                  <a:close/>
                </a:path>
              </a:pathLst>
            </a:custGeom>
            <a:solidFill>
              <a:srgbClr val="0067B7">
                <a:alpha val="59000"/>
              </a:srgbClr>
            </a:solidFill>
            <a:ln>
              <a:noFill/>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17" name="Google Shape;238;p27">
              <a:extLst>
                <a:ext uri="{FF2B5EF4-FFF2-40B4-BE49-F238E27FC236}">
                  <a16:creationId xmlns:a16="http://schemas.microsoft.com/office/drawing/2014/main" id="{65DDF385-A838-F641-A8E3-3D1C1C7BD5B5}"/>
                </a:ext>
              </a:extLst>
            </p:cNvPr>
            <p:cNvSpPr/>
            <p:nvPr/>
          </p:nvSpPr>
          <p:spPr>
            <a:xfrm>
              <a:off x="3870041" y="2764475"/>
              <a:ext cx="188382" cy="232966"/>
            </a:xfrm>
            <a:custGeom>
              <a:avLst/>
              <a:gdLst/>
              <a:ahLst/>
              <a:cxnLst/>
              <a:rect l="0" t="0" r="0" b="0"/>
              <a:pathLst>
                <a:path w="7171" h="8869" extrusionOk="0">
                  <a:moveTo>
                    <a:pt x="5756" y="6510"/>
                  </a:moveTo>
                  <a:lnTo>
                    <a:pt x="5756" y="6604"/>
                  </a:lnTo>
                  <a:lnTo>
                    <a:pt x="5850" y="6604"/>
                  </a:lnTo>
                  <a:lnTo>
                    <a:pt x="5756" y="6510"/>
                  </a:lnTo>
                  <a:close/>
                  <a:moveTo>
                    <a:pt x="2265" y="7925"/>
                  </a:moveTo>
                  <a:lnTo>
                    <a:pt x="2252" y="7965"/>
                  </a:lnTo>
                  <a:lnTo>
                    <a:pt x="2252" y="7965"/>
                  </a:lnTo>
                  <a:lnTo>
                    <a:pt x="2284" y="7953"/>
                  </a:lnTo>
                  <a:lnTo>
                    <a:pt x="2284" y="7953"/>
                  </a:lnTo>
                  <a:lnTo>
                    <a:pt x="2265" y="7925"/>
                  </a:lnTo>
                  <a:close/>
                  <a:moveTo>
                    <a:pt x="567" y="0"/>
                  </a:moveTo>
                  <a:lnTo>
                    <a:pt x="284" y="189"/>
                  </a:lnTo>
                  <a:lnTo>
                    <a:pt x="95" y="472"/>
                  </a:lnTo>
                  <a:lnTo>
                    <a:pt x="1" y="755"/>
                  </a:lnTo>
                  <a:lnTo>
                    <a:pt x="95" y="1038"/>
                  </a:lnTo>
                  <a:lnTo>
                    <a:pt x="190" y="1227"/>
                  </a:lnTo>
                  <a:lnTo>
                    <a:pt x="473" y="1415"/>
                  </a:lnTo>
                  <a:lnTo>
                    <a:pt x="850" y="1321"/>
                  </a:lnTo>
                  <a:lnTo>
                    <a:pt x="661" y="1604"/>
                  </a:lnTo>
                  <a:lnTo>
                    <a:pt x="756" y="1604"/>
                  </a:lnTo>
                  <a:lnTo>
                    <a:pt x="661" y="1793"/>
                  </a:lnTo>
                  <a:lnTo>
                    <a:pt x="661" y="1887"/>
                  </a:lnTo>
                  <a:lnTo>
                    <a:pt x="756" y="1793"/>
                  </a:lnTo>
                  <a:lnTo>
                    <a:pt x="1510" y="1604"/>
                  </a:lnTo>
                  <a:lnTo>
                    <a:pt x="1510" y="1604"/>
                  </a:lnTo>
                  <a:lnTo>
                    <a:pt x="1133" y="2076"/>
                  </a:lnTo>
                  <a:lnTo>
                    <a:pt x="1322" y="2453"/>
                  </a:lnTo>
                  <a:lnTo>
                    <a:pt x="1888" y="2830"/>
                  </a:lnTo>
                  <a:lnTo>
                    <a:pt x="3397" y="3774"/>
                  </a:lnTo>
                  <a:lnTo>
                    <a:pt x="5001" y="4623"/>
                  </a:lnTo>
                  <a:lnTo>
                    <a:pt x="5944" y="5095"/>
                  </a:lnTo>
                  <a:lnTo>
                    <a:pt x="5756" y="5189"/>
                  </a:lnTo>
                  <a:lnTo>
                    <a:pt x="5378" y="5378"/>
                  </a:lnTo>
                  <a:lnTo>
                    <a:pt x="5378" y="5283"/>
                  </a:lnTo>
                  <a:lnTo>
                    <a:pt x="5001" y="5661"/>
                  </a:lnTo>
                  <a:lnTo>
                    <a:pt x="4623" y="5944"/>
                  </a:lnTo>
                  <a:lnTo>
                    <a:pt x="4435" y="6321"/>
                  </a:lnTo>
                  <a:lnTo>
                    <a:pt x="4340" y="6510"/>
                  </a:lnTo>
                  <a:lnTo>
                    <a:pt x="4435" y="6698"/>
                  </a:lnTo>
                  <a:lnTo>
                    <a:pt x="4435" y="6698"/>
                  </a:lnTo>
                  <a:lnTo>
                    <a:pt x="4246" y="6415"/>
                  </a:lnTo>
                  <a:lnTo>
                    <a:pt x="4057" y="6321"/>
                  </a:lnTo>
                  <a:lnTo>
                    <a:pt x="3963" y="6415"/>
                  </a:lnTo>
                  <a:lnTo>
                    <a:pt x="3869" y="6510"/>
                  </a:lnTo>
                  <a:lnTo>
                    <a:pt x="3680" y="6887"/>
                  </a:lnTo>
                  <a:lnTo>
                    <a:pt x="3680" y="7076"/>
                  </a:lnTo>
                  <a:lnTo>
                    <a:pt x="3774" y="7076"/>
                  </a:lnTo>
                  <a:lnTo>
                    <a:pt x="3680" y="7264"/>
                  </a:lnTo>
                  <a:lnTo>
                    <a:pt x="3303" y="7453"/>
                  </a:lnTo>
                  <a:lnTo>
                    <a:pt x="2359" y="7925"/>
                  </a:lnTo>
                  <a:lnTo>
                    <a:pt x="2284" y="7953"/>
                  </a:lnTo>
                  <a:lnTo>
                    <a:pt x="2284" y="7953"/>
                  </a:lnTo>
                  <a:lnTo>
                    <a:pt x="2454" y="8208"/>
                  </a:lnTo>
                  <a:lnTo>
                    <a:pt x="2642" y="8396"/>
                  </a:lnTo>
                  <a:lnTo>
                    <a:pt x="2642" y="8302"/>
                  </a:lnTo>
                  <a:lnTo>
                    <a:pt x="2737" y="8396"/>
                  </a:lnTo>
                  <a:lnTo>
                    <a:pt x="2831" y="8113"/>
                  </a:lnTo>
                  <a:lnTo>
                    <a:pt x="2925" y="7925"/>
                  </a:lnTo>
                  <a:lnTo>
                    <a:pt x="3020" y="7830"/>
                  </a:lnTo>
                  <a:lnTo>
                    <a:pt x="3397" y="7830"/>
                  </a:lnTo>
                  <a:lnTo>
                    <a:pt x="3680" y="7736"/>
                  </a:lnTo>
                  <a:lnTo>
                    <a:pt x="3774" y="7547"/>
                  </a:lnTo>
                  <a:lnTo>
                    <a:pt x="3869" y="7264"/>
                  </a:lnTo>
                  <a:lnTo>
                    <a:pt x="4246" y="7453"/>
                  </a:lnTo>
                  <a:lnTo>
                    <a:pt x="4623" y="7642"/>
                  </a:lnTo>
                  <a:lnTo>
                    <a:pt x="4718" y="7547"/>
                  </a:lnTo>
                  <a:lnTo>
                    <a:pt x="4906" y="7359"/>
                  </a:lnTo>
                  <a:lnTo>
                    <a:pt x="5190" y="7170"/>
                  </a:lnTo>
                  <a:lnTo>
                    <a:pt x="5095" y="7076"/>
                  </a:lnTo>
                  <a:lnTo>
                    <a:pt x="4906" y="6793"/>
                  </a:lnTo>
                  <a:lnTo>
                    <a:pt x="4906" y="6793"/>
                  </a:lnTo>
                  <a:lnTo>
                    <a:pt x="5095" y="6887"/>
                  </a:lnTo>
                  <a:lnTo>
                    <a:pt x="5378" y="6793"/>
                  </a:lnTo>
                  <a:lnTo>
                    <a:pt x="5756" y="6510"/>
                  </a:lnTo>
                  <a:lnTo>
                    <a:pt x="6322" y="6132"/>
                  </a:lnTo>
                  <a:lnTo>
                    <a:pt x="6699" y="5566"/>
                  </a:lnTo>
                  <a:lnTo>
                    <a:pt x="7171" y="5095"/>
                  </a:lnTo>
                  <a:lnTo>
                    <a:pt x="7076" y="4717"/>
                  </a:lnTo>
                  <a:lnTo>
                    <a:pt x="6982" y="4434"/>
                  </a:lnTo>
                  <a:lnTo>
                    <a:pt x="6605" y="3963"/>
                  </a:lnTo>
                  <a:lnTo>
                    <a:pt x="6133" y="3491"/>
                  </a:lnTo>
                  <a:lnTo>
                    <a:pt x="5567" y="3113"/>
                  </a:lnTo>
                  <a:lnTo>
                    <a:pt x="4340" y="2547"/>
                  </a:lnTo>
                  <a:lnTo>
                    <a:pt x="3208" y="1887"/>
                  </a:lnTo>
                  <a:lnTo>
                    <a:pt x="2925" y="1698"/>
                  </a:lnTo>
                  <a:lnTo>
                    <a:pt x="2925" y="1604"/>
                  </a:lnTo>
                  <a:lnTo>
                    <a:pt x="2925" y="1510"/>
                  </a:lnTo>
                  <a:lnTo>
                    <a:pt x="2737" y="1698"/>
                  </a:lnTo>
                  <a:lnTo>
                    <a:pt x="2642" y="1698"/>
                  </a:lnTo>
                  <a:lnTo>
                    <a:pt x="2642" y="1604"/>
                  </a:lnTo>
                  <a:lnTo>
                    <a:pt x="2642" y="1510"/>
                  </a:lnTo>
                  <a:lnTo>
                    <a:pt x="2642" y="1415"/>
                  </a:lnTo>
                  <a:lnTo>
                    <a:pt x="2454" y="1604"/>
                  </a:lnTo>
                  <a:lnTo>
                    <a:pt x="2454" y="1698"/>
                  </a:lnTo>
                  <a:lnTo>
                    <a:pt x="2265" y="1887"/>
                  </a:lnTo>
                  <a:lnTo>
                    <a:pt x="2265" y="1604"/>
                  </a:lnTo>
                  <a:lnTo>
                    <a:pt x="2171" y="1415"/>
                  </a:lnTo>
                  <a:lnTo>
                    <a:pt x="1605" y="944"/>
                  </a:lnTo>
                  <a:lnTo>
                    <a:pt x="1227" y="755"/>
                  </a:lnTo>
                  <a:lnTo>
                    <a:pt x="1039" y="472"/>
                  </a:lnTo>
                  <a:lnTo>
                    <a:pt x="850" y="283"/>
                  </a:lnTo>
                  <a:lnTo>
                    <a:pt x="944" y="0"/>
                  </a:lnTo>
                  <a:close/>
                  <a:moveTo>
                    <a:pt x="2252" y="7965"/>
                  </a:moveTo>
                  <a:lnTo>
                    <a:pt x="850" y="8491"/>
                  </a:lnTo>
                  <a:lnTo>
                    <a:pt x="756" y="8491"/>
                  </a:lnTo>
                  <a:lnTo>
                    <a:pt x="756" y="8774"/>
                  </a:lnTo>
                  <a:lnTo>
                    <a:pt x="944" y="8868"/>
                  </a:lnTo>
                  <a:lnTo>
                    <a:pt x="1133" y="8868"/>
                  </a:lnTo>
                  <a:lnTo>
                    <a:pt x="1605" y="8774"/>
                  </a:lnTo>
                  <a:lnTo>
                    <a:pt x="1793" y="8679"/>
                  </a:lnTo>
                  <a:lnTo>
                    <a:pt x="2076" y="8491"/>
                  </a:lnTo>
                  <a:lnTo>
                    <a:pt x="2171" y="8208"/>
                  </a:lnTo>
                  <a:lnTo>
                    <a:pt x="2252" y="7965"/>
                  </a:lnTo>
                  <a:close/>
                </a:path>
              </a:pathLst>
            </a:custGeom>
            <a:solidFill>
              <a:srgbClr val="0067B7">
                <a:alpha val="52000"/>
              </a:srgbClr>
            </a:solidFill>
            <a:ln>
              <a:noFill/>
            </a:ln>
          </p:spPr>
          <p:txBody>
            <a:bodyPr spcFirstLastPara="1" wrap="square" lIns="91425" tIns="91425" rIns="91425" bIns="91425" anchor="ctr" anchorCtr="0">
              <a:noAutofit/>
            </a:bodyPr>
            <a:lstStyle/>
            <a:p>
              <a:pPr marL="0" lvl="0" indent="0">
                <a:spcBef>
                  <a:spcPts val="0"/>
                </a:spcBef>
                <a:spcAft>
                  <a:spcPts val="0"/>
                </a:spcAft>
                <a:buNone/>
              </a:pPr>
              <a:endParaRPr dirty="0"/>
            </a:p>
          </p:txBody>
        </p:sp>
      </p:grpSp>
      <p:sp>
        <p:nvSpPr>
          <p:cNvPr id="18" name="Rectangle 17">
            <a:extLst>
              <a:ext uri="{FF2B5EF4-FFF2-40B4-BE49-F238E27FC236}">
                <a16:creationId xmlns:a16="http://schemas.microsoft.com/office/drawing/2014/main" id="{CD78A823-57AF-3E40-9094-CBACAFC35FD8}"/>
              </a:ext>
            </a:extLst>
          </p:cNvPr>
          <p:cNvSpPr/>
          <p:nvPr/>
        </p:nvSpPr>
        <p:spPr>
          <a:xfrm>
            <a:off x="4204712" y="3022659"/>
            <a:ext cx="517841" cy="30228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r>
              <a:rPr lang="en-US" sz="1600" b="1" dirty="0">
                <a:solidFill>
                  <a:srgbClr val="035DA2"/>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Push</a:t>
            </a:r>
          </a:p>
        </p:txBody>
      </p:sp>
      <p:pic>
        <p:nvPicPr>
          <p:cNvPr id="19" name="Picture 18">
            <a:extLst>
              <a:ext uri="{FF2B5EF4-FFF2-40B4-BE49-F238E27FC236}">
                <a16:creationId xmlns:a16="http://schemas.microsoft.com/office/drawing/2014/main" id="{F4FCD929-F227-0849-A685-D08FB99E72AE}"/>
              </a:ext>
            </a:extLst>
          </p:cNvPr>
          <p:cNvPicPr>
            <a:picLocks noChangeAspect="1"/>
          </p:cNvPicPr>
          <p:nvPr/>
        </p:nvPicPr>
        <p:blipFill>
          <a:blip r:embed="rId5"/>
          <a:stretch>
            <a:fillRect/>
          </a:stretch>
        </p:blipFill>
        <p:spPr>
          <a:xfrm>
            <a:off x="4171149" y="5206107"/>
            <a:ext cx="2189620" cy="1084966"/>
          </a:xfrm>
          <a:prstGeom prst="rect">
            <a:avLst/>
          </a:prstGeom>
        </p:spPr>
      </p:pic>
      <p:grpSp>
        <p:nvGrpSpPr>
          <p:cNvPr id="21" name="Google Shape;236;p27">
            <a:extLst>
              <a:ext uri="{FF2B5EF4-FFF2-40B4-BE49-F238E27FC236}">
                <a16:creationId xmlns:a16="http://schemas.microsoft.com/office/drawing/2014/main" id="{98916DAB-BD38-8943-BE6A-1F7FC3CBE090}"/>
              </a:ext>
            </a:extLst>
          </p:cNvPr>
          <p:cNvGrpSpPr/>
          <p:nvPr/>
        </p:nvGrpSpPr>
        <p:grpSpPr>
          <a:xfrm rot="2783793">
            <a:off x="4194901" y="4994699"/>
            <a:ext cx="1134489" cy="130601"/>
            <a:chOff x="3103836" y="2764475"/>
            <a:chExt cx="954587" cy="281287"/>
          </a:xfrm>
        </p:grpSpPr>
        <p:sp>
          <p:nvSpPr>
            <p:cNvPr id="22" name="Google Shape;237;p27">
              <a:extLst>
                <a:ext uri="{FF2B5EF4-FFF2-40B4-BE49-F238E27FC236}">
                  <a16:creationId xmlns:a16="http://schemas.microsoft.com/office/drawing/2014/main" id="{AB86658E-607B-3649-AE5F-BB778D3F4123}"/>
                </a:ext>
              </a:extLst>
            </p:cNvPr>
            <p:cNvSpPr/>
            <p:nvPr/>
          </p:nvSpPr>
          <p:spPr>
            <a:xfrm>
              <a:off x="3103836" y="2815253"/>
              <a:ext cx="838038" cy="230509"/>
            </a:xfrm>
            <a:custGeom>
              <a:avLst/>
              <a:gdLst/>
              <a:ahLst/>
              <a:cxnLst/>
              <a:rect l="0" t="0" r="0" b="0"/>
              <a:pathLst>
                <a:path w="27831" h="2831" extrusionOk="0">
                  <a:moveTo>
                    <a:pt x="27264" y="944"/>
                  </a:moveTo>
                  <a:lnTo>
                    <a:pt x="27359" y="1086"/>
                  </a:lnTo>
                  <a:lnTo>
                    <a:pt x="27359" y="944"/>
                  </a:lnTo>
                  <a:close/>
                  <a:moveTo>
                    <a:pt x="27359" y="1086"/>
                  </a:moveTo>
                  <a:lnTo>
                    <a:pt x="27359" y="1133"/>
                  </a:lnTo>
                  <a:lnTo>
                    <a:pt x="27372" y="1106"/>
                  </a:lnTo>
                  <a:lnTo>
                    <a:pt x="27372" y="1106"/>
                  </a:lnTo>
                  <a:lnTo>
                    <a:pt x="27359" y="1086"/>
                  </a:lnTo>
                  <a:close/>
                  <a:moveTo>
                    <a:pt x="27453" y="944"/>
                  </a:moveTo>
                  <a:lnTo>
                    <a:pt x="27372" y="1106"/>
                  </a:lnTo>
                  <a:lnTo>
                    <a:pt x="27372" y="1106"/>
                  </a:lnTo>
                  <a:lnTo>
                    <a:pt x="27453" y="1227"/>
                  </a:lnTo>
                  <a:lnTo>
                    <a:pt x="27453" y="944"/>
                  </a:lnTo>
                  <a:close/>
                  <a:moveTo>
                    <a:pt x="27642" y="1039"/>
                  </a:moveTo>
                  <a:lnTo>
                    <a:pt x="27453" y="1227"/>
                  </a:lnTo>
                  <a:lnTo>
                    <a:pt x="27453" y="1322"/>
                  </a:lnTo>
                  <a:lnTo>
                    <a:pt x="27453" y="1416"/>
                  </a:lnTo>
                  <a:lnTo>
                    <a:pt x="27830" y="1416"/>
                  </a:lnTo>
                  <a:lnTo>
                    <a:pt x="27830" y="1227"/>
                  </a:lnTo>
                  <a:lnTo>
                    <a:pt x="27736" y="1322"/>
                  </a:lnTo>
                  <a:lnTo>
                    <a:pt x="27736" y="1227"/>
                  </a:lnTo>
                  <a:lnTo>
                    <a:pt x="27736" y="1133"/>
                  </a:lnTo>
                  <a:lnTo>
                    <a:pt x="27642" y="1039"/>
                  </a:lnTo>
                  <a:close/>
                  <a:moveTo>
                    <a:pt x="20189" y="1"/>
                  </a:moveTo>
                  <a:lnTo>
                    <a:pt x="20095" y="190"/>
                  </a:lnTo>
                  <a:lnTo>
                    <a:pt x="20000" y="95"/>
                  </a:lnTo>
                  <a:lnTo>
                    <a:pt x="19906" y="284"/>
                  </a:lnTo>
                  <a:lnTo>
                    <a:pt x="19812" y="473"/>
                  </a:lnTo>
                  <a:lnTo>
                    <a:pt x="19529" y="284"/>
                  </a:lnTo>
                  <a:lnTo>
                    <a:pt x="19340" y="95"/>
                  </a:lnTo>
                  <a:lnTo>
                    <a:pt x="19246" y="95"/>
                  </a:lnTo>
                  <a:lnTo>
                    <a:pt x="19246" y="190"/>
                  </a:lnTo>
                  <a:lnTo>
                    <a:pt x="19151" y="378"/>
                  </a:lnTo>
                  <a:lnTo>
                    <a:pt x="19434" y="190"/>
                  </a:lnTo>
                  <a:lnTo>
                    <a:pt x="19246" y="473"/>
                  </a:lnTo>
                  <a:lnTo>
                    <a:pt x="19434" y="378"/>
                  </a:lnTo>
                  <a:lnTo>
                    <a:pt x="19434" y="567"/>
                  </a:lnTo>
                  <a:lnTo>
                    <a:pt x="19151" y="567"/>
                  </a:lnTo>
                  <a:lnTo>
                    <a:pt x="19151" y="190"/>
                  </a:lnTo>
                  <a:lnTo>
                    <a:pt x="19057" y="95"/>
                  </a:lnTo>
                  <a:lnTo>
                    <a:pt x="18963" y="95"/>
                  </a:lnTo>
                  <a:lnTo>
                    <a:pt x="18774" y="284"/>
                  </a:lnTo>
                  <a:lnTo>
                    <a:pt x="18680" y="473"/>
                  </a:lnTo>
                  <a:lnTo>
                    <a:pt x="18585" y="378"/>
                  </a:lnTo>
                  <a:lnTo>
                    <a:pt x="18491" y="190"/>
                  </a:lnTo>
                  <a:lnTo>
                    <a:pt x="18397" y="378"/>
                  </a:lnTo>
                  <a:lnTo>
                    <a:pt x="17925" y="567"/>
                  </a:lnTo>
                  <a:lnTo>
                    <a:pt x="18019" y="284"/>
                  </a:lnTo>
                  <a:lnTo>
                    <a:pt x="17831" y="378"/>
                  </a:lnTo>
                  <a:lnTo>
                    <a:pt x="17642" y="567"/>
                  </a:lnTo>
                  <a:lnTo>
                    <a:pt x="17642" y="661"/>
                  </a:lnTo>
                  <a:lnTo>
                    <a:pt x="17453" y="567"/>
                  </a:lnTo>
                  <a:lnTo>
                    <a:pt x="17170" y="473"/>
                  </a:lnTo>
                  <a:lnTo>
                    <a:pt x="16699" y="473"/>
                  </a:lnTo>
                  <a:lnTo>
                    <a:pt x="16699" y="567"/>
                  </a:lnTo>
                  <a:lnTo>
                    <a:pt x="16604" y="661"/>
                  </a:lnTo>
                  <a:lnTo>
                    <a:pt x="16416" y="378"/>
                  </a:lnTo>
                  <a:lnTo>
                    <a:pt x="16227" y="378"/>
                  </a:lnTo>
                  <a:lnTo>
                    <a:pt x="15661" y="661"/>
                  </a:lnTo>
                  <a:lnTo>
                    <a:pt x="15661" y="473"/>
                  </a:lnTo>
                  <a:lnTo>
                    <a:pt x="15567" y="756"/>
                  </a:lnTo>
                  <a:lnTo>
                    <a:pt x="15378" y="473"/>
                  </a:lnTo>
                  <a:lnTo>
                    <a:pt x="15567" y="473"/>
                  </a:lnTo>
                  <a:lnTo>
                    <a:pt x="15472" y="378"/>
                  </a:lnTo>
                  <a:lnTo>
                    <a:pt x="15378" y="378"/>
                  </a:lnTo>
                  <a:lnTo>
                    <a:pt x="15189" y="473"/>
                  </a:lnTo>
                  <a:lnTo>
                    <a:pt x="15000" y="756"/>
                  </a:lnTo>
                  <a:lnTo>
                    <a:pt x="14906" y="661"/>
                  </a:lnTo>
                  <a:lnTo>
                    <a:pt x="14812" y="473"/>
                  </a:lnTo>
                  <a:lnTo>
                    <a:pt x="14529" y="756"/>
                  </a:lnTo>
                  <a:lnTo>
                    <a:pt x="14623" y="567"/>
                  </a:lnTo>
                  <a:lnTo>
                    <a:pt x="14529" y="661"/>
                  </a:lnTo>
                  <a:lnTo>
                    <a:pt x="14340" y="756"/>
                  </a:lnTo>
                  <a:lnTo>
                    <a:pt x="14340" y="567"/>
                  </a:lnTo>
                  <a:lnTo>
                    <a:pt x="14246" y="473"/>
                  </a:lnTo>
                  <a:lnTo>
                    <a:pt x="13963" y="378"/>
                  </a:lnTo>
                  <a:lnTo>
                    <a:pt x="13585" y="284"/>
                  </a:lnTo>
                  <a:lnTo>
                    <a:pt x="13302" y="284"/>
                  </a:lnTo>
                  <a:lnTo>
                    <a:pt x="13302" y="378"/>
                  </a:lnTo>
                  <a:lnTo>
                    <a:pt x="13302" y="473"/>
                  </a:lnTo>
                  <a:lnTo>
                    <a:pt x="13208" y="473"/>
                  </a:lnTo>
                  <a:lnTo>
                    <a:pt x="13208" y="661"/>
                  </a:lnTo>
                  <a:lnTo>
                    <a:pt x="13114" y="661"/>
                  </a:lnTo>
                  <a:lnTo>
                    <a:pt x="13019" y="567"/>
                  </a:lnTo>
                  <a:lnTo>
                    <a:pt x="12925" y="378"/>
                  </a:lnTo>
                  <a:lnTo>
                    <a:pt x="12831" y="95"/>
                  </a:lnTo>
                  <a:lnTo>
                    <a:pt x="12831" y="378"/>
                  </a:lnTo>
                  <a:lnTo>
                    <a:pt x="12736" y="378"/>
                  </a:lnTo>
                  <a:lnTo>
                    <a:pt x="12642" y="284"/>
                  </a:lnTo>
                  <a:lnTo>
                    <a:pt x="12548" y="190"/>
                  </a:lnTo>
                  <a:lnTo>
                    <a:pt x="12265" y="190"/>
                  </a:lnTo>
                  <a:lnTo>
                    <a:pt x="12170" y="473"/>
                  </a:lnTo>
                  <a:lnTo>
                    <a:pt x="12076" y="378"/>
                  </a:lnTo>
                  <a:lnTo>
                    <a:pt x="11887" y="284"/>
                  </a:lnTo>
                  <a:lnTo>
                    <a:pt x="11510" y="378"/>
                  </a:lnTo>
                  <a:lnTo>
                    <a:pt x="10755" y="661"/>
                  </a:lnTo>
                  <a:lnTo>
                    <a:pt x="10661" y="473"/>
                  </a:lnTo>
                  <a:lnTo>
                    <a:pt x="10567" y="378"/>
                  </a:lnTo>
                  <a:lnTo>
                    <a:pt x="10095" y="378"/>
                  </a:lnTo>
                  <a:lnTo>
                    <a:pt x="9529" y="473"/>
                  </a:lnTo>
                  <a:lnTo>
                    <a:pt x="9340" y="473"/>
                  </a:lnTo>
                  <a:lnTo>
                    <a:pt x="9152" y="378"/>
                  </a:lnTo>
                  <a:lnTo>
                    <a:pt x="9152" y="473"/>
                  </a:lnTo>
                  <a:lnTo>
                    <a:pt x="9152" y="567"/>
                  </a:lnTo>
                  <a:lnTo>
                    <a:pt x="8963" y="661"/>
                  </a:lnTo>
                  <a:lnTo>
                    <a:pt x="8869" y="567"/>
                  </a:lnTo>
                  <a:lnTo>
                    <a:pt x="8680" y="473"/>
                  </a:lnTo>
                  <a:lnTo>
                    <a:pt x="8680" y="756"/>
                  </a:lnTo>
                  <a:lnTo>
                    <a:pt x="8491" y="661"/>
                  </a:lnTo>
                  <a:lnTo>
                    <a:pt x="8208" y="567"/>
                  </a:lnTo>
                  <a:lnTo>
                    <a:pt x="7925" y="661"/>
                  </a:lnTo>
                  <a:lnTo>
                    <a:pt x="7831" y="756"/>
                  </a:lnTo>
                  <a:lnTo>
                    <a:pt x="7548" y="567"/>
                  </a:lnTo>
                  <a:lnTo>
                    <a:pt x="7359" y="473"/>
                  </a:lnTo>
                  <a:lnTo>
                    <a:pt x="7170" y="944"/>
                  </a:lnTo>
                  <a:lnTo>
                    <a:pt x="6982" y="661"/>
                  </a:lnTo>
                  <a:lnTo>
                    <a:pt x="6793" y="661"/>
                  </a:lnTo>
                  <a:lnTo>
                    <a:pt x="6604" y="756"/>
                  </a:lnTo>
                  <a:lnTo>
                    <a:pt x="6510" y="661"/>
                  </a:lnTo>
                  <a:lnTo>
                    <a:pt x="6416" y="756"/>
                  </a:lnTo>
                  <a:lnTo>
                    <a:pt x="6038" y="944"/>
                  </a:lnTo>
                  <a:lnTo>
                    <a:pt x="6038" y="1039"/>
                  </a:lnTo>
                  <a:lnTo>
                    <a:pt x="5850" y="1133"/>
                  </a:lnTo>
                  <a:lnTo>
                    <a:pt x="5850" y="1039"/>
                  </a:lnTo>
                  <a:lnTo>
                    <a:pt x="5755" y="1039"/>
                  </a:lnTo>
                  <a:lnTo>
                    <a:pt x="5567" y="1227"/>
                  </a:lnTo>
                  <a:lnTo>
                    <a:pt x="5472" y="1227"/>
                  </a:lnTo>
                  <a:lnTo>
                    <a:pt x="5378" y="1039"/>
                  </a:lnTo>
                  <a:lnTo>
                    <a:pt x="5378" y="1133"/>
                  </a:lnTo>
                  <a:lnTo>
                    <a:pt x="5189" y="1227"/>
                  </a:lnTo>
                  <a:lnTo>
                    <a:pt x="5095" y="1133"/>
                  </a:lnTo>
                  <a:lnTo>
                    <a:pt x="4906" y="1039"/>
                  </a:lnTo>
                  <a:lnTo>
                    <a:pt x="5189" y="1039"/>
                  </a:lnTo>
                  <a:lnTo>
                    <a:pt x="5095" y="944"/>
                  </a:lnTo>
                  <a:lnTo>
                    <a:pt x="5095" y="756"/>
                  </a:lnTo>
                  <a:lnTo>
                    <a:pt x="5001" y="944"/>
                  </a:lnTo>
                  <a:lnTo>
                    <a:pt x="4529" y="944"/>
                  </a:lnTo>
                  <a:lnTo>
                    <a:pt x="4529" y="1133"/>
                  </a:lnTo>
                  <a:lnTo>
                    <a:pt x="4718" y="1133"/>
                  </a:lnTo>
                  <a:lnTo>
                    <a:pt x="4623" y="1227"/>
                  </a:lnTo>
                  <a:lnTo>
                    <a:pt x="4623" y="1133"/>
                  </a:lnTo>
                  <a:lnTo>
                    <a:pt x="4529" y="1416"/>
                  </a:lnTo>
                  <a:lnTo>
                    <a:pt x="4340" y="1227"/>
                  </a:lnTo>
                  <a:lnTo>
                    <a:pt x="4152" y="1039"/>
                  </a:lnTo>
                  <a:lnTo>
                    <a:pt x="3963" y="1039"/>
                  </a:lnTo>
                  <a:lnTo>
                    <a:pt x="3774" y="1416"/>
                  </a:lnTo>
                  <a:lnTo>
                    <a:pt x="3774" y="1322"/>
                  </a:lnTo>
                  <a:lnTo>
                    <a:pt x="3774" y="1227"/>
                  </a:lnTo>
                  <a:lnTo>
                    <a:pt x="3680" y="1322"/>
                  </a:lnTo>
                  <a:lnTo>
                    <a:pt x="3586" y="1510"/>
                  </a:lnTo>
                  <a:lnTo>
                    <a:pt x="3208" y="1416"/>
                  </a:lnTo>
                  <a:lnTo>
                    <a:pt x="2454" y="1416"/>
                  </a:lnTo>
                  <a:lnTo>
                    <a:pt x="1793" y="1510"/>
                  </a:lnTo>
                  <a:lnTo>
                    <a:pt x="1510" y="1605"/>
                  </a:lnTo>
                  <a:lnTo>
                    <a:pt x="1321" y="1699"/>
                  </a:lnTo>
                  <a:lnTo>
                    <a:pt x="1321" y="1605"/>
                  </a:lnTo>
                  <a:lnTo>
                    <a:pt x="1038" y="1699"/>
                  </a:lnTo>
                  <a:lnTo>
                    <a:pt x="755" y="1793"/>
                  </a:lnTo>
                  <a:lnTo>
                    <a:pt x="567" y="1793"/>
                  </a:lnTo>
                  <a:lnTo>
                    <a:pt x="378" y="1888"/>
                  </a:lnTo>
                  <a:lnTo>
                    <a:pt x="284" y="1699"/>
                  </a:lnTo>
                  <a:lnTo>
                    <a:pt x="95" y="1605"/>
                  </a:lnTo>
                  <a:lnTo>
                    <a:pt x="1" y="1793"/>
                  </a:lnTo>
                  <a:lnTo>
                    <a:pt x="1" y="2076"/>
                  </a:lnTo>
                  <a:lnTo>
                    <a:pt x="95" y="2548"/>
                  </a:lnTo>
                  <a:lnTo>
                    <a:pt x="189" y="2831"/>
                  </a:lnTo>
                  <a:lnTo>
                    <a:pt x="284" y="2737"/>
                  </a:lnTo>
                  <a:lnTo>
                    <a:pt x="472" y="2831"/>
                  </a:lnTo>
                  <a:lnTo>
                    <a:pt x="567" y="2548"/>
                  </a:lnTo>
                  <a:lnTo>
                    <a:pt x="661" y="2642"/>
                  </a:lnTo>
                  <a:lnTo>
                    <a:pt x="661" y="2737"/>
                  </a:lnTo>
                  <a:lnTo>
                    <a:pt x="755" y="2642"/>
                  </a:lnTo>
                  <a:lnTo>
                    <a:pt x="944" y="2548"/>
                  </a:lnTo>
                  <a:lnTo>
                    <a:pt x="1227" y="2548"/>
                  </a:lnTo>
                  <a:lnTo>
                    <a:pt x="1227" y="2642"/>
                  </a:lnTo>
                  <a:lnTo>
                    <a:pt x="1321" y="2737"/>
                  </a:lnTo>
                  <a:lnTo>
                    <a:pt x="1416" y="2831"/>
                  </a:lnTo>
                  <a:lnTo>
                    <a:pt x="1510" y="2642"/>
                  </a:lnTo>
                  <a:lnTo>
                    <a:pt x="1793" y="2548"/>
                  </a:lnTo>
                  <a:lnTo>
                    <a:pt x="1699" y="2642"/>
                  </a:lnTo>
                  <a:lnTo>
                    <a:pt x="1887" y="2737"/>
                  </a:lnTo>
                  <a:lnTo>
                    <a:pt x="1887" y="2454"/>
                  </a:lnTo>
                  <a:lnTo>
                    <a:pt x="1982" y="2265"/>
                  </a:lnTo>
                  <a:lnTo>
                    <a:pt x="2076" y="2737"/>
                  </a:lnTo>
                  <a:lnTo>
                    <a:pt x="2171" y="2359"/>
                  </a:lnTo>
                  <a:lnTo>
                    <a:pt x="2265" y="2642"/>
                  </a:lnTo>
                  <a:lnTo>
                    <a:pt x="2265" y="2548"/>
                  </a:lnTo>
                  <a:lnTo>
                    <a:pt x="2359" y="2454"/>
                  </a:lnTo>
                  <a:lnTo>
                    <a:pt x="2454" y="2548"/>
                  </a:lnTo>
                  <a:lnTo>
                    <a:pt x="2454" y="2737"/>
                  </a:lnTo>
                  <a:lnTo>
                    <a:pt x="2548" y="2548"/>
                  </a:lnTo>
                  <a:lnTo>
                    <a:pt x="2548" y="2454"/>
                  </a:lnTo>
                  <a:lnTo>
                    <a:pt x="2642" y="2548"/>
                  </a:lnTo>
                  <a:lnTo>
                    <a:pt x="2642" y="2642"/>
                  </a:lnTo>
                  <a:lnTo>
                    <a:pt x="2831" y="2454"/>
                  </a:lnTo>
                  <a:lnTo>
                    <a:pt x="3020" y="2454"/>
                  </a:lnTo>
                  <a:lnTo>
                    <a:pt x="3114" y="2265"/>
                  </a:lnTo>
                  <a:lnTo>
                    <a:pt x="3114" y="2076"/>
                  </a:lnTo>
                  <a:lnTo>
                    <a:pt x="3208" y="1982"/>
                  </a:lnTo>
                  <a:lnTo>
                    <a:pt x="3208" y="2076"/>
                  </a:lnTo>
                  <a:lnTo>
                    <a:pt x="3208" y="2265"/>
                  </a:lnTo>
                  <a:lnTo>
                    <a:pt x="3303" y="2076"/>
                  </a:lnTo>
                  <a:lnTo>
                    <a:pt x="3491" y="2076"/>
                  </a:lnTo>
                  <a:lnTo>
                    <a:pt x="3491" y="2171"/>
                  </a:lnTo>
                  <a:lnTo>
                    <a:pt x="3397" y="2265"/>
                  </a:lnTo>
                  <a:lnTo>
                    <a:pt x="3303" y="2359"/>
                  </a:lnTo>
                  <a:lnTo>
                    <a:pt x="3303" y="2548"/>
                  </a:lnTo>
                  <a:lnTo>
                    <a:pt x="3491" y="2548"/>
                  </a:lnTo>
                  <a:lnTo>
                    <a:pt x="3586" y="2454"/>
                  </a:lnTo>
                  <a:lnTo>
                    <a:pt x="3680" y="2265"/>
                  </a:lnTo>
                  <a:lnTo>
                    <a:pt x="4152" y="2265"/>
                  </a:lnTo>
                  <a:lnTo>
                    <a:pt x="4152" y="2359"/>
                  </a:lnTo>
                  <a:lnTo>
                    <a:pt x="4246" y="2171"/>
                  </a:lnTo>
                  <a:lnTo>
                    <a:pt x="4340" y="2171"/>
                  </a:lnTo>
                  <a:lnTo>
                    <a:pt x="4246" y="2265"/>
                  </a:lnTo>
                  <a:lnTo>
                    <a:pt x="5284" y="2265"/>
                  </a:lnTo>
                  <a:lnTo>
                    <a:pt x="5567" y="2171"/>
                  </a:lnTo>
                  <a:lnTo>
                    <a:pt x="5755" y="2171"/>
                  </a:lnTo>
                  <a:lnTo>
                    <a:pt x="5755" y="2076"/>
                  </a:lnTo>
                  <a:lnTo>
                    <a:pt x="6416" y="2076"/>
                  </a:lnTo>
                  <a:lnTo>
                    <a:pt x="6510" y="1888"/>
                  </a:lnTo>
                  <a:lnTo>
                    <a:pt x="6604" y="1888"/>
                  </a:lnTo>
                  <a:lnTo>
                    <a:pt x="7170" y="1982"/>
                  </a:lnTo>
                  <a:lnTo>
                    <a:pt x="7453" y="1888"/>
                  </a:lnTo>
                  <a:lnTo>
                    <a:pt x="7548" y="1888"/>
                  </a:lnTo>
                  <a:lnTo>
                    <a:pt x="7642" y="1699"/>
                  </a:lnTo>
                  <a:lnTo>
                    <a:pt x="7736" y="1888"/>
                  </a:lnTo>
                  <a:lnTo>
                    <a:pt x="7925" y="2076"/>
                  </a:lnTo>
                  <a:lnTo>
                    <a:pt x="8114" y="1793"/>
                  </a:lnTo>
                  <a:lnTo>
                    <a:pt x="8114" y="1982"/>
                  </a:lnTo>
                  <a:lnTo>
                    <a:pt x="8208" y="1793"/>
                  </a:lnTo>
                  <a:lnTo>
                    <a:pt x="8302" y="1982"/>
                  </a:lnTo>
                  <a:lnTo>
                    <a:pt x="8302" y="1888"/>
                  </a:lnTo>
                  <a:lnTo>
                    <a:pt x="8302" y="1793"/>
                  </a:lnTo>
                  <a:lnTo>
                    <a:pt x="8491" y="1793"/>
                  </a:lnTo>
                  <a:lnTo>
                    <a:pt x="8585" y="1888"/>
                  </a:lnTo>
                  <a:lnTo>
                    <a:pt x="8774" y="1793"/>
                  </a:lnTo>
                  <a:lnTo>
                    <a:pt x="8774" y="1982"/>
                  </a:lnTo>
                  <a:lnTo>
                    <a:pt x="8869" y="1888"/>
                  </a:lnTo>
                  <a:lnTo>
                    <a:pt x="9718" y="1888"/>
                  </a:lnTo>
                  <a:lnTo>
                    <a:pt x="9623" y="1793"/>
                  </a:lnTo>
                  <a:lnTo>
                    <a:pt x="9718" y="1605"/>
                  </a:lnTo>
                  <a:lnTo>
                    <a:pt x="9812" y="1699"/>
                  </a:lnTo>
                  <a:lnTo>
                    <a:pt x="9812" y="1793"/>
                  </a:lnTo>
                  <a:lnTo>
                    <a:pt x="9906" y="1888"/>
                  </a:lnTo>
                  <a:lnTo>
                    <a:pt x="10095" y="1982"/>
                  </a:lnTo>
                  <a:lnTo>
                    <a:pt x="10661" y="1793"/>
                  </a:lnTo>
                  <a:lnTo>
                    <a:pt x="11038" y="1510"/>
                  </a:lnTo>
                  <a:lnTo>
                    <a:pt x="11133" y="1699"/>
                  </a:lnTo>
                  <a:lnTo>
                    <a:pt x="11321" y="1699"/>
                  </a:lnTo>
                  <a:lnTo>
                    <a:pt x="11510" y="1605"/>
                  </a:lnTo>
                  <a:lnTo>
                    <a:pt x="11604" y="1416"/>
                  </a:lnTo>
                  <a:lnTo>
                    <a:pt x="11982" y="1605"/>
                  </a:lnTo>
                  <a:lnTo>
                    <a:pt x="12453" y="1699"/>
                  </a:lnTo>
                  <a:lnTo>
                    <a:pt x="12642" y="1510"/>
                  </a:lnTo>
                  <a:lnTo>
                    <a:pt x="12642" y="1699"/>
                  </a:lnTo>
                  <a:lnTo>
                    <a:pt x="12925" y="1510"/>
                  </a:lnTo>
                  <a:lnTo>
                    <a:pt x="13208" y="1510"/>
                  </a:lnTo>
                  <a:lnTo>
                    <a:pt x="14057" y="1699"/>
                  </a:lnTo>
                  <a:lnTo>
                    <a:pt x="14434" y="1793"/>
                  </a:lnTo>
                  <a:lnTo>
                    <a:pt x="14812" y="1793"/>
                  </a:lnTo>
                  <a:lnTo>
                    <a:pt x="15095" y="1699"/>
                  </a:lnTo>
                  <a:lnTo>
                    <a:pt x="15378" y="1510"/>
                  </a:lnTo>
                  <a:lnTo>
                    <a:pt x="15472" y="1416"/>
                  </a:lnTo>
                  <a:lnTo>
                    <a:pt x="15472" y="1510"/>
                  </a:lnTo>
                  <a:lnTo>
                    <a:pt x="15472" y="1699"/>
                  </a:lnTo>
                  <a:lnTo>
                    <a:pt x="16416" y="1510"/>
                  </a:lnTo>
                  <a:lnTo>
                    <a:pt x="16416" y="1605"/>
                  </a:lnTo>
                  <a:lnTo>
                    <a:pt x="16510" y="1605"/>
                  </a:lnTo>
                  <a:lnTo>
                    <a:pt x="16604" y="1510"/>
                  </a:lnTo>
                  <a:lnTo>
                    <a:pt x="17642" y="1510"/>
                  </a:lnTo>
                  <a:lnTo>
                    <a:pt x="17736" y="1605"/>
                  </a:lnTo>
                  <a:lnTo>
                    <a:pt x="17831" y="1605"/>
                  </a:lnTo>
                  <a:lnTo>
                    <a:pt x="18397" y="1510"/>
                  </a:lnTo>
                  <a:lnTo>
                    <a:pt x="19057" y="1322"/>
                  </a:lnTo>
                  <a:lnTo>
                    <a:pt x="18774" y="1605"/>
                  </a:lnTo>
                  <a:lnTo>
                    <a:pt x="19151" y="1322"/>
                  </a:lnTo>
                  <a:lnTo>
                    <a:pt x="19340" y="1322"/>
                  </a:lnTo>
                  <a:lnTo>
                    <a:pt x="19340" y="1510"/>
                  </a:lnTo>
                  <a:lnTo>
                    <a:pt x="19529" y="1416"/>
                  </a:lnTo>
                  <a:lnTo>
                    <a:pt x="19906" y="1416"/>
                  </a:lnTo>
                  <a:lnTo>
                    <a:pt x="20000" y="1322"/>
                  </a:lnTo>
                  <a:lnTo>
                    <a:pt x="20095" y="944"/>
                  </a:lnTo>
                  <a:lnTo>
                    <a:pt x="20095" y="1133"/>
                  </a:lnTo>
                  <a:lnTo>
                    <a:pt x="20189" y="1227"/>
                  </a:lnTo>
                  <a:lnTo>
                    <a:pt x="20189" y="1416"/>
                  </a:lnTo>
                  <a:lnTo>
                    <a:pt x="20283" y="1322"/>
                  </a:lnTo>
                  <a:lnTo>
                    <a:pt x="20378" y="1322"/>
                  </a:lnTo>
                  <a:lnTo>
                    <a:pt x="20378" y="1416"/>
                  </a:lnTo>
                  <a:lnTo>
                    <a:pt x="20661" y="1227"/>
                  </a:lnTo>
                  <a:lnTo>
                    <a:pt x="20944" y="1133"/>
                  </a:lnTo>
                  <a:lnTo>
                    <a:pt x="21038" y="1133"/>
                  </a:lnTo>
                  <a:lnTo>
                    <a:pt x="21132" y="1416"/>
                  </a:lnTo>
                  <a:lnTo>
                    <a:pt x="21604" y="1227"/>
                  </a:lnTo>
                  <a:lnTo>
                    <a:pt x="21510" y="1039"/>
                  </a:lnTo>
                  <a:lnTo>
                    <a:pt x="21510" y="944"/>
                  </a:lnTo>
                  <a:lnTo>
                    <a:pt x="21698" y="944"/>
                  </a:lnTo>
                  <a:lnTo>
                    <a:pt x="21604" y="1039"/>
                  </a:lnTo>
                  <a:lnTo>
                    <a:pt x="21982" y="1039"/>
                  </a:lnTo>
                  <a:lnTo>
                    <a:pt x="21887" y="1227"/>
                  </a:lnTo>
                  <a:lnTo>
                    <a:pt x="21887" y="1227"/>
                  </a:lnTo>
                  <a:lnTo>
                    <a:pt x="22170" y="1039"/>
                  </a:lnTo>
                  <a:lnTo>
                    <a:pt x="22265" y="1227"/>
                  </a:lnTo>
                  <a:lnTo>
                    <a:pt x="22265" y="1133"/>
                  </a:lnTo>
                  <a:lnTo>
                    <a:pt x="22265" y="1039"/>
                  </a:lnTo>
                  <a:lnTo>
                    <a:pt x="22548" y="1039"/>
                  </a:lnTo>
                  <a:lnTo>
                    <a:pt x="22642" y="1322"/>
                  </a:lnTo>
                  <a:lnTo>
                    <a:pt x="23019" y="1227"/>
                  </a:lnTo>
                  <a:lnTo>
                    <a:pt x="23208" y="1133"/>
                  </a:lnTo>
                  <a:lnTo>
                    <a:pt x="23302" y="1039"/>
                  </a:lnTo>
                  <a:lnTo>
                    <a:pt x="23397" y="1133"/>
                  </a:lnTo>
                  <a:lnTo>
                    <a:pt x="23397" y="1227"/>
                  </a:lnTo>
                  <a:lnTo>
                    <a:pt x="23680" y="1227"/>
                  </a:lnTo>
                  <a:lnTo>
                    <a:pt x="23868" y="1133"/>
                  </a:lnTo>
                  <a:lnTo>
                    <a:pt x="24057" y="1227"/>
                  </a:lnTo>
                  <a:lnTo>
                    <a:pt x="24246" y="1227"/>
                  </a:lnTo>
                  <a:lnTo>
                    <a:pt x="24246" y="1133"/>
                  </a:lnTo>
                  <a:lnTo>
                    <a:pt x="24529" y="1227"/>
                  </a:lnTo>
                  <a:lnTo>
                    <a:pt x="24906" y="1322"/>
                  </a:lnTo>
                  <a:lnTo>
                    <a:pt x="25179" y="1048"/>
                  </a:lnTo>
                  <a:lnTo>
                    <a:pt x="25095" y="1133"/>
                  </a:lnTo>
                  <a:lnTo>
                    <a:pt x="25189" y="1227"/>
                  </a:lnTo>
                  <a:lnTo>
                    <a:pt x="25189" y="1133"/>
                  </a:lnTo>
                  <a:lnTo>
                    <a:pt x="25283" y="1039"/>
                  </a:lnTo>
                  <a:lnTo>
                    <a:pt x="25378" y="944"/>
                  </a:lnTo>
                  <a:lnTo>
                    <a:pt x="25472" y="944"/>
                  </a:lnTo>
                  <a:lnTo>
                    <a:pt x="25472" y="1133"/>
                  </a:lnTo>
                  <a:lnTo>
                    <a:pt x="25566" y="1039"/>
                  </a:lnTo>
                  <a:lnTo>
                    <a:pt x="25661" y="1039"/>
                  </a:lnTo>
                  <a:lnTo>
                    <a:pt x="25566" y="1133"/>
                  </a:lnTo>
                  <a:lnTo>
                    <a:pt x="25661" y="1227"/>
                  </a:lnTo>
                  <a:lnTo>
                    <a:pt x="25849" y="1322"/>
                  </a:lnTo>
                  <a:lnTo>
                    <a:pt x="25944" y="1133"/>
                  </a:lnTo>
                  <a:lnTo>
                    <a:pt x="26132" y="1039"/>
                  </a:lnTo>
                  <a:lnTo>
                    <a:pt x="26132" y="1039"/>
                  </a:lnTo>
                  <a:lnTo>
                    <a:pt x="26038" y="1227"/>
                  </a:lnTo>
                  <a:lnTo>
                    <a:pt x="26132" y="1322"/>
                  </a:lnTo>
                  <a:lnTo>
                    <a:pt x="26321" y="1416"/>
                  </a:lnTo>
                  <a:lnTo>
                    <a:pt x="26415" y="1416"/>
                  </a:lnTo>
                  <a:lnTo>
                    <a:pt x="26887" y="1227"/>
                  </a:lnTo>
                  <a:lnTo>
                    <a:pt x="27264" y="944"/>
                  </a:lnTo>
                  <a:lnTo>
                    <a:pt x="27170" y="944"/>
                  </a:lnTo>
                  <a:lnTo>
                    <a:pt x="27264" y="850"/>
                  </a:lnTo>
                  <a:lnTo>
                    <a:pt x="26981" y="756"/>
                  </a:lnTo>
                  <a:lnTo>
                    <a:pt x="26887" y="944"/>
                  </a:lnTo>
                  <a:lnTo>
                    <a:pt x="26793" y="1133"/>
                  </a:lnTo>
                  <a:lnTo>
                    <a:pt x="26793" y="661"/>
                  </a:lnTo>
                  <a:lnTo>
                    <a:pt x="26604" y="944"/>
                  </a:lnTo>
                  <a:lnTo>
                    <a:pt x="26510" y="850"/>
                  </a:lnTo>
                  <a:lnTo>
                    <a:pt x="26415" y="756"/>
                  </a:lnTo>
                  <a:lnTo>
                    <a:pt x="26321" y="944"/>
                  </a:lnTo>
                  <a:lnTo>
                    <a:pt x="26227" y="661"/>
                  </a:lnTo>
                  <a:lnTo>
                    <a:pt x="26038" y="756"/>
                  </a:lnTo>
                  <a:lnTo>
                    <a:pt x="25849" y="661"/>
                  </a:lnTo>
                  <a:lnTo>
                    <a:pt x="25378" y="567"/>
                  </a:lnTo>
                  <a:lnTo>
                    <a:pt x="25283" y="661"/>
                  </a:lnTo>
                  <a:lnTo>
                    <a:pt x="25095" y="756"/>
                  </a:lnTo>
                  <a:lnTo>
                    <a:pt x="25189" y="473"/>
                  </a:lnTo>
                  <a:lnTo>
                    <a:pt x="25000" y="661"/>
                  </a:lnTo>
                  <a:lnTo>
                    <a:pt x="25000" y="661"/>
                  </a:lnTo>
                  <a:lnTo>
                    <a:pt x="25095" y="473"/>
                  </a:lnTo>
                  <a:lnTo>
                    <a:pt x="24906" y="567"/>
                  </a:lnTo>
                  <a:lnTo>
                    <a:pt x="24717" y="567"/>
                  </a:lnTo>
                  <a:lnTo>
                    <a:pt x="24717" y="756"/>
                  </a:lnTo>
                  <a:lnTo>
                    <a:pt x="24623" y="1039"/>
                  </a:lnTo>
                  <a:lnTo>
                    <a:pt x="24623" y="850"/>
                  </a:lnTo>
                  <a:lnTo>
                    <a:pt x="24717" y="661"/>
                  </a:lnTo>
                  <a:lnTo>
                    <a:pt x="24623" y="756"/>
                  </a:lnTo>
                  <a:lnTo>
                    <a:pt x="24623" y="661"/>
                  </a:lnTo>
                  <a:lnTo>
                    <a:pt x="24529" y="473"/>
                  </a:lnTo>
                  <a:lnTo>
                    <a:pt x="24529" y="661"/>
                  </a:lnTo>
                  <a:lnTo>
                    <a:pt x="24434" y="567"/>
                  </a:lnTo>
                  <a:lnTo>
                    <a:pt x="24340" y="378"/>
                  </a:lnTo>
                  <a:lnTo>
                    <a:pt x="24246" y="567"/>
                  </a:lnTo>
                  <a:lnTo>
                    <a:pt x="23963" y="567"/>
                  </a:lnTo>
                  <a:lnTo>
                    <a:pt x="23397" y="661"/>
                  </a:lnTo>
                  <a:lnTo>
                    <a:pt x="23114" y="661"/>
                  </a:lnTo>
                  <a:lnTo>
                    <a:pt x="22925" y="567"/>
                  </a:lnTo>
                  <a:lnTo>
                    <a:pt x="22925" y="473"/>
                  </a:lnTo>
                  <a:lnTo>
                    <a:pt x="23019" y="473"/>
                  </a:lnTo>
                  <a:lnTo>
                    <a:pt x="22642" y="378"/>
                  </a:lnTo>
                  <a:lnTo>
                    <a:pt x="22736" y="473"/>
                  </a:lnTo>
                  <a:lnTo>
                    <a:pt x="22548" y="473"/>
                  </a:lnTo>
                  <a:lnTo>
                    <a:pt x="22642" y="284"/>
                  </a:lnTo>
                  <a:lnTo>
                    <a:pt x="22548" y="190"/>
                  </a:lnTo>
                  <a:lnTo>
                    <a:pt x="22453" y="190"/>
                  </a:lnTo>
                  <a:lnTo>
                    <a:pt x="22359" y="284"/>
                  </a:lnTo>
                  <a:lnTo>
                    <a:pt x="22170" y="378"/>
                  </a:lnTo>
                  <a:lnTo>
                    <a:pt x="22076" y="284"/>
                  </a:lnTo>
                  <a:lnTo>
                    <a:pt x="22170" y="473"/>
                  </a:lnTo>
                  <a:lnTo>
                    <a:pt x="21887" y="190"/>
                  </a:lnTo>
                  <a:lnTo>
                    <a:pt x="21793" y="190"/>
                  </a:lnTo>
                  <a:lnTo>
                    <a:pt x="21698" y="378"/>
                  </a:lnTo>
                  <a:lnTo>
                    <a:pt x="21604" y="756"/>
                  </a:lnTo>
                  <a:lnTo>
                    <a:pt x="21415" y="661"/>
                  </a:lnTo>
                  <a:lnTo>
                    <a:pt x="21510" y="473"/>
                  </a:lnTo>
                  <a:lnTo>
                    <a:pt x="21604" y="284"/>
                  </a:lnTo>
                  <a:lnTo>
                    <a:pt x="21415" y="284"/>
                  </a:lnTo>
                  <a:lnTo>
                    <a:pt x="21415" y="190"/>
                  </a:lnTo>
                  <a:lnTo>
                    <a:pt x="21227" y="378"/>
                  </a:lnTo>
                  <a:lnTo>
                    <a:pt x="20944" y="567"/>
                  </a:lnTo>
                  <a:lnTo>
                    <a:pt x="20566" y="1"/>
                  </a:lnTo>
                  <a:lnTo>
                    <a:pt x="20472" y="95"/>
                  </a:lnTo>
                  <a:lnTo>
                    <a:pt x="20472" y="190"/>
                  </a:lnTo>
                  <a:lnTo>
                    <a:pt x="20472" y="378"/>
                  </a:lnTo>
                  <a:lnTo>
                    <a:pt x="20283" y="284"/>
                  </a:lnTo>
                  <a:lnTo>
                    <a:pt x="20283" y="190"/>
                  </a:lnTo>
                  <a:lnTo>
                    <a:pt x="20378" y="95"/>
                  </a:lnTo>
                  <a:lnTo>
                    <a:pt x="20283" y="1"/>
                  </a:lnTo>
                  <a:close/>
                </a:path>
              </a:pathLst>
            </a:custGeom>
            <a:solidFill>
              <a:srgbClr val="0067B7">
                <a:alpha val="59000"/>
              </a:srgbClr>
            </a:solidFill>
            <a:ln>
              <a:noFill/>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23" name="Google Shape;238;p27">
              <a:extLst>
                <a:ext uri="{FF2B5EF4-FFF2-40B4-BE49-F238E27FC236}">
                  <a16:creationId xmlns:a16="http://schemas.microsoft.com/office/drawing/2014/main" id="{C08B9780-FD45-D246-9A27-E55997E92622}"/>
                </a:ext>
              </a:extLst>
            </p:cNvPr>
            <p:cNvSpPr/>
            <p:nvPr/>
          </p:nvSpPr>
          <p:spPr>
            <a:xfrm>
              <a:off x="3870041" y="2764475"/>
              <a:ext cx="188382" cy="232966"/>
            </a:xfrm>
            <a:custGeom>
              <a:avLst/>
              <a:gdLst/>
              <a:ahLst/>
              <a:cxnLst/>
              <a:rect l="0" t="0" r="0" b="0"/>
              <a:pathLst>
                <a:path w="7171" h="8869" extrusionOk="0">
                  <a:moveTo>
                    <a:pt x="5756" y="6510"/>
                  </a:moveTo>
                  <a:lnTo>
                    <a:pt x="5756" y="6604"/>
                  </a:lnTo>
                  <a:lnTo>
                    <a:pt x="5850" y="6604"/>
                  </a:lnTo>
                  <a:lnTo>
                    <a:pt x="5756" y="6510"/>
                  </a:lnTo>
                  <a:close/>
                  <a:moveTo>
                    <a:pt x="2265" y="7925"/>
                  </a:moveTo>
                  <a:lnTo>
                    <a:pt x="2252" y="7965"/>
                  </a:lnTo>
                  <a:lnTo>
                    <a:pt x="2252" y="7965"/>
                  </a:lnTo>
                  <a:lnTo>
                    <a:pt x="2284" y="7953"/>
                  </a:lnTo>
                  <a:lnTo>
                    <a:pt x="2284" y="7953"/>
                  </a:lnTo>
                  <a:lnTo>
                    <a:pt x="2265" y="7925"/>
                  </a:lnTo>
                  <a:close/>
                  <a:moveTo>
                    <a:pt x="567" y="0"/>
                  </a:moveTo>
                  <a:lnTo>
                    <a:pt x="284" y="189"/>
                  </a:lnTo>
                  <a:lnTo>
                    <a:pt x="95" y="472"/>
                  </a:lnTo>
                  <a:lnTo>
                    <a:pt x="1" y="755"/>
                  </a:lnTo>
                  <a:lnTo>
                    <a:pt x="95" y="1038"/>
                  </a:lnTo>
                  <a:lnTo>
                    <a:pt x="190" y="1227"/>
                  </a:lnTo>
                  <a:lnTo>
                    <a:pt x="473" y="1415"/>
                  </a:lnTo>
                  <a:lnTo>
                    <a:pt x="850" y="1321"/>
                  </a:lnTo>
                  <a:lnTo>
                    <a:pt x="661" y="1604"/>
                  </a:lnTo>
                  <a:lnTo>
                    <a:pt x="756" y="1604"/>
                  </a:lnTo>
                  <a:lnTo>
                    <a:pt x="661" y="1793"/>
                  </a:lnTo>
                  <a:lnTo>
                    <a:pt x="661" y="1887"/>
                  </a:lnTo>
                  <a:lnTo>
                    <a:pt x="756" y="1793"/>
                  </a:lnTo>
                  <a:lnTo>
                    <a:pt x="1510" y="1604"/>
                  </a:lnTo>
                  <a:lnTo>
                    <a:pt x="1510" y="1604"/>
                  </a:lnTo>
                  <a:lnTo>
                    <a:pt x="1133" y="2076"/>
                  </a:lnTo>
                  <a:lnTo>
                    <a:pt x="1322" y="2453"/>
                  </a:lnTo>
                  <a:lnTo>
                    <a:pt x="1888" y="2830"/>
                  </a:lnTo>
                  <a:lnTo>
                    <a:pt x="3397" y="3774"/>
                  </a:lnTo>
                  <a:lnTo>
                    <a:pt x="5001" y="4623"/>
                  </a:lnTo>
                  <a:lnTo>
                    <a:pt x="5944" y="5095"/>
                  </a:lnTo>
                  <a:lnTo>
                    <a:pt x="5756" y="5189"/>
                  </a:lnTo>
                  <a:lnTo>
                    <a:pt x="5378" y="5378"/>
                  </a:lnTo>
                  <a:lnTo>
                    <a:pt x="5378" y="5283"/>
                  </a:lnTo>
                  <a:lnTo>
                    <a:pt x="5001" y="5661"/>
                  </a:lnTo>
                  <a:lnTo>
                    <a:pt x="4623" y="5944"/>
                  </a:lnTo>
                  <a:lnTo>
                    <a:pt x="4435" y="6321"/>
                  </a:lnTo>
                  <a:lnTo>
                    <a:pt x="4340" y="6510"/>
                  </a:lnTo>
                  <a:lnTo>
                    <a:pt x="4435" y="6698"/>
                  </a:lnTo>
                  <a:lnTo>
                    <a:pt x="4435" y="6698"/>
                  </a:lnTo>
                  <a:lnTo>
                    <a:pt x="4246" y="6415"/>
                  </a:lnTo>
                  <a:lnTo>
                    <a:pt x="4057" y="6321"/>
                  </a:lnTo>
                  <a:lnTo>
                    <a:pt x="3963" y="6415"/>
                  </a:lnTo>
                  <a:lnTo>
                    <a:pt x="3869" y="6510"/>
                  </a:lnTo>
                  <a:lnTo>
                    <a:pt x="3680" y="6887"/>
                  </a:lnTo>
                  <a:lnTo>
                    <a:pt x="3680" y="7076"/>
                  </a:lnTo>
                  <a:lnTo>
                    <a:pt x="3774" y="7076"/>
                  </a:lnTo>
                  <a:lnTo>
                    <a:pt x="3680" y="7264"/>
                  </a:lnTo>
                  <a:lnTo>
                    <a:pt x="3303" y="7453"/>
                  </a:lnTo>
                  <a:lnTo>
                    <a:pt x="2359" y="7925"/>
                  </a:lnTo>
                  <a:lnTo>
                    <a:pt x="2284" y="7953"/>
                  </a:lnTo>
                  <a:lnTo>
                    <a:pt x="2284" y="7953"/>
                  </a:lnTo>
                  <a:lnTo>
                    <a:pt x="2454" y="8208"/>
                  </a:lnTo>
                  <a:lnTo>
                    <a:pt x="2642" y="8396"/>
                  </a:lnTo>
                  <a:lnTo>
                    <a:pt x="2642" y="8302"/>
                  </a:lnTo>
                  <a:lnTo>
                    <a:pt x="2737" y="8396"/>
                  </a:lnTo>
                  <a:lnTo>
                    <a:pt x="2831" y="8113"/>
                  </a:lnTo>
                  <a:lnTo>
                    <a:pt x="2925" y="7925"/>
                  </a:lnTo>
                  <a:lnTo>
                    <a:pt x="3020" y="7830"/>
                  </a:lnTo>
                  <a:lnTo>
                    <a:pt x="3397" y="7830"/>
                  </a:lnTo>
                  <a:lnTo>
                    <a:pt x="3680" y="7736"/>
                  </a:lnTo>
                  <a:lnTo>
                    <a:pt x="3774" y="7547"/>
                  </a:lnTo>
                  <a:lnTo>
                    <a:pt x="3869" y="7264"/>
                  </a:lnTo>
                  <a:lnTo>
                    <a:pt x="4246" y="7453"/>
                  </a:lnTo>
                  <a:lnTo>
                    <a:pt x="4623" y="7642"/>
                  </a:lnTo>
                  <a:lnTo>
                    <a:pt x="4718" y="7547"/>
                  </a:lnTo>
                  <a:lnTo>
                    <a:pt x="4906" y="7359"/>
                  </a:lnTo>
                  <a:lnTo>
                    <a:pt x="5190" y="7170"/>
                  </a:lnTo>
                  <a:lnTo>
                    <a:pt x="5095" y="7076"/>
                  </a:lnTo>
                  <a:lnTo>
                    <a:pt x="4906" y="6793"/>
                  </a:lnTo>
                  <a:lnTo>
                    <a:pt x="4906" y="6793"/>
                  </a:lnTo>
                  <a:lnTo>
                    <a:pt x="5095" y="6887"/>
                  </a:lnTo>
                  <a:lnTo>
                    <a:pt x="5378" y="6793"/>
                  </a:lnTo>
                  <a:lnTo>
                    <a:pt x="5756" y="6510"/>
                  </a:lnTo>
                  <a:lnTo>
                    <a:pt x="6322" y="6132"/>
                  </a:lnTo>
                  <a:lnTo>
                    <a:pt x="6699" y="5566"/>
                  </a:lnTo>
                  <a:lnTo>
                    <a:pt x="7171" y="5095"/>
                  </a:lnTo>
                  <a:lnTo>
                    <a:pt x="7076" y="4717"/>
                  </a:lnTo>
                  <a:lnTo>
                    <a:pt x="6982" y="4434"/>
                  </a:lnTo>
                  <a:lnTo>
                    <a:pt x="6605" y="3963"/>
                  </a:lnTo>
                  <a:lnTo>
                    <a:pt x="6133" y="3491"/>
                  </a:lnTo>
                  <a:lnTo>
                    <a:pt x="5567" y="3113"/>
                  </a:lnTo>
                  <a:lnTo>
                    <a:pt x="4340" y="2547"/>
                  </a:lnTo>
                  <a:lnTo>
                    <a:pt x="3208" y="1887"/>
                  </a:lnTo>
                  <a:lnTo>
                    <a:pt x="2925" y="1698"/>
                  </a:lnTo>
                  <a:lnTo>
                    <a:pt x="2925" y="1604"/>
                  </a:lnTo>
                  <a:lnTo>
                    <a:pt x="2925" y="1510"/>
                  </a:lnTo>
                  <a:lnTo>
                    <a:pt x="2737" y="1698"/>
                  </a:lnTo>
                  <a:lnTo>
                    <a:pt x="2642" y="1698"/>
                  </a:lnTo>
                  <a:lnTo>
                    <a:pt x="2642" y="1604"/>
                  </a:lnTo>
                  <a:lnTo>
                    <a:pt x="2642" y="1510"/>
                  </a:lnTo>
                  <a:lnTo>
                    <a:pt x="2642" y="1415"/>
                  </a:lnTo>
                  <a:lnTo>
                    <a:pt x="2454" y="1604"/>
                  </a:lnTo>
                  <a:lnTo>
                    <a:pt x="2454" y="1698"/>
                  </a:lnTo>
                  <a:lnTo>
                    <a:pt x="2265" y="1887"/>
                  </a:lnTo>
                  <a:lnTo>
                    <a:pt x="2265" y="1604"/>
                  </a:lnTo>
                  <a:lnTo>
                    <a:pt x="2171" y="1415"/>
                  </a:lnTo>
                  <a:lnTo>
                    <a:pt x="1605" y="944"/>
                  </a:lnTo>
                  <a:lnTo>
                    <a:pt x="1227" y="755"/>
                  </a:lnTo>
                  <a:lnTo>
                    <a:pt x="1039" y="472"/>
                  </a:lnTo>
                  <a:lnTo>
                    <a:pt x="850" y="283"/>
                  </a:lnTo>
                  <a:lnTo>
                    <a:pt x="944" y="0"/>
                  </a:lnTo>
                  <a:close/>
                  <a:moveTo>
                    <a:pt x="2252" y="7965"/>
                  </a:moveTo>
                  <a:lnTo>
                    <a:pt x="850" y="8491"/>
                  </a:lnTo>
                  <a:lnTo>
                    <a:pt x="756" y="8491"/>
                  </a:lnTo>
                  <a:lnTo>
                    <a:pt x="756" y="8774"/>
                  </a:lnTo>
                  <a:lnTo>
                    <a:pt x="944" y="8868"/>
                  </a:lnTo>
                  <a:lnTo>
                    <a:pt x="1133" y="8868"/>
                  </a:lnTo>
                  <a:lnTo>
                    <a:pt x="1605" y="8774"/>
                  </a:lnTo>
                  <a:lnTo>
                    <a:pt x="1793" y="8679"/>
                  </a:lnTo>
                  <a:lnTo>
                    <a:pt x="2076" y="8491"/>
                  </a:lnTo>
                  <a:lnTo>
                    <a:pt x="2171" y="8208"/>
                  </a:lnTo>
                  <a:lnTo>
                    <a:pt x="2252" y="7965"/>
                  </a:lnTo>
                  <a:close/>
                </a:path>
              </a:pathLst>
            </a:custGeom>
            <a:solidFill>
              <a:srgbClr val="0067B7">
                <a:alpha val="52000"/>
              </a:srgbClr>
            </a:solidFill>
            <a:ln>
              <a:noFill/>
            </a:ln>
          </p:spPr>
          <p:txBody>
            <a:bodyPr spcFirstLastPara="1" wrap="square" lIns="91425" tIns="91425" rIns="91425" bIns="91425" anchor="ctr" anchorCtr="0">
              <a:noAutofit/>
            </a:bodyPr>
            <a:lstStyle/>
            <a:p>
              <a:pPr marL="0" lvl="0" indent="0">
                <a:spcBef>
                  <a:spcPts val="0"/>
                </a:spcBef>
                <a:spcAft>
                  <a:spcPts val="0"/>
                </a:spcAft>
                <a:buNone/>
              </a:pPr>
              <a:endParaRPr dirty="0"/>
            </a:p>
          </p:txBody>
        </p:sp>
      </p:grpSp>
      <p:sp>
        <p:nvSpPr>
          <p:cNvPr id="24" name="Rectangle 23">
            <a:extLst>
              <a:ext uri="{FF2B5EF4-FFF2-40B4-BE49-F238E27FC236}">
                <a16:creationId xmlns:a16="http://schemas.microsoft.com/office/drawing/2014/main" id="{7C4CAE5B-7B03-E841-BBDD-AD46951B3DA8}"/>
              </a:ext>
            </a:extLst>
          </p:cNvPr>
          <p:cNvSpPr/>
          <p:nvPr/>
        </p:nvSpPr>
        <p:spPr>
          <a:xfrm>
            <a:off x="4683779" y="4762145"/>
            <a:ext cx="923615" cy="30228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r>
              <a:rPr lang="en-US" sz="1100" b="1" dirty="0">
                <a:solidFill>
                  <a:srgbClr val="035DA2"/>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Analyze</a:t>
            </a:r>
          </a:p>
        </p:txBody>
      </p:sp>
      <p:pic>
        <p:nvPicPr>
          <p:cNvPr id="27" name="Picture 26">
            <a:extLst>
              <a:ext uri="{FF2B5EF4-FFF2-40B4-BE49-F238E27FC236}">
                <a16:creationId xmlns:a16="http://schemas.microsoft.com/office/drawing/2014/main" id="{03EFF157-270D-CF44-869E-28722C41D74F}"/>
              </a:ext>
            </a:extLst>
          </p:cNvPr>
          <p:cNvPicPr>
            <a:picLocks noChangeAspect="1"/>
          </p:cNvPicPr>
          <p:nvPr/>
        </p:nvPicPr>
        <p:blipFill>
          <a:blip r:embed="rId6"/>
          <a:stretch>
            <a:fillRect/>
          </a:stretch>
        </p:blipFill>
        <p:spPr>
          <a:xfrm>
            <a:off x="6426147" y="3294196"/>
            <a:ext cx="588579" cy="533393"/>
          </a:xfrm>
          <a:prstGeom prst="rect">
            <a:avLst/>
          </a:prstGeom>
        </p:spPr>
      </p:pic>
      <p:pic>
        <p:nvPicPr>
          <p:cNvPr id="29" name="Picture 28">
            <a:extLst>
              <a:ext uri="{FF2B5EF4-FFF2-40B4-BE49-F238E27FC236}">
                <a16:creationId xmlns:a16="http://schemas.microsoft.com/office/drawing/2014/main" id="{F59B11A7-51CF-2344-BD4C-003D4D169D3A}"/>
              </a:ext>
            </a:extLst>
          </p:cNvPr>
          <p:cNvPicPr>
            <a:picLocks noChangeAspect="1"/>
          </p:cNvPicPr>
          <p:nvPr/>
        </p:nvPicPr>
        <p:blipFill>
          <a:blip r:embed="rId7"/>
          <a:stretch>
            <a:fillRect/>
          </a:stretch>
        </p:blipFill>
        <p:spPr>
          <a:xfrm>
            <a:off x="6048170" y="3827419"/>
            <a:ext cx="1075568" cy="585641"/>
          </a:xfrm>
          <a:prstGeom prst="rect">
            <a:avLst/>
          </a:prstGeom>
        </p:spPr>
      </p:pic>
      <p:grpSp>
        <p:nvGrpSpPr>
          <p:cNvPr id="35" name="Google Shape;236;p27">
            <a:extLst>
              <a:ext uri="{FF2B5EF4-FFF2-40B4-BE49-F238E27FC236}">
                <a16:creationId xmlns:a16="http://schemas.microsoft.com/office/drawing/2014/main" id="{532B25FA-A0E0-8541-96FA-4A7CEB8249DD}"/>
              </a:ext>
            </a:extLst>
          </p:cNvPr>
          <p:cNvGrpSpPr/>
          <p:nvPr/>
        </p:nvGrpSpPr>
        <p:grpSpPr>
          <a:xfrm rot="20503167">
            <a:off x="4478615" y="3810520"/>
            <a:ext cx="1936003" cy="151850"/>
            <a:chOff x="3103836" y="2764475"/>
            <a:chExt cx="954587" cy="281287"/>
          </a:xfrm>
        </p:grpSpPr>
        <p:sp>
          <p:nvSpPr>
            <p:cNvPr id="36" name="Google Shape;237;p27">
              <a:extLst>
                <a:ext uri="{FF2B5EF4-FFF2-40B4-BE49-F238E27FC236}">
                  <a16:creationId xmlns:a16="http://schemas.microsoft.com/office/drawing/2014/main" id="{8E5AE5BB-03A2-8140-9015-1F10A124BD5E}"/>
                </a:ext>
              </a:extLst>
            </p:cNvPr>
            <p:cNvSpPr/>
            <p:nvPr/>
          </p:nvSpPr>
          <p:spPr>
            <a:xfrm>
              <a:off x="3103836" y="2815253"/>
              <a:ext cx="838038" cy="230509"/>
            </a:xfrm>
            <a:custGeom>
              <a:avLst/>
              <a:gdLst/>
              <a:ahLst/>
              <a:cxnLst/>
              <a:rect l="0" t="0" r="0" b="0"/>
              <a:pathLst>
                <a:path w="27831" h="2831" extrusionOk="0">
                  <a:moveTo>
                    <a:pt x="27264" y="944"/>
                  </a:moveTo>
                  <a:lnTo>
                    <a:pt x="27359" y="1086"/>
                  </a:lnTo>
                  <a:lnTo>
                    <a:pt x="27359" y="944"/>
                  </a:lnTo>
                  <a:close/>
                  <a:moveTo>
                    <a:pt x="27359" y="1086"/>
                  </a:moveTo>
                  <a:lnTo>
                    <a:pt x="27359" y="1133"/>
                  </a:lnTo>
                  <a:lnTo>
                    <a:pt x="27372" y="1106"/>
                  </a:lnTo>
                  <a:lnTo>
                    <a:pt x="27372" y="1106"/>
                  </a:lnTo>
                  <a:lnTo>
                    <a:pt x="27359" y="1086"/>
                  </a:lnTo>
                  <a:close/>
                  <a:moveTo>
                    <a:pt x="27453" y="944"/>
                  </a:moveTo>
                  <a:lnTo>
                    <a:pt x="27372" y="1106"/>
                  </a:lnTo>
                  <a:lnTo>
                    <a:pt x="27372" y="1106"/>
                  </a:lnTo>
                  <a:lnTo>
                    <a:pt x="27453" y="1227"/>
                  </a:lnTo>
                  <a:lnTo>
                    <a:pt x="27453" y="944"/>
                  </a:lnTo>
                  <a:close/>
                  <a:moveTo>
                    <a:pt x="27642" y="1039"/>
                  </a:moveTo>
                  <a:lnTo>
                    <a:pt x="27453" y="1227"/>
                  </a:lnTo>
                  <a:lnTo>
                    <a:pt x="27453" y="1322"/>
                  </a:lnTo>
                  <a:lnTo>
                    <a:pt x="27453" y="1416"/>
                  </a:lnTo>
                  <a:lnTo>
                    <a:pt x="27830" y="1416"/>
                  </a:lnTo>
                  <a:lnTo>
                    <a:pt x="27830" y="1227"/>
                  </a:lnTo>
                  <a:lnTo>
                    <a:pt x="27736" y="1322"/>
                  </a:lnTo>
                  <a:lnTo>
                    <a:pt x="27736" y="1227"/>
                  </a:lnTo>
                  <a:lnTo>
                    <a:pt x="27736" y="1133"/>
                  </a:lnTo>
                  <a:lnTo>
                    <a:pt x="27642" y="1039"/>
                  </a:lnTo>
                  <a:close/>
                  <a:moveTo>
                    <a:pt x="20189" y="1"/>
                  </a:moveTo>
                  <a:lnTo>
                    <a:pt x="20095" y="190"/>
                  </a:lnTo>
                  <a:lnTo>
                    <a:pt x="20000" y="95"/>
                  </a:lnTo>
                  <a:lnTo>
                    <a:pt x="19906" y="284"/>
                  </a:lnTo>
                  <a:lnTo>
                    <a:pt x="19812" y="473"/>
                  </a:lnTo>
                  <a:lnTo>
                    <a:pt x="19529" y="284"/>
                  </a:lnTo>
                  <a:lnTo>
                    <a:pt x="19340" y="95"/>
                  </a:lnTo>
                  <a:lnTo>
                    <a:pt x="19246" y="95"/>
                  </a:lnTo>
                  <a:lnTo>
                    <a:pt x="19246" y="190"/>
                  </a:lnTo>
                  <a:lnTo>
                    <a:pt x="19151" y="378"/>
                  </a:lnTo>
                  <a:lnTo>
                    <a:pt x="19434" y="190"/>
                  </a:lnTo>
                  <a:lnTo>
                    <a:pt x="19246" y="473"/>
                  </a:lnTo>
                  <a:lnTo>
                    <a:pt x="19434" y="378"/>
                  </a:lnTo>
                  <a:lnTo>
                    <a:pt x="19434" y="567"/>
                  </a:lnTo>
                  <a:lnTo>
                    <a:pt x="19151" y="567"/>
                  </a:lnTo>
                  <a:lnTo>
                    <a:pt x="19151" y="190"/>
                  </a:lnTo>
                  <a:lnTo>
                    <a:pt x="19057" y="95"/>
                  </a:lnTo>
                  <a:lnTo>
                    <a:pt x="18963" y="95"/>
                  </a:lnTo>
                  <a:lnTo>
                    <a:pt x="18774" y="284"/>
                  </a:lnTo>
                  <a:lnTo>
                    <a:pt x="18680" y="473"/>
                  </a:lnTo>
                  <a:lnTo>
                    <a:pt x="18585" y="378"/>
                  </a:lnTo>
                  <a:lnTo>
                    <a:pt x="18491" y="190"/>
                  </a:lnTo>
                  <a:lnTo>
                    <a:pt x="18397" y="378"/>
                  </a:lnTo>
                  <a:lnTo>
                    <a:pt x="17925" y="567"/>
                  </a:lnTo>
                  <a:lnTo>
                    <a:pt x="18019" y="284"/>
                  </a:lnTo>
                  <a:lnTo>
                    <a:pt x="17831" y="378"/>
                  </a:lnTo>
                  <a:lnTo>
                    <a:pt x="17642" y="567"/>
                  </a:lnTo>
                  <a:lnTo>
                    <a:pt x="17642" y="661"/>
                  </a:lnTo>
                  <a:lnTo>
                    <a:pt x="17453" y="567"/>
                  </a:lnTo>
                  <a:lnTo>
                    <a:pt x="17170" y="473"/>
                  </a:lnTo>
                  <a:lnTo>
                    <a:pt x="16699" y="473"/>
                  </a:lnTo>
                  <a:lnTo>
                    <a:pt x="16699" y="567"/>
                  </a:lnTo>
                  <a:lnTo>
                    <a:pt x="16604" y="661"/>
                  </a:lnTo>
                  <a:lnTo>
                    <a:pt x="16416" y="378"/>
                  </a:lnTo>
                  <a:lnTo>
                    <a:pt x="16227" y="378"/>
                  </a:lnTo>
                  <a:lnTo>
                    <a:pt x="15661" y="661"/>
                  </a:lnTo>
                  <a:lnTo>
                    <a:pt x="15661" y="473"/>
                  </a:lnTo>
                  <a:lnTo>
                    <a:pt x="15567" y="756"/>
                  </a:lnTo>
                  <a:lnTo>
                    <a:pt x="15378" y="473"/>
                  </a:lnTo>
                  <a:lnTo>
                    <a:pt x="15567" y="473"/>
                  </a:lnTo>
                  <a:lnTo>
                    <a:pt x="15472" y="378"/>
                  </a:lnTo>
                  <a:lnTo>
                    <a:pt x="15378" y="378"/>
                  </a:lnTo>
                  <a:lnTo>
                    <a:pt x="15189" y="473"/>
                  </a:lnTo>
                  <a:lnTo>
                    <a:pt x="15000" y="756"/>
                  </a:lnTo>
                  <a:lnTo>
                    <a:pt x="14906" y="661"/>
                  </a:lnTo>
                  <a:lnTo>
                    <a:pt x="14812" y="473"/>
                  </a:lnTo>
                  <a:lnTo>
                    <a:pt x="14529" y="756"/>
                  </a:lnTo>
                  <a:lnTo>
                    <a:pt x="14623" y="567"/>
                  </a:lnTo>
                  <a:lnTo>
                    <a:pt x="14529" y="661"/>
                  </a:lnTo>
                  <a:lnTo>
                    <a:pt x="14340" y="756"/>
                  </a:lnTo>
                  <a:lnTo>
                    <a:pt x="14340" y="567"/>
                  </a:lnTo>
                  <a:lnTo>
                    <a:pt x="14246" y="473"/>
                  </a:lnTo>
                  <a:lnTo>
                    <a:pt x="13963" y="378"/>
                  </a:lnTo>
                  <a:lnTo>
                    <a:pt x="13585" y="284"/>
                  </a:lnTo>
                  <a:lnTo>
                    <a:pt x="13302" y="284"/>
                  </a:lnTo>
                  <a:lnTo>
                    <a:pt x="13302" y="378"/>
                  </a:lnTo>
                  <a:lnTo>
                    <a:pt x="13302" y="473"/>
                  </a:lnTo>
                  <a:lnTo>
                    <a:pt x="13208" y="473"/>
                  </a:lnTo>
                  <a:lnTo>
                    <a:pt x="13208" y="661"/>
                  </a:lnTo>
                  <a:lnTo>
                    <a:pt x="13114" y="661"/>
                  </a:lnTo>
                  <a:lnTo>
                    <a:pt x="13019" y="567"/>
                  </a:lnTo>
                  <a:lnTo>
                    <a:pt x="12925" y="378"/>
                  </a:lnTo>
                  <a:lnTo>
                    <a:pt x="12831" y="95"/>
                  </a:lnTo>
                  <a:lnTo>
                    <a:pt x="12831" y="378"/>
                  </a:lnTo>
                  <a:lnTo>
                    <a:pt x="12736" y="378"/>
                  </a:lnTo>
                  <a:lnTo>
                    <a:pt x="12642" y="284"/>
                  </a:lnTo>
                  <a:lnTo>
                    <a:pt x="12548" y="190"/>
                  </a:lnTo>
                  <a:lnTo>
                    <a:pt x="12265" y="190"/>
                  </a:lnTo>
                  <a:lnTo>
                    <a:pt x="12170" y="473"/>
                  </a:lnTo>
                  <a:lnTo>
                    <a:pt x="12076" y="378"/>
                  </a:lnTo>
                  <a:lnTo>
                    <a:pt x="11887" y="284"/>
                  </a:lnTo>
                  <a:lnTo>
                    <a:pt x="11510" y="378"/>
                  </a:lnTo>
                  <a:lnTo>
                    <a:pt x="10755" y="661"/>
                  </a:lnTo>
                  <a:lnTo>
                    <a:pt x="10661" y="473"/>
                  </a:lnTo>
                  <a:lnTo>
                    <a:pt x="10567" y="378"/>
                  </a:lnTo>
                  <a:lnTo>
                    <a:pt x="10095" y="378"/>
                  </a:lnTo>
                  <a:lnTo>
                    <a:pt x="9529" y="473"/>
                  </a:lnTo>
                  <a:lnTo>
                    <a:pt x="9340" y="473"/>
                  </a:lnTo>
                  <a:lnTo>
                    <a:pt x="9152" y="378"/>
                  </a:lnTo>
                  <a:lnTo>
                    <a:pt x="9152" y="473"/>
                  </a:lnTo>
                  <a:lnTo>
                    <a:pt x="9152" y="567"/>
                  </a:lnTo>
                  <a:lnTo>
                    <a:pt x="8963" y="661"/>
                  </a:lnTo>
                  <a:lnTo>
                    <a:pt x="8869" y="567"/>
                  </a:lnTo>
                  <a:lnTo>
                    <a:pt x="8680" y="473"/>
                  </a:lnTo>
                  <a:lnTo>
                    <a:pt x="8680" y="756"/>
                  </a:lnTo>
                  <a:lnTo>
                    <a:pt x="8491" y="661"/>
                  </a:lnTo>
                  <a:lnTo>
                    <a:pt x="8208" y="567"/>
                  </a:lnTo>
                  <a:lnTo>
                    <a:pt x="7925" y="661"/>
                  </a:lnTo>
                  <a:lnTo>
                    <a:pt x="7831" y="756"/>
                  </a:lnTo>
                  <a:lnTo>
                    <a:pt x="7548" y="567"/>
                  </a:lnTo>
                  <a:lnTo>
                    <a:pt x="7359" y="473"/>
                  </a:lnTo>
                  <a:lnTo>
                    <a:pt x="7170" y="944"/>
                  </a:lnTo>
                  <a:lnTo>
                    <a:pt x="6982" y="661"/>
                  </a:lnTo>
                  <a:lnTo>
                    <a:pt x="6793" y="661"/>
                  </a:lnTo>
                  <a:lnTo>
                    <a:pt x="6604" y="756"/>
                  </a:lnTo>
                  <a:lnTo>
                    <a:pt x="6510" y="661"/>
                  </a:lnTo>
                  <a:lnTo>
                    <a:pt x="6416" y="756"/>
                  </a:lnTo>
                  <a:lnTo>
                    <a:pt x="6038" y="944"/>
                  </a:lnTo>
                  <a:lnTo>
                    <a:pt x="6038" y="1039"/>
                  </a:lnTo>
                  <a:lnTo>
                    <a:pt x="5850" y="1133"/>
                  </a:lnTo>
                  <a:lnTo>
                    <a:pt x="5850" y="1039"/>
                  </a:lnTo>
                  <a:lnTo>
                    <a:pt x="5755" y="1039"/>
                  </a:lnTo>
                  <a:lnTo>
                    <a:pt x="5567" y="1227"/>
                  </a:lnTo>
                  <a:lnTo>
                    <a:pt x="5472" y="1227"/>
                  </a:lnTo>
                  <a:lnTo>
                    <a:pt x="5378" y="1039"/>
                  </a:lnTo>
                  <a:lnTo>
                    <a:pt x="5378" y="1133"/>
                  </a:lnTo>
                  <a:lnTo>
                    <a:pt x="5189" y="1227"/>
                  </a:lnTo>
                  <a:lnTo>
                    <a:pt x="5095" y="1133"/>
                  </a:lnTo>
                  <a:lnTo>
                    <a:pt x="4906" y="1039"/>
                  </a:lnTo>
                  <a:lnTo>
                    <a:pt x="5189" y="1039"/>
                  </a:lnTo>
                  <a:lnTo>
                    <a:pt x="5095" y="944"/>
                  </a:lnTo>
                  <a:lnTo>
                    <a:pt x="5095" y="756"/>
                  </a:lnTo>
                  <a:lnTo>
                    <a:pt x="5001" y="944"/>
                  </a:lnTo>
                  <a:lnTo>
                    <a:pt x="4529" y="944"/>
                  </a:lnTo>
                  <a:lnTo>
                    <a:pt x="4529" y="1133"/>
                  </a:lnTo>
                  <a:lnTo>
                    <a:pt x="4718" y="1133"/>
                  </a:lnTo>
                  <a:lnTo>
                    <a:pt x="4623" y="1227"/>
                  </a:lnTo>
                  <a:lnTo>
                    <a:pt x="4623" y="1133"/>
                  </a:lnTo>
                  <a:lnTo>
                    <a:pt x="4529" y="1416"/>
                  </a:lnTo>
                  <a:lnTo>
                    <a:pt x="4340" y="1227"/>
                  </a:lnTo>
                  <a:lnTo>
                    <a:pt x="4152" y="1039"/>
                  </a:lnTo>
                  <a:lnTo>
                    <a:pt x="3963" y="1039"/>
                  </a:lnTo>
                  <a:lnTo>
                    <a:pt x="3774" y="1416"/>
                  </a:lnTo>
                  <a:lnTo>
                    <a:pt x="3774" y="1322"/>
                  </a:lnTo>
                  <a:lnTo>
                    <a:pt x="3774" y="1227"/>
                  </a:lnTo>
                  <a:lnTo>
                    <a:pt x="3680" y="1322"/>
                  </a:lnTo>
                  <a:lnTo>
                    <a:pt x="3586" y="1510"/>
                  </a:lnTo>
                  <a:lnTo>
                    <a:pt x="3208" y="1416"/>
                  </a:lnTo>
                  <a:lnTo>
                    <a:pt x="2454" y="1416"/>
                  </a:lnTo>
                  <a:lnTo>
                    <a:pt x="1793" y="1510"/>
                  </a:lnTo>
                  <a:lnTo>
                    <a:pt x="1510" y="1605"/>
                  </a:lnTo>
                  <a:lnTo>
                    <a:pt x="1321" y="1699"/>
                  </a:lnTo>
                  <a:lnTo>
                    <a:pt x="1321" y="1605"/>
                  </a:lnTo>
                  <a:lnTo>
                    <a:pt x="1038" y="1699"/>
                  </a:lnTo>
                  <a:lnTo>
                    <a:pt x="755" y="1793"/>
                  </a:lnTo>
                  <a:lnTo>
                    <a:pt x="567" y="1793"/>
                  </a:lnTo>
                  <a:lnTo>
                    <a:pt x="378" y="1888"/>
                  </a:lnTo>
                  <a:lnTo>
                    <a:pt x="284" y="1699"/>
                  </a:lnTo>
                  <a:lnTo>
                    <a:pt x="95" y="1605"/>
                  </a:lnTo>
                  <a:lnTo>
                    <a:pt x="1" y="1793"/>
                  </a:lnTo>
                  <a:lnTo>
                    <a:pt x="1" y="2076"/>
                  </a:lnTo>
                  <a:lnTo>
                    <a:pt x="95" y="2548"/>
                  </a:lnTo>
                  <a:lnTo>
                    <a:pt x="189" y="2831"/>
                  </a:lnTo>
                  <a:lnTo>
                    <a:pt x="284" y="2737"/>
                  </a:lnTo>
                  <a:lnTo>
                    <a:pt x="472" y="2831"/>
                  </a:lnTo>
                  <a:lnTo>
                    <a:pt x="567" y="2548"/>
                  </a:lnTo>
                  <a:lnTo>
                    <a:pt x="661" y="2642"/>
                  </a:lnTo>
                  <a:lnTo>
                    <a:pt x="661" y="2737"/>
                  </a:lnTo>
                  <a:lnTo>
                    <a:pt x="755" y="2642"/>
                  </a:lnTo>
                  <a:lnTo>
                    <a:pt x="944" y="2548"/>
                  </a:lnTo>
                  <a:lnTo>
                    <a:pt x="1227" y="2548"/>
                  </a:lnTo>
                  <a:lnTo>
                    <a:pt x="1227" y="2642"/>
                  </a:lnTo>
                  <a:lnTo>
                    <a:pt x="1321" y="2737"/>
                  </a:lnTo>
                  <a:lnTo>
                    <a:pt x="1416" y="2831"/>
                  </a:lnTo>
                  <a:lnTo>
                    <a:pt x="1510" y="2642"/>
                  </a:lnTo>
                  <a:lnTo>
                    <a:pt x="1793" y="2548"/>
                  </a:lnTo>
                  <a:lnTo>
                    <a:pt x="1699" y="2642"/>
                  </a:lnTo>
                  <a:lnTo>
                    <a:pt x="1887" y="2737"/>
                  </a:lnTo>
                  <a:lnTo>
                    <a:pt x="1887" y="2454"/>
                  </a:lnTo>
                  <a:lnTo>
                    <a:pt x="1982" y="2265"/>
                  </a:lnTo>
                  <a:lnTo>
                    <a:pt x="2076" y="2737"/>
                  </a:lnTo>
                  <a:lnTo>
                    <a:pt x="2171" y="2359"/>
                  </a:lnTo>
                  <a:lnTo>
                    <a:pt x="2265" y="2642"/>
                  </a:lnTo>
                  <a:lnTo>
                    <a:pt x="2265" y="2548"/>
                  </a:lnTo>
                  <a:lnTo>
                    <a:pt x="2359" y="2454"/>
                  </a:lnTo>
                  <a:lnTo>
                    <a:pt x="2454" y="2548"/>
                  </a:lnTo>
                  <a:lnTo>
                    <a:pt x="2454" y="2737"/>
                  </a:lnTo>
                  <a:lnTo>
                    <a:pt x="2548" y="2548"/>
                  </a:lnTo>
                  <a:lnTo>
                    <a:pt x="2548" y="2454"/>
                  </a:lnTo>
                  <a:lnTo>
                    <a:pt x="2642" y="2548"/>
                  </a:lnTo>
                  <a:lnTo>
                    <a:pt x="2642" y="2642"/>
                  </a:lnTo>
                  <a:lnTo>
                    <a:pt x="2831" y="2454"/>
                  </a:lnTo>
                  <a:lnTo>
                    <a:pt x="3020" y="2454"/>
                  </a:lnTo>
                  <a:lnTo>
                    <a:pt x="3114" y="2265"/>
                  </a:lnTo>
                  <a:lnTo>
                    <a:pt x="3114" y="2076"/>
                  </a:lnTo>
                  <a:lnTo>
                    <a:pt x="3208" y="1982"/>
                  </a:lnTo>
                  <a:lnTo>
                    <a:pt x="3208" y="2076"/>
                  </a:lnTo>
                  <a:lnTo>
                    <a:pt x="3208" y="2265"/>
                  </a:lnTo>
                  <a:lnTo>
                    <a:pt x="3303" y="2076"/>
                  </a:lnTo>
                  <a:lnTo>
                    <a:pt x="3491" y="2076"/>
                  </a:lnTo>
                  <a:lnTo>
                    <a:pt x="3491" y="2171"/>
                  </a:lnTo>
                  <a:lnTo>
                    <a:pt x="3397" y="2265"/>
                  </a:lnTo>
                  <a:lnTo>
                    <a:pt x="3303" y="2359"/>
                  </a:lnTo>
                  <a:lnTo>
                    <a:pt x="3303" y="2548"/>
                  </a:lnTo>
                  <a:lnTo>
                    <a:pt x="3491" y="2548"/>
                  </a:lnTo>
                  <a:lnTo>
                    <a:pt x="3586" y="2454"/>
                  </a:lnTo>
                  <a:lnTo>
                    <a:pt x="3680" y="2265"/>
                  </a:lnTo>
                  <a:lnTo>
                    <a:pt x="4152" y="2265"/>
                  </a:lnTo>
                  <a:lnTo>
                    <a:pt x="4152" y="2359"/>
                  </a:lnTo>
                  <a:lnTo>
                    <a:pt x="4246" y="2171"/>
                  </a:lnTo>
                  <a:lnTo>
                    <a:pt x="4340" y="2171"/>
                  </a:lnTo>
                  <a:lnTo>
                    <a:pt x="4246" y="2265"/>
                  </a:lnTo>
                  <a:lnTo>
                    <a:pt x="5284" y="2265"/>
                  </a:lnTo>
                  <a:lnTo>
                    <a:pt x="5567" y="2171"/>
                  </a:lnTo>
                  <a:lnTo>
                    <a:pt x="5755" y="2171"/>
                  </a:lnTo>
                  <a:lnTo>
                    <a:pt x="5755" y="2076"/>
                  </a:lnTo>
                  <a:lnTo>
                    <a:pt x="6416" y="2076"/>
                  </a:lnTo>
                  <a:lnTo>
                    <a:pt x="6510" y="1888"/>
                  </a:lnTo>
                  <a:lnTo>
                    <a:pt x="6604" y="1888"/>
                  </a:lnTo>
                  <a:lnTo>
                    <a:pt x="7170" y="1982"/>
                  </a:lnTo>
                  <a:lnTo>
                    <a:pt x="7453" y="1888"/>
                  </a:lnTo>
                  <a:lnTo>
                    <a:pt x="7548" y="1888"/>
                  </a:lnTo>
                  <a:lnTo>
                    <a:pt x="7642" y="1699"/>
                  </a:lnTo>
                  <a:lnTo>
                    <a:pt x="7736" y="1888"/>
                  </a:lnTo>
                  <a:lnTo>
                    <a:pt x="7925" y="2076"/>
                  </a:lnTo>
                  <a:lnTo>
                    <a:pt x="8114" y="1793"/>
                  </a:lnTo>
                  <a:lnTo>
                    <a:pt x="8114" y="1982"/>
                  </a:lnTo>
                  <a:lnTo>
                    <a:pt x="8208" y="1793"/>
                  </a:lnTo>
                  <a:lnTo>
                    <a:pt x="8302" y="1982"/>
                  </a:lnTo>
                  <a:lnTo>
                    <a:pt x="8302" y="1888"/>
                  </a:lnTo>
                  <a:lnTo>
                    <a:pt x="8302" y="1793"/>
                  </a:lnTo>
                  <a:lnTo>
                    <a:pt x="8491" y="1793"/>
                  </a:lnTo>
                  <a:lnTo>
                    <a:pt x="8585" y="1888"/>
                  </a:lnTo>
                  <a:lnTo>
                    <a:pt x="8774" y="1793"/>
                  </a:lnTo>
                  <a:lnTo>
                    <a:pt x="8774" y="1982"/>
                  </a:lnTo>
                  <a:lnTo>
                    <a:pt x="8869" y="1888"/>
                  </a:lnTo>
                  <a:lnTo>
                    <a:pt x="9718" y="1888"/>
                  </a:lnTo>
                  <a:lnTo>
                    <a:pt x="9623" y="1793"/>
                  </a:lnTo>
                  <a:lnTo>
                    <a:pt x="9718" y="1605"/>
                  </a:lnTo>
                  <a:lnTo>
                    <a:pt x="9812" y="1699"/>
                  </a:lnTo>
                  <a:lnTo>
                    <a:pt x="9812" y="1793"/>
                  </a:lnTo>
                  <a:lnTo>
                    <a:pt x="9906" y="1888"/>
                  </a:lnTo>
                  <a:lnTo>
                    <a:pt x="10095" y="1982"/>
                  </a:lnTo>
                  <a:lnTo>
                    <a:pt x="10661" y="1793"/>
                  </a:lnTo>
                  <a:lnTo>
                    <a:pt x="11038" y="1510"/>
                  </a:lnTo>
                  <a:lnTo>
                    <a:pt x="11133" y="1699"/>
                  </a:lnTo>
                  <a:lnTo>
                    <a:pt x="11321" y="1699"/>
                  </a:lnTo>
                  <a:lnTo>
                    <a:pt x="11510" y="1605"/>
                  </a:lnTo>
                  <a:lnTo>
                    <a:pt x="11604" y="1416"/>
                  </a:lnTo>
                  <a:lnTo>
                    <a:pt x="11982" y="1605"/>
                  </a:lnTo>
                  <a:lnTo>
                    <a:pt x="12453" y="1699"/>
                  </a:lnTo>
                  <a:lnTo>
                    <a:pt x="12642" y="1510"/>
                  </a:lnTo>
                  <a:lnTo>
                    <a:pt x="12642" y="1699"/>
                  </a:lnTo>
                  <a:lnTo>
                    <a:pt x="12925" y="1510"/>
                  </a:lnTo>
                  <a:lnTo>
                    <a:pt x="13208" y="1510"/>
                  </a:lnTo>
                  <a:lnTo>
                    <a:pt x="14057" y="1699"/>
                  </a:lnTo>
                  <a:lnTo>
                    <a:pt x="14434" y="1793"/>
                  </a:lnTo>
                  <a:lnTo>
                    <a:pt x="14812" y="1793"/>
                  </a:lnTo>
                  <a:lnTo>
                    <a:pt x="15095" y="1699"/>
                  </a:lnTo>
                  <a:lnTo>
                    <a:pt x="15378" y="1510"/>
                  </a:lnTo>
                  <a:lnTo>
                    <a:pt x="15472" y="1416"/>
                  </a:lnTo>
                  <a:lnTo>
                    <a:pt x="15472" y="1510"/>
                  </a:lnTo>
                  <a:lnTo>
                    <a:pt x="15472" y="1699"/>
                  </a:lnTo>
                  <a:lnTo>
                    <a:pt x="16416" y="1510"/>
                  </a:lnTo>
                  <a:lnTo>
                    <a:pt x="16416" y="1605"/>
                  </a:lnTo>
                  <a:lnTo>
                    <a:pt x="16510" y="1605"/>
                  </a:lnTo>
                  <a:lnTo>
                    <a:pt x="16604" y="1510"/>
                  </a:lnTo>
                  <a:lnTo>
                    <a:pt x="17642" y="1510"/>
                  </a:lnTo>
                  <a:lnTo>
                    <a:pt x="17736" y="1605"/>
                  </a:lnTo>
                  <a:lnTo>
                    <a:pt x="17831" y="1605"/>
                  </a:lnTo>
                  <a:lnTo>
                    <a:pt x="18397" y="1510"/>
                  </a:lnTo>
                  <a:lnTo>
                    <a:pt x="19057" y="1322"/>
                  </a:lnTo>
                  <a:lnTo>
                    <a:pt x="18774" y="1605"/>
                  </a:lnTo>
                  <a:lnTo>
                    <a:pt x="19151" y="1322"/>
                  </a:lnTo>
                  <a:lnTo>
                    <a:pt x="19340" y="1322"/>
                  </a:lnTo>
                  <a:lnTo>
                    <a:pt x="19340" y="1510"/>
                  </a:lnTo>
                  <a:lnTo>
                    <a:pt x="19529" y="1416"/>
                  </a:lnTo>
                  <a:lnTo>
                    <a:pt x="19906" y="1416"/>
                  </a:lnTo>
                  <a:lnTo>
                    <a:pt x="20000" y="1322"/>
                  </a:lnTo>
                  <a:lnTo>
                    <a:pt x="20095" y="944"/>
                  </a:lnTo>
                  <a:lnTo>
                    <a:pt x="20095" y="1133"/>
                  </a:lnTo>
                  <a:lnTo>
                    <a:pt x="20189" y="1227"/>
                  </a:lnTo>
                  <a:lnTo>
                    <a:pt x="20189" y="1416"/>
                  </a:lnTo>
                  <a:lnTo>
                    <a:pt x="20283" y="1322"/>
                  </a:lnTo>
                  <a:lnTo>
                    <a:pt x="20378" y="1322"/>
                  </a:lnTo>
                  <a:lnTo>
                    <a:pt x="20378" y="1416"/>
                  </a:lnTo>
                  <a:lnTo>
                    <a:pt x="20661" y="1227"/>
                  </a:lnTo>
                  <a:lnTo>
                    <a:pt x="20944" y="1133"/>
                  </a:lnTo>
                  <a:lnTo>
                    <a:pt x="21038" y="1133"/>
                  </a:lnTo>
                  <a:lnTo>
                    <a:pt x="21132" y="1416"/>
                  </a:lnTo>
                  <a:lnTo>
                    <a:pt x="21604" y="1227"/>
                  </a:lnTo>
                  <a:lnTo>
                    <a:pt x="21510" y="1039"/>
                  </a:lnTo>
                  <a:lnTo>
                    <a:pt x="21510" y="944"/>
                  </a:lnTo>
                  <a:lnTo>
                    <a:pt x="21698" y="944"/>
                  </a:lnTo>
                  <a:lnTo>
                    <a:pt x="21604" y="1039"/>
                  </a:lnTo>
                  <a:lnTo>
                    <a:pt x="21982" y="1039"/>
                  </a:lnTo>
                  <a:lnTo>
                    <a:pt x="21887" y="1227"/>
                  </a:lnTo>
                  <a:lnTo>
                    <a:pt x="21887" y="1227"/>
                  </a:lnTo>
                  <a:lnTo>
                    <a:pt x="22170" y="1039"/>
                  </a:lnTo>
                  <a:lnTo>
                    <a:pt x="22265" y="1227"/>
                  </a:lnTo>
                  <a:lnTo>
                    <a:pt x="22265" y="1133"/>
                  </a:lnTo>
                  <a:lnTo>
                    <a:pt x="22265" y="1039"/>
                  </a:lnTo>
                  <a:lnTo>
                    <a:pt x="22548" y="1039"/>
                  </a:lnTo>
                  <a:lnTo>
                    <a:pt x="22642" y="1322"/>
                  </a:lnTo>
                  <a:lnTo>
                    <a:pt x="23019" y="1227"/>
                  </a:lnTo>
                  <a:lnTo>
                    <a:pt x="23208" y="1133"/>
                  </a:lnTo>
                  <a:lnTo>
                    <a:pt x="23302" y="1039"/>
                  </a:lnTo>
                  <a:lnTo>
                    <a:pt x="23397" y="1133"/>
                  </a:lnTo>
                  <a:lnTo>
                    <a:pt x="23397" y="1227"/>
                  </a:lnTo>
                  <a:lnTo>
                    <a:pt x="23680" y="1227"/>
                  </a:lnTo>
                  <a:lnTo>
                    <a:pt x="23868" y="1133"/>
                  </a:lnTo>
                  <a:lnTo>
                    <a:pt x="24057" y="1227"/>
                  </a:lnTo>
                  <a:lnTo>
                    <a:pt x="24246" y="1227"/>
                  </a:lnTo>
                  <a:lnTo>
                    <a:pt x="24246" y="1133"/>
                  </a:lnTo>
                  <a:lnTo>
                    <a:pt x="24529" y="1227"/>
                  </a:lnTo>
                  <a:lnTo>
                    <a:pt x="24906" y="1322"/>
                  </a:lnTo>
                  <a:lnTo>
                    <a:pt x="25179" y="1048"/>
                  </a:lnTo>
                  <a:lnTo>
                    <a:pt x="25095" y="1133"/>
                  </a:lnTo>
                  <a:lnTo>
                    <a:pt x="25189" y="1227"/>
                  </a:lnTo>
                  <a:lnTo>
                    <a:pt x="25189" y="1133"/>
                  </a:lnTo>
                  <a:lnTo>
                    <a:pt x="25283" y="1039"/>
                  </a:lnTo>
                  <a:lnTo>
                    <a:pt x="25378" y="944"/>
                  </a:lnTo>
                  <a:lnTo>
                    <a:pt x="25472" y="944"/>
                  </a:lnTo>
                  <a:lnTo>
                    <a:pt x="25472" y="1133"/>
                  </a:lnTo>
                  <a:lnTo>
                    <a:pt x="25566" y="1039"/>
                  </a:lnTo>
                  <a:lnTo>
                    <a:pt x="25661" y="1039"/>
                  </a:lnTo>
                  <a:lnTo>
                    <a:pt x="25566" y="1133"/>
                  </a:lnTo>
                  <a:lnTo>
                    <a:pt x="25661" y="1227"/>
                  </a:lnTo>
                  <a:lnTo>
                    <a:pt x="25849" y="1322"/>
                  </a:lnTo>
                  <a:lnTo>
                    <a:pt x="25944" y="1133"/>
                  </a:lnTo>
                  <a:lnTo>
                    <a:pt x="26132" y="1039"/>
                  </a:lnTo>
                  <a:lnTo>
                    <a:pt x="26132" y="1039"/>
                  </a:lnTo>
                  <a:lnTo>
                    <a:pt x="26038" y="1227"/>
                  </a:lnTo>
                  <a:lnTo>
                    <a:pt x="26132" y="1322"/>
                  </a:lnTo>
                  <a:lnTo>
                    <a:pt x="26321" y="1416"/>
                  </a:lnTo>
                  <a:lnTo>
                    <a:pt x="26415" y="1416"/>
                  </a:lnTo>
                  <a:lnTo>
                    <a:pt x="26887" y="1227"/>
                  </a:lnTo>
                  <a:lnTo>
                    <a:pt x="27264" y="944"/>
                  </a:lnTo>
                  <a:lnTo>
                    <a:pt x="27170" y="944"/>
                  </a:lnTo>
                  <a:lnTo>
                    <a:pt x="27264" y="850"/>
                  </a:lnTo>
                  <a:lnTo>
                    <a:pt x="26981" y="756"/>
                  </a:lnTo>
                  <a:lnTo>
                    <a:pt x="26887" y="944"/>
                  </a:lnTo>
                  <a:lnTo>
                    <a:pt x="26793" y="1133"/>
                  </a:lnTo>
                  <a:lnTo>
                    <a:pt x="26793" y="661"/>
                  </a:lnTo>
                  <a:lnTo>
                    <a:pt x="26604" y="944"/>
                  </a:lnTo>
                  <a:lnTo>
                    <a:pt x="26510" y="850"/>
                  </a:lnTo>
                  <a:lnTo>
                    <a:pt x="26415" y="756"/>
                  </a:lnTo>
                  <a:lnTo>
                    <a:pt x="26321" y="944"/>
                  </a:lnTo>
                  <a:lnTo>
                    <a:pt x="26227" y="661"/>
                  </a:lnTo>
                  <a:lnTo>
                    <a:pt x="26038" y="756"/>
                  </a:lnTo>
                  <a:lnTo>
                    <a:pt x="25849" y="661"/>
                  </a:lnTo>
                  <a:lnTo>
                    <a:pt x="25378" y="567"/>
                  </a:lnTo>
                  <a:lnTo>
                    <a:pt x="25283" y="661"/>
                  </a:lnTo>
                  <a:lnTo>
                    <a:pt x="25095" y="756"/>
                  </a:lnTo>
                  <a:lnTo>
                    <a:pt x="25189" y="473"/>
                  </a:lnTo>
                  <a:lnTo>
                    <a:pt x="25000" y="661"/>
                  </a:lnTo>
                  <a:lnTo>
                    <a:pt x="25000" y="661"/>
                  </a:lnTo>
                  <a:lnTo>
                    <a:pt x="25095" y="473"/>
                  </a:lnTo>
                  <a:lnTo>
                    <a:pt x="24906" y="567"/>
                  </a:lnTo>
                  <a:lnTo>
                    <a:pt x="24717" y="567"/>
                  </a:lnTo>
                  <a:lnTo>
                    <a:pt x="24717" y="756"/>
                  </a:lnTo>
                  <a:lnTo>
                    <a:pt x="24623" y="1039"/>
                  </a:lnTo>
                  <a:lnTo>
                    <a:pt x="24623" y="850"/>
                  </a:lnTo>
                  <a:lnTo>
                    <a:pt x="24717" y="661"/>
                  </a:lnTo>
                  <a:lnTo>
                    <a:pt x="24623" y="756"/>
                  </a:lnTo>
                  <a:lnTo>
                    <a:pt x="24623" y="661"/>
                  </a:lnTo>
                  <a:lnTo>
                    <a:pt x="24529" y="473"/>
                  </a:lnTo>
                  <a:lnTo>
                    <a:pt x="24529" y="661"/>
                  </a:lnTo>
                  <a:lnTo>
                    <a:pt x="24434" y="567"/>
                  </a:lnTo>
                  <a:lnTo>
                    <a:pt x="24340" y="378"/>
                  </a:lnTo>
                  <a:lnTo>
                    <a:pt x="24246" y="567"/>
                  </a:lnTo>
                  <a:lnTo>
                    <a:pt x="23963" y="567"/>
                  </a:lnTo>
                  <a:lnTo>
                    <a:pt x="23397" y="661"/>
                  </a:lnTo>
                  <a:lnTo>
                    <a:pt x="23114" y="661"/>
                  </a:lnTo>
                  <a:lnTo>
                    <a:pt x="22925" y="567"/>
                  </a:lnTo>
                  <a:lnTo>
                    <a:pt x="22925" y="473"/>
                  </a:lnTo>
                  <a:lnTo>
                    <a:pt x="23019" y="473"/>
                  </a:lnTo>
                  <a:lnTo>
                    <a:pt x="22642" y="378"/>
                  </a:lnTo>
                  <a:lnTo>
                    <a:pt x="22736" y="473"/>
                  </a:lnTo>
                  <a:lnTo>
                    <a:pt x="22548" y="473"/>
                  </a:lnTo>
                  <a:lnTo>
                    <a:pt x="22642" y="284"/>
                  </a:lnTo>
                  <a:lnTo>
                    <a:pt x="22548" y="190"/>
                  </a:lnTo>
                  <a:lnTo>
                    <a:pt x="22453" y="190"/>
                  </a:lnTo>
                  <a:lnTo>
                    <a:pt x="22359" y="284"/>
                  </a:lnTo>
                  <a:lnTo>
                    <a:pt x="22170" y="378"/>
                  </a:lnTo>
                  <a:lnTo>
                    <a:pt x="22076" y="284"/>
                  </a:lnTo>
                  <a:lnTo>
                    <a:pt x="22170" y="473"/>
                  </a:lnTo>
                  <a:lnTo>
                    <a:pt x="21887" y="190"/>
                  </a:lnTo>
                  <a:lnTo>
                    <a:pt x="21793" y="190"/>
                  </a:lnTo>
                  <a:lnTo>
                    <a:pt x="21698" y="378"/>
                  </a:lnTo>
                  <a:lnTo>
                    <a:pt x="21604" y="756"/>
                  </a:lnTo>
                  <a:lnTo>
                    <a:pt x="21415" y="661"/>
                  </a:lnTo>
                  <a:lnTo>
                    <a:pt x="21510" y="473"/>
                  </a:lnTo>
                  <a:lnTo>
                    <a:pt x="21604" y="284"/>
                  </a:lnTo>
                  <a:lnTo>
                    <a:pt x="21415" y="284"/>
                  </a:lnTo>
                  <a:lnTo>
                    <a:pt x="21415" y="190"/>
                  </a:lnTo>
                  <a:lnTo>
                    <a:pt x="21227" y="378"/>
                  </a:lnTo>
                  <a:lnTo>
                    <a:pt x="20944" y="567"/>
                  </a:lnTo>
                  <a:lnTo>
                    <a:pt x="20566" y="1"/>
                  </a:lnTo>
                  <a:lnTo>
                    <a:pt x="20472" y="95"/>
                  </a:lnTo>
                  <a:lnTo>
                    <a:pt x="20472" y="190"/>
                  </a:lnTo>
                  <a:lnTo>
                    <a:pt x="20472" y="378"/>
                  </a:lnTo>
                  <a:lnTo>
                    <a:pt x="20283" y="284"/>
                  </a:lnTo>
                  <a:lnTo>
                    <a:pt x="20283" y="190"/>
                  </a:lnTo>
                  <a:lnTo>
                    <a:pt x="20378" y="95"/>
                  </a:lnTo>
                  <a:lnTo>
                    <a:pt x="20283" y="1"/>
                  </a:lnTo>
                  <a:close/>
                </a:path>
              </a:pathLst>
            </a:custGeom>
            <a:solidFill>
              <a:srgbClr val="0067B7">
                <a:alpha val="59000"/>
              </a:srgbClr>
            </a:solidFill>
            <a:ln>
              <a:noFill/>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37" name="Google Shape;238;p27">
              <a:extLst>
                <a:ext uri="{FF2B5EF4-FFF2-40B4-BE49-F238E27FC236}">
                  <a16:creationId xmlns:a16="http://schemas.microsoft.com/office/drawing/2014/main" id="{1A1D2F3F-78FF-A640-BEB1-DAFCA6E9A8BD}"/>
                </a:ext>
              </a:extLst>
            </p:cNvPr>
            <p:cNvSpPr/>
            <p:nvPr/>
          </p:nvSpPr>
          <p:spPr>
            <a:xfrm>
              <a:off x="3870041" y="2764475"/>
              <a:ext cx="188382" cy="232966"/>
            </a:xfrm>
            <a:custGeom>
              <a:avLst/>
              <a:gdLst/>
              <a:ahLst/>
              <a:cxnLst/>
              <a:rect l="0" t="0" r="0" b="0"/>
              <a:pathLst>
                <a:path w="7171" h="8869" extrusionOk="0">
                  <a:moveTo>
                    <a:pt x="5756" y="6510"/>
                  </a:moveTo>
                  <a:lnTo>
                    <a:pt x="5756" y="6604"/>
                  </a:lnTo>
                  <a:lnTo>
                    <a:pt x="5850" y="6604"/>
                  </a:lnTo>
                  <a:lnTo>
                    <a:pt x="5756" y="6510"/>
                  </a:lnTo>
                  <a:close/>
                  <a:moveTo>
                    <a:pt x="2265" y="7925"/>
                  </a:moveTo>
                  <a:lnTo>
                    <a:pt x="2252" y="7965"/>
                  </a:lnTo>
                  <a:lnTo>
                    <a:pt x="2252" y="7965"/>
                  </a:lnTo>
                  <a:lnTo>
                    <a:pt x="2284" y="7953"/>
                  </a:lnTo>
                  <a:lnTo>
                    <a:pt x="2284" y="7953"/>
                  </a:lnTo>
                  <a:lnTo>
                    <a:pt x="2265" y="7925"/>
                  </a:lnTo>
                  <a:close/>
                  <a:moveTo>
                    <a:pt x="567" y="0"/>
                  </a:moveTo>
                  <a:lnTo>
                    <a:pt x="284" y="189"/>
                  </a:lnTo>
                  <a:lnTo>
                    <a:pt x="95" y="472"/>
                  </a:lnTo>
                  <a:lnTo>
                    <a:pt x="1" y="755"/>
                  </a:lnTo>
                  <a:lnTo>
                    <a:pt x="95" y="1038"/>
                  </a:lnTo>
                  <a:lnTo>
                    <a:pt x="190" y="1227"/>
                  </a:lnTo>
                  <a:lnTo>
                    <a:pt x="473" y="1415"/>
                  </a:lnTo>
                  <a:lnTo>
                    <a:pt x="850" y="1321"/>
                  </a:lnTo>
                  <a:lnTo>
                    <a:pt x="661" y="1604"/>
                  </a:lnTo>
                  <a:lnTo>
                    <a:pt x="756" y="1604"/>
                  </a:lnTo>
                  <a:lnTo>
                    <a:pt x="661" y="1793"/>
                  </a:lnTo>
                  <a:lnTo>
                    <a:pt x="661" y="1887"/>
                  </a:lnTo>
                  <a:lnTo>
                    <a:pt x="756" y="1793"/>
                  </a:lnTo>
                  <a:lnTo>
                    <a:pt x="1510" y="1604"/>
                  </a:lnTo>
                  <a:lnTo>
                    <a:pt x="1510" y="1604"/>
                  </a:lnTo>
                  <a:lnTo>
                    <a:pt x="1133" y="2076"/>
                  </a:lnTo>
                  <a:lnTo>
                    <a:pt x="1322" y="2453"/>
                  </a:lnTo>
                  <a:lnTo>
                    <a:pt x="1888" y="2830"/>
                  </a:lnTo>
                  <a:lnTo>
                    <a:pt x="3397" y="3774"/>
                  </a:lnTo>
                  <a:lnTo>
                    <a:pt x="5001" y="4623"/>
                  </a:lnTo>
                  <a:lnTo>
                    <a:pt x="5944" y="5095"/>
                  </a:lnTo>
                  <a:lnTo>
                    <a:pt x="5756" y="5189"/>
                  </a:lnTo>
                  <a:lnTo>
                    <a:pt x="5378" y="5378"/>
                  </a:lnTo>
                  <a:lnTo>
                    <a:pt x="5378" y="5283"/>
                  </a:lnTo>
                  <a:lnTo>
                    <a:pt x="5001" y="5661"/>
                  </a:lnTo>
                  <a:lnTo>
                    <a:pt x="4623" y="5944"/>
                  </a:lnTo>
                  <a:lnTo>
                    <a:pt x="4435" y="6321"/>
                  </a:lnTo>
                  <a:lnTo>
                    <a:pt x="4340" y="6510"/>
                  </a:lnTo>
                  <a:lnTo>
                    <a:pt x="4435" y="6698"/>
                  </a:lnTo>
                  <a:lnTo>
                    <a:pt x="4435" y="6698"/>
                  </a:lnTo>
                  <a:lnTo>
                    <a:pt x="4246" y="6415"/>
                  </a:lnTo>
                  <a:lnTo>
                    <a:pt x="4057" y="6321"/>
                  </a:lnTo>
                  <a:lnTo>
                    <a:pt x="3963" y="6415"/>
                  </a:lnTo>
                  <a:lnTo>
                    <a:pt x="3869" y="6510"/>
                  </a:lnTo>
                  <a:lnTo>
                    <a:pt x="3680" y="6887"/>
                  </a:lnTo>
                  <a:lnTo>
                    <a:pt x="3680" y="7076"/>
                  </a:lnTo>
                  <a:lnTo>
                    <a:pt x="3774" y="7076"/>
                  </a:lnTo>
                  <a:lnTo>
                    <a:pt x="3680" y="7264"/>
                  </a:lnTo>
                  <a:lnTo>
                    <a:pt x="3303" y="7453"/>
                  </a:lnTo>
                  <a:lnTo>
                    <a:pt x="2359" y="7925"/>
                  </a:lnTo>
                  <a:lnTo>
                    <a:pt x="2284" y="7953"/>
                  </a:lnTo>
                  <a:lnTo>
                    <a:pt x="2284" y="7953"/>
                  </a:lnTo>
                  <a:lnTo>
                    <a:pt x="2454" y="8208"/>
                  </a:lnTo>
                  <a:lnTo>
                    <a:pt x="2642" y="8396"/>
                  </a:lnTo>
                  <a:lnTo>
                    <a:pt x="2642" y="8302"/>
                  </a:lnTo>
                  <a:lnTo>
                    <a:pt x="2737" y="8396"/>
                  </a:lnTo>
                  <a:lnTo>
                    <a:pt x="2831" y="8113"/>
                  </a:lnTo>
                  <a:lnTo>
                    <a:pt x="2925" y="7925"/>
                  </a:lnTo>
                  <a:lnTo>
                    <a:pt x="3020" y="7830"/>
                  </a:lnTo>
                  <a:lnTo>
                    <a:pt x="3397" y="7830"/>
                  </a:lnTo>
                  <a:lnTo>
                    <a:pt x="3680" y="7736"/>
                  </a:lnTo>
                  <a:lnTo>
                    <a:pt x="3774" y="7547"/>
                  </a:lnTo>
                  <a:lnTo>
                    <a:pt x="3869" y="7264"/>
                  </a:lnTo>
                  <a:lnTo>
                    <a:pt x="4246" y="7453"/>
                  </a:lnTo>
                  <a:lnTo>
                    <a:pt x="4623" y="7642"/>
                  </a:lnTo>
                  <a:lnTo>
                    <a:pt x="4718" y="7547"/>
                  </a:lnTo>
                  <a:lnTo>
                    <a:pt x="4906" y="7359"/>
                  </a:lnTo>
                  <a:lnTo>
                    <a:pt x="5190" y="7170"/>
                  </a:lnTo>
                  <a:lnTo>
                    <a:pt x="5095" y="7076"/>
                  </a:lnTo>
                  <a:lnTo>
                    <a:pt x="4906" y="6793"/>
                  </a:lnTo>
                  <a:lnTo>
                    <a:pt x="4906" y="6793"/>
                  </a:lnTo>
                  <a:lnTo>
                    <a:pt x="5095" y="6887"/>
                  </a:lnTo>
                  <a:lnTo>
                    <a:pt x="5378" y="6793"/>
                  </a:lnTo>
                  <a:lnTo>
                    <a:pt x="5756" y="6510"/>
                  </a:lnTo>
                  <a:lnTo>
                    <a:pt x="6322" y="6132"/>
                  </a:lnTo>
                  <a:lnTo>
                    <a:pt x="6699" y="5566"/>
                  </a:lnTo>
                  <a:lnTo>
                    <a:pt x="7171" y="5095"/>
                  </a:lnTo>
                  <a:lnTo>
                    <a:pt x="7076" y="4717"/>
                  </a:lnTo>
                  <a:lnTo>
                    <a:pt x="6982" y="4434"/>
                  </a:lnTo>
                  <a:lnTo>
                    <a:pt x="6605" y="3963"/>
                  </a:lnTo>
                  <a:lnTo>
                    <a:pt x="6133" y="3491"/>
                  </a:lnTo>
                  <a:lnTo>
                    <a:pt x="5567" y="3113"/>
                  </a:lnTo>
                  <a:lnTo>
                    <a:pt x="4340" y="2547"/>
                  </a:lnTo>
                  <a:lnTo>
                    <a:pt x="3208" y="1887"/>
                  </a:lnTo>
                  <a:lnTo>
                    <a:pt x="2925" y="1698"/>
                  </a:lnTo>
                  <a:lnTo>
                    <a:pt x="2925" y="1604"/>
                  </a:lnTo>
                  <a:lnTo>
                    <a:pt x="2925" y="1510"/>
                  </a:lnTo>
                  <a:lnTo>
                    <a:pt x="2737" y="1698"/>
                  </a:lnTo>
                  <a:lnTo>
                    <a:pt x="2642" y="1698"/>
                  </a:lnTo>
                  <a:lnTo>
                    <a:pt x="2642" y="1604"/>
                  </a:lnTo>
                  <a:lnTo>
                    <a:pt x="2642" y="1510"/>
                  </a:lnTo>
                  <a:lnTo>
                    <a:pt x="2642" y="1415"/>
                  </a:lnTo>
                  <a:lnTo>
                    <a:pt x="2454" y="1604"/>
                  </a:lnTo>
                  <a:lnTo>
                    <a:pt x="2454" y="1698"/>
                  </a:lnTo>
                  <a:lnTo>
                    <a:pt x="2265" y="1887"/>
                  </a:lnTo>
                  <a:lnTo>
                    <a:pt x="2265" y="1604"/>
                  </a:lnTo>
                  <a:lnTo>
                    <a:pt x="2171" y="1415"/>
                  </a:lnTo>
                  <a:lnTo>
                    <a:pt x="1605" y="944"/>
                  </a:lnTo>
                  <a:lnTo>
                    <a:pt x="1227" y="755"/>
                  </a:lnTo>
                  <a:lnTo>
                    <a:pt x="1039" y="472"/>
                  </a:lnTo>
                  <a:lnTo>
                    <a:pt x="850" y="283"/>
                  </a:lnTo>
                  <a:lnTo>
                    <a:pt x="944" y="0"/>
                  </a:lnTo>
                  <a:close/>
                  <a:moveTo>
                    <a:pt x="2252" y="7965"/>
                  </a:moveTo>
                  <a:lnTo>
                    <a:pt x="850" y="8491"/>
                  </a:lnTo>
                  <a:lnTo>
                    <a:pt x="756" y="8491"/>
                  </a:lnTo>
                  <a:lnTo>
                    <a:pt x="756" y="8774"/>
                  </a:lnTo>
                  <a:lnTo>
                    <a:pt x="944" y="8868"/>
                  </a:lnTo>
                  <a:lnTo>
                    <a:pt x="1133" y="8868"/>
                  </a:lnTo>
                  <a:lnTo>
                    <a:pt x="1605" y="8774"/>
                  </a:lnTo>
                  <a:lnTo>
                    <a:pt x="1793" y="8679"/>
                  </a:lnTo>
                  <a:lnTo>
                    <a:pt x="2076" y="8491"/>
                  </a:lnTo>
                  <a:lnTo>
                    <a:pt x="2171" y="8208"/>
                  </a:lnTo>
                  <a:lnTo>
                    <a:pt x="2252" y="7965"/>
                  </a:lnTo>
                  <a:close/>
                </a:path>
              </a:pathLst>
            </a:custGeom>
            <a:solidFill>
              <a:srgbClr val="0067B7">
                <a:alpha val="52000"/>
              </a:srgbClr>
            </a:solidFill>
            <a:ln>
              <a:noFill/>
            </a:ln>
          </p:spPr>
          <p:txBody>
            <a:bodyPr spcFirstLastPara="1" wrap="square" lIns="91425" tIns="91425" rIns="91425" bIns="91425" anchor="ctr" anchorCtr="0">
              <a:noAutofit/>
            </a:bodyPr>
            <a:lstStyle/>
            <a:p>
              <a:pPr marL="0" lvl="0" indent="0">
                <a:spcBef>
                  <a:spcPts val="0"/>
                </a:spcBef>
                <a:spcAft>
                  <a:spcPts val="0"/>
                </a:spcAft>
                <a:buNone/>
              </a:pPr>
              <a:endParaRPr dirty="0"/>
            </a:p>
          </p:txBody>
        </p:sp>
      </p:grpSp>
      <p:sp>
        <p:nvSpPr>
          <p:cNvPr id="38" name="Rectangle 37">
            <a:extLst>
              <a:ext uri="{FF2B5EF4-FFF2-40B4-BE49-F238E27FC236}">
                <a16:creationId xmlns:a16="http://schemas.microsoft.com/office/drawing/2014/main" id="{63ED45FD-6A40-714A-A491-1890DA844440}"/>
              </a:ext>
            </a:extLst>
          </p:cNvPr>
          <p:cNvSpPr/>
          <p:nvPr/>
        </p:nvSpPr>
        <p:spPr>
          <a:xfrm>
            <a:off x="1473019" y="3591039"/>
            <a:ext cx="820420" cy="28541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r>
              <a:rPr lang="en-US" sz="9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Courier New" panose="02070309020205020404" pitchFamily="49" charset="0"/>
                <a:ea typeface="Nanum Pen Script" panose="03040600000000000000" pitchFamily="66" charset="-127"/>
                <a:cs typeface="Courier New" panose="02070309020205020404" pitchFamily="49" charset="0"/>
              </a:rPr>
              <a:t>Developer</a:t>
            </a:r>
          </a:p>
        </p:txBody>
      </p:sp>
      <p:sp>
        <p:nvSpPr>
          <p:cNvPr id="39" name="Rectangle 38">
            <a:extLst>
              <a:ext uri="{FF2B5EF4-FFF2-40B4-BE49-F238E27FC236}">
                <a16:creationId xmlns:a16="http://schemas.microsoft.com/office/drawing/2014/main" id="{12FF44EC-C8E7-C241-85C7-8D3AA6DA65F8}"/>
              </a:ext>
            </a:extLst>
          </p:cNvPr>
          <p:cNvSpPr/>
          <p:nvPr/>
        </p:nvSpPr>
        <p:spPr>
          <a:xfrm>
            <a:off x="2992824" y="4028497"/>
            <a:ext cx="1039333" cy="28541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r>
              <a:rPr lang="en-US" sz="9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Courier New" panose="02070309020205020404" pitchFamily="49" charset="0"/>
                <a:ea typeface="Nanum Pen Script" panose="03040600000000000000" pitchFamily="66" charset="-127"/>
                <a:cs typeface="Courier New" panose="02070309020205020404" pitchFamily="49" charset="0"/>
              </a:rPr>
              <a:t>Task Orchestrator</a:t>
            </a:r>
          </a:p>
        </p:txBody>
      </p:sp>
      <p:sp>
        <p:nvSpPr>
          <p:cNvPr id="40" name="Rectangle 39">
            <a:extLst>
              <a:ext uri="{FF2B5EF4-FFF2-40B4-BE49-F238E27FC236}">
                <a16:creationId xmlns:a16="http://schemas.microsoft.com/office/drawing/2014/main" id="{DDC5DD1F-31EF-8145-AD29-C84223763E36}"/>
              </a:ext>
            </a:extLst>
          </p:cNvPr>
          <p:cNvSpPr/>
          <p:nvPr/>
        </p:nvSpPr>
        <p:spPr>
          <a:xfrm>
            <a:off x="4317335" y="2128428"/>
            <a:ext cx="1071397" cy="28541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r>
              <a:rPr lang="en-US" sz="9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Courier New" panose="02070309020205020404" pitchFamily="49" charset="0"/>
                <a:ea typeface="Nanum Pen Script" panose="03040600000000000000" pitchFamily="66" charset="-127"/>
                <a:cs typeface="Courier New" panose="02070309020205020404" pitchFamily="49" charset="0"/>
              </a:rPr>
              <a:t>Source code repository</a:t>
            </a:r>
          </a:p>
        </p:txBody>
      </p:sp>
      <p:sp>
        <p:nvSpPr>
          <p:cNvPr id="41" name="Rectangle 40">
            <a:extLst>
              <a:ext uri="{FF2B5EF4-FFF2-40B4-BE49-F238E27FC236}">
                <a16:creationId xmlns:a16="http://schemas.microsoft.com/office/drawing/2014/main" id="{2361CB1E-A53C-A048-9987-CA053FDAB67C}"/>
              </a:ext>
            </a:extLst>
          </p:cNvPr>
          <p:cNvSpPr/>
          <p:nvPr/>
        </p:nvSpPr>
        <p:spPr>
          <a:xfrm>
            <a:off x="6878096" y="3445615"/>
            <a:ext cx="1039333" cy="28541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r>
              <a:rPr lang="en-US" sz="9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Courier New" panose="02070309020205020404" pitchFamily="49" charset="0"/>
                <a:ea typeface="Nanum Pen Script" panose="03040600000000000000" pitchFamily="66" charset="-127"/>
                <a:cs typeface="Courier New" panose="02070309020205020404" pitchFamily="49" charset="0"/>
              </a:rPr>
              <a:t>Compilation tool</a:t>
            </a:r>
          </a:p>
        </p:txBody>
      </p:sp>
      <p:sp>
        <p:nvSpPr>
          <p:cNvPr id="42" name="Rectangle 41">
            <a:extLst>
              <a:ext uri="{FF2B5EF4-FFF2-40B4-BE49-F238E27FC236}">
                <a16:creationId xmlns:a16="http://schemas.microsoft.com/office/drawing/2014/main" id="{5C4AC394-0F93-D94C-959F-30E115BEADE5}"/>
              </a:ext>
            </a:extLst>
          </p:cNvPr>
          <p:cNvSpPr/>
          <p:nvPr/>
        </p:nvSpPr>
        <p:spPr>
          <a:xfrm>
            <a:off x="3992584" y="5326237"/>
            <a:ext cx="1039333" cy="28541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r>
              <a:rPr lang="en-US" sz="9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Courier New" panose="02070309020205020404" pitchFamily="49" charset="0"/>
                <a:ea typeface="Nanum Pen Script" panose="03040600000000000000" pitchFamily="66" charset="-127"/>
                <a:cs typeface="Courier New" panose="02070309020205020404" pitchFamily="49" charset="0"/>
              </a:rPr>
              <a:t>static code analysis</a:t>
            </a:r>
          </a:p>
        </p:txBody>
      </p:sp>
      <p:grpSp>
        <p:nvGrpSpPr>
          <p:cNvPr id="48" name="Google Shape;236;p27">
            <a:extLst>
              <a:ext uri="{FF2B5EF4-FFF2-40B4-BE49-F238E27FC236}">
                <a16:creationId xmlns:a16="http://schemas.microsoft.com/office/drawing/2014/main" id="{67275771-4550-3F4F-AFF2-755882BBA6BF}"/>
              </a:ext>
            </a:extLst>
          </p:cNvPr>
          <p:cNvGrpSpPr/>
          <p:nvPr/>
        </p:nvGrpSpPr>
        <p:grpSpPr>
          <a:xfrm rot="16610653">
            <a:off x="6153192" y="2657912"/>
            <a:ext cx="1134489" cy="130601"/>
            <a:chOff x="3103836" y="2764475"/>
            <a:chExt cx="954587" cy="281287"/>
          </a:xfrm>
        </p:grpSpPr>
        <p:sp>
          <p:nvSpPr>
            <p:cNvPr id="49" name="Google Shape;237;p27">
              <a:extLst>
                <a:ext uri="{FF2B5EF4-FFF2-40B4-BE49-F238E27FC236}">
                  <a16:creationId xmlns:a16="http://schemas.microsoft.com/office/drawing/2014/main" id="{24A51CEE-549C-EA46-A7D2-C63C769BD5B7}"/>
                </a:ext>
              </a:extLst>
            </p:cNvPr>
            <p:cNvSpPr/>
            <p:nvPr/>
          </p:nvSpPr>
          <p:spPr>
            <a:xfrm>
              <a:off x="3103836" y="2815253"/>
              <a:ext cx="838038" cy="230509"/>
            </a:xfrm>
            <a:custGeom>
              <a:avLst/>
              <a:gdLst/>
              <a:ahLst/>
              <a:cxnLst/>
              <a:rect l="0" t="0" r="0" b="0"/>
              <a:pathLst>
                <a:path w="27831" h="2831" extrusionOk="0">
                  <a:moveTo>
                    <a:pt x="27264" y="944"/>
                  </a:moveTo>
                  <a:lnTo>
                    <a:pt x="27359" y="1086"/>
                  </a:lnTo>
                  <a:lnTo>
                    <a:pt x="27359" y="944"/>
                  </a:lnTo>
                  <a:close/>
                  <a:moveTo>
                    <a:pt x="27359" y="1086"/>
                  </a:moveTo>
                  <a:lnTo>
                    <a:pt x="27359" y="1133"/>
                  </a:lnTo>
                  <a:lnTo>
                    <a:pt x="27372" y="1106"/>
                  </a:lnTo>
                  <a:lnTo>
                    <a:pt x="27372" y="1106"/>
                  </a:lnTo>
                  <a:lnTo>
                    <a:pt x="27359" y="1086"/>
                  </a:lnTo>
                  <a:close/>
                  <a:moveTo>
                    <a:pt x="27453" y="944"/>
                  </a:moveTo>
                  <a:lnTo>
                    <a:pt x="27372" y="1106"/>
                  </a:lnTo>
                  <a:lnTo>
                    <a:pt x="27372" y="1106"/>
                  </a:lnTo>
                  <a:lnTo>
                    <a:pt x="27453" y="1227"/>
                  </a:lnTo>
                  <a:lnTo>
                    <a:pt x="27453" y="944"/>
                  </a:lnTo>
                  <a:close/>
                  <a:moveTo>
                    <a:pt x="27642" y="1039"/>
                  </a:moveTo>
                  <a:lnTo>
                    <a:pt x="27453" y="1227"/>
                  </a:lnTo>
                  <a:lnTo>
                    <a:pt x="27453" y="1322"/>
                  </a:lnTo>
                  <a:lnTo>
                    <a:pt x="27453" y="1416"/>
                  </a:lnTo>
                  <a:lnTo>
                    <a:pt x="27830" y="1416"/>
                  </a:lnTo>
                  <a:lnTo>
                    <a:pt x="27830" y="1227"/>
                  </a:lnTo>
                  <a:lnTo>
                    <a:pt x="27736" y="1322"/>
                  </a:lnTo>
                  <a:lnTo>
                    <a:pt x="27736" y="1227"/>
                  </a:lnTo>
                  <a:lnTo>
                    <a:pt x="27736" y="1133"/>
                  </a:lnTo>
                  <a:lnTo>
                    <a:pt x="27642" y="1039"/>
                  </a:lnTo>
                  <a:close/>
                  <a:moveTo>
                    <a:pt x="20189" y="1"/>
                  </a:moveTo>
                  <a:lnTo>
                    <a:pt x="20095" y="190"/>
                  </a:lnTo>
                  <a:lnTo>
                    <a:pt x="20000" y="95"/>
                  </a:lnTo>
                  <a:lnTo>
                    <a:pt x="19906" y="284"/>
                  </a:lnTo>
                  <a:lnTo>
                    <a:pt x="19812" y="473"/>
                  </a:lnTo>
                  <a:lnTo>
                    <a:pt x="19529" y="284"/>
                  </a:lnTo>
                  <a:lnTo>
                    <a:pt x="19340" y="95"/>
                  </a:lnTo>
                  <a:lnTo>
                    <a:pt x="19246" y="95"/>
                  </a:lnTo>
                  <a:lnTo>
                    <a:pt x="19246" y="190"/>
                  </a:lnTo>
                  <a:lnTo>
                    <a:pt x="19151" y="378"/>
                  </a:lnTo>
                  <a:lnTo>
                    <a:pt x="19434" y="190"/>
                  </a:lnTo>
                  <a:lnTo>
                    <a:pt x="19246" y="473"/>
                  </a:lnTo>
                  <a:lnTo>
                    <a:pt x="19434" y="378"/>
                  </a:lnTo>
                  <a:lnTo>
                    <a:pt x="19434" y="567"/>
                  </a:lnTo>
                  <a:lnTo>
                    <a:pt x="19151" y="567"/>
                  </a:lnTo>
                  <a:lnTo>
                    <a:pt x="19151" y="190"/>
                  </a:lnTo>
                  <a:lnTo>
                    <a:pt x="19057" y="95"/>
                  </a:lnTo>
                  <a:lnTo>
                    <a:pt x="18963" y="95"/>
                  </a:lnTo>
                  <a:lnTo>
                    <a:pt x="18774" y="284"/>
                  </a:lnTo>
                  <a:lnTo>
                    <a:pt x="18680" y="473"/>
                  </a:lnTo>
                  <a:lnTo>
                    <a:pt x="18585" y="378"/>
                  </a:lnTo>
                  <a:lnTo>
                    <a:pt x="18491" y="190"/>
                  </a:lnTo>
                  <a:lnTo>
                    <a:pt x="18397" y="378"/>
                  </a:lnTo>
                  <a:lnTo>
                    <a:pt x="17925" y="567"/>
                  </a:lnTo>
                  <a:lnTo>
                    <a:pt x="18019" y="284"/>
                  </a:lnTo>
                  <a:lnTo>
                    <a:pt x="17831" y="378"/>
                  </a:lnTo>
                  <a:lnTo>
                    <a:pt x="17642" y="567"/>
                  </a:lnTo>
                  <a:lnTo>
                    <a:pt x="17642" y="661"/>
                  </a:lnTo>
                  <a:lnTo>
                    <a:pt x="17453" y="567"/>
                  </a:lnTo>
                  <a:lnTo>
                    <a:pt x="17170" y="473"/>
                  </a:lnTo>
                  <a:lnTo>
                    <a:pt x="16699" y="473"/>
                  </a:lnTo>
                  <a:lnTo>
                    <a:pt x="16699" y="567"/>
                  </a:lnTo>
                  <a:lnTo>
                    <a:pt x="16604" y="661"/>
                  </a:lnTo>
                  <a:lnTo>
                    <a:pt x="16416" y="378"/>
                  </a:lnTo>
                  <a:lnTo>
                    <a:pt x="16227" y="378"/>
                  </a:lnTo>
                  <a:lnTo>
                    <a:pt x="15661" y="661"/>
                  </a:lnTo>
                  <a:lnTo>
                    <a:pt x="15661" y="473"/>
                  </a:lnTo>
                  <a:lnTo>
                    <a:pt x="15567" y="756"/>
                  </a:lnTo>
                  <a:lnTo>
                    <a:pt x="15378" y="473"/>
                  </a:lnTo>
                  <a:lnTo>
                    <a:pt x="15567" y="473"/>
                  </a:lnTo>
                  <a:lnTo>
                    <a:pt x="15472" y="378"/>
                  </a:lnTo>
                  <a:lnTo>
                    <a:pt x="15378" y="378"/>
                  </a:lnTo>
                  <a:lnTo>
                    <a:pt x="15189" y="473"/>
                  </a:lnTo>
                  <a:lnTo>
                    <a:pt x="15000" y="756"/>
                  </a:lnTo>
                  <a:lnTo>
                    <a:pt x="14906" y="661"/>
                  </a:lnTo>
                  <a:lnTo>
                    <a:pt x="14812" y="473"/>
                  </a:lnTo>
                  <a:lnTo>
                    <a:pt x="14529" y="756"/>
                  </a:lnTo>
                  <a:lnTo>
                    <a:pt x="14623" y="567"/>
                  </a:lnTo>
                  <a:lnTo>
                    <a:pt x="14529" y="661"/>
                  </a:lnTo>
                  <a:lnTo>
                    <a:pt x="14340" y="756"/>
                  </a:lnTo>
                  <a:lnTo>
                    <a:pt x="14340" y="567"/>
                  </a:lnTo>
                  <a:lnTo>
                    <a:pt x="14246" y="473"/>
                  </a:lnTo>
                  <a:lnTo>
                    <a:pt x="13963" y="378"/>
                  </a:lnTo>
                  <a:lnTo>
                    <a:pt x="13585" y="284"/>
                  </a:lnTo>
                  <a:lnTo>
                    <a:pt x="13302" y="284"/>
                  </a:lnTo>
                  <a:lnTo>
                    <a:pt x="13302" y="378"/>
                  </a:lnTo>
                  <a:lnTo>
                    <a:pt x="13302" y="473"/>
                  </a:lnTo>
                  <a:lnTo>
                    <a:pt x="13208" y="473"/>
                  </a:lnTo>
                  <a:lnTo>
                    <a:pt x="13208" y="661"/>
                  </a:lnTo>
                  <a:lnTo>
                    <a:pt x="13114" y="661"/>
                  </a:lnTo>
                  <a:lnTo>
                    <a:pt x="13019" y="567"/>
                  </a:lnTo>
                  <a:lnTo>
                    <a:pt x="12925" y="378"/>
                  </a:lnTo>
                  <a:lnTo>
                    <a:pt x="12831" y="95"/>
                  </a:lnTo>
                  <a:lnTo>
                    <a:pt x="12831" y="378"/>
                  </a:lnTo>
                  <a:lnTo>
                    <a:pt x="12736" y="378"/>
                  </a:lnTo>
                  <a:lnTo>
                    <a:pt x="12642" y="284"/>
                  </a:lnTo>
                  <a:lnTo>
                    <a:pt x="12548" y="190"/>
                  </a:lnTo>
                  <a:lnTo>
                    <a:pt x="12265" y="190"/>
                  </a:lnTo>
                  <a:lnTo>
                    <a:pt x="12170" y="473"/>
                  </a:lnTo>
                  <a:lnTo>
                    <a:pt x="12076" y="378"/>
                  </a:lnTo>
                  <a:lnTo>
                    <a:pt x="11887" y="284"/>
                  </a:lnTo>
                  <a:lnTo>
                    <a:pt x="11510" y="378"/>
                  </a:lnTo>
                  <a:lnTo>
                    <a:pt x="10755" y="661"/>
                  </a:lnTo>
                  <a:lnTo>
                    <a:pt x="10661" y="473"/>
                  </a:lnTo>
                  <a:lnTo>
                    <a:pt x="10567" y="378"/>
                  </a:lnTo>
                  <a:lnTo>
                    <a:pt x="10095" y="378"/>
                  </a:lnTo>
                  <a:lnTo>
                    <a:pt x="9529" y="473"/>
                  </a:lnTo>
                  <a:lnTo>
                    <a:pt x="9340" y="473"/>
                  </a:lnTo>
                  <a:lnTo>
                    <a:pt x="9152" y="378"/>
                  </a:lnTo>
                  <a:lnTo>
                    <a:pt x="9152" y="473"/>
                  </a:lnTo>
                  <a:lnTo>
                    <a:pt x="9152" y="567"/>
                  </a:lnTo>
                  <a:lnTo>
                    <a:pt x="8963" y="661"/>
                  </a:lnTo>
                  <a:lnTo>
                    <a:pt x="8869" y="567"/>
                  </a:lnTo>
                  <a:lnTo>
                    <a:pt x="8680" y="473"/>
                  </a:lnTo>
                  <a:lnTo>
                    <a:pt x="8680" y="756"/>
                  </a:lnTo>
                  <a:lnTo>
                    <a:pt x="8491" y="661"/>
                  </a:lnTo>
                  <a:lnTo>
                    <a:pt x="8208" y="567"/>
                  </a:lnTo>
                  <a:lnTo>
                    <a:pt x="7925" y="661"/>
                  </a:lnTo>
                  <a:lnTo>
                    <a:pt x="7831" y="756"/>
                  </a:lnTo>
                  <a:lnTo>
                    <a:pt x="7548" y="567"/>
                  </a:lnTo>
                  <a:lnTo>
                    <a:pt x="7359" y="473"/>
                  </a:lnTo>
                  <a:lnTo>
                    <a:pt x="7170" y="944"/>
                  </a:lnTo>
                  <a:lnTo>
                    <a:pt x="6982" y="661"/>
                  </a:lnTo>
                  <a:lnTo>
                    <a:pt x="6793" y="661"/>
                  </a:lnTo>
                  <a:lnTo>
                    <a:pt x="6604" y="756"/>
                  </a:lnTo>
                  <a:lnTo>
                    <a:pt x="6510" y="661"/>
                  </a:lnTo>
                  <a:lnTo>
                    <a:pt x="6416" y="756"/>
                  </a:lnTo>
                  <a:lnTo>
                    <a:pt x="6038" y="944"/>
                  </a:lnTo>
                  <a:lnTo>
                    <a:pt x="6038" y="1039"/>
                  </a:lnTo>
                  <a:lnTo>
                    <a:pt x="5850" y="1133"/>
                  </a:lnTo>
                  <a:lnTo>
                    <a:pt x="5850" y="1039"/>
                  </a:lnTo>
                  <a:lnTo>
                    <a:pt x="5755" y="1039"/>
                  </a:lnTo>
                  <a:lnTo>
                    <a:pt x="5567" y="1227"/>
                  </a:lnTo>
                  <a:lnTo>
                    <a:pt x="5472" y="1227"/>
                  </a:lnTo>
                  <a:lnTo>
                    <a:pt x="5378" y="1039"/>
                  </a:lnTo>
                  <a:lnTo>
                    <a:pt x="5378" y="1133"/>
                  </a:lnTo>
                  <a:lnTo>
                    <a:pt x="5189" y="1227"/>
                  </a:lnTo>
                  <a:lnTo>
                    <a:pt x="5095" y="1133"/>
                  </a:lnTo>
                  <a:lnTo>
                    <a:pt x="4906" y="1039"/>
                  </a:lnTo>
                  <a:lnTo>
                    <a:pt x="5189" y="1039"/>
                  </a:lnTo>
                  <a:lnTo>
                    <a:pt x="5095" y="944"/>
                  </a:lnTo>
                  <a:lnTo>
                    <a:pt x="5095" y="756"/>
                  </a:lnTo>
                  <a:lnTo>
                    <a:pt x="5001" y="944"/>
                  </a:lnTo>
                  <a:lnTo>
                    <a:pt x="4529" y="944"/>
                  </a:lnTo>
                  <a:lnTo>
                    <a:pt x="4529" y="1133"/>
                  </a:lnTo>
                  <a:lnTo>
                    <a:pt x="4718" y="1133"/>
                  </a:lnTo>
                  <a:lnTo>
                    <a:pt x="4623" y="1227"/>
                  </a:lnTo>
                  <a:lnTo>
                    <a:pt x="4623" y="1133"/>
                  </a:lnTo>
                  <a:lnTo>
                    <a:pt x="4529" y="1416"/>
                  </a:lnTo>
                  <a:lnTo>
                    <a:pt x="4340" y="1227"/>
                  </a:lnTo>
                  <a:lnTo>
                    <a:pt x="4152" y="1039"/>
                  </a:lnTo>
                  <a:lnTo>
                    <a:pt x="3963" y="1039"/>
                  </a:lnTo>
                  <a:lnTo>
                    <a:pt x="3774" y="1416"/>
                  </a:lnTo>
                  <a:lnTo>
                    <a:pt x="3774" y="1322"/>
                  </a:lnTo>
                  <a:lnTo>
                    <a:pt x="3774" y="1227"/>
                  </a:lnTo>
                  <a:lnTo>
                    <a:pt x="3680" y="1322"/>
                  </a:lnTo>
                  <a:lnTo>
                    <a:pt x="3586" y="1510"/>
                  </a:lnTo>
                  <a:lnTo>
                    <a:pt x="3208" y="1416"/>
                  </a:lnTo>
                  <a:lnTo>
                    <a:pt x="2454" y="1416"/>
                  </a:lnTo>
                  <a:lnTo>
                    <a:pt x="1793" y="1510"/>
                  </a:lnTo>
                  <a:lnTo>
                    <a:pt x="1510" y="1605"/>
                  </a:lnTo>
                  <a:lnTo>
                    <a:pt x="1321" y="1699"/>
                  </a:lnTo>
                  <a:lnTo>
                    <a:pt x="1321" y="1605"/>
                  </a:lnTo>
                  <a:lnTo>
                    <a:pt x="1038" y="1699"/>
                  </a:lnTo>
                  <a:lnTo>
                    <a:pt x="755" y="1793"/>
                  </a:lnTo>
                  <a:lnTo>
                    <a:pt x="567" y="1793"/>
                  </a:lnTo>
                  <a:lnTo>
                    <a:pt x="378" y="1888"/>
                  </a:lnTo>
                  <a:lnTo>
                    <a:pt x="284" y="1699"/>
                  </a:lnTo>
                  <a:lnTo>
                    <a:pt x="95" y="1605"/>
                  </a:lnTo>
                  <a:lnTo>
                    <a:pt x="1" y="1793"/>
                  </a:lnTo>
                  <a:lnTo>
                    <a:pt x="1" y="2076"/>
                  </a:lnTo>
                  <a:lnTo>
                    <a:pt x="95" y="2548"/>
                  </a:lnTo>
                  <a:lnTo>
                    <a:pt x="189" y="2831"/>
                  </a:lnTo>
                  <a:lnTo>
                    <a:pt x="284" y="2737"/>
                  </a:lnTo>
                  <a:lnTo>
                    <a:pt x="472" y="2831"/>
                  </a:lnTo>
                  <a:lnTo>
                    <a:pt x="567" y="2548"/>
                  </a:lnTo>
                  <a:lnTo>
                    <a:pt x="661" y="2642"/>
                  </a:lnTo>
                  <a:lnTo>
                    <a:pt x="661" y="2737"/>
                  </a:lnTo>
                  <a:lnTo>
                    <a:pt x="755" y="2642"/>
                  </a:lnTo>
                  <a:lnTo>
                    <a:pt x="944" y="2548"/>
                  </a:lnTo>
                  <a:lnTo>
                    <a:pt x="1227" y="2548"/>
                  </a:lnTo>
                  <a:lnTo>
                    <a:pt x="1227" y="2642"/>
                  </a:lnTo>
                  <a:lnTo>
                    <a:pt x="1321" y="2737"/>
                  </a:lnTo>
                  <a:lnTo>
                    <a:pt x="1416" y="2831"/>
                  </a:lnTo>
                  <a:lnTo>
                    <a:pt x="1510" y="2642"/>
                  </a:lnTo>
                  <a:lnTo>
                    <a:pt x="1793" y="2548"/>
                  </a:lnTo>
                  <a:lnTo>
                    <a:pt x="1699" y="2642"/>
                  </a:lnTo>
                  <a:lnTo>
                    <a:pt x="1887" y="2737"/>
                  </a:lnTo>
                  <a:lnTo>
                    <a:pt x="1887" y="2454"/>
                  </a:lnTo>
                  <a:lnTo>
                    <a:pt x="1982" y="2265"/>
                  </a:lnTo>
                  <a:lnTo>
                    <a:pt x="2076" y="2737"/>
                  </a:lnTo>
                  <a:lnTo>
                    <a:pt x="2171" y="2359"/>
                  </a:lnTo>
                  <a:lnTo>
                    <a:pt x="2265" y="2642"/>
                  </a:lnTo>
                  <a:lnTo>
                    <a:pt x="2265" y="2548"/>
                  </a:lnTo>
                  <a:lnTo>
                    <a:pt x="2359" y="2454"/>
                  </a:lnTo>
                  <a:lnTo>
                    <a:pt x="2454" y="2548"/>
                  </a:lnTo>
                  <a:lnTo>
                    <a:pt x="2454" y="2737"/>
                  </a:lnTo>
                  <a:lnTo>
                    <a:pt x="2548" y="2548"/>
                  </a:lnTo>
                  <a:lnTo>
                    <a:pt x="2548" y="2454"/>
                  </a:lnTo>
                  <a:lnTo>
                    <a:pt x="2642" y="2548"/>
                  </a:lnTo>
                  <a:lnTo>
                    <a:pt x="2642" y="2642"/>
                  </a:lnTo>
                  <a:lnTo>
                    <a:pt x="2831" y="2454"/>
                  </a:lnTo>
                  <a:lnTo>
                    <a:pt x="3020" y="2454"/>
                  </a:lnTo>
                  <a:lnTo>
                    <a:pt x="3114" y="2265"/>
                  </a:lnTo>
                  <a:lnTo>
                    <a:pt x="3114" y="2076"/>
                  </a:lnTo>
                  <a:lnTo>
                    <a:pt x="3208" y="1982"/>
                  </a:lnTo>
                  <a:lnTo>
                    <a:pt x="3208" y="2076"/>
                  </a:lnTo>
                  <a:lnTo>
                    <a:pt x="3208" y="2265"/>
                  </a:lnTo>
                  <a:lnTo>
                    <a:pt x="3303" y="2076"/>
                  </a:lnTo>
                  <a:lnTo>
                    <a:pt x="3491" y="2076"/>
                  </a:lnTo>
                  <a:lnTo>
                    <a:pt x="3491" y="2171"/>
                  </a:lnTo>
                  <a:lnTo>
                    <a:pt x="3397" y="2265"/>
                  </a:lnTo>
                  <a:lnTo>
                    <a:pt x="3303" y="2359"/>
                  </a:lnTo>
                  <a:lnTo>
                    <a:pt x="3303" y="2548"/>
                  </a:lnTo>
                  <a:lnTo>
                    <a:pt x="3491" y="2548"/>
                  </a:lnTo>
                  <a:lnTo>
                    <a:pt x="3586" y="2454"/>
                  </a:lnTo>
                  <a:lnTo>
                    <a:pt x="3680" y="2265"/>
                  </a:lnTo>
                  <a:lnTo>
                    <a:pt x="4152" y="2265"/>
                  </a:lnTo>
                  <a:lnTo>
                    <a:pt x="4152" y="2359"/>
                  </a:lnTo>
                  <a:lnTo>
                    <a:pt x="4246" y="2171"/>
                  </a:lnTo>
                  <a:lnTo>
                    <a:pt x="4340" y="2171"/>
                  </a:lnTo>
                  <a:lnTo>
                    <a:pt x="4246" y="2265"/>
                  </a:lnTo>
                  <a:lnTo>
                    <a:pt x="5284" y="2265"/>
                  </a:lnTo>
                  <a:lnTo>
                    <a:pt x="5567" y="2171"/>
                  </a:lnTo>
                  <a:lnTo>
                    <a:pt x="5755" y="2171"/>
                  </a:lnTo>
                  <a:lnTo>
                    <a:pt x="5755" y="2076"/>
                  </a:lnTo>
                  <a:lnTo>
                    <a:pt x="6416" y="2076"/>
                  </a:lnTo>
                  <a:lnTo>
                    <a:pt x="6510" y="1888"/>
                  </a:lnTo>
                  <a:lnTo>
                    <a:pt x="6604" y="1888"/>
                  </a:lnTo>
                  <a:lnTo>
                    <a:pt x="7170" y="1982"/>
                  </a:lnTo>
                  <a:lnTo>
                    <a:pt x="7453" y="1888"/>
                  </a:lnTo>
                  <a:lnTo>
                    <a:pt x="7548" y="1888"/>
                  </a:lnTo>
                  <a:lnTo>
                    <a:pt x="7642" y="1699"/>
                  </a:lnTo>
                  <a:lnTo>
                    <a:pt x="7736" y="1888"/>
                  </a:lnTo>
                  <a:lnTo>
                    <a:pt x="7925" y="2076"/>
                  </a:lnTo>
                  <a:lnTo>
                    <a:pt x="8114" y="1793"/>
                  </a:lnTo>
                  <a:lnTo>
                    <a:pt x="8114" y="1982"/>
                  </a:lnTo>
                  <a:lnTo>
                    <a:pt x="8208" y="1793"/>
                  </a:lnTo>
                  <a:lnTo>
                    <a:pt x="8302" y="1982"/>
                  </a:lnTo>
                  <a:lnTo>
                    <a:pt x="8302" y="1888"/>
                  </a:lnTo>
                  <a:lnTo>
                    <a:pt x="8302" y="1793"/>
                  </a:lnTo>
                  <a:lnTo>
                    <a:pt x="8491" y="1793"/>
                  </a:lnTo>
                  <a:lnTo>
                    <a:pt x="8585" y="1888"/>
                  </a:lnTo>
                  <a:lnTo>
                    <a:pt x="8774" y="1793"/>
                  </a:lnTo>
                  <a:lnTo>
                    <a:pt x="8774" y="1982"/>
                  </a:lnTo>
                  <a:lnTo>
                    <a:pt x="8869" y="1888"/>
                  </a:lnTo>
                  <a:lnTo>
                    <a:pt x="9718" y="1888"/>
                  </a:lnTo>
                  <a:lnTo>
                    <a:pt x="9623" y="1793"/>
                  </a:lnTo>
                  <a:lnTo>
                    <a:pt x="9718" y="1605"/>
                  </a:lnTo>
                  <a:lnTo>
                    <a:pt x="9812" y="1699"/>
                  </a:lnTo>
                  <a:lnTo>
                    <a:pt x="9812" y="1793"/>
                  </a:lnTo>
                  <a:lnTo>
                    <a:pt x="9906" y="1888"/>
                  </a:lnTo>
                  <a:lnTo>
                    <a:pt x="10095" y="1982"/>
                  </a:lnTo>
                  <a:lnTo>
                    <a:pt x="10661" y="1793"/>
                  </a:lnTo>
                  <a:lnTo>
                    <a:pt x="11038" y="1510"/>
                  </a:lnTo>
                  <a:lnTo>
                    <a:pt x="11133" y="1699"/>
                  </a:lnTo>
                  <a:lnTo>
                    <a:pt x="11321" y="1699"/>
                  </a:lnTo>
                  <a:lnTo>
                    <a:pt x="11510" y="1605"/>
                  </a:lnTo>
                  <a:lnTo>
                    <a:pt x="11604" y="1416"/>
                  </a:lnTo>
                  <a:lnTo>
                    <a:pt x="11982" y="1605"/>
                  </a:lnTo>
                  <a:lnTo>
                    <a:pt x="12453" y="1699"/>
                  </a:lnTo>
                  <a:lnTo>
                    <a:pt x="12642" y="1510"/>
                  </a:lnTo>
                  <a:lnTo>
                    <a:pt x="12642" y="1699"/>
                  </a:lnTo>
                  <a:lnTo>
                    <a:pt x="12925" y="1510"/>
                  </a:lnTo>
                  <a:lnTo>
                    <a:pt x="13208" y="1510"/>
                  </a:lnTo>
                  <a:lnTo>
                    <a:pt x="14057" y="1699"/>
                  </a:lnTo>
                  <a:lnTo>
                    <a:pt x="14434" y="1793"/>
                  </a:lnTo>
                  <a:lnTo>
                    <a:pt x="14812" y="1793"/>
                  </a:lnTo>
                  <a:lnTo>
                    <a:pt x="15095" y="1699"/>
                  </a:lnTo>
                  <a:lnTo>
                    <a:pt x="15378" y="1510"/>
                  </a:lnTo>
                  <a:lnTo>
                    <a:pt x="15472" y="1416"/>
                  </a:lnTo>
                  <a:lnTo>
                    <a:pt x="15472" y="1510"/>
                  </a:lnTo>
                  <a:lnTo>
                    <a:pt x="15472" y="1699"/>
                  </a:lnTo>
                  <a:lnTo>
                    <a:pt x="16416" y="1510"/>
                  </a:lnTo>
                  <a:lnTo>
                    <a:pt x="16416" y="1605"/>
                  </a:lnTo>
                  <a:lnTo>
                    <a:pt x="16510" y="1605"/>
                  </a:lnTo>
                  <a:lnTo>
                    <a:pt x="16604" y="1510"/>
                  </a:lnTo>
                  <a:lnTo>
                    <a:pt x="17642" y="1510"/>
                  </a:lnTo>
                  <a:lnTo>
                    <a:pt x="17736" y="1605"/>
                  </a:lnTo>
                  <a:lnTo>
                    <a:pt x="17831" y="1605"/>
                  </a:lnTo>
                  <a:lnTo>
                    <a:pt x="18397" y="1510"/>
                  </a:lnTo>
                  <a:lnTo>
                    <a:pt x="19057" y="1322"/>
                  </a:lnTo>
                  <a:lnTo>
                    <a:pt x="18774" y="1605"/>
                  </a:lnTo>
                  <a:lnTo>
                    <a:pt x="19151" y="1322"/>
                  </a:lnTo>
                  <a:lnTo>
                    <a:pt x="19340" y="1322"/>
                  </a:lnTo>
                  <a:lnTo>
                    <a:pt x="19340" y="1510"/>
                  </a:lnTo>
                  <a:lnTo>
                    <a:pt x="19529" y="1416"/>
                  </a:lnTo>
                  <a:lnTo>
                    <a:pt x="19906" y="1416"/>
                  </a:lnTo>
                  <a:lnTo>
                    <a:pt x="20000" y="1322"/>
                  </a:lnTo>
                  <a:lnTo>
                    <a:pt x="20095" y="944"/>
                  </a:lnTo>
                  <a:lnTo>
                    <a:pt x="20095" y="1133"/>
                  </a:lnTo>
                  <a:lnTo>
                    <a:pt x="20189" y="1227"/>
                  </a:lnTo>
                  <a:lnTo>
                    <a:pt x="20189" y="1416"/>
                  </a:lnTo>
                  <a:lnTo>
                    <a:pt x="20283" y="1322"/>
                  </a:lnTo>
                  <a:lnTo>
                    <a:pt x="20378" y="1322"/>
                  </a:lnTo>
                  <a:lnTo>
                    <a:pt x="20378" y="1416"/>
                  </a:lnTo>
                  <a:lnTo>
                    <a:pt x="20661" y="1227"/>
                  </a:lnTo>
                  <a:lnTo>
                    <a:pt x="20944" y="1133"/>
                  </a:lnTo>
                  <a:lnTo>
                    <a:pt x="21038" y="1133"/>
                  </a:lnTo>
                  <a:lnTo>
                    <a:pt x="21132" y="1416"/>
                  </a:lnTo>
                  <a:lnTo>
                    <a:pt x="21604" y="1227"/>
                  </a:lnTo>
                  <a:lnTo>
                    <a:pt x="21510" y="1039"/>
                  </a:lnTo>
                  <a:lnTo>
                    <a:pt x="21510" y="944"/>
                  </a:lnTo>
                  <a:lnTo>
                    <a:pt x="21698" y="944"/>
                  </a:lnTo>
                  <a:lnTo>
                    <a:pt x="21604" y="1039"/>
                  </a:lnTo>
                  <a:lnTo>
                    <a:pt x="21982" y="1039"/>
                  </a:lnTo>
                  <a:lnTo>
                    <a:pt x="21887" y="1227"/>
                  </a:lnTo>
                  <a:lnTo>
                    <a:pt x="21887" y="1227"/>
                  </a:lnTo>
                  <a:lnTo>
                    <a:pt x="22170" y="1039"/>
                  </a:lnTo>
                  <a:lnTo>
                    <a:pt x="22265" y="1227"/>
                  </a:lnTo>
                  <a:lnTo>
                    <a:pt x="22265" y="1133"/>
                  </a:lnTo>
                  <a:lnTo>
                    <a:pt x="22265" y="1039"/>
                  </a:lnTo>
                  <a:lnTo>
                    <a:pt x="22548" y="1039"/>
                  </a:lnTo>
                  <a:lnTo>
                    <a:pt x="22642" y="1322"/>
                  </a:lnTo>
                  <a:lnTo>
                    <a:pt x="23019" y="1227"/>
                  </a:lnTo>
                  <a:lnTo>
                    <a:pt x="23208" y="1133"/>
                  </a:lnTo>
                  <a:lnTo>
                    <a:pt x="23302" y="1039"/>
                  </a:lnTo>
                  <a:lnTo>
                    <a:pt x="23397" y="1133"/>
                  </a:lnTo>
                  <a:lnTo>
                    <a:pt x="23397" y="1227"/>
                  </a:lnTo>
                  <a:lnTo>
                    <a:pt x="23680" y="1227"/>
                  </a:lnTo>
                  <a:lnTo>
                    <a:pt x="23868" y="1133"/>
                  </a:lnTo>
                  <a:lnTo>
                    <a:pt x="24057" y="1227"/>
                  </a:lnTo>
                  <a:lnTo>
                    <a:pt x="24246" y="1227"/>
                  </a:lnTo>
                  <a:lnTo>
                    <a:pt x="24246" y="1133"/>
                  </a:lnTo>
                  <a:lnTo>
                    <a:pt x="24529" y="1227"/>
                  </a:lnTo>
                  <a:lnTo>
                    <a:pt x="24906" y="1322"/>
                  </a:lnTo>
                  <a:lnTo>
                    <a:pt x="25179" y="1048"/>
                  </a:lnTo>
                  <a:lnTo>
                    <a:pt x="25095" y="1133"/>
                  </a:lnTo>
                  <a:lnTo>
                    <a:pt x="25189" y="1227"/>
                  </a:lnTo>
                  <a:lnTo>
                    <a:pt x="25189" y="1133"/>
                  </a:lnTo>
                  <a:lnTo>
                    <a:pt x="25283" y="1039"/>
                  </a:lnTo>
                  <a:lnTo>
                    <a:pt x="25378" y="944"/>
                  </a:lnTo>
                  <a:lnTo>
                    <a:pt x="25472" y="944"/>
                  </a:lnTo>
                  <a:lnTo>
                    <a:pt x="25472" y="1133"/>
                  </a:lnTo>
                  <a:lnTo>
                    <a:pt x="25566" y="1039"/>
                  </a:lnTo>
                  <a:lnTo>
                    <a:pt x="25661" y="1039"/>
                  </a:lnTo>
                  <a:lnTo>
                    <a:pt x="25566" y="1133"/>
                  </a:lnTo>
                  <a:lnTo>
                    <a:pt x="25661" y="1227"/>
                  </a:lnTo>
                  <a:lnTo>
                    <a:pt x="25849" y="1322"/>
                  </a:lnTo>
                  <a:lnTo>
                    <a:pt x="25944" y="1133"/>
                  </a:lnTo>
                  <a:lnTo>
                    <a:pt x="26132" y="1039"/>
                  </a:lnTo>
                  <a:lnTo>
                    <a:pt x="26132" y="1039"/>
                  </a:lnTo>
                  <a:lnTo>
                    <a:pt x="26038" y="1227"/>
                  </a:lnTo>
                  <a:lnTo>
                    <a:pt x="26132" y="1322"/>
                  </a:lnTo>
                  <a:lnTo>
                    <a:pt x="26321" y="1416"/>
                  </a:lnTo>
                  <a:lnTo>
                    <a:pt x="26415" y="1416"/>
                  </a:lnTo>
                  <a:lnTo>
                    <a:pt x="26887" y="1227"/>
                  </a:lnTo>
                  <a:lnTo>
                    <a:pt x="27264" y="944"/>
                  </a:lnTo>
                  <a:lnTo>
                    <a:pt x="27170" y="944"/>
                  </a:lnTo>
                  <a:lnTo>
                    <a:pt x="27264" y="850"/>
                  </a:lnTo>
                  <a:lnTo>
                    <a:pt x="26981" y="756"/>
                  </a:lnTo>
                  <a:lnTo>
                    <a:pt x="26887" y="944"/>
                  </a:lnTo>
                  <a:lnTo>
                    <a:pt x="26793" y="1133"/>
                  </a:lnTo>
                  <a:lnTo>
                    <a:pt x="26793" y="661"/>
                  </a:lnTo>
                  <a:lnTo>
                    <a:pt x="26604" y="944"/>
                  </a:lnTo>
                  <a:lnTo>
                    <a:pt x="26510" y="850"/>
                  </a:lnTo>
                  <a:lnTo>
                    <a:pt x="26415" y="756"/>
                  </a:lnTo>
                  <a:lnTo>
                    <a:pt x="26321" y="944"/>
                  </a:lnTo>
                  <a:lnTo>
                    <a:pt x="26227" y="661"/>
                  </a:lnTo>
                  <a:lnTo>
                    <a:pt x="26038" y="756"/>
                  </a:lnTo>
                  <a:lnTo>
                    <a:pt x="25849" y="661"/>
                  </a:lnTo>
                  <a:lnTo>
                    <a:pt x="25378" y="567"/>
                  </a:lnTo>
                  <a:lnTo>
                    <a:pt x="25283" y="661"/>
                  </a:lnTo>
                  <a:lnTo>
                    <a:pt x="25095" y="756"/>
                  </a:lnTo>
                  <a:lnTo>
                    <a:pt x="25189" y="473"/>
                  </a:lnTo>
                  <a:lnTo>
                    <a:pt x="25000" y="661"/>
                  </a:lnTo>
                  <a:lnTo>
                    <a:pt x="25000" y="661"/>
                  </a:lnTo>
                  <a:lnTo>
                    <a:pt x="25095" y="473"/>
                  </a:lnTo>
                  <a:lnTo>
                    <a:pt x="24906" y="567"/>
                  </a:lnTo>
                  <a:lnTo>
                    <a:pt x="24717" y="567"/>
                  </a:lnTo>
                  <a:lnTo>
                    <a:pt x="24717" y="756"/>
                  </a:lnTo>
                  <a:lnTo>
                    <a:pt x="24623" y="1039"/>
                  </a:lnTo>
                  <a:lnTo>
                    <a:pt x="24623" y="850"/>
                  </a:lnTo>
                  <a:lnTo>
                    <a:pt x="24717" y="661"/>
                  </a:lnTo>
                  <a:lnTo>
                    <a:pt x="24623" y="756"/>
                  </a:lnTo>
                  <a:lnTo>
                    <a:pt x="24623" y="661"/>
                  </a:lnTo>
                  <a:lnTo>
                    <a:pt x="24529" y="473"/>
                  </a:lnTo>
                  <a:lnTo>
                    <a:pt x="24529" y="661"/>
                  </a:lnTo>
                  <a:lnTo>
                    <a:pt x="24434" y="567"/>
                  </a:lnTo>
                  <a:lnTo>
                    <a:pt x="24340" y="378"/>
                  </a:lnTo>
                  <a:lnTo>
                    <a:pt x="24246" y="567"/>
                  </a:lnTo>
                  <a:lnTo>
                    <a:pt x="23963" y="567"/>
                  </a:lnTo>
                  <a:lnTo>
                    <a:pt x="23397" y="661"/>
                  </a:lnTo>
                  <a:lnTo>
                    <a:pt x="23114" y="661"/>
                  </a:lnTo>
                  <a:lnTo>
                    <a:pt x="22925" y="567"/>
                  </a:lnTo>
                  <a:lnTo>
                    <a:pt x="22925" y="473"/>
                  </a:lnTo>
                  <a:lnTo>
                    <a:pt x="23019" y="473"/>
                  </a:lnTo>
                  <a:lnTo>
                    <a:pt x="22642" y="378"/>
                  </a:lnTo>
                  <a:lnTo>
                    <a:pt x="22736" y="473"/>
                  </a:lnTo>
                  <a:lnTo>
                    <a:pt x="22548" y="473"/>
                  </a:lnTo>
                  <a:lnTo>
                    <a:pt x="22642" y="284"/>
                  </a:lnTo>
                  <a:lnTo>
                    <a:pt x="22548" y="190"/>
                  </a:lnTo>
                  <a:lnTo>
                    <a:pt x="22453" y="190"/>
                  </a:lnTo>
                  <a:lnTo>
                    <a:pt x="22359" y="284"/>
                  </a:lnTo>
                  <a:lnTo>
                    <a:pt x="22170" y="378"/>
                  </a:lnTo>
                  <a:lnTo>
                    <a:pt x="22076" y="284"/>
                  </a:lnTo>
                  <a:lnTo>
                    <a:pt x="22170" y="473"/>
                  </a:lnTo>
                  <a:lnTo>
                    <a:pt x="21887" y="190"/>
                  </a:lnTo>
                  <a:lnTo>
                    <a:pt x="21793" y="190"/>
                  </a:lnTo>
                  <a:lnTo>
                    <a:pt x="21698" y="378"/>
                  </a:lnTo>
                  <a:lnTo>
                    <a:pt x="21604" y="756"/>
                  </a:lnTo>
                  <a:lnTo>
                    <a:pt x="21415" y="661"/>
                  </a:lnTo>
                  <a:lnTo>
                    <a:pt x="21510" y="473"/>
                  </a:lnTo>
                  <a:lnTo>
                    <a:pt x="21604" y="284"/>
                  </a:lnTo>
                  <a:lnTo>
                    <a:pt x="21415" y="284"/>
                  </a:lnTo>
                  <a:lnTo>
                    <a:pt x="21415" y="190"/>
                  </a:lnTo>
                  <a:lnTo>
                    <a:pt x="21227" y="378"/>
                  </a:lnTo>
                  <a:lnTo>
                    <a:pt x="20944" y="567"/>
                  </a:lnTo>
                  <a:lnTo>
                    <a:pt x="20566" y="1"/>
                  </a:lnTo>
                  <a:lnTo>
                    <a:pt x="20472" y="95"/>
                  </a:lnTo>
                  <a:lnTo>
                    <a:pt x="20472" y="190"/>
                  </a:lnTo>
                  <a:lnTo>
                    <a:pt x="20472" y="378"/>
                  </a:lnTo>
                  <a:lnTo>
                    <a:pt x="20283" y="284"/>
                  </a:lnTo>
                  <a:lnTo>
                    <a:pt x="20283" y="190"/>
                  </a:lnTo>
                  <a:lnTo>
                    <a:pt x="20378" y="95"/>
                  </a:lnTo>
                  <a:lnTo>
                    <a:pt x="20283" y="1"/>
                  </a:lnTo>
                  <a:close/>
                </a:path>
              </a:pathLst>
            </a:custGeom>
            <a:solidFill>
              <a:srgbClr val="0067B7">
                <a:alpha val="59000"/>
              </a:srgbClr>
            </a:solidFill>
            <a:ln>
              <a:noFill/>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50" name="Google Shape;238;p27">
              <a:extLst>
                <a:ext uri="{FF2B5EF4-FFF2-40B4-BE49-F238E27FC236}">
                  <a16:creationId xmlns:a16="http://schemas.microsoft.com/office/drawing/2014/main" id="{C6AABA48-58BD-D141-A2E6-8E477582C385}"/>
                </a:ext>
              </a:extLst>
            </p:cNvPr>
            <p:cNvSpPr/>
            <p:nvPr/>
          </p:nvSpPr>
          <p:spPr>
            <a:xfrm>
              <a:off x="3870041" y="2764475"/>
              <a:ext cx="188382" cy="232966"/>
            </a:xfrm>
            <a:custGeom>
              <a:avLst/>
              <a:gdLst/>
              <a:ahLst/>
              <a:cxnLst/>
              <a:rect l="0" t="0" r="0" b="0"/>
              <a:pathLst>
                <a:path w="7171" h="8869" extrusionOk="0">
                  <a:moveTo>
                    <a:pt x="5756" y="6510"/>
                  </a:moveTo>
                  <a:lnTo>
                    <a:pt x="5756" y="6604"/>
                  </a:lnTo>
                  <a:lnTo>
                    <a:pt x="5850" y="6604"/>
                  </a:lnTo>
                  <a:lnTo>
                    <a:pt x="5756" y="6510"/>
                  </a:lnTo>
                  <a:close/>
                  <a:moveTo>
                    <a:pt x="2265" y="7925"/>
                  </a:moveTo>
                  <a:lnTo>
                    <a:pt x="2252" y="7965"/>
                  </a:lnTo>
                  <a:lnTo>
                    <a:pt x="2252" y="7965"/>
                  </a:lnTo>
                  <a:lnTo>
                    <a:pt x="2284" y="7953"/>
                  </a:lnTo>
                  <a:lnTo>
                    <a:pt x="2284" y="7953"/>
                  </a:lnTo>
                  <a:lnTo>
                    <a:pt x="2265" y="7925"/>
                  </a:lnTo>
                  <a:close/>
                  <a:moveTo>
                    <a:pt x="567" y="0"/>
                  </a:moveTo>
                  <a:lnTo>
                    <a:pt x="284" y="189"/>
                  </a:lnTo>
                  <a:lnTo>
                    <a:pt x="95" y="472"/>
                  </a:lnTo>
                  <a:lnTo>
                    <a:pt x="1" y="755"/>
                  </a:lnTo>
                  <a:lnTo>
                    <a:pt x="95" y="1038"/>
                  </a:lnTo>
                  <a:lnTo>
                    <a:pt x="190" y="1227"/>
                  </a:lnTo>
                  <a:lnTo>
                    <a:pt x="473" y="1415"/>
                  </a:lnTo>
                  <a:lnTo>
                    <a:pt x="850" y="1321"/>
                  </a:lnTo>
                  <a:lnTo>
                    <a:pt x="661" y="1604"/>
                  </a:lnTo>
                  <a:lnTo>
                    <a:pt x="756" y="1604"/>
                  </a:lnTo>
                  <a:lnTo>
                    <a:pt x="661" y="1793"/>
                  </a:lnTo>
                  <a:lnTo>
                    <a:pt x="661" y="1887"/>
                  </a:lnTo>
                  <a:lnTo>
                    <a:pt x="756" y="1793"/>
                  </a:lnTo>
                  <a:lnTo>
                    <a:pt x="1510" y="1604"/>
                  </a:lnTo>
                  <a:lnTo>
                    <a:pt x="1510" y="1604"/>
                  </a:lnTo>
                  <a:lnTo>
                    <a:pt x="1133" y="2076"/>
                  </a:lnTo>
                  <a:lnTo>
                    <a:pt x="1322" y="2453"/>
                  </a:lnTo>
                  <a:lnTo>
                    <a:pt x="1888" y="2830"/>
                  </a:lnTo>
                  <a:lnTo>
                    <a:pt x="3397" y="3774"/>
                  </a:lnTo>
                  <a:lnTo>
                    <a:pt x="5001" y="4623"/>
                  </a:lnTo>
                  <a:lnTo>
                    <a:pt x="5944" y="5095"/>
                  </a:lnTo>
                  <a:lnTo>
                    <a:pt x="5756" y="5189"/>
                  </a:lnTo>
                  <a:lnTo>
                    <a:pt x="5378" y="5378"/>
                  </a:lnTo>
                  <a:lnTo>
                    <a:pt x="5378" y="5283"/>
                  </a:lnTo>
                  <a:lnTo>
                    <a:pt x="5001" y="5661"/>
                  </a:lnTo>
                  <a:lnTo>
                    <a:pt x="4623" y="5944"/>
                  </a:lnTo>
                  <a:lnTo>
                    <a:pt x="4435" y="6321"/>
                  </a:lnTo>
                  <a:lnTo>
                    <a:pt x="4340" y="6510"/>
                  </a:lnTo>
                  <a:lnTo>
                    <a:pt x="4435" y="6698"/>
                  </a:lnTo>
                  <a:lnTo>
                    <a:pt x="4435" y="6698"/>
                  </a:lnTo>
                  <a:lnTo>
                    <a:pt x="4246" y="6415"/>
                  </a:lnTo>
                  <a:lnTo>
                    <a:pt x="4057" y="6321"/>
                  </a:lnTo>
                  <a:lnTo>
                    <a:pt x="3963" y="6415"/>
                  </a:lnTo>
                  <a:lnTo>
                    <a:pt x="3869" y="6510"/>
                  </a:lnTo>
                  <a:lnTo>
                    <a:pt x="3680" y="6887"/>
                  </a:lnTo>
                  <a:lnTo>
                    <a:pt x="3680" y="7076"/>
                  </a:lnTo>
                  <a:lnTo>
                    <a:pt x="3774" y="7076"/>
                  </a:lnTo>
                  <a:lnTo>
                    <a:pt x="3680" y="7264"/>
                  </a:lnTo>
                  <a:lnTo>
                    <a:pt x="3303" y="7453"/>
                  </a:lnTo>
                  <a:lnTo>
                    <a:pt x="2359" y="7925"/>
                  </a:lnTo>
                  <a:lnTo>
                    <a:pt x="2284" y="7953"/>
                  </a:lnTo>
                  <a:lnTo>
                    <a:pt x="2284" y="7953"/>
                  </a:lnTo>
                  <a:lnTo>
                    <a:pt x="2454" y="8208"/>
                  </a:lnTo>
                  <a:lnTo>
                    <a:pt x="2642" y="8396"/>
                  </a:lnTo>
                  <a:lnTo>
                    <a:pt x="2642" y="8302"/>
                  </a:lnTo>
                  <a:lnTo>
                    <a:pt x="2737" y="8396"/>
                  </a:lnTo>
                  <a:lnTo>
                    <a:pt x="2831" y="8113"/>
                  </a:lnTo>
                  <a:lnTo>
                    <a:pt x="2925" y="7925"/>
                  </a:lnTo>
                  <a:lnTo>
                    <a:pt x="3020" y="7830"/>
                  </a:lnTo>
                  <a:lnTo>
                    <a:pt x="3397" y="7830"/>
                  </a:lnTo>
                  <a:lnTo>
                    <a:pt x="3680" y="7736"/>
                  </a:lnTo>
                  <a:lnTo>
                    <a:pt x="3774" y="7547"/>
                  </a:lnTo>
                  <a:lnTo>
                    <a:pt x="3869" y="7264"/>
                  </a:lnTo>
                  <a:lnTo>
                    <a:pt x="4246" y="7453"/>
                  </a:lnTo>
                  <a:lnTo>
                    <a:pt x="4623" y="7642"/>
                  </a:lnTo>
                  <a:lnTo>
                    <a:pt x="4718" y="7547"/>
                  </a:lnTo>
                  <a:lnTo>
                    <a:pt x="4906" y="7359"/>
                  </a:lnTo>
                  <a:lnTo>
                    <a:pt x="5190" y="7170"/>
                  </a:lnTo>
                  <a:lnTo>
                    <a:pt x="5095" y="7076"/>
                  </a:lnTo>
                  <a:lnTo>
                    <a:pt x="4906" y="6793"/>
                  </a:lnTo>
                  <a:lnTo>
                    <a:pt x="4906" y="6793"/>
                  </a:lnTo>
                  <a:lnTo>
                    <a:pt x="5095" y="6887"/>
                  </a:lnTo>
                  <a:lnTo>
                    <a:pt x="5378" y="6793"/>
                  </a:lnTo>
                  <a:lnTo>
                    <a:pt x="5756" y="6510"/>
                  </a:lnTo>
                  <a:lnTo>
                    <a:pt x="6322" y="6132"/>
                  </a:lnTo>
                  <a:lnTo>
                    <a:pt x="6699" y="5566"/>
                  </a:lnTo>
                  <a:lnTo>
                    <a:pt x="7171" y="5095"/>
                  </a:lnTo>
                  <a:lnTo>
                    <a:pt x="7076" y="4717"/>
                  </a:lnTo>
                  <a:lnTo>
                    <a:pt x="6982" y="4434"/>
                  </a:lnTo>
                  <a:lnTo>
                    <a:pt x="6605" y="3963"/>
                  </a:lnTo>
                  <a:lnTo>
                    <a:pt x="6133" y="3491"/>
                  </a:lnTo>
                  <a:lnTo>
                    <a:pt x="5567" y="3113"/>
                  </a:lnTo>
                  <a:lnTo>
                    <a:pt x="4340" y="2547"/>
                  </a:lnTo>
                  <a:lnTo>
                    <a:pt x="3208" y="1887"/>
                  </a:lnTo>
                  <a:lnTo>
                    <a:pt x="2925" y="1698"/>
                  </a:lnTo>
                  <a:lnTo>
                    <a:pt x="2925" y="1604"/>
                  </a:lnTo>
                  <a:lnTo>
                    <a:pt x="2925" y="1510"/>
                  </a:lnTo>
                  <a:lnTo>
                    <a:pt x="2737" y="1698"/>
                  </a:lnTo>
                  <a:lnTo>
                    <a:pt x="2642" y="1698"/>
                  </a:lnTo>
                  <a:lnTo>
                    <a:pt x="2642" y="1604"/>
                  </a:lnTo>
                  <a:lnTo>
                    <a:pt x="2642" y="1510"/>
                  </a:lnTo>
                  <a:lnTo>
                    <a:pt x="2642" y="1415"/>
                  </a:lnTo>
                  <a:lnTo>
                    <a:pt x="2454" y="1604"/>
                  </a:lnTo>
                  <a:lnTo>
                    <a:pt x="2454" y="1698"/>
                  </a:lnTo>
                  <a:lnTo>
                    <a:pt x="2265" y="1887"/>
                  </a:lnTo>
                  <a:lnTo>
                    <a:pt x="2265" y="1604"/>
                  </a:lnTo>
                  <a:lnTo>
                    <a:pt x="2171" y="1415"/>
                  </a:lnTo>
                  <a:lnTo>
                    <a:pt x="1605" y="944"/>
                  </a:lnTo>
                  <a:lnTo>
                    <a:pt x="1227" y="755"/>
                  </a:lnTo>
                  <a:lnTo>
                    <a:pt x="1039" y="472"/>
                  </a:lnTo>
                  <a:lnTo>
                    <a:pt x="850" y="283"/>
                  </a:lnTo>
                  <a:lnTo>
                    <a:pt x="944" y="0"/>
                  </a:lnTo>
                  <a:close/>
                  <a:moveTo>
                    <a:pt x="2252" y="7965"/>
                  </a:moveTo>
                  <a:lnTo>
                    <a:pt x="850" y="8491"/>
                  </a:lnTo>
                  <a:lnTo>
                    <a:pt x="756" y="8491"/>
                  </a:lnTo>
                  <a:lnTo>
                    <a:pt x="756" y="8774"/>
                  </a:lnTo>
                  <a:lnTo>
                    <a:pt x="944" y="8868"/>
                  </a:lnTo>
                  <a:lnTo>
                    <a:pt x="1133" y="8868"/>
                  </a:lnTo>
                  <a:lnTo>
                    <a:pt x="1605" y="8774"/>
                  </a:lnTo>
                  <a:lnTo>
                    <a:pt x="1793" y="8679"/>
                  </a:lnTo>
                  <a:lnTo>
                    <a:pt x="2076" y="8491"/>
                  </a:lnTo>
                  <a:lnTo>
                    <a:pt x="2171" y="8208"/>
                  </a:lnTo>
                  <a:lnTo>
                    <a:pt x="2252" y="7965"/>
                  </a:lnTo>
                  <a:close/>
                </a:path>
              </a:pathLst>
            </a:custGeom>
            <a:solidFill>
              <a:srgbClr val="0067B7">
                <a:alpha val="52000"/>
              </a:srgbClr>
            </a:solidFill>
            <a:ln>
              <a:noFill/>
            </a:ln>
          </p:spPr>
          <p:txBody>
            <a:bodyPr spcFirstLastPara="1" wrap="square" lIns="91425" tIns="91425" rIns="91425" bIns="91425" anchor="ctr" anchorCtr="0">
              <a:noAutofit/>
            </a:bodyPr>
            <a:lstStyle/>
            <a:p>
              <a:pPr marL="0" lvl="0" indent="0">
                <a:spcBef>
                  <a:spcPts val="0"/>
                </a:spcBef>
                <a:spcAft>
                  <a:spcPts val="0"/>
                </a:spcAft>
                <a:buNone/>
              </a:pPr>
              <a:endParaRPr dirty="0"/>
            </a:p>
          </p:txBody>
        </p:sp>
      </p:grpSp>
      <p:sp>
        <p:nvSpPr>
          <p:cNvPr id="51" name="Rectangle 50">
            <a:extLst>
              <a:ext uri="{FF2B5EF4-FFF2-40B4-BE49-F238E27FC236}">
                <a16:creationId xmlns:a16="http://schemas.microsoft.com/office/drawing/2014/main" id="{2FE57064-53F0-D149-AB18-95D408B6E054}"/>
              </a:ext>
            </a:extLst>
          </p:cNvPr>
          <p:cNvSpPr/>
          <p:nvPr/>
        </p:nvSpPr>
        <p:spPr>
          <a:xfrm>
            <a:off x="5672179" y="2099769"/>
            <a:ext cx="1039333" cy="28541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r>
              <a:rPr lang="en-US" sz="9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Courier New" panose="02070309020205020404" pitchFamily="49" charset="0"/>
                <a:ea typeface="Nanum Pen Script" panose="03040600000000000000" pitchFamily="66" charset="-127"/>
                <a:cs typeface="Courier New" panose="02070309020205020404" pitchFamily="49" charset="0"/>
              </a:rPr>
              <a:t>Binary repository</a:t>
            </a:r>
          </a:p>
        </p:txBody>
      </p:sp>
      <p:grpSp>
        <p:nvGrpSpPr>
          <p:cNvPr id="54" name="Google Shape;236;p27">
            <a:extLst>
              <a:ext uri="{FF2B5EF4-FFF2-40B4-BE49-F238E27FC236}">
                <a16:creationId xmlns:a16="http://schemas.microsoft.com/office/drawing/2014/main" id="{EF2FE7B5-C81F-7449-857E-12355EE9B4D8}"/>
              </a:ext>
            </a:extLst>
          </p:cNvPr>
          <p:cNvGrpSpPr/>
          <p:nvPr/>
        </p:nvGrpSpPr>
        <p:grpSpPr>
          <a:xfrm rot="2346976">
            <a:off x="7046686" y="3174744"/>
            <a:ext cx="3521115" cy="199621"/>
            <a:chOff x="3078120" y="2764474"/>
            <a:chExt cx="980303" cy="385463"/>
          </a:xfrm>
        </p:grpSpPr>
        <p:sp>
          <p:nvSpPr>
            <p:cNvPr id="55" name="Google Shape;237;p27">
              <a:extLst>
                <a:ext uri="{FF2B5EF4-FFF2-40B4-BE49-F238E27FC236}">
                  <a16:creationId xmlns:a16="http://schemas.microsoft.com/office/drawing/2014/main" id="{65F306BE-6756-3446-B6CB-FFCA922C9196}"/>
                </a:ext>
              </a:extLst>
            </p:cNvPr>
            <p:cNvSpPr/>
            <p:nvPr/>
          </p:nvSpPr>
          <p:spPr>
            <a:xfrm>
              <a:off x="3078120" y="2906319"/>
              <a:ext cx="942501" cy="243618"/>
            </a:xfrm>
            <a:custGeom>
              <a:avLst/>
              <a:gdLst/>
              <a:ahLst/>
              <a:cxnLst/>
              <a:rect l="0" t="0" r="0" b="0"/>
              <a:pathLst>
                <a:path w="27831" h="2831" extrusionOk="0">
                  <a:moveTo>
                    <a:pt x="27264" y="944"/>
                  </a:moveTo>
                  <a:lnTo>
                    <a:pt x="27359" y="1086"/>
                  </a:lnTo>
                  <a:lnTo>
                    <a:pt x="27359" y="944"/>
                  </a:lnTo>
                  <a:close/>
                  <a:moveTo>
                    <a:pt x="27359" y="1086"/>
                  </a:moveTo>
                  <a:lnTo>
                    <a:pt x="27359" y="1133"/>
                  </a:lnTo>
                  <a:lnTo>
                    <a:pt x="27372" y="1106"/>
                  </a:lnTo>
                  <a:lnTo>
                    <a:pt x="27372" y="1106"/>
                  </a:lnTo>
                  <a:lnTo>
                    <a:pt x="27359" y="1086"/>
                  </a:lnTo>
                  <a:close/>
                  <a:moveTo>
                    <a:pt x="27453" y="944"/>
                  </a:moveTo>
                  <a:lnTo>
                    <a:pt x="27372" y="1106"/>
                  </a:lnTo>
                  <a:lnTo>
                    <a:pt x="27372" y="1106"/>
                  </a:lnTo>
                  <a:lnTo>
                    <a:pt x="27453" y="1227"/>
                  </a:lnTo>
                  <a:lnTo>
                    <a:pt x="27453" y="944"/>
                  </a:lnTo>
                  <a:close/>
                  <a:moveTo>
                    <a:pt x="27642" y="1039"/>
                  </a:moveTo>
                  <a:lnTo>
                    <a:pt x="27453" y="1227"/>
                  </a:lnTo>
                  <a:lnTo>
                    <a:pt x="27453" y="1322"/>
                  </a:lnTo>
                  <a:lnTo>
                    <a:pt x="27453" y="1416"/>
                  </a:lnTo>
                  <a:lnTo>
                    <a:pt x="27830" y="1416"/>
                  </a:lnTo>
                  <a:lnTo>
                    <a:pt x="27830" y="1227"/>
                  </a:lnTo>
                  <a:lnTo>
                    <a:pt x="27736" y="1322"/>
                  </a:lnTo>
                  <a:lnTo>
                    <a:pt x="27736" y="1227"/>
                  </a:lnTo>
                  <a:lnTo>
                    <a:pt x="27736" y="1133"/>
                  </a:lnTo>
                  <a:lnTo>
                    <a:pt x="27642" y="1039"/>
                  </a:lnTo>
                  <a:close/>
                  <a:moveTo>
                    <a:pt x="20189" y="1"/>
                  </a:moveTo>
                  <a:lnTo>
                    <a:pt x="20095" y="190"/>
                  </a:lnTo>
                  <a:lnTo>
                    <a:pt x="20000" y="95"/>
                  </a:lnTo>
                  <a:lnTo>
                    <a:pt x="19906" y="284"/>
                  </a:lnTo>
                  <a:lnTo>
                    <a:pt x="19812" y="473"/>
                  </a:lnTo>
                  <a:lnTo>
                    <a:pt x="19529" y="284"/>
                  </a:lnTo>
                  <a:lnTo>
                    <a:pt x="19340" y="95"/>
                  </a:lnTo>
                  <a:lnTo>
                    <a:pt x="19246" y="95"/>
                  </a:lnTo>
                  <a:lnTo>
                    <a:pt x="19246" y="190"/>
                  </a:lnTo>
                  <a:lnTo>
                    <a:pt x="19151" y="378"/>
                  </a:lnTo>
                  <a:lnTo>
                    <a:pt x="19434" y="190"/>
                  </a:lnTo>
                  <a:lnTo>
                    <a:pt x="19246" y="473"/>
                  </a:lnTo>
                  <a:lnTo>
                    <a:pt x="19434" y="378"/>
                  </a:lnTo>
                  <a:lnTo>
                    <a:pt x="19434" y="567"/>
                  </a:lnTo>
                  <a:lnTo>
                    <a:pt x="19151" y="567"/>
                  </a:lnTo>
                  <a:lnTo>
                    <a:pt x="19151" y="190"/>
                  </a:lnTo>
                  <a:lnTo>
                    <a:pt x="19057" y="95"/>
                  </a:lnTo>
                  <a:lnTo>
                    <a:pt x="18963" y="95"/>
                  </a:lnTo>
                  <a:lnTo>
                    <a:pt x="18774" y="284"/>
                  </a:lnTo>
                  <a:lnTo>
                    <a:pt x="18680" y="473"/>
                  </a:lnTo>
                  <a:lnTo>
                    <a:pt x="18585" y="378"/>
                  </a:lnTo>
                  <a:lnTo>
                    <a:pt x="18491" y="190"/>
                  </a:lnTo>
                  <a:lnTo>
                    <a:pt x="18397" y="378"/>
                  </a:lnTo>
                  <a:lnTo>
                    <a:pt x="17925" y="567"/>
                  </a:lnTo>
                  <a:lnTo>
                    <a:pt x="18019" y="284"/>
                  </a:lnTo>
                  <a:lnTo>
                    <a:pt x="17831" y="378"/>
                  </a:lnTo>
                  <a:lnTo>
                    <a:pt x="17642" y="567"/>
                  </a:lnTo>
                  <a:lnTo>
                    <a:pt x="17642" y="661"/>
                  </a:lnTo>
                  <a:lnTo>
                    <a:pt x="17453" y="567"/>
                  </a:lnTo>
                  <a:lnTo>
                    <a:pt x="17170" y="473"/>
                  </a:lnTo>
                  <a:lnTo>
                    <a:pt x="16699" y="473"/>
                  </a:lnTo>
                  <a:lnTo>
                    <a:pt x="16699" y="567"/>
                  </a:lnTo>
                  <a:lnTo>
                    <a:pt x="16604" y="661"/>
                  </a:lnTo>
                  <a:lnTo>
                    <a:pt x="16416" y="378"/>
                  </a:lnTo>
                  <a:lnTo>
                    <a:pt x="16227" y="378"/>
                  </a:lnTo>
                  <a:lnTo>
                    <a:pt x="15661" y="661"/>
                  </a:lnTo>
                  <a:lnTo>
                    <a:pt x="15661" y="473"/>
                  </a:lnTo>
                  <a:lnTo>
                    <a:pt x="15567" y="756"/>
                  </a:lnTo>
                  <a:lnTo>
                    <a:pt x="15378" y="473"/>
                  </a:lnTo>
                  <a:lnTo>
                    <a:pt x="15567" y="473"/>
                  </a:lnTo>
                  <a:lnTo>
                    <a:pt x="15472" y="378"/>
                  </a:lnTo>
                  <a:lnTo>
                    <a:pt x="15378" y="378"/>
                  </a:lnTo>
                  <a:lnTo>
                    <a:pt x="15189" y="473"/>
                  </a:lnTo>
                  <a:lnTo>
                    <a:pt x="15000" y="756"/>
                  </a:lnTo>
                  <a:lnTo>
                    <a:pt x="14906" y="661"/>
                  </a:lnTo>
                  <a:lnTo>
                    <a:pt x="14812" y="473"/>
                  </a:lnTo>
                  <a:lnTo>
                    <a:pt x="14529" y="756"/>
                  </a:lnTo>
                  <a:lnTo>
                    <a:pt x="14623" y="567"/>
                  </a:lnTo>
                  <a:lnTo>
                    <a:pt x="14529" y="661"/>
                  </a:lnTo>
                  <a:lnTo>
                    <a:pt x="14340" y="756"/>
                  </a:lnTo>
                  <a:lnTo>
                    <a:pt x="14340" y="567"/>
                  </a:lnTo>
                  <a:lnTo>
                    <a:pt x="14246" y="473"/>
                  </a:lnTo>
                  <a:lnTo>
                    <a:pt x="13963" y="378"/>
                  </a:lnTo>
                  <a:lnTo>
                    <a:pt x="13585" y="284"/>
                  </a:lnTo>
                  <a:lnTo>
                    <a:pt x="13302" y="284"/>
                  </a:lnTo>
                  <a:lnTo>
                    <a:pt x="13302" y="378"/>
                  </a:lnTo>
                  <a:lnTo>
                    <a:pt x="13302" y="473"/>
                  </a:lnTo>
                  <a:lnTo>
                    <a:pt x="13208" y="473"/>
                  </a:lnTo>
                  <a:lnTo>
                    <a:pt x="13208" y="661"/>
                  </a:lnTo>
                  <a:lnTo>
                    <a:pt x="13114" y="661"/>
                  </a:lnTo>
                  <a:lnTo>
                    <a:pt x="13019" y="567"/>
                  </a:lnTo>
                  <a:lnTo>
                    <a:pt x="12925" y="378"/>
                  </a:lnTo>
                  <a:lnTo>
                    <a:pt x="12831" y="95"/>
                  </a:lnTo>
                  <a:lnTo>
                    <a:pt x="12831" y="378"/>
                  </a:lnTo>
                  <a:lnTo>
                    <a:pt x="12736" y="378"/>
                  </a:lnTo>
                  <a:lnTo>
                    <a:pt x="12642" y="284"/>
                  </a:lnTo>
                  <a:lnTo>
                    <a:pt x="12548" y="190"/>
                  </a:lnTo>
                  <a:lnTo>
                    <a:pt x="12265" y="190"/>
                  </a:lnTo>
                  <a:lnTo>
                    <a:pt x="12170" y="473"/>
                  </a:lnTo>
                  <a:lnTo>
                    <a:pt x="12076" y="378"/>
                  </a:lnTo>
                  <a:lnTo>
                    <a:pt x="11887" y="284"/>
                  </a:lnTo>
                  <a:lnTo>
                    <a:pt x="11510" y="378"/>
                  </a:lnTo>
                  <a:lnTo>
                    <a:pt x="10755" y="661"/>
                  </a:lnTo>
                  <a:lnTo>
                    <a:pt x="10661" y="473"/>
                  </a:lnTo>
                  <a:lnTo>
                    <a:pt x="10567" y="378"/>
                  </a:lnTo>
                  <a:lnTo>
                    <a:pt x="10095" y="378"/>
                  </a:lnTo>
                  <a:lnTo>
                    <a:pt x="9529" y="473"/>
                  </a:lnTo>
                  <a:lnTo>
                    <a:pt x="9340" y="473"/>
                  </a:lnTo>
                  <a:lnTo>
                    <a:pt x="9152" y="378"/>
                  </a:lnTo>
                  <a:lnTo>
                    <a:pt x="9152" y="473"/>
                  </a:lnTo>
                  <a:lnTo>
                    <a:pt x="9152" y="567"/>
                  </a:lnTo>
                  <a:lnTo>
                    <a:pt x="8963" y="661"/>
                  </a:lnTo>
                  <a:lnTo>
                    <a:pt x="8869" y="567"/>
                  </a:lnTo>
                  <a:lnTo>
                    <a:pt x="8680" y="473"/>
                  </a:lnTo>
                  <a:lnTo>
                    <a:pt x="8680" y="756"/>
                  </a:lnTo>
                  <a:lnTo>
                    <a:pt x="8491" y="661"/>
                  </a:lnTo>
                  <a:lnTo>
                    <a:pt x="8208" y="567"/>
                  </a:lnTo>
                  <a:lnTo>
                    <a:pt x="7925" y="661"/>
                  </a:lnTo>
                  <a:lnTo>
                    <a:pt x="7831" y="756"/>
                  </a:lnTo>
                  <a:lnTo>
                    <a:pt x="7548" y="567"/>
                  </a:lnTo>
                  <a:lnTo>
                    <a:pt x="7359" y="473"/>
                  </a:lnTo>
                  <a:lnTo>
                    <a:pt x="7170" y="944"/>
                  </a:lnTo>
                  <a:lnTo>
                    <a:pt x="6982" y="661"/>
                  </a:lnTo>
                  <a:lnTo>
                    <a:pt x="6793" y="661"/>
                  </a:lnTo>
                  <a:lnTo>
                    <a:pt x="6604" y="756"/>
                  </a:lnTo>
                  <a:lnTo>
                    <a:pt x="6510" y="661"/>
                  </a:lnTo>
                  <a:lnTo>
                    <a:pt x="6416" y="756"/>
                  </a:lnTo>
                  <a:lnTo>
                    <a:pt x="6038" y="944"/>
                  </a:lnTo>
                  <a:lnTo>
                    <a:pt x="6038" y="1039"/>
                  </a:lnTo>
                  <a:lnTo>
                    <a:pt x="5850" y="1133"/>
                  </a:lnTo>
                  <a:lnTo>
                    <a:pt x="5850" y="1039"/>
                  </a:lnTo>
                  <a:lnTo>
                    <a:pt x="5755" y="1039"/>
                  </a:lnTo>
                  <a:lnTo>
                    <a:pt x="5567" y="1227"/>
                  </a:lnTo>
                  <a:lnTo>
                    <a:pt x="5472" y="1227"/>
                  </a:lnTo>
                  <a:lnTo>
                    <a:pt x="5378" y="1039"/>
                  </a:lnTo>
                  <a:lnTo>
                    <a:pt x="5378" y="1133"/>
                  </a:lnTo>
                  <a:lnTo>
                    <a:pt x="5189" y="1227"/>
                  </a:lnTo>
                  <a:lnTo>
                    <a:pt x="5095" y="1133"/>
                  </a:lnTo>
                  <a:lnTo>
                    <a:pt x="4906" y="1039"/>
                  </a:lnTo>
                  <a:lnTo>
                    <a:pt x="5189" y="1039"/>
                  </a:lnTo>
                  <a:lnTo>
                    <a:pt x="5095" y="944"/>
                  </a:lnTo>
                  <a:lnTo>
                    <a:pt x="5095" y="756"/>
                  </a:lnTo>
                  <a:lnTo>
                    <a:pt x="5001" y="944"/>
                  </a:lnTo>
                  <a:lnTo>
                    <a:pt x="4529" y="944"/>
                  </a:lnTo>
                  <a:lnTo>
                    <a:pt x="4529" y="1133"/>
                  </a:lnTo>
                  <a:lnTo>
                    <a:pt x="4718" y="1133"/>
                  </a:lnTo>
                  <a:lnTo>
                    <a:pt x="4623" y="1227"/>
                  </a:lnTo>
                  <a:lnTo>
                    <a:pt x="4623" y="1133"/>
                  </a:lnTo>
                  <a:lnTo>
                    <a:pt x="4529" y="1416"/>
                  </a:lnTo>
                  <a:lnTo>
                    <a:pt x="4340" y="1227"/>
                  </a:lnTo>
                  <a:lnTo>
                    <a:pt x="4152" y="1039"/>
                  </a:lnTo>
                  <a:lnTo>
                    <a:pt x="3963" y="1039"/>
                  </a:lnTo>
                  <a:lnTo>
                    <a:pt x="3774" y="1416"/>
                  </a:lnTo>
                  <a:lnTo>
                    <a:pt x="3774" y="1322"/>
                  </a:lnTo>
                  <a:lnTo>
                    <a:pt x="3774" y="1227"/>
                  </a:lnTo>
                  <a:lnTo>
                    <a:pt x="3680" y="1322"/>
                  </a:lnTo>
                  <a:lnTo>
                    <a:pt x="3586" y="1510"/>
                  </a:lnTo>
                  <a:lnTo>
                    <a:pt x="3208" y="1416"/>
                  </a:lnTo>
                  <a:lnTo>
                    <a:pt x="2454" y="1416"/>
                  </a:lnTo>
                  <a:lnTo>
                    <a:pt x="1793" y="1510"/>
                  </a:lnTo>
                  <a:lnTo>
                    <a:pt x="1510" y="1605"/>
                  </a:lnTo>
                  <a:lnTo>
                    <a:pt x="1321" y="1699"/>
                  </a:lnTo>
                  <a:lnTo>
                    <a:pt x="1321" y="1605"/>
                  </a:lnTo>
                  <a:lnTo>
                    <a:pt x="1038" y="1699"/>
                  </a:lnTo>
                  <a:lnTo>
                    <a:pt x="755" y="1793"/>
                  </a:lnTo>
                  <a:lnTo>
                    <a:pt x="567" y="1793"/>
                  </a:lnTo>
                  <a:lnTo>
                    <a:pt x="378" y="1888"/>
                  </a:lnTo>
                  <a:lnTo>
                    <a:pt x="284" y="1699"/>
                  </a:lnTo>
                  <a:lnTo>
                    <a:pt x="95" y="1605"/>
                  </a:lnTo>
                  <a:lnTo>
                    <a:pt x="1" y="1793"/>
                  </a:lnTo>
                  <a:lnTo>
                    <a:pt x="1" y="2076"/>
                  </a:lnTo>
                  <a:lnTo>
                    <a:pt x="95" y="2548"/>
                  </a:lnTo>
                  <a:lnTo>
                    <a:pt x="189" y="2831"/>
                  </a:lnTo>
                  <a:lnTo>
                    <a:pt x="284" y="2737"/>
                  </a:lnTo>
                  <a:lnTo>
                    <a:pt x="472" y="2831"/>
                  </a:lnTo>
                  <a:lnTo>
                    <a:pt x="567" y="2548"/>
                  </a:lnTo>
                  <a:lnTo>
                    <a:pt x="661" y="2642"/>
                  </a:lnTo>
                  <a:lnTo>
                    <a:pt x="661" y="2737"/>
                  </a:lnTo>
                  <a:lnTo>
                    <a:pt x="755" y="2642"/>
                  </a:lnTo>
                  <a:lnTo>
                    <a:pt x="944" y="2548"/>
                  </a:lnTo>
                  <a:lnTo>
                    <a:pt x="1227" y="2548"/>
                  </a:lnTo>
                  <a:lnTo>
                    <a:pt x="1227" y="2642"/>
                  </a:lnTo>
                  <a:lnTo>
                    <a:pt x="1321" y="2737"/>
                  </a:lnTo>
                  <a:lnTo>
                    <a:pt x="1416" y="2831"/>
                  </a:lnTo>
                  <a:lnTo>
                    <a:pt x="1510" y="2642"/>
                  </a:lnTo>
                  <a:lnTo>
                    <a:pt x="1793" y="2548"/>
                  </a:lnTo>
                  <a:lnTo>
                    <a:pt x="1699" y="2642"/>
                  </a:lnTo>
                  <a:lnTo>
                    <a:pt x="1887" y="2737"/>
                  </a:lnTo>
                  <a:lnTo>
                    <a:pt x="1887" y="2454"/>
                  </a:lnTo>
                  <a:lnTo>
                    <a:pt x="1982" y="2265"/>
                  </a:lnTo>
                  <a:lnTo>
                    <a:pt x="2076" y="2737"/>
                  </a:lnTo>
                  <a:lnTo>
                    <a:pt x="2171" y="2359"/>
                  </a:lnTo>
                  <a:lnTo>
                    <a:pt x="2265" y="2642"/>
                  </a:lnTo>
                  <a:lnTo>
                    <a:pt x="2265" y="2548"/>
                  </a:lnTo>
                  <a:lnTo>
                    <a:pt x="2359" y="2454"/>
                  </a:lnTo>
                  <a:lnTo>
                    <a:pt x="2454" y="2548"/>
                  </a:lnTo>
                  <a:lnTo>
                    <a:pt x="2454" y="2737"/>
                  </a:lnTo>
                  <a:lnTo>
                    <a:pt x="2548" y="2548"/>
                  </a:lnTo>
                  <a:lnTo>
                    <a:pt x="2548" y="2454"/>
                  </a:lnTo>
                  <a:lnTo>
                    <a:pt x="2642" y="2548"/>
                  </a:lnTo>
                  <a:lnTo>
                    <a:pt x="2642" y="2642"/>
                  </a:lnTo>
                  <a:lnTo>
                    <a:pt x="2831" y="2454"/>
                  </a:lnTo>
                  <a:lnTo>
                    <a:pt x="3020" y="2454"/>
                  </a:lnTo>
                  <a:lnTo>
                    <a:pt x="3114" y="2265"/>
                  </a:lnTo>
                  <a:lnTo>
                    <a:pt x="3114" y="2076"/>
                  </a:lnTo>
                  <a:lnTo>
                    <a:pt x="3208" y="1982"/>
                  </a:lnTo>
                  <a:lnTo>
                    <a:pt x="3208" y="2076"/>
                  </a:lnTo>
                  <a:lnTo>
                    <a:pt x="3208" y="2265"/>
                  </a:lnTo>
                  <a:lnTo>
                    <a:pt x="3303" y="2076"/>
                  </a:lnTo>
                  <a:lnTo>
                    <a:pt x="3491" y="2076"/>
                  </a:lnTo>
                  <a:lnTo>
                    <a:pt x="3491" y="2171"/>
                  </a:lnTo>
                  <a:lnTo>
                    <a:pt x="3397" y="2265"/>
                  </a:lnTo>
                  <a:lnTo>
                    <a:pt x="3303" y="2359"/>
                  </a:lnTo>
                  <a:lnTo>
                    <a:pt x="3303" y="2548"/>
                  </a:lnTo>
                  <a:lnTo>
                    <a:pt x="3491" y="2548"/>
                  </a:lnTo>
                  <a:lnTo>
                    <a:pt x="3586" y="2454"/>
                  </a:lnTo>
                  <a:lnTo>
                    <a:pt x="3680" y="2265"/>
                  </a:lnTo>
                  <a:lnTo>
                    <a:pt x="4152" y="2265"/>
                  </a:lnTo>
                  <a:lnTo>
                    <a:pt x="4152" y="2359"/>
                  </a:lnTo>
                  <a:lnTo>
                    <a:pt x="4246" y="2171"/>
                  </a:lnTo>
                  <a:lnTo>
                    <a:pt x="4340" y="2171"/>
                  </a:lnTo>
                  <a:lnTo>
                    <a:pt x="4246" y="2265"/>
                  </a:lnTo>
                  <a:lnTo>
                    <a:pt x="5284" y="2265"/>
                  </a:lnTo>
                  <a:lnTo>
                    <a:pt x="5567" y="2171"/>
                  </a:lnTo>
                  <a:lnTo>
                    <a:pt x="5755" y="2171"/>
                  </a:lnTo>
                  <a:lnTo>
                    <a:pt x="5755" y="2076"/>
                  </a:lnTo>
                  <a:lnTo>
                    <a:pt x="6416" y="2076"/>
                  </a:lnTo>
                  <a:lnTo>
                    <a:pt x="6510" y="1888"/>
                  </a:lnTo>
                  <a:lnTo>
                    <a:pt x="6604" y="1888"/>
                  </a:lnTo>
                  <a:lnTo>
                    <a:pt x="7170" y="1982"/>
                  </a:lnTo>
                  <a:lnTo>
                    <a:pt x="7453" y="1888"/>
                  </a:lnTo>
                  <a:lnTo>
                    <a:pt x="7548" y="1888"/>
                  </a:lnTo>
                  <a:lnTo>
                    <a:pt x="7642" y="1699"/>
                  </a:lnTo>
                  <a:lnTo>
                    <a:pt x="7736" y="1888"/>
                  </a:lnTo>
                  <a:lnTo>
                    <a:pt x="7925" y="2076"/>
                  </a:lnTo>
                  <a:lnTo>
                    <a:pt x="8114" y="1793"/>
                  </a:lnTo>
                  <a:lnTo>
                    <a:pt x="8114" y="1982"/>
                  </a:lnTo>
                  <a:lnTo>
                    <a:pt x="8208" y="1793"/>
                  </a:lnTo>
                  <a:lnTo>
                    <a:pt x="8302" y="1982"/>
                  </a:lnTo>
                  <a:lnTo>
                    <a:pt x="8302" y="1888"/>
                  </a:lnTo>
                  <a:lnTo>
                    <a:pt x="8302" y="1793"/>
                  </a:lnTo>
                  <a:lnTo>
                    <a:pt x="8491" y="1793"/>
                  </a:lnTo>
                  <a:lnTo>
                    <a:pt x="8585" y="1888"/>
                  </a:lnTo>
                  <a:lnTo>
                    <a:pt x="8774" y="1793"/>
                  </a:lnTo>
                  <a:lnTo>
                    <a:pt x="8774" y="1982"/>
                  </a:lnTo>
                  <a:lnTo>
                    <a:pt x="8869" y="1888"/>
                  </a:lnTo>
                  <a:lnTo>
                    <a:pt x="9718" y="1888"/>
                  </a:lnTo>
                  <a:lnTo>
                    <a:pt x="9623" y="1793"/>
                  </a:lnTo>
                  <a:lnTo>
                    <a:pt x="9718" y="1605"/>
                  </a:lnTo>
                  <a:lnTo>
                    <a:pt x="9812" y="1699"/>
                  </a:lnTo>
                  <a:lnTo>
                    <a:pt x="9812" y="1793"/>
                  </a:lnTo>
                  <a:lnTo>
                    <a:pt x="9906" y="1888"/>
                  </a:lnTo>
                  <a:lnTo>
                    <a:pt x="10095" y="1982"/>
                  </a:lnTo>
                  <a:lnTo>
                    <a:pt x="10661" y="1793"/>
                  </a:lnTo>
                  <a:lnTo>
                    <a:pt x="11038" y="1510"/>
                  </a:lnTo>
                  <a:lnTo>
                    <a:pt x="11133" y="1699"/>
                  </a:lnTo>
                  <a:lnTo>
                    <a:pt x="11321" y="1699"/>
                  </a:lnTo>
                  <a:lnTo>
                    <a:pt x="11510" y="1605"/>
                  </a:lnTo>
                  <a:lnTo>
                    <a:pt x="11604" y="1416"/>
                  </a:lnTo>
                  <a:lnTo>
                    <a:pt x="11982" y="1605"/>
                  </a:lnTo>
                  <a:lnTo>
                    <a:pt x="12453" y="1699"/>
                  </a:lnTo>
                  <a:lnTo>
                    <a:pt x="12642" y="1510"/>
                  </a:lnTo>
                  <a:lnTo>
                    <a:pt x="12642" y="1699"/>
                  </a:lnTo>
                  <a:lnTo>
                    <a:pt x="12925" y="1510"/>
                  </a:lnTo>
                  <a:lnTo>
                    <a:pt x="13208" y="1510"/>
                  </a:lnTo>
                  <a:lnTo>
                    <a:pt x="14057" y="1699"/>
                  </a:lnTo>
                  <a:lnTo>
                    <a:pt x="14434" y="1793"/>
                  </a:lnTo>
                  <a:lnTo>
                    <a:pt x="14812" y="1793"/>
                  </a:lnTo>
                  <a:lnTo>
                    <a:pt x="15095" y="1699"/>
                  </a:lnTo>
                  <a:lnTo>
                    <a:pt x="15378" y="1510"/>
                  </a:lnTo>
                  <a:lnTo>
                    <a:pt x="15472" y="1416"/>
                  </a:lnTo>
                  <a:lnTo>
                    <a:pt x="15472" y="1510"/>
                  </a:lnTo>
                  <a:lnTo>
                    <a:pt x="15472" y="1699"/>
                  </a:lnTo>
                  <a:lnTo>
                    <a:pt x="16416" y="1510"/>
                  </a:lnTo>
                  <a:lnTo>
                    <a:pt x="16416" y="1605"/>
                  </a:lnTo>
                  <a:lnTo>
                    <a:pt x="16510" y="1605"/>
                  </a:lnTo>
                  <a:lnTo>
                    <a:pt x="16604" y="1510"/>
                  </a:lnTo>
                  <a:lnTo>
                    <a:pt x="17642" y="1510"/>
                  </a:lnTo>
                  <a:lnTo>
                    <a:pt x="17736" y="1605"/>
                  </a:lnTo>
                  <a:lnTo>
                    <a:pt x="17831" y="1605"/>
                  </a:lnTo>
                  <a:lnTo>
                    <a:pt x="18397" y="1510"/>
                  </a:lnTo>
                  <a:lnTo>
                    <a:pt x="19057" y="1322"/>
                  </a:lnTo>
                  <a:lnTo>
                    <a:pt x="18774" y="1605"/>
                  </a:lnTo>
                  <a:lnTo>
                    <a:pt x="19151" y="1322"/>
                  </a:lnTo>
                  <a:lnTo>
                    <a:pt x="19340" y="1322"/>
                  </a:lnTo>
                  <a:lnTo>
                    <a:pt x="19340" y="1510"/>
                  </a:lnTo>
                  <a:lnTo>
                    <a:pt x="19529" y="1416"/>
                  </a:lnTo>
                  <a:lnTo>
                    <a:pt x="19906" y="1416"/>
                  </a:lnTo>
                  <a:lnTo>
                    <a:pt x="20000" y="1322"/>
                  </a:lnTo>
                  <a:lnTo>
                    <a:pt x="20095" y="944"/>
                  </a:lnTo>
                  <a:lnTo>
                    <a:pt x="20095" y="1133"/>
                  </a:lnTo>
                  <a:lnTo>
                    <a:pt x="20189" y="1227"/>
                  </a:lnTo>
                  <a:lnTo>
                    <a:pt x="20189" y="1416"/>
                  </a:lnTo>
                  <a:lnTo>
                    <a:pt x="20283" y="1322"/>
                  </a:lnTo>
                  <a:lnTo>
                    <a:pt x="20378" y="1322"/>
                  </a:lnTo>
                  <a:lnTo>
                    <a:pt x="20378" y="1416"/>
                  </a:lnTo>
                  <a:lnTo>
                    <a:pt x="20661" y="1227"/>
                  </a:lnTo>
                  <a:lnTo>
                    <a:pt x="20944" y="1133"/>
                  </a:lnTo>
                  <a:lnTo>
                    <a:pt x="21038" y="1133"/>
                  </a:lnTo>
                  <a:lnTo>
                    <a:pt x="21132" y="1416"/>
                  </a:lnTo>
                  <a:lnTo>
                    <a:pt x="21604" y="1227"/>
                  </a:lnTo>
                  <a:lnTo>
                    <a:pt x="21510" y="1039"/>
                  </a:lnTo>
                  <a:lnTo>
                    <a:pt x="21510" y="944"/>
                  </a:lnTo>
                  <a:lnTo>
                    <a:pt x="21698" y="944"/>
                  </a:lnTo>
                  <a:lnTo>
                    <a:pt x="21604" y="1039"/>
                  </a:lnTo>
                  <a:lnTo>
                    <a:pt x="21982" y="1039"/>
                  </a:lnTo>
                  <a:lnTo>
                    <a:pt x="21887" y="1227"/>
                  </a:lnTo>
                  <a:lnTo>
                    <a:pt x="21887" y="1227"/>
                  </a:lnTo>
                  <a:lnTo>
                    <a:pt x="22170" y="1039"/>
                  </a:lnTo>
                  <a:lnTo>
                    <a:pt x="22265" y="1227"/>
                  </a:lnTo>
                  <a:lnTo>
                    <a:pt x="22265" y="1133"/>
                  </a:lnTo>
                  <a:lnTo>
                    <a:pt x="22265" y="1039"/>
                  </a:lnTo>
                  <a:lnTo>
                    <a:pt x="22548" y="1039"/>
                  </a:lnTo>
                  <a:lnTo>
                    <a:pt x="22642" y="1322"/>
                  </a:lnTo>
                  <a:lnTo>
                    <a:pt x="23019" y="1227"/>
                  </a:lnTo>
                  <a:lnTo>
                    <a:pt x="23208" y="1133"/>
                  </a:lnTo>
                  <a:lnTo>
                    <a:pt x="23302" y="1039"/>
                  </a:lnTo>
                  <a:lnTo>
                    <a:pt x="23397" y="1133"/>
                  </a:lnTo>
                  <a:lnTo>
                    <a:pt x="23397" y="1227"/>
                  </a:lnTo>
                  <a:lnTo>
                    <a:pt x="23680" y="1227"/>
                  </a:lnTo>
                  <a:lnTo>
                    <a:pt x="23868" y="1133"/>
                  </a:lnTo>
                  <a:lnTo>
                    <a:pt x="24057" y="1227"/>
                  </a:lnTo>
                  <a:lnTo>
                    <a:pt x="24246" y="1227"/>
                  </a:lnTo>
                  <a:lnTo>
                    <a:pt x="24246" y="1133"/>
                  </a:lnTo>
                  <a:lnTo>
                    <a:pt x="24529" y="1227"/>
                  </a:lnTo>
                  <a:lnTo>
                    <a:pt x="24906" y="1322"/>
                  </a:lnTo>
                  <a:lnTo>
                    <a:pt x="25179" y="1048"/>
                  </a:lnTo>
                  <a:lnTo>
                    <a:pt x="25095" y="1133"/>
                  </a:lnTo>
                  <a:lnTo>
                    <a:pt x="25189" y="1227"/>
                  </a:lnTo>
                  <a:lnTo>
                    <a:pt x="25189" y="1133"/>
                  </a:lnTo>
                  <a:lnTo>
                    <a:pt x="25283" y="1039"/>
                  </a:lnTo>
                  <a:lnTo>
                    <a:pt x="25378" y="944"/>
                  </a:lnTo>
                  <a:lnTo>
                    <a:pt x="25472" y="944"/>
                  </a:lnTo>
                  <a:lnTo>
                    <a:pt x="25472" y="1133"/>
                  </a:lnTo>
                  <a:lnTo>
                    <a:pt x="25566" y="1039"/>
                  </a:lnTo>
                  <a:lnTo>
                    <a:pt x="25661" y="1039"/>
                  </a:lnTo>
                  <a:lnTo>
                    <a:pt x="25566" y="1133"/>
                  </a:lnTo>
                  <a:lnTo>
                    <a:pt x="25661" y="1227"/>
                  </a:lnTo>
                  <a:lnTo>
                    <a:pt x="25849" y="1322"/>
                  </a:lnTo>
                  <a:lnTo>
                    <a:pt x="25944" y="1133"/>
                  </a:lnTo>
                  <a:lnTo>
                    <a:pt x="26132" y="1039"/>
                  </a:lnTo>
                  <a:lnTo>
                    <a:pt x="26132" y="1039"/>
                  </a:lnTo>
                  <a:lnTo>
                    <a:pt x="26038" y="1227"/>
                  </a:lnTo>
                  <a:lnTo>
                    <a:pt x="26132" y="1322"/>
                  </a:lnTo>
                  <a:lnTo>
                    <a:pt x="26321" y="1416"/>
                  </a:lnTo>
                  <a:lnTo>
                    <a:pt x="26415" y="1416"/>
                  </a:lnTo>
                  <a:lnTo>
                    <a:pt x="26887" y="1227"/>
                  </a:lnTo>
                  <a:lnTo>
                    <a:pt x="27264" y="944"/>
                  </a:lnTo>
                  <a:lnTo>
                    <a:pt x="27170" y="944"/>
                  </a:lnTo>
                  <a:lnTo>
                    <a:pt x="27264" y="850"/>
                  </a:lnTo>
                  <a:lnTo>
                    <a:pt x="26981" y="756"/>
                  </a:lnTo>
                  <a:lnTo>
                    <a:pt x="26887" y="944"/>
                  </a:lnTo>
                  <a:lnTo>
                    <a:pt x="26793" y="1133"/>
                  </a:lnTo>
                  <a:lnTo>
                    <a:pt x="26793" y="661"/>
                  </a:lnTo>
                  <a:lnTo>
                    <a:pt x="26604" y="944"/>
                  </a:lnTo>
                  <a:lnTo>
                    <a:pt x="26510" y="850"/>
                  </a:lnTo>
                  <a:lnTo>
                    <a:pt x="26415" y="756"/>
                  </a:lnTo>
                  <a:lnTo>
                    <a:pt x="26321" y="944"/>
                  </a:lnTo>
                  <a:lnTo>
                    <a:pt x="26227" y="661"/>
                  </a:lnTo>
                  <a:lnTo>
                    <a:pt x="26038" y="756"/>
                  </a:lnTo>
                  <a:lnTo>
                    <a:pt x="25849" y="661"/>
                  </a:lnTo>
                  <a:lnTo>
                    <a:pt x="25378" y="567"/>
                  </a:lnTo>
                  <a:lnTo>
                    <a:pt x="25283" y="661"/>
                  </a:lnTo>
                  <a:lnTo>
                    <a:pt x="25095" y="756"/>
                  </a:lnTo>
                  <a:lnTo>
                    <a:pt x="25189" y="473"/>
                  </a:lnTo>
                  <a:lnTo>
                    <a:pt x="25000" y="661"/>
                  </a:lnTo>
                  <a:lnTo>
                    <a:pt x="25000" y="661"/>
                  </a:lnTo>
                  <a:lnTo>
                    <a:pt x="25095" y="473"/>
                  </a:lnTo>
                  <a:lnTo>
                    <a:pt x="24906" y="567"/>
                  </a:lnTo>
                  <a:lnTo>
                    <a:pt x="24717" y="567"/>
                  </a:lnTo>
                  <a:lnTo>
                    <a:pt x="24717" y="756"/>
                  </a:lnTo>
                  <a:lnTo>
                    <a:pt x="24623" y="1039"/>
                  </a:lnTo>
                  <a:lnTo>
                    <a:pt x="24623" y="850"/>
                  </a:lnTo>
                  <a:lnTo>
                    <a:pt x="24717" y="661"/>
                  </a:lnTo>
                  <a:lnTo>
                    <a:pt x="24623" y="756"/>
                  </a:lnTo>
                  <a:lnTo>
                    <a:pt x="24623" y="661"/>
                  </a:lnTo>
                  <a:lnTo>
                    <a:pt x="24529" y="473"/>
                  </a:lnTo>
                  <a:lnTo>
                    <a:pt x="24529" y="661"/>
                  </a:lnTo>
                  <a:lnTo>
                    <a:pt x="24434" y="567"/>
                  </a:lnTo>
                  <a:lnTo>
                    <a:pt x="24340" y="378"/>
                  </a:lnTo>
                  <a:lnTo>
                    <a:pt x="24246" y="567"/>
                  </a:lnTo>
                  <a:lnTo>
                    <a:pt x="23963" y="567"/>
                  </a:lnTo>
                  <a:lnTo>
                    <a:pt x="23397" y="661"/>
                  </a:lnTo>
                  <a:lnTo>
                    <a:pt x="23114" y="661"/>
                  </a:lnTo>
                  <a:lnTo>
                    <a:pt x="22925" y="567"/>
                  </a:lnTo>
                  <a:lnTo>
                    <a:pt x="22925" y="473"/>
                  </a:lnTo>
                  <a:lnTo>
                    <a:pt x="23019" y="473"/>
                  </a:lnTo>
                  <a:lnTo>
                    <a:pt x="22642" y="378"/>
                  </a:lnTo>
                  <a:lnTo>
                    <a:pt x="22736" y="473"/>
                  </a:lnTo>
                  <a:lnTo>
                    <a:pt x="22548" y="473"/>
                  </a:lnTo>
                  <a:lnTo>
                    <a:pt x="22642" y="284"/>
                  </a:lnTo>
                  <a:lnTo>
                    <a:pt x="22548" y="190"/>
                  </a:lnTo>
                  <a:lnTo>
                    <a:pt x="22453" y="190"/>
                  </a:lnTo>
                  <a:lnTo>
                    <a:pt x="22359" y="284"/>
                  </a:lnTo>
                  <a:lnTo>
                    <a:pt x="22170" y="378"/>
                  </a:lnTo>
                  <a:lnTo>
                    <a:pt x="22076" y="284"/>
                  </a:lnTo>
                  <a:lnTo>
                    <a:pt x="22170" y="473"/>
                  </a:lnTo>
                  <a:lnTo>
                    <a:pt x="21887" y="190"/>
                  </a:lnTo>
                  <a:lnTo>
                    <a:pt x="21793" y="190"/>
                  </a:lnTo>
                  <a:lnTo>
                    <a:pt x="21698" y="378"/>
                  </a:lnTo>
                  <a:lnTo>
                    <a:pt x="21604" y="756"/>
                  </a:lnTo>
                  <a:lnTo>
                    <a:pt x="21415" y="661"/>
                  </a:lnTo>
                  <a:lnTo>
                    <a:pt x="21510" y="473"/>
                  </a:lnTo>
                  <a:lnTo>
                    <a:pt x="21604" y="284"/>
                  </a:lnTo>
                  <a:lnTo>
                    <a:pt x="21415" y="284"/>
                  </a:lnTo>
                  <a:lnTo>
                    <a:pt x="21415" y="190"/>
                  </a:lnTo>
                  <a:lnTo>
                    <a:pt x="21227" y="378"/>
                  </a:lnTo>
                  <a:lnTo>
                    <a:pt x="20944" y="567"/>
                  </a:lnTo>
                  <a:lnTo>
                    <a:pt x="20566" y="1"/>
                  </a:lnTo>
                  <a:lnTo>
                    <a:pt x="20472" y="95"/>
                  </a:lnTo>
                  <a:lnTo>
                    <a:pt x="20472" y="190"/>
                  </a:lnTo>
                  <a:lnTo>
                    <a:pt x="20472" y="378"/>
                  </a:lnTo>
                  <a:lnTo>
                    <a:pt x="20283" y="284"/>
                  </a:lnTo>
                  <a:lnTo>
                    <a:pt x="20283" y="190"/>
                  </a:lnTo>
                  <a:lnTo>
                    <a:pt x="20378" y="95"/>
                  </a:lnTo>
                  <a:lnTo>
                    <a:pt x="20283" y="1"/>
                  </a:lnTo>
                  <a:close/>
                </a:path>
              </a:pathLst>
            </a:custGeom>
            <a:solidFill>
              <a:srgbClr val="0067B7">
                <a:alpha val="59000"/>
              </a:srgbClr>
            </a:solidFill>
            <a:ln>
              <a:noFill/>
            </a:ln>
          </p:spPr>
          <p:txBody>
            <a:bodyPr spcFirstLastPara="1" wrap="square" lIns="91425" tIns="91425" rIns="91425" bIns="91425" anchor="ctr" anchorCtr="0">
              <a:noAutofit/>
            </a:bodyPr>
            <a:lstStyle/>
            <a:p>
              <a:pPr marL="0" lvl="0" indent="0">
                <a:spcBef>
                  <a:spcPts val="0"/>
                </a:spcBef>
                <a:spcAft>
                  <a:spcPts val="0"/>
                </a:spcAft>
                <a:buNone/>
              </a:pPr>
              <a:endParaRPr dirty="0"/>
            </a:p>
          </p:txBody>
        </p:sp>
        <p:sp>
          <p:nvSpPr>
            <p:cNvPr id="56" name="Google Shape;238;p27">
              <a:extLst>
                <a:ext uri="{FF2B5EF4-FFF2-40B4-BE49-F238E27FC236}">
                  <a16:creationId xmlns:a16="http://schemas.microsoft.com/office/drawing/2014/main" id="{3258AF93-7255-8D42-9D61-E3797BF9C05F}"/>
                </a:ext>
              </a:extLst>
            </p:cNvPr>
            <p:cNvSpPr/>
            <p:nvPr/>
          </p:nvSpPr>
          <p:spPr>
            <a:xfrm>
              <a:off x="3940103" y="2764474"/>
              <a:ext cx="118320" cy="355541"/>
            </a:xfrm>
            <a:custGeom>
              <a:avLst/>
              <a:gdLst/>
              <a:ahLst/>
              <a:cxnLst/>
              <a:rect l="0" t="0" r="0" b="0"/>
              <a:pathLst>
                <a:path w="7171" h="8869" extrusionOk="0">
                  <a:moveTo>
                    <a:pt x="5756" y="6510"/>
                  </a:moveTo>
                  <a:lnTo>
                    <a:pt x="5756" y="6604"/>
                  </a:lnTo>
                  <a:lnTo>
                    <a:pt x="5850" y="6604"/>
                  </a:lnTo>
                  <a:lnTo>
                    <a:pt x="5756" y="6510"/>
                  </a:lnTo>
                  <a:close/>
                  <a:moveTo>
                    <a:pt x="2265" y="7925"/>
                  </a:moveTo>
                  <a:lnTo>
                    <a:pt x="2252" y="7965"/>
                  </a:lnTo>
                  <a:lnTo>
                    <a:pt x="2252" y="7965"/>
                  </a:lnTo>
                  <a:lnTo>
                    <a:pt x="2284" y="7953"/>
                  </a:lnTo>
                  <a:lnTo>
                    <a:pt x="2284" y="7953"/>
                  </a:lnTo>
                  <a:lnTo>
                    <a:pt x="2265" y="7925"/>
                  </a:lnTo>
                  <a:close/>
                  <a:moveTo>
                    <a:pt x="567" y="0"/>
                  </a:moveTo>
                  <a:lnTo>
                    <a:pt x="284" y="189"/>
                  </a:lnTo>
                  <a:lnTo>
                    <a:pt x="95" y="472"/>
                  </a:lnTo>
                  <a:lnTo>
                    <a:pt x="1" y="755"/>
                  </a:lnTo>
                  <a:lnTo>
                    <a:pt x="95" y="1038"/>
                  </a:lnTo>
                  <a:lnTo>
                    <a:pt x="190" y="1227"/>
                  </a:lnTo>
                  <a:lnTo>
                    <a:pt x="473" y="1415"/>
                  </a:lnTo>
                  <a:lnTo>
                    <a:pt x="850" y="1321"/>
                  </a:lnTo>
                  <a:lnTo>
                    <a:pt x="661" y="1604"/>
                  </a:lnTo>
                  <a:lnTo>
                    <a:pt x="756" y="1604"/>
                  </a:lnTo>
                  <a:lnTo>
                    <a:pt x="661" y="1793"/>
                  </a:lnTo>
                  <a:lnTo>
                    <a:pt x="661" y="1887"/>
                  </a:lnTo>
                  <a:lnTo>
                    <a:pt x="756" y="1793"/>
                  </a:lnTo>
                  <a:lnTo>
                    <a:pt x="1510" y="1604"/>
                  </a:lnTo>
                  <a:lnTo>
                    <a:pt x="1510" y="1604"/>
                  </a:lnTo>
                  <a:lnTo>
                    <a:pt x="1133" y="2076"/>
                  </a:lnTo>
                  <a:lnTo>
                    <a:pt x="1322" y="2453"/>
                  </a:lnTo>
                  <a:lnTo>
                    <a:pt x="1888" y="2830"/>
                  </a:lnTo>
                  <a:lnTo>
                    <a:pt x="3397" y="3774"/>
                  </a:lnTo>
                  <a:lnTo>
                    <a:pt x="5001" y="4623"/>
                  </a:lnTo>
                  <a:lnTo>
                    <a:pt x="5944" y="5095"/>
                  </a:lnTo>
                  <a:lnTo>
                    <a:pt x="5756" y="5189"/>
                  </a:lnTo>
                  <a:lnTo>
                    <a:pt x="5378" y="5378"/>
                  </a:lnTo>
                  <a:lnTo>
                    <a:pt x="5378" y="5283"/>
                  </a:lnTo>
                  <a:lnTo>
                    <a:pt x="5001" y="5661"/>
                  </a:lnTo>
                  <a:lnTo>
                    <a:pt x="4623" y="5944"/>
                  </a:lnTo>
                  <a:lnTo>
                    <a:pt x="4435" y="6321"/>
                  </a:lnTo>
                  <a:lnTo>
                    <a:pt x="4340" y="6510"/>
                  </a:lnTo>
                  <a:lnTo>
                    <a:pt x="4435" y="6698"/>
                  </a:lnTo>
                  <a:lnTo>
                    <a:pt x="4435" y="6698"/>
                  </a:lnTo>
                  <a:lnTo>
                    <a:pt x="4246" y="6415"/>
                  </a:lnTo>
                  <a:lnTo>
                    <a:pt x="4057" y="6321"/>
                  </a:lnTo>
                  <a:lnTo>
                    <a:pt x="3963" y="6415"/>
                  </a:lnTo>
                  <a:lnTo>
                    <a:pt x="3869" y="6510"/>
                  </a:lnTo>
                  <a:lnTo>
                    <a:pt x="3680" y="6887"/>
                  </a:lnTo>
                  <a:lnTo>
                    <a:pt x="3680" y="7076"/>
                  </a:lnTo>
                  <a:lnTo>
                    <a:pt x="3774" y="7076"/>
                  </a:lnTo>
                  <a:lnTo>
                    <a:pt x="3680" y="7264"/>
                  </a:lnTo>
                  <a:lnTo>
                    <a:pt x="3303" y="7453"/>
                  </a:lnTo>
                  <a:lnTo>
                    <a:pt x="2359" y="7925"/>
                  </a:lnTo>
                  <a:lnTo>
                    <a:pt x="2284" y="7953"/>
                  </a:lnTo>
                  <a:lnTo>
                    <a:pt x="2284" y="7953"/>
                  </a:lnTo>
                  <a:lnTo>
                    <a:pt x="2454" y="8208"/>
                  </a:lnTo>
                  <a:lnTo>
                    <a:pt x="2642" y="8396"/>
                  </a:lnTo>
                  <a:lnTo>
                    <a:pt x="2642" y="8302"/>
                  </a:lnTo>
                  <a:lnTo>
                    <a:pt x="2737" y="8396"/>
                  </a:lnTo>
                  <a:lnTo>
                    <a:pt x="2831" y="8113"/>
                  </a:lnTo>
                  <a:lnTo>
                    <a:pt x="2925" y="7925"/>
                  </a:lnTo>
                  <a:lnTo>
                    <a:pt x="3020" y="7830"/>
                  </a:lnTo>
                  <a:lnTo>
                    <a:pt x="3397" y="7830"/>
                  </a:lnTo>
                  <a:lnTo>
                    <a:pt x="3680" y="7736"/>
                  </a:lnTo>
                  <a:lnTo>
                    <a:pt x="3774" y="7547"/>
                  </a:lnTo>
                  <a:lnTo>
                    <a:pt x="3869" y="7264"/>
                  </a:lnTo>
                  <a:lnTo>
                    <a:pt x="4246" y="7453"/>
                  </a:lnTo>
                  <a:lnTo>
                    <a:pt x="4623" y="7642"/>
                  </a:lnTo>
                  <a:lnTo>
                    <a:pt x="4718" y="7547"/>
                  </a:lnTo>
                  <a:lnTo>
                    <a:pt x="4906" y="7359"/>
                  </a:lnTo>
                  <a:lnTo>
                    <a:pt x="5190" y="7170"/>
                  </a:lnTo>
                  <a:lnTo>
                    <a:pt x="5095" y="7076"/>
                  </a:lnTo>
                  <a:lnTo>
                    <a:pt x="4906" y="6793"/>
                  </a:lnTo>
                  <a:lnTo>
                    <a:pt x="4906" y="6793"/>
                  </a:lnTo>
                  <a:lnTo>
                    <a:pt x="5095" y="6887"/>
                  </a:lnTo>
                  <a:lnTo>
                    <a:pt x="5378" y="6793"/>
                  </a:lnTo>
                  <a:lnTo>
                    <a:pt x="5756" y="6510"/>
                  </a:lnTo>
                  <a:lnTo>
                    <a:pt x="6322" y="6132"/>
                  </a:lnTo>
                  <a:lnTo>
                    <a:pt x="6699" y="5566"/>
                  </a:lnTo>
                  <a:lnTo>
                    <a:pt x="7171" y="5095"/>
                  </a:lnTo>
                  <a:lnTo>
                    <a:pt x="7076" y="4717"/>
                  </a:lnTo>
                  <a:lnTo>
                    <a:pt x="6982" y="4434"/>
                  </a:lnTo>
                  <a:lnTo>
                    <a:pt x="6605" y="3963"/>
                  </a:lnTo>
                  <a:lnTo>
                    <a:pt x="6133" y="3491"/>
                  </a:lnTo>
                  <a:lnTo>
                    <a:pt x="5567" y="3113"/>
                  </a:lnTo>
                  <a:lnTo>
                    <a:pt x="4340" y="2547"/>
                  </a:lnTo>
                  <a:lnTo>
                    <a:pt x="3208" y="1887"/>
                  </a:lnTo>
                  <a:lnTo>
                    <a:pt x="2925" y="1698"/>
                  </a:lnTo>
                  <a:lnTo>
                    <a:pt x="2925" y="1604"/>
                  </a:lnTo>
                  <a:lnTo>
                    <a:pt x="2925" y="1510"/>
                  </a:lnTo>
                  <a:lnTo>
                    <a:pt x="2737" y="1698"/>
                  </a:lnTo>
                  <a:lnTo>
                    <a:pt x="2642" y="1698"/>
                  </a:lnTo>
                  <a:lnTo>
                    <a:pt x="2642" y="1604"/>
                  </a:lnTo>
                  <a:lnTo>
                    <a:pt x="2642" y="1510"/>
                  </a:lnTo>
                  <a:lnTo>
                    <a:pt x="2642" y="1415"/>
                  </a:lnTo>
                  <a:lnTo>
                    <a:pt x="2454" y="1604"/>
                  </a:lnTo>
                  <a:lnTo>
                    <a:pt x="2454" y="1698"/>
                  </a:lnTo>
                  <a:lnTo>
                    <a:pt x="2265" y="1887"/>
                  </a:lnTo>
                  <a:lnTo>
                    <a:pt x="2265" y="1604"/>
                  </a:lnTo>
                  <a:lnTo>
                    <a:pt x="2171" y="1415"/>
                  </a:lnTo>
                  <a:lnTo>
                    <a:pt x="1605" y="944"/>
                  </a:lnTo>
                  <a:lnTo>
                    <a:pt x="1227" y="755"/>
                  </a:lnTo>
                  <a:lnTo>
                    <a:pt x="1039" y="472"/>
                  </a:lnTo>
                  <a:lnTo>
                    <a:pt x="850" y="283"/>
                  </a:lnTo>
                  <a:lnTo>
                    <a:pt x="944" y="0"/>
                  </a:lnTo>
                  <a:close/>
                  <a:moveTo>
                    <a:pt x="2252" y="7965"/>
                  </a:moveTo>
                  <a:lnTo>
                    <a:pt x="850" y="8491"/>
                  </a:lnTo>
                  <a:lnTo>
                    <a:pt x="756" y="8491"/>
                  </a:lnTo>
                  <a:lnTo>
                    <a:pt x="756" y="8774"/>
                  </a:lnTo>
                  <a:lnTo>
                    <a:pt x="944" y="8868"/>
                  </a:lnTo>
                  <a:lnTo>
                    <a:pt x="1133" y="8868"/>
                  </a:lnTo>
                  <a:lnTo>
                    <a:pt x="1605" y="8774"/>
                  </a:lnTo>
                  <a:lnTo>
                    <a:pt x="1793" y="8679"/>
                  </a:lnTo>
                  <a:lnTo>
                    <a:pt x="2076" y="8491"/>
                  </a:lnTo>
                  <a:lnTo>
                    <a:pt x="2171" y="8208"/>
                  </a:lnTo>
                  <a:lnTo>
                    <a:pt x="2252" y="7965"/>
                  </a:lnTo>
                  <a:close/>
                </a:path>
              </a:pathLst>
            </a:custGeom>
            <a:solidFill>
              <a:srgbClr val="0067B7">
                <a:alpha val="52000"/>
              </a:srgbClr>
            </a:solidFill>
            <a:ln>
              <a:noFill/>
            </a:ln>
          </p:spPr>
          <p:txBody>
            <a:bodyPr spcFirstLastPara="1" wrap="square" lIns="91425" tIns="91425" rIns="91425" bIns="91425" anchor="ctr" anchorCtr="0">
              <a:noAutofit/>
            </a:bodyPr>
            <a:lstStyle/>
            <a:p>
              <a:pPr marL="0" lvl="0" indent="0">
                <a:spcBef>
                  <a:spcPts val="0"/>
                </a:spcBef>
                <a:spcAft>
                  <a:spcPts val="0"/>
                </a:spcAft>
                <a:buNone/>
              </a:pPr>
              <a:endParaRPr dirty="0"/>
            </a:p>
          </p:txBody>
        </p:sp>
      </p:grpSp>
      <p:sp>
        <p:nvSpPr>
          <p:cNvPr id="57" name="Rectangle 56">
            <a:extLst>
              <a:ext uri="{FF2B5EF4-FFF2-40B4-BE49-F238E27FC236}">
                <a16:creationId xmlns:a16="http://schemas.microsoft.com/office/drawing/2014/main" id="{C0C99595-5E66-964A-95C9-89572AE1D18B}"/>
              </a:ext>
            </a:extLst>
          </p:cNvPr>
          <p:cNvSpPr/>
          <p:nvPr/>
        </p:nvSpPr>
        <p:spPr>
          <a:xfrm>
            <a:off x="10084481" y="4180441"/>
            <a:ext cx="1039333" cy="28541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r>
              <a:rPr lang="en-US" sz="9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Courier New" panose="02070309020205020404" pitchFamily="49" charset="0"/>
                <a:ea typeface="Nanum Pen Script" panose="03040600000000000000" pitchFamily="66" charset="-127"/>
                <a:cs typeface="Courier New" panose="02070309020205020404" pitchFamily="49" charset="0"/>
              </a:rPr>
              <a:t>Even Hub </a:t>
            </a:r>
            <a:r>
              <a:rPr lang="en-US" sz="900" dirty="0" err="1">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Courier New" panose="02070309020205020404" pitchFamily="49" charset="0"/>
                <a:ea typeface="Nanum Pen Script" panose="03040600000000000000" pitchFamily="66" charset="-127"/>
                <a:cs typeface="Courier New" panose="02070309020205020404" pitchFamily="49" charset="0"/>
              </a:rPr>
              <a:t>CitiBanamex</a:t>
            </a:r>
            <a:endParaRPr lang="en-US" sz="9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Courier New" panose="02070309020205020404" pitchFamily="49" charset="0"/>
              <a:ea typeface="Nanum Pen Script" panose="03040600000000000000" pitchFamily="66" charset="-127"/>
              <a:cs typeface="Courier New" panose="02070309020205020404" pitchFamily="49" charset="0"/>
            </a:endParaRPr>
          </a:p>
        </p:txBody>
      </p:sp>
      <p:sp>
        <p:nvSpPr>
          <p:cNvPr id="58" name="Rectangle 57">
            <a:extLst>
              <a:ext uri="{FF2B5EF4-FFF2-40B4-BE49-F238E27FC236}">
                <a16:creationId xmlns:a16="http://schemas.microsoft.com/office/drawing/2014/main" id="{3367EDC5-FD1C-044C-8876-9535021C18A4}"/>
              </a:ext>
            </a:extLst>
          </p:cNvPr>
          <p:cNvSpPr/>
          <p:nvPr/>
        </p:nvSpPr>
        <p:spPr>
          <a:xfrm rot="20259276">
            <a:off x="4691006" y="3600841"/>
            <a:ext cx="1246127" cy="30228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r>
              <a:rPr lang="en-US" sz="1100" b="1" dirty="0">
                <a:solidFill>
                  <a:srgbClr val="035DA2"/>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Package &amp; Test</a:t>
            </a:r>
          </a:p>
        </p:txBody>
      </p:sp>
      <p:sp>
        <p:nvSpPr>
          <p:cNvPr id="59" name="Rectangle 58">
            <a:extLst>
              <a:ext uri="{FF2B5EF4-FFF2-40B4-BE49-F238E27FC236}">
                <a16:creationId xmlns:a16="http://schemas.microsoft.com/office/drawing/2014/main" id="{81D2F708-7A34-6240-BE8D-3D03BF51F152}"/>
              </a:ext>
            </a:extLst>
          </p:cNvPr>
          <p:cNvSpPr/>
          <p:nvPr/>
        </p:nvSpPr>
        <p:spPr>
          <a:xfrm rot="16200000">
            <a:off x="6016841" y="2691377"/>
            <a:ext cx="980802" cy="30228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r>
              <a:rPr lang="en-US" sz="1600" b="1" dirty="0">
                <a:solidFill>
                  <a:srgbClr val="035DA2"/>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Deploy</a:t>
            </a:r>
          </a:p>
        </p:txBody>
      </p:sp>
      <p:sp>
        <p:nvSpPr>
          <p:cNvPr id="60" name="Rectangle 59">
            <a:extLst>
              <a:ext uri="{FF2B5EF4-FFF2-40B4-BE49-F238E27FC236}">
                <a16:creationId xmlns:a16="http://schemas.microsoft.com/office/drawing/2014/main" id="{CE696A29-65A4-AC49-8D55-1EA1B978DA9F}"/>
              </a:ext>
            </a:extLst>
          </p:cNvPr>
          <p:cNvSpPr/>
          <p:nvPr/>
        </p:nvSpPr>
        <p:spPr>
          <a:xfrm rot="2336950">
            <a:off x="7952585" y="2847281"/>
            <a:ext cx="1640126" cy="30228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r>
              <a:rPr lang="en-US" sz="1200" b="1" dirty="0">
                <a:solidFill>
                  <a:srgbClr val="035DA2"/>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Download &amp; Deploy</a:t>
            </a:r>
          </a:p>
        </p:txBody>
      </p:sp>
      <p:pic>
        <p:nvPicPr>
          <p:cNvPr id="63" name="Picture 62">
            <a:extLst>
              <a:ext uri="{FF2B5EF4-FFF2-40B4-BE49-F238E27FC236}">
                <a16:creationId xmlns:a16="http://schemas.microsoft.com/office/drawing/2014/main" id="{6053BB9D-2496-2641-B3A4-B5D5D515690A}"/>
              </a:ext>
            </a:extLst>
          </p:cNvPr>
          <p:cNvPicPr>
            <a:picLocks noChangeAspect="1"/>
          </p:cNvPicPr>
          <p:nvPr/>
        </p:nvPicPr>
        <p:blipFill>
          <a:blip r:embed="rId8"/>
          <a:stretch>
            <a:fillRect/>
          </a:stretch>
        </p:blipFill>
        <p:spPr>
          <a:xfrm>
            <a:off x="9593865" y="1746159"/>
            <a:ext cx="750689" cy="641249"/>
          </a:xfrm>
          <a:prstGeom prst="rect">
            <a:avLst/>
          </a:prstGeom>
        </p:spPr>
      </p:pic>
      <p:grpSp>
        <p:nvGrpSpPr>
          <p:cNvPr id="65" name="Google Shape;236;p27">
            <a:extLst>
              <a:ext uri="{FF2B5EF4-FFF2-40B4-BE49-F238E27FC236}">
                <a16:creationId xmlns:a16="http://schemas.microsoft.com/office/drawing/2014/main" id="{CFE38905-31A4-A54B-B059-477C37DCF046}"/>
              </a:ext>
            </a:extLst>
          </p:cNvPr>
          <p:cNvGrpSpPr/>
          <p:nvPr/>
        </p:nvGrpSpPr>
        <p:grpSpPr>
          <a:xfrm rot="157637">
            <a:off x="7447688" y="1945477"/>
            <a:ext cx="2177230" cy="177360"/>
            <a:chOff x="3112554" y="2764475"/>
            <a:chExt cx="945869" cy="241667"/>
          </a:xfrm>
        </p:grpSpPr>
        <p:sp>
          <p:nvSpPr>
            <p:cNvPr id="66" name="Google Shape;237;p27">
              <a:extLst>
                <a:ext uri="{FF2B5EF4-FFF2-40B4-BE49-F238E27FC236}">
                  <a16:creationId xmlns:a16="http://schemas.microsoft.com/office/drawing/2014/main" id="{797B28D2-C106-C54E-AA81-2A62A5589B4F}"/>
                </a:ext>
              </a:extLst>
            </p:cNvPr>
            <p:cNvSpPr/>
            <p:nvPr/>
          </p:nvSpPr>
          <p:spPr>
            <a:xfrm>
              <a:off x="3112554" y="2830339"/>
              <a:ext cx="838038" cy="175803"/>
            </a:xfrm>
            <a:custGeom>
              <a:avLst/>
              <a:gdLst/>
              <a:ahLst/>
              <a:cxnLst/>
              <a:rect l="0" t="0" r="0" b="0"/>
              <a:pathLst>
                <a:path w="27831" h="2831" extrusionOk="0">
                  <a:moveTo>
                    <a:pt x="27264" y="944"/>
                  </a:moveTo>
                  <a:lnTo>
                    <a:pt x="27359" y="1086"/>
                  </a:lnTo>
                  <a:lnTo>
                    <a:pt x="27359" y="944"/>
                  </a:lnTo>
                  <a:close/>
                  <a:moveTo>
                    <a:pt x="27359" y="1086"/>
                  </a:moveTo>
                  <a:lnTo>
                    <a:pt x="27359" y="1133"/>
                  </a:lnTo>
                  <a:lnTo>
                    <a:pt x="27372" y="1106"/>
                  </a:lnTo>
                  <a:lnTo>
                    <a:pt x="27372" y="1106"/>
                  </a:lnTo>
                  <a:lnTo>
                    <a:pt x="27359" y="1086"/>
                  </a:lnTo>
                  <a:close/>
                  <a:moveTo>
                    <a:pt x="27453" y="944"/>
                  </a:moveTo>
                  <a:lnTo>
                    <a:pt x="27372" y="1106"/>
                  </a:lnTo>
                  <a:lnTo>
                    <a:pt x="27372" y="1106"/>
                  </a:lnTo>
                  <a:lnTo>
                    <a:pt x="27453" y="1227"/>
                  </a:lnTo>
                  <a:lnTo>
                    <a:pt x="27453" y="944"/>
                  </a:lnTo>
                  <a:close/>
                  <a:moveTo>
                    <a:pt x="27642" y="1039"/>
                  </a:moveTo>
                  <a:lnTo>
                    <a:pt x="27453" y="1227"/>
                  </a:lnTo>
                  <a:lnTo>
                    <a:pt x="27453" y="1322"/>
                  </a:lnTo>
                  <a:lnTo>
                    <a:pt x="27453" y="1416"/>
                  </a:lnTo>
                  <a:lnTo>
                    <a:pt x="27830" y="1416"/>
                  </a:lnTo>
                  <a:lnTo>
                    <a:pt x="27830" y="1227"/>
                  </a:lnTo>
                  <a:lnTo>
                    <a:pt x="27736" y="1322"/>
                  </a:lnTo>
                  <a:lnTo>
                    <a:pt x="27736" y="1227"/>
                  </a:lnTo>
                  <a:lnTo>
                    <a:pt x="27736" y="1133"/>
                  </a:lnTo>
                  <a:lnTo>
                    <a:pt x="27642" y="1039"/>
                  </a:lnTo>
                  <a:close/>
                  <a:moveTo>
                    <a:pt x="20189" y="1"/>
                  </a:moveTo>
                  <a:lnTo>
                    <a:pt x="20095" y="190"/>
                  </a:lnTo>
                  <a:lnTo>
                    <a:pt x="20000" y="95"/>
                  </a:lnTo>
                  <a:lnTo>
                    <a:pt x="19906" y="284"/>
                  </a:lnTo>
                  <a:lnTo>
                    <a:pt x="19812" y="473"/>
                  </a:lnTo>
                  <a:lnTo>
                    <a:pt x="19529" y="284"/>
                  </a:lnTo>
                  <a:lnTo>
                    <a:pt x="19340" y="95"/>
                  </a:lnTo>
                  <a:lnTo>
                    <a:pt x="19246" y="95"/>
                  </a:lnTo>
                  <a:lnTo>
                    <a:pt x="19246" y="190"/>
                  </a:lnTo>
                  <a:lnTo>
                    <a:pt x="19151" y="378"/>
                  </a:lnTo>
                  <a:lnTo>
                    <a:pt x="19434" y="190"/>
                  </a:lnTo>
                  <a:lnTo>
                    <a:pt x="19246" y="473"/>
                  </a:lnTo>
                  <a:lnTo>
                    <a:pt x="19434" y="378"/>
                  </a:lnTo>
                  <a:lnTo>
                    <a:pt x="19434" y="567"/>
                  </a:lnTo>
                  <a:lnTo>
                    <a:pt x="19151" y="567"/>
                  </a:lnTo>
                  <a:lnTo>
                    <a:pt x="19151" y="190"/>
                  </a:lnTo>
                  <a:lnTo>
                    <a:pt x="19057" y="95"/>
                  </a:lnTo>
                  <a:lnTo>
                    <a:pt x="18963" y="95"/>
                  </a:lnTo>
                  <a:lnTo>
                    <a:pt x="18774" y="284"/>
                  </a:lnTo>
                  <a:lnTo>
                    <a:pt x="18680" y="473"/>
                  </a:lnTo>
                  <a:lnTo>
                    <a:pt x="18585" y="378"/>
                  </a:lnTo>
                  <a:lnTo>
                    <a:pt x="18491" y="190"/>
                  </a:lnTo>
                  <a:lnTo>
                    <a:pt x="18397" y="378"/>
                  </a:lnTo>
                  <a:lnTo>
                    <a:pt x="17925" y="567"/>
                  </a:lnTo>
                  <a:lnTo>
                    <a:pt x="18019" y="284"/>
                  </a:lnTo>
                  <a:lnTo>
                    <a:pt x="17831" y="378"/>
                  </a:lnTo>
                  <a:lnTo>
                    <a:pt x="17642" y="567"/>
                  </a:lnTo>
                  <a:lnTo>
                    <a:pt x="17642" y="661"/>
                  </a:lnTo>
                  <a:lnTo>
                    <a:pt x="17453" y="567"/>
                  </a:lnTo>
                  <a:lnTo>
                    <a:pt x="17170" y="473"/>
                  </a:lnTo>
                  <a:lnTo>
                    <a:pt x="16699" y="473"/>
                  </a:lnTo>
                  <a:lnTo>
                    <a:pt x="16699" y="567"/>
                  </a:lnTo>
                  <a:lnTo>
                    <a:pt x="16604" y="661"/>
                  </a:lnTo>
                  <a:lnTo>
                    <a:pt x="16416" y="378"/>
                  </a:lnTo>
                  <a:lnTo>
                    <a:pt x="16227" y="378"/>
                  </a:lnTo>
                  <a:lnTo>
                    <a:pt x="15661" y="661"/>
                  </a:lnTo>
                  <a:lnTo>
                    <a:pt x="15661" y="473"/>
                  </a:lnTo>
                  <a:lnTo>
                    <a:pt x="15567" y="756"/>
                  </a:lnTo>
                  <a:lnTo>
                    <a:pt x="15378" y="473"/>
                  </a:lnTo>
                  <a:lnTo>
                    <a:pt x="15567" y="473"/>
                  </a:lnTo>
                  <a:lnTo>
                    <a:pt x="15472" y="378"/>
                  </a:lnTo>
                  <a:lnTo>
                    <a:pt x="15378" y="378"/>
                  </a:lnTo>
                  <a:lnTo>
                    <a:pt x="15189" y="473"/>
                  </a:lnTo>
                  <a:lnTo>
                    <a:pt x="15000" y="756"/>
                  </a:lnTo>
                  <a:lnTo>
                    <a:pt x="14906" y="661"/>
                  </a:lnTo>
                  <a:lnTo>
                    <a:pt x="14812" y="473"/>
                  </a:lnTo>
                  <a:lnTo>
                    <a:pt x="14529" y="756"/>
                  </a:lnTo>
                  <a:lnTo>
                    <a:pt x="14623" y="567"/>
                  </a:lnTo>
                  <a:lnTo>
                    <a:pt x="14529" y="661"/>
                  </a:lnTo>
                  <a:lnTo>
                    <a:pt x="14340" y="756"/>
                  </a:lnTo>
                  <a:lnTo>
                    <a:pt x="14340" y="567"/>
                  </a:lnTo>
                  <a:lnTo>
                    <a:pt x="14246" y="473"/>
                  </a:lnTo>
                  <a:lnTo>
                    <a:pt x="13963" y="378"/>
                  </a:lnTo>
                  <a:lnTo>
                    <a:pt x="13585" y="284"/>
                  </a:lnTo>
                  <a:lnTo>
                    <a:pt x="13302" y="284"/>
                  </a:lnTo>
                  <a:lnTo>
                    <a:pt x="13302" y="378"/>
                  </a:lnTo>
                  <a:lnTo>
                    <a:pt x="13302" y="473"/>
                  </a:lnTo>
                  <a:lnTo>
                    <a:pt x="13208" y="473"/>
                  </a:lnTo>
                  <a:lnTo>
                    <a:pt x="13208" y="661"/>
                  </a:lnTo>
                  <a:lnTo>
                    <a:pt x="13114" y="661"/>
                  </a:lnTo>
                  <a:lnTo>
                    <a:pt x="13019" y="567"/>
                  </a:lnTo>
                  <a:lnTo>
                    <a:pt x="12925" y="378"/>
                  </a:lnTo>
                  <a:lnTo>
                    <a:pt x="12831" y="95"/>
                  </a:lnTo>
                  <a:lnTo>
                    <a:pt x="12831" y="378"/>
                  </a:lnTo>
                  <a:lnTo>
                    <a:pt x="12736" y="378"/>
                  </a:lnTo>
                  <a:lnTo>
                    <a:pt x="12642" y="284"/>
                  </a:lnTo>
                  <a:lnTo>
                    <a:pt x="12548" y="190"/>
                  </a:lnTo>
                  <a:lnTo>
                    <a:pt x="12265" y="190"/>
                  </a:lnTo>
                  <a:lnTo>
                    <a:pt x="12170" y="473"/>
                  </a:lnTo>
                  <a:lnTo>
                    <a:pt x="12076" y="378"/>
                  </a:lnTo>
                  <a:lnTo>
                    <a:pt x="11887" y="284"/>
                  </a:lnTo>
                  <a:lnTo>
                    <a:pt x="11510" y="378"/>
                  </a:lnTo>
                  <a:lnTo>
                    <a:pt x="10755" y="661"/>
                  </a:lnTo>
                  <a:lnTo>
                    <a:pt x="10661" y="473"/>
                  </a:lnTo>
                  <a:lnTo>
                    <a:pt x="10567" y="378"/>
                  </a:lnTo>
                  <a:lnTo>
                    <a:pt x="10095" y="378"/>
                  </a:lnTo>
                  <a:lnTo>
                    <a:pt x="9529" y="473"/>
                  </a:lnTo>
                  <a:lnTo>
                    <a:pt x="9340" y="473"/>
                  </a:lnTo>
                  <a:lnTo>
                    <a:pt x="9152" y="378"/>
                  </a:lnTo>
                  <a:lnTo>
                    <a:pt x="9152" y="473"/>
                  </a:lnTo>
                  <a:lnTo>
                    <a:pt x="9152" y="567"/>
                  </a:lnTo>
                  <a:lnTo>
                    <a:pt x="8963" y="661"/>
                  </a:lnTo>
                  <a:lnTo>
                    <a:pt x="8869" y="567"/>
                  </a:lnTo>
                  <a:lnTo>
                    <a:pt x="8680" y="473"/>
                  </a:lnTo>
                  <a:lnTo>
                    <a:pt x="8680" y="756"/>
                  </a:lnTo>
                  <a:lnTo>
                    <a:pt x="8491" y="661"/>
                  </a:lnTo>
                  <a:lnTo>
                    <a:pt x="8208" y="567"/>
                  </a:lnTo>
                  <a:lnTo>
                    <a:pt x="7925" y="661"/>
                  </a:lnTo>
                  <a:lnTo>
                    <a:pt x="7831" y="756"/>
                  </a:lnTo>
                  <a:lnTo>
                    <a:pt x="7548" y="567"/>
                  </a:lnTo>
                  <a:lnTo>
                    <a:pt x="7359" y="473"/>
                  </a:lnTo>
                  <a:lnTo>
                    <a:pt x="7170" y="944"/>
                  </a:lnTo>
                  <a:lnTo>
                    <a:pt x="6982" y="661"/>
                  </a:lnTo>
                  <a:lnTo>
                    <a:pt x="6793" y="661"/>
                  </a:lnTo>
                  <a:lnTo>
                    <a:pt x="6604" y="756"/>
                  </a:lnTo>
                  <a:lnTo>
                    <a:pt x="6510" y="661"/>
                  </a:lnTo>
                  <a:lnTo>
                    <a:pt x="6416" y="756"/>
                  </a:lnTo>
                  <a:lnTo>
                    <a:pt x="6038" y="944"/>
                  </a:lnTo>
                  <a:lnTo>
                    <a:pt x="6038" y="1039"/>
                  </a:lnTo>
                  <a:lnTo>
                    <a:pt x="5850" y="1133"/>
                  </a:lnTo>
                  <a:lnTo>
                    <a:pt x="5850" y="1039"/>
                  </a:lnTo>
                  <a:lnTo>
                    <a:pt x="5755" y="1039"/>
                  </a:lnTo>
                  <a:lnTo>
                    <a:pt x="5567" y="1227"/>
                  </a:lnTo>
                  <a:lnTo>
                    <a:pt x="5472" y="1227"/>
                  </a:lnTo>
                  <a:lnTo>
                    <a:pt x="5378" y="1039"/>
                  </a:lnTo>
                  <a:lnTo>
                    <a:pt x="5378" y="1133"/>
                  </a:lnTo>
                  <a:lnTo>
                    <a:pt x="5189" y="1227"/>
                  </a:lnTo>
                  <a:lnTo>
                    <a:pt x="5095" y="1133"/>
                  </a:lnTo>
                  <a:lnTo>
                    <a:pt x="4906" y="1039"/>
                  </a:lnTo>
                  <a:lnTo>
                    <a:pt x="5189" y="1039"/>
                  </a:lnTo>
                  <a:lnTo>
                    <a:pt x="5095" y="944"/>
                  </a:lnTo>
                  <a:lnTo>
                    <a:pt x="5095" y="756"/>
                  </a:lnTo>
                  <a:lnTo>
                    <a:pt x="5001" y="944"/>
                  </a:lnTo>
                  <a:lnTo>
                    <a:pt x="4529" y="944"/>
                  </a:lnTo>
                  <a:lnTo>
                    <a:pt x="4529" y="1133"/>
                  </a:lnTo>
                  <a:lnTo>
                    <a:pt x="4718" y="1133"/>
                  </a:lnTo>
                  <a:lnTo>
                    <a:pt x="4623" y="1227"/>
                  </a:lnTo>
                  <a:lnTo>
                    <a:pt x="4623" y="1133"/>
                  </a:lnTo>
                  <a:lnTo>
                    <a:pt x="4529" y="1416"/>
                  </a:lnTo>
                  <a:lnTo>
                    <a:pt x="4340" y="1227"/>
                  </a:lnTo>
                  <a:lnTo>
                    <a:pt x="4152" y="1039"/>
                  </a:lnTo>
                  <a:lnTo>
                    <a:pt x="3963" y="1039"/>
                  </a:lnTo>
                  <a:lnTo>
                    <a:pt x="3774" y="1416"/>
                  </a:lnTo>
                  <a:lnTo>
                    <a:pt x="3774" y="1322"/>
                  </a:lnTo>
                  <a:lnTo>
                    <a:pt x="3774" y="1227"/>
                  </a:lnTo>
                  <a:lnTo>
                    <a:pt x="3680" y="1322"/>
                  </a:lnTo>
                  <a:lnTo>
                    <a:pt x="3586" y="1510"/>
                  </a:lnTo>
                  <a:lnTo>
                    <a:pt x="3208" y="1416"/>
                  </a:lnTo>
                  <a:lnTo>
                    <a:pt x="2454" y="1416"/>
                  </a:lnTo>
                  <a:lnTo>
                    <a:pt x="1793" y="1510"/>
                  </a:lnTo>
                  <a:lnTo>
                    <a:pt x="1510" y="1605"/>
                  </a:lnTo>
                  <a:lnTo>
                    <a:pt x="1321" y="1699"/>
                  </a:lnTo>
                  <a:lnTo>
                    <a:pt x="1321" y="1605"/>
                  </a:lnTo>
                  <a:lnTo>
                    <a:pt x="1038" y="1699"/>
                  </a:lnTo>
                  <a:lnTo>
                    <a:pt x="755" y="1793"/>
                  </a:lnTo>
                  <a:lnTo>
                    <a:pt x="567" y="1793"/>
                  </a:lnTo>
                  <a:lnTo>
                    <a:pt x="378" y="1888"/>
                  </a:lnTo>
                  <a:lnTo>
                    <a:pt x="284" y="1699"/>
                  </a:lnTo>
                  <a:lnTo>
                    <a:pt x="95" y="1605"/>
                  </a:lnTo>
                  <a:lnTo>
                    <a:pt x="1" y="1793"/>
                  </a:lnTo>
                  <a:lnTo>
                    <a:pt x="1" y="2076"/>
                  </a:lnTo>
                  <a:lnTo>
                    <a:pt x="95" y="2548"/>
                  </a:lnTo>
                  <a:lnTo>
                    <a:pt x="189" y="2831"/>
                  </a:lnTo>
                  <a:lnTo>
                    <a:pt x="284" y="2737"/>
                  </a:lnTo>
                  <a:lnTo>
                    <a:pt x="472" y="2831"/>
                  </a:lnTo>
                  <a:lnTo>
                    <a:pt x="567" y="2548"/>
                  </a:lnTo>
                  <a:lnTo>
                    <a:pt x="661" y="2642"/>
                  </a:lnTo>
                  <a:lnTo>
                    <a:pt x="661" y="2737"/>
                  </a:lnTo>
                  <a:lnTo>
                    <a:pt x="755" y="2642"/>
                  </a:lnTo>
                  <a:lnTo>
                    <a:pt x="944" y="2548"/>
                  </a:lnTo>
                  <a:lnTo>
                    <a:pt x="1227" y="2548"/>
                  </a:lnTo>
                  <a:lnTo>
                    <a:pt x="1227" y="2642"/>
                  </a:lnTo>
                  <a:lnTo>
                    <a:pt x="1321" y="2737"/>
                  </a:lnTo>
                  <a:lnTo>
                    <a:pt x="1416" y="2831"/>
                  </a:lnTo>
                  <a:lnTo>
                    <a:pt x="1510" y="2642"/>
                  </a:lnTo>
                  <a:lnTo>
                    <a:pt x="1793" y="2548"/>
                  </a:lnTo>
                  <a:lnTo>
                    <a:pt x="1699" y="2642"/>
                  </a:lnTo>
                  <a:lnTo>
                    <a:pt x="1887" y="2737"/>
                  </a:lnTo>
                  <a:lnTo>
                    <a:pt x="1887" y="2454"/>
                  </a:lnTo>
                  <a:lnTo>
                    <a:pt x="1982" y="2265"/>
                  </a:lnTo>
                  <a:lnTo>
                    <a:pt x="2076" y="2737"/>
                  </a:lnTo>
                  <a:lnTo>
                    <a:pt x="2171" y="2359"/>
                  </a:lnTo>
                  <a:lnTo>
                    <a:pt x="2265" y="2642"/>
                  </a:lnTo>
                  <a:lnTo>
                    <a:pt x="2265" y="2548"/>
                  </a:lnTo>
                  <a:lnTo>
                    <a:pt x="2359" y="2454"/>
                  </a:lnTo>
                  <a:lnTo>
                    <a:pt x="2454" y="2548"/>
                  </a:lnTo>
                  <a:lnTo>
                    <a:pt x="2454" y="2737"/>
                  </a:lnTo>
                  <a:lnTo>
                    <a:pt x="2548" y="2548"/>
                  </a:lnTo>
                  <a:lnTo>
                    <a:pt x="2548" y="2454"/>
                  </a:lnTo>
                  <a:lnTo>
                    <a:pt x="2642" y="2548"/>
                  </a:lnTo>
                  <a:lnTo>
                    <a:pt x="2642" y="2642"/>
                  </a:lnTo>
                  <a:lnTo>
                    <a:pt x="2831" y="2454"/>
                  </a:lnTo>
                  <a:lnTo>
                    <a:pt x="3020" y="2454"/>
                  </a:lnTo>
                  <a:lnTo>
                    <a:pt x="3114" y="2265"/>
                  </a:lnTo>
                  <a:lnTo>
                    <a:pt x="3114" y="2076"/>
                  </a:lnTo>
                  <a:lnTo>
                    <a:pt x="3208" y="1982"/>
                  </a:lnTo>
                  <a:lnTo>
                    <a:pt x="3208" y="2076"/>
                  </a:lnTo>
                  <a:lnTo>
                    <a:pt x="3208" y="2265"/>
                  </a:lnTo>
                  <a:lnTo>
                    <a:pt x="3303" y="2076"/>
                  </a:lnTo>
                  <a:lnTo>
                    <a:pt x="3491" y="2076"/>
                  </a:lnTo>
                  <a:lnTo>
                    <a:pt x="3491" y="2171"/>
                  </a:lnTo>
                  <a:lnTo>
                    <a:pt x="3397" y="2265"/>
                  </a:lnTo>
                  <a:lnTo>
                    <a:pt x="3303" y="2359"/>
                  </a:lnTo>
                  <a:lnTo>
                    <a:pt x="3303" y="2548"/>
                  </a:lnTo>
                  <a:lnTo>
                    <a:pt x="3491" y="2548"/>
                  </a:lnTo>
                  <a:lnTo>
                    <a:pt x="3586" y="2454"/>
                  </a:lnTo>
                  <a:lnTo>
                    <a:pt x="3680" y="2265"/>
                  </a:lnTo>
                  <a:lnTo>
                    <a:pt x="4152" y="2265"/>
                  </a:lnTo>
                  <a:lnTo>
                    <a:pt x="4152" y="2359"/>
                  </a:lnTo>
                  <a:lnTo>
                    <a:pt x="4246" y="2171"/>
                  </a:lnTo>
                  <a:lnTo>
                    <a:pt x="4340" y="2171"/>
                  </a:lnTo>
                  <a:lnTo>
                    <a:pt x="4246" y="2265"/>
                  </a:lnTo>
                  <a:lnTo>
                    <a:pt x="5284" y="2265"/>
                  </a:lnTo>
                  <a:lnTo>
                    <a:pt x="5567" y="2171"/>
                  </a:lnTo>
                  <a:lnTo>
                    <a:pt x="5755" y="2171"/>
                  </a:lnTo>
                  <a:lnTo>
                    <a:pt x="5755" y="2076"/>
                  </a:lnTo>
                  <a:lnTo>
                    <a:pt x="6416" y="2076"/>
                  </a:lnTo>
                  <a:lnTo>
                    <a:pt x="6510" y="1888"/>
                  </a:lnTo>
                  <a:lnTo>
                    <a:pt x="6604" y="1888"/>
                  </a:lnTo>
                  <a:lnTo>
                    <a:pt x="7170" y="1982"/>
                  </a:lnTo>
                  <a:lnTo>
                    <a:pt x="7453" y="1888"/>
                  </a:lnTo>
                  <a:lnTo>
                    <a:pt x="7548" y="1888"/>
                  </a:lnTo>
                  <a:lnTo>
                    <a:pt x="7642" y="1699"/>
                  </a:lnTo>
                  <a:lnTo>
                    <a:pt x="7736" y="1888"/>
                  </a:lnTo>
                  <a:lnTo>
                    <a:pt x="7925" y="2076"/>
                  </a:lnTo>
                  <a:lnTo>
                    <a:pt x="8114" y="1793"/>
                  </a:lnTo>
                  <a:lnTo>
                    <a:pt x="8114" y="1982"/>
                  </a:lnTo>
                  <a:lnTo>
                    <a:pt x="8208" y="1793"/>
                  </a:lnTo>
                  <a:lnTo>
                    <a:pt x="8302" y="1982"/>
                  </a:lnTo>
                  <a:lnTo>
                    <a:pt x="8302" y="1888"/>
                  </a:lnTo>
                  <a:lnTo>
                    <a:pt x="8302" y="1793"/>
                  </a:lnTo>
                  <a:lnTo>
                    <a:pt x="8491" y="1793"/>
                  </a:lnTo>
                  <a:lnTo>
                    <a:pt x="8585" y="1888"/>
                  </a:lnTo>
                  <a:lnTo>
                    <a:pt x="8774" y="1793"/>
                  </a:lnTo>
                  <a:lnTo>
                    <a:pt x="8774" y="1982"/>
                  </a:lnTo>
                  <a:lnTo>
                    <a:pt x="8869" y="1888"/>
                  </a:lnTo>
                  <a:lnTo>
                    <a:pt x="9718" y="1888"/>
                  </a:lnTo>
                  <a:lnTo>
                    <a:pt x="9623" y="1793"/>
                  </a:lnTo>
                  <a:lnTo>
                    <a:pt x="9718" y="1605"/>
                  </a:lnTo>
                  <a:lnTo>
                    <a:pt x="9812" y="1699"/>
                  </a:lnTo>
                  <a:lnTo>
                    <a:pt x="9812" y="1793"/>
                  </a:lnTo>
                  <a:lnTo>
                    <a:pt x="9906" y="1888"/>
                  </a:lnTo>
                  <a:lnTo>
                    <a:pt x="10095" y="1982"/>
                  </a:lnTo>
                  <a:lnTo>
                    <a:pt x="10661" y="1793"/>
                  </a:lnTo>
                  <a:lnTo>
                    <a:pt x="11038" y="1510"/>
                  </a:lnTo>
                  <a:lnTo>
                    <a:pt x="11133" y="1699"/>
                  </a:lnTo>
                  <a:lnTo>
                    <a:pt x="11321" y="1699"/>
                  </a:lnTo>
                  <a:lnTo>
                    <a:pt x="11510" y="1605"/>
                  </a:lnTo>
                  <a:lnTo>
                    <a:pt x="11604" y="1416"/>
                  </a:lnTo>
                  <a:lnTo>
                    <a:pt x="11982" y="1605"/>
                  </a:lnTo>
                  <a:lnTo>
                    <a:pt x="12453" y="1699"/>
                  </a:lnTo>
                  <a:lnTo>
                    <a:pt x="12642" y="1510"/>
                  </a:lnTo>
                  <a:lnTo>
                    <a:pt x="12642" y="1699"/>
                  </a:lnTo>
                  <a:lnTo>
                    <a:pt x="12925" y="1510"/>
                  </a:lnTo>
                  <a:lnTo>
                    <a:pt x="13208" y="1510"/>
                  </a:lnTo>
                  <a:lnTo>
                    <a:pt x="14057" y="1699"/>
                  </a:lnTo>
                  <a:lnTo>
                    <a:pt x="14434" y="1793"/>
                  </a:lnTo>
                  <a:lnTo>
                    <a:pt x="14812" y="1793"/>
                  </a:lnTo>
                  <a:lnTo>
                    <a:pt x="15095" y="1699"/>
                  </a:lnTo>
                  <a:lnTo>
                    <a:pt x="15378" y="1510"/>
                  </a:lnTo>
                  <a:lnTo>
                    <a:pt x="15472" y="1416"/>
                  </a:lnTo>
                  <a:lnTo>
                    <a:pt x="15472" y="1510"/>
                  </a:lnTo>
                  <a:lnTo>
                    <a:pt x="15472" y="1699"/>
                  </a:lnTo>
                  <a:lnTo>
                    <a:pt x="16416" y="1510"/>
                  </a:lnTo>
                  <a:lnTo>
                    <a:pt x="16416" y="1605"/>
                  </a:lnTo>
                  <a:lnTo>
                    <a:pt x="16510" y="1605"/>
                  </a:lnTo>
                  <a:lnTo>
                    <a:pt x="16604" y="1510"/>
                  </a:lnTo>
                  <a:lnTo>
                    <a:pt x="17642" y="1510"/>
                  </a:lnTo>
                  <a:lnTo>
                    <a:pt x="17736" y="1605"/>
                  </a:lnTo>
                  <a:lnTo>
                    <a:pt x="17831" y="1605"/>
                  </a:lnTo>
                  <a:lnTo>
                    <a:pt x="18397" y="1510"/>
                  </a:lnTo>
                  <a:lnTo>
                    <a:pt x="19057" y="1322"/>
                  </a:lnTo>
                  <a:lnTo>
                    <a:pt x="18774" y="1605"/>
                  </a:lnTo>
                  <a:lnTo>
                    <a:pt x="19151" y="1322"/>
                  </a:lnTo>
                  <a:lnTo>
                    <a:pt x="19340" y="1322"/>
                  </a:lnTo>
                  <a:lnTo>
                    <a:pt x="19340" y="1510"/>
                  </a:lnTo>
                  <a:lnTo>
                    <a:pt x="19529" y="1416"/>
                  </a:lnTo>
                  <a:lnTo>
                    <a:pt x="19906" y="1416"/>
                  </a:lnTo>
                  <a:lnTo>
                    <a:pt x="20000" y="1322"/>
                  </a:lnTo>
                  <a:lnTo>
                    <a:pt x="20095" y="944"/>
                  </a:lnTo>
                  <a:lnTo>
                    <a:pt x="20095" y="1133"/>
                  </a:lnTo>
                  <a:lnTo>
                    <a:pt x="20189" y="1227"/>
                  </a:lnTo>
                  <a:lnTo>
                    <a:pt x="20189" y="1416"/>
                  </a:lnTo>
                  <a:lnTo>
                    <a:pt x="20283" y="1322"/>
                  </a:lnTo>
                  <a:lnTo>
                    <a:pt x="20378" y="1322"/>
                  </a:lnTo>
                  <a:lnTo>
                    <a:pt x="20378" y="1416"/>
                  </a:lnTo>
                  <a:lnTo>
                    <a:pt x="20661" y="1227"/>
                  </a:lnTo>
                  <a:lnTo>
                    <a:pt x="20944" y="1133"/>
                  </a:lnTo>
                  <a:lnTo>
                    <a:pt x="21038" y="1133"/>
                  </a:lnTo>
                  <a:lnTo>
                    <a:pt x="21132" y="1416"/>
                  </a:lnTo>
                  <a:lnTo>
                    <a:pt x="21604" y="1227"/>
                  </a:lnTo>
                  <a:lnTo>
                    <a:pt x="21510" y="1039"/>
                  </a:lnTo>
                  <a:lnTo>
                    <a:pt x="21510" y="944"/>
                  </a:lnTo>
                  <a:lnTo>
                    <a:pt x="21698" y="944"/>
                  </a:lnTo>
                  <a:lnTo>
                    <a:pt x="21604" y="1039"/>
                  </a:lnTo>
                  <a:lnTo>
                    <a:pt x="21982" y="1039"/>
                  </a:lnTo>
                  <a:lnTo>
                    <a:pt x="21887" y="1227"/>
                  </a:lnTo>
                  <a:lnTo>
                    <a:pt x="21887" y="1227"/>
                  </a:lnTo>
                  <a:lnTo>
                    <a:pt x="22170" y="1039"/>
                  </a:lnTo>
                  <a:lnTo>
                    <a:pt x="22265" y="1227"/>
                  </a:lnTo>
                  <a:lnTo>
                    <a:pt x="22265" y="1133"/>
                  </a:lnTo>
                  <a:lnTo>
                    <a:pt x="22265" y="1039"/>
                  </a:lnTo>
                  <a:lnTo>
                    <a:pt x="22548" y="1039"/>
                  </a:lnTo>
                  <a:lnTo>
                    <a:pt x="22642" y="1322"/>
                  </a:lnTo>
                  <a:lnTo>
                    <a:pt x="23019" y="1227"/>
                  </a:lnTo>
                  <a:lnTo>
                    <a:pt x="23208" y="1133"/>
                  </a:lnTo>
                  <a:lnTo>
                    <a:pt x="23302" y="1039"/>
                  </a:lnTo>
                  <a:lnTo>
                    <a:pt x="23397" y="1133"/>
                  </a:lnTo>
                  <a:lnTo>
                    <a:pt x="23397" y="1227"/>
                  </a:lnTo>
                  <a:lnTo>
                    <a:pt x="23680" y="1227"/>
                  </a:lnTo>
                  <a:lnTo>
                    <a:pt x="23868" y="1133"/>
                  </a:lnTo>
                  <a:lnTo>
                    <a:pt x="24057" y="1227"/>
                  </a:lnTo>
                  <a:lnTo>
                    <a:pt x="24246" y="1227"/>
                  </a:lnTo>
                  <a:lnTo>
                    <a:pt x="24246" y="1133"/>
                  </a:lnTo>
                  <a:lnTo>
                    <a:pt x="24529" y="1227"/>
                  </a:lnTo>
                  <a:lnTo>
                    <a:pt x="24906" y="1322"/>
                  </a:lnTo>
                  <a:lnTo>
                    <a:pt x="25179" y="1048"/>
                  </a:lnTo>
                  <a:lnTo>
                    <a:pt x="25095" y="1133"/>
                  </a:lnTo>
                  <a:lnTo>
                    <a:pt x="25189" y="1227"/>
                  </a:lnTo>
                  <a:lnTo>
                    <a:pt x="25189" y="1133"/>
                  </a:lnTo>
                  <a:lnTo>
                    <a:pt x="25283" y="1039"/>
                  </a:lnTo>
                  <a:lnTo>
                    <a:pt x="25378" y="944"/>
                  </a:lnTo>
                  <a:lnTo>
                    <a:pt x="25472" y="944"/>
                  </a:lnTo>
                  <a:lnTo>
                    <a:pt x="25472" y="1133"/>
                  </a:lnTo>
                  <a:lnTo>
                    <a:pt x="25566" y="1039"/>
                  </a:lnTo>
                  <a:lnTo>
                    <a:pt x="25661" y="1039"/>
                  </a:lnTo>
                  <a:lnTo>
                    <a:pt x="25566" y="1133"/>
                  </a:lnTo>
                  <a:lnTo>
                    <a:pt x="25661" y="1227"/>
                  </a:lnTo>
                  <a:lnTo>
                    <a:pt x="25849" y="1322"/>
                  </a:lnTo>
                  <a:lnTo>
                    <a:pt x="25944" y="1133"/>
                  </a:lnTo>
                  <a:lnTo>
                    <a:pt x="26132" y="1039"/>
                  </a:lnTo>
                  <a:lnTo>
                    <a:pt x="26132" y="1039"/>
                  </a:lnTo>
                  <a:lnTo>
                    <a:pt x="26038" y="1227"/>
                  </a:lnTo>
                  <a:lnTo>
                    <a:pt x="26132" y="1322"/>
                  </a:lnTo>
                  <a:lnTo>
                    <a:pt x="26321" y="1416"/>
                  </a:lnTo>
                  <a:lnTo>
                    <a:pt x="26415" y="1416"/>
                  </a:lnTo>
                  <a:lnTo>
                    <a:pt x="26887" y="1227"/>
                  </a:lnTo>
                  <a:lnTo>
                    <a:pt x="27264" y="944"/>
                  </a:lnTo>
                  <a:lnTo>
                    <a:pt x="27170" y="944"/>
                  </a:lnTo>
                  <a:lnTo>
                    <a:pt x="27264" y="850"/>
                  </a:lnTo>
                  <a:lnTo>
                    <a:pt x="26981" y="756"/>
                  </a:lnTo>
                  <a:lnTo>
                    <a:pt x="26887" y="944"/>
                  </a:lnTo>
                  <a:lnTo>
                    <a:pt x="26793" y="1133"/>
                  </a:lnTo>
                  <a:lnTo>
                    <a:pt x="26793" y="661"/>
                  </a:lnTo>
                  <a:lnTo>
                    <a:pt x="26604" y="944"/>
                  </a:lnTo>
                  <a:lnTo>
                    <a:pt x="26510" y="850"/>
                  </a:lnTo>
                  <a:lnTo>
                    <a:pt x="26415" y="756"/>
                  </a:lnTo>
                  <a:lnTo>
                    <a:pt x="26321" y="944"/>
                  </a:lnTo>
                  <a:lnTo>
                    <a:pt x="26227" y="661"/>
                  </a:lnTo>
                  <a:lnTo>
                    <a:pt x="26038" y="756"/>
                  </a:lnTo>
                  <a:lnTo>
                    <a:pt x="25849" y="661"/>
                  </a:lnTo>
                  <a:lnTo>
                    <a:pt x="25378" y="567"/>
                  </a:lnTo>
                  <a:lnTo>
                    <a:pt x="25283" y="661"/>
                  </a:lnTo>
                  <a:lnTo>
                    <a:pt x="25095" y="756"/>
                  </a:lnTo>
                  <a:lnTo>
                    <a:pt x="25189" y="473"/>
                  </a:lnTo>
                  <a:lnTo>
                    <a:pt x="25000" y="661"/>
                  </a:lnTo>
                  <a:lnTo>
                    <a:pt x="25000" y="661"/>
                  </a:lnTo>
                  <a:lnTo>
                    <a:pt x="25095" y="473"/>
                  </a:lnTo>
                  <a:lnTo>
                    <a:pt x="24906" y="567"/>
                  </a:lnTo>
                  <a:lnTo>
                    <a:pt x="24717" y="567"/>
                  </a:lnTo>
                  <a:lnTo>
                    <a:pt x="24717" y="756"/>
                  </a:lnTo>
                  <a:lnTo>
                    <a:pt x="24623" y="1039"/>
                  </a:lnTo>
                  <a:lnTo>
                    <a:pt x="24623" y="850"/>
                  </a:lnTo>
                  <a:lnTo>
                    <a:pt x="24717" y="661"/>
                  </a:lnTo>
                  <a:lnTo>
                    <a:pt x="24623" y="756"/>
                  </a:lnTo>
                  <a:lnTo>
                    <a:pt x="24623" y="661"/>
                  </a:lnTo>
                  <a:lnTo>
                    <a:pt x="24529" y="473"/>
                  </a:lnTo>
                  <a:lnTo>
                    <a:pt x="24529" y="661"/>
                  </a:lnTo>
                  <a:lnTo>
                    <a:pt x="24434" y="567"/>
                  </a:lnTo>
                  <a:lnTo>
                    <a:pt x="24340" y="378"/>
                  </a:lnTo>
                  <a:lnTo>
                    <a:pt x="24246" y="567"/>
                  </a:lnTo>
                  <a:lnTo>
                    <a:pt x="23963" y="567"/>
                  </a:lnTo>
                  <a:lnTo>
                    <a:pt x="23397" y="661"/>
                  </a:lnTo>
                  <a:lnTo>
                    <a:pt x="23114" y="661"/>
                  </a:lnTo>
                  <a:lnTo>
                    <a:pt x="22925" y="567"/>
                  </a:lnTo>
                  <a:lnTo>
                    <a:pt x="22925" y="473"/>
                  </a:lnTo>
                  <a:lnTo>
                    <a:pt x="23019" y="473"/>
                  </a:lnTo>
                  <a:lnTo>
                    <a:pt x="22642" y="378"/>
                  </a:lnTo>
                  <a:lnTo>
                    <a:pt x="22736" y="473"/>
                  </a:lnTo>
                  <a:lnTo>
                    <a:pt x="22548" y="473"/>
                  </a:lnTo>
                  <a:lnTo>
                    <a:pt x="22642" y="284"/>
                  </a:lnTo>
                  <a:lnTo>
                    <a:pt x="22548" y="190"/>
                  </a:lnTo>
                  <a:lnTo>
                    <a:pt x="22453" y="190"/>
                  </a:lnTo>
                  <a:lnTo>
                    <a:pt x="22359" y="284"/>
                  </a:lnTo>
                  <a:lnTo>
                    <a:pt x="22170" y="378"/>
                  </a:lnTo>
                  <a:lnTo>
                    <a:pt x="22076" y="284"/>
                  </a:lnTo>
                  <a:lnTo>
                    <a:pt x="22170" y="473"/>
                  </a:lnTo>
                  <a:lnTo>
                    <a:pt x="21887" y="190"/>
                  </a:lnTo>
                  <a:lnTo>
                    <a:pt x="21793" y="190"/>
                  </a:lnTo>
                  <a:lnTo>
                    <a:pt x="21698" y="378"/>
                  </a:lnTo>
                  <a:lnTo>
                    <a:pt x="21604" y="756"/>
                  </a:lnTo>
                  <a:lnTo>
                    <a:pt x="21415" y="661"/>
                  </a:lnTo>
                  <a:lnTo>
                    <a:pt x="21510" y="473"/>
                  </a:lnTo>
                  <a:lnTo>
                    <a:pt x="21604" y="284"/>
                  </a:lnTo>
                  <a:lnTo>
                    <a:pt x="21415" y="284"/>
                  </a:lnTo>
                  <a:lnTo>
                    <a:pt x="21415" y="190"/>
                  </a:lnTo>
                  <a:lnTo>
                    <a:pt x="21227" y="378"/>
                  </a:lnTo>
                  <a:lnTo>
                    <a:pt x="20944" y="567"/>
                  </a:lnTo>
                  <a:lnTo>
                    <a:pt x="20566" y="1"/>
                  </a:lnTo>
                  <a:lnTo>
                    <a:pt x="20472" y="95"/>
                  </a:lnTo>
                  <a:lnTo>
                    <a:pt x="20472" y="190"/>
                  </a:lnTo>
                  <a:lnTo>
                    <a:pt x="20472" y="378"/>
                  </a:lnTo>
                  <a:lnTo>
                    <a:pt x="20283" y="284"/>
                  </a:lnTo>
                  <a:lnTo>
                    <a:pt x="20283" y="190"/>
                  </a:lnTo>
                  <a:lnTo>
                    <a:pt x="20378" y="95"/>
                  </a:lnTo>
                  <a:lnTo>
                    <a:pt x="20283" y="1"/>
                  </a:lnTo>
                  <a:close/>
                </a:path>
              </a:pathLst>
            </a:custGeom>
            <a:solidFill>
              <a:srgbClr val="0067B7">
                <a:alpha val="59000"/>
              </a:srgbClr>
            </a:solidFill>
            <a:ln>
              <a:noFill/>
            </a:ln>
          </p:spPr>
          <p:txBody>
            <a:bodyPr spcFirstLastPara="1" wrap="square" lIns="91425" tIns="91425" rIns="91425" bIns="91425" anchor="ctr" anchorCtr="0">
              <a:noAutofit/>
            </a:bodyPr>
            <a:lstStyle/>
            <a:p>
              <a:pPr marL="0" lvl="0" indent="0">
                <a:spcBef>
                  <a:spcPts val="0"/>
                </a:spcBef>
                <a:spcAft>
                  <a:spcPts val="0"/>
                </a:spcAft>
                <a:buNone/>
              </a:pPr>
              <a:endParaRPr dirty="0"/>
            </a:p>
          </p:txBody>
        </p:sp>
        <p:sp>
          <p:nvSpPr>
            <p:cNvPr id="67" name="Google Shape;238;p27">
              <a:extLst>
                <a:ext uri="{FF2B5EF4-FFF2-40B4-BE49-F238E27FC236}">
                  <a16:creationId xmlns:a16="http://schemas.microsoft.com/office/drawing/2014/main" id="{14BB8ABD-73B5-AA44-AA1A-5299929B6222}"/>
                </a:ext>
              </a:extLst>
            </p:cNvPr>
            <p:cNvSpPr/>
            <p:nvPr/>
          </p:nvSpPr>
          <p:spPr>
            <a:xfrm>
              <a:off x="3870041" y="2764475"/>
              <a:ext cx="188382" cy="232966"/>
            </a:xfrm>
            <a:custGeom>
              <a:avLst/>
              <a:gdLst/>
              <a:ahLst/>
              <a:cxnLst/>
              <a:rect l="0" t="0" r="0" b="0"/>
              <a:pathLst>
                <a:path w="7171" h="8869" extrusionOk="0">
                  <a:moveTo>
                    <a:pt x="5756" y="6510"/>
                  </a:moveTo>
                  <a:lnTo>
                    <a:pt x="5756" y="6604"/>
                  </a:lnTo>
                  <a:lnTo>
                    <a:pt x="5850" y="6604"/>
                  </a:lnTo>
                  <a:lnTo>
                    <a:pt x="5756" y="6510"/>
                  </a:lnTo>
                  <a:close/>
                  <a:moveTo>
                    <a:pt x="2265" y="7925"/>
                  </a:moveTo>
                  <a:lnTo>
                    <a:pt x="2252" y="7965"/>
                  </a:lnTo>
                  <a:lnTo>
                    <a:pt x="2252" y="7965"/>
                  </a:lnTo>
                  <a:lnTo>
                    <a:pt x="2284" y="7953"/>
                  </a:lnTo>
                  <a:lnTo>
                    <a:pt x="2284" y="7953"/>
                  </a:lnTo>
                  <a:lnTo>
                    <a:pt x="2265" y="7925"/>
                  </a:lnTo>
                  <a:close/>
                  <a:moveTo>
                    <a:pt x="567" y="0"/>
                  </a:moveTo>
                  <a:lnTo>
                    <a:pt x="284" y="189"/>
                  </a:lnTo>
                  <a:lnTo>
                    <a:pt x="95" y="472"/>
                  </a:lnTo>
                  <a:lnTo>
                    <a:pt x="1" y="755"/>
                  </a:lnTo>
                  <a:lnTo>
                    <a:pt x="95" y="1038"/>
                  </a:lnTo>
                  <a:lnTo>
                    <a:pt x="190" y="1227"/>
                  </a:lnTo>
                  <a:lnTo>
                    <a:pt x="473" y="1415"/>
                  </a:lnTo>
                  <a:lnTo>
                    <a:pt x="850" y="1321"/>
                  </a:lnTo>
                  <a:lnTo>
                    <a:pt x="661" y="1604"/>
                  </a:lnTo>
                  <a:lnTo>
                    <a:pt x="756" y="1604"/>
                  </a:lnTo>
                  <a:lnTo>
                    <a:pt x="661" y="1793"/>
                  </a:lnTo>
                  <a:lnTo>
                    <a:pt x="661" y="1887"/>
                  </a:lnTo>
                  <a:lnTo>
                    <a:pt x="756" y="1793"/>
                  </a:lnTo>
                  <a:lnTo>
                    <a:pt x="1510" y="1604"/>
                  </a:lnTo>
                  <a:lnTo>
                    <a:pt x="1510" y="1604"/>
                  </a:lnTo>
                  <a:lnTo>
                    <a:pt x="1133" y="2076"/>
                  </a:lnTo>
                  <a:lnTo>
                    <a:pt x="1322" y="2453"/>
                  </a:lnTo>
                  <a:lnTo>
                    <a:pt x="1888" y="2830"/>
                  </a:lnTo>
                  <a:lnTo>
                    <a:pt x="3397" y="3774"/>
                  </a:lnTo>
                  <a:lnTo>
                    <a:pt x="5001" y="4623"/>
                  </a:lnTo>
                  <a:lnTo>
                    <a:pt x="5944" y="5095"/>
                  </a:lnTo>
                  <a:lnTo>
                    <a:pt x="5756" y="5189"/>
                  </a:lnTo>
                  <a:lnTo>
                    <a:pt x="5378" y="5378"/>
                  </a:lnTo>
                  <a:lnTo>
                    <a:pt x="5378" y="5283"/>
                  </a:lnTo>
                  <a:lnTo>
                    <a:pt x="5001" y="5661"/>
                  </a:lnTo>
                  <a:lnTo>
                    <a:pt x="4623" y="5944"/>
                  </a:lnTo>
                  <a:lnTo>
                    <a:pt x="4435" y="6321"/>
                  </a:lnTo>
                  <a:lnTo>
                    <a:pt x="4340" y="6510"/>
                  </a:lnTo>
                  <a:lnTo>
                    <a:pt x="4435" y="6698"/>
                  </a:lnTo>
                  <a:lnTo>
                    <a:pt x="4435" y="6698"/>
                  </a:lnTo>
                  <a:lnTo>
                    <a:pt x="4246" y="6415"/>
                  </a:lnTo>
                  <a:lnTo>
                    <a:pt x="4057" y="6321"/>
                  </a:lnTo>
                  <a:lnTo>
                    <a:pt x="3963" y="6415"/>
                  </a:lnTo>
                  <a:lnTo>
                    <a:pt x="3869" y="6510"/>
                  </a:lnTo>
                  <a:lnTo>
                    <a:pt x="3680" y="6887"/>
                  </a:lnTo>
                  <a:lnTo>
                    <a:pt x="3680" y="7076"/>
                  </a:lnTo>
                  <a:lnTo>
                    <a:pt x="3774" y="7076"/>
                  </a:lnTo>
                  <a:lnTo>
                    <a:pt x="3680" y="7264"/>
                  </a:lnTo>
                  <a:lnTo>
                    <a:pt x="3303" y="7453"/>
                  </a:lnTo>
                  <a:lnTo>
                    <a:pt x="2359" y="7925"/>
                  </a:lnTo>
                  <a:lnTo>
                    <a:pt x="2284" y="7953"/>
                  </a:lnTo>
                  <a:lnTo>
                    <a:pt x="2284" y="7953"/>
                  </a:lnTo>
                  <a:lnTo>
                    <a:pt x="2454" y="8208"/>
                  </a:lnTo>
                  <a:lnTo>
                    <a:pt x="2642" y="8396"/>
                  </a:lnTo>
                  <a:lnTo>
                    <a:pt x="2642" y="8302"/>
                  </a:lnTo>
                  <a:lnTo>
                    <a:pt x="2737" y="8396"/>
                  </a:lnTo>
                  <a:lnTo>
                    <a:pt x="2831" y="8113"/>
                  </a:lnTo>
                  <a:lnTo>
                    <a:pt x="2925" y="7925"/>
                  </a:lnTo>
                  <a:lnTo>
                    <a:pt x="3020" y="7830"/>
                  </a:lnTo>
                  <a:lnTo>
                    <a:pt x="3397" y="7830"/>
                  </a:lnTo>
                  <a:lnTo>
                    <a:pt x="3680" y="7736"/>
                  </a:lnTo>
                  <a:lnTo>
                    <a:pt x="3774" y="7547"/>
                  </a:lnTo>
                  <a:lnTo>
                    <a:pt x="3869" y="7264"/>
                  </a:lnTo>
                  <a:lnTo>
                    <a:pt x="4246" y="7453"/>
                  </a:lnTo>
                  <a:lnTo>
                    <a:pt x="4623" y="7642"/>
                  </a:lnTo>
                  <a:lnTo>
                    <a:pt x="4718" y="7547"/>
                  </a:lnTo>
                  <a:lnTo>
                    <a:pt x="4906" y="7359"/>
                  </a:lnTo>
                  <a:lnTo>
                    <a:pt x="5190" y="7170"/>
                  </a:lnTo>
                  <a:lnTo>
                    <a:pt x="5095" y="7076"/>
                  </a:lnTo>
                  <a:lnTo>
                    <a:pt x="4906" y="6793"/>
                  </a:lnTo>
                  <a:lnTo>
                    <a:pt x="4906" y="6793"/>
                  </a:lnTo>
                  <a:lnTo>
                    <a:pt x="5095" y="6887"/>
                  </a:lnTo>
                  <a:lnTo>
                    <a:pt x="5378" y="6793"/>
                  </a:lnTo>
                  <a:lnTo>
                    <a:pt x="5756" y="6510"/>
                  </a:lnTo>
                  <a:lnTo>
                    <a:pt x="6322" y="6132"/>
                  </a:lnTo>
                  <a:lnTo>
                    <a:pt x="6699" y="5566"/>
                  </a:lnTo>
                  <a:lnTo>
                    <a:pt x="7171" y="5095"/>
                  </a:lnTo>
                  <a:lnTo>
                    <a:pt x="7076" y="4717"/>
                  </a:lnTo>
                  <a:lnTo>
                    <a:pt x="6982" y="4434"/>
                  </a:lnTo>
                  <a:lnTo>
                    <a:pt x="6605" y="3963"/>
                  </a:lnTo>
                  <a:lnTo>
                    <a:pt x="6133" y="3491"/>
                  </a:lnTo>
                  <a:lnTo>
                    <a:pt x="5567" y="3113"/>
                  </a:lnTo>
                  <a:lnTo>
                    <a:pt x="4340" y="2547"/>
                  </a:lnTo>
                  <a:lnTo>
                    <a:pt x="3208" y="1887"/>
                  </a:lnTo>
                  <a:lnTo>
                    <a:pt x="2925" y="1698"/>
                  </a:lnTo>
                  <a:lnTo>
                    <a:pt x="2925" y="1604"/>
                  </a:lnTo>
                  <a:lnTo>
                    <a:pt x="2925" y="1510"/>
                  </a:lnTo>
                  <a:lnTo>
                    <a:pt x="2737" y="1698"/>
                  </a:lnTo>
                  <a:lnTo>
                    <a:pt x="2642" y="1698"/>
                  </a:lnTo>
                  <a:lnTo>
                    <a:pt x="2642" y="1604"/>
                  </a:lnTo>
                  <a:lnTo>
                    <a:pt x="2642" y="1510"/>
                  </a:lnTo>
                  <a:lnTo>
                    <a:pt x="2642" y="1415"/>
                  </a:lnTo>
                  <a:lnTo>
                    <a:pt x="2454" y="1604"/>
                  </a:lnTo>
                  <a:lnTo>
                    <a:pt x="2454" y="1698"/>
                  </a:lnTo>
                  <a:lnTo>
                    <a:pt x="2265" y="1887"/>
                  </a:lnTo>
                  <a:lnTo>
                    <a:pt x="2265" y="1604"/>
                  </a:lnTo>
                  <a:lnTo>
                    <a:pt x="2171" y="1415"/>
                  </a:lnTo>
                  <a:lnTo>
                    <a:pt x="1605" y="944"/>
                  </a:lnTo>
                  <a:lnTo>
                    <a:pt x="1227" y="755"/>
                  </a:lnTo>
                  <a:lnTo>
                    <a:pt x="1039" y="472"/>
                  </a:lnTo>
                  <a:lnTo>
                    <a:pt x="850" y="283"/>
                  </a:lnTo>
                  <a:lnTo>
                    <a:pt x="944" y="0"/>
                  </a:lnTo>
                  <a:close/>
                  <a:moveTo>
                    <a:pt x="2252" y="7965"/>
                  </a:moveTo>
                  <a:lnTo>
                    <a:pt x="850" y="8491"/>
                  </a:lnTo>
                  <a:lnTo>
                    <a:pt x="756" y="8491"/>
                  </a:lnTo>
                  <a:lnTo>
                    <a:pt x="756" y="8774"/>
                  </a:lnTo>
                  <a:lnTo>
                    <a:pt x="944" y="8868"/>
                  </a:lnTo>
                  <a:lnTo>
                    <a:pt x="1133" y="8868"/>
                  </a:lnTo>
                  <a:lnTo>
                    <a:pt x="1605" y="8774"/>
                  </a:lnTo>
                  <a:lnTo>
                    <a:pt x="1793" y="8679"/>
                  </a:lnTo>
                  <a:lnTo>
                    <a:pt x="2076" y="8491"/>
                  </a:lnTo>
                  <a:lnTo>
                    <a:pt x="2171" y="8208"/>
                  </a:lnTo>
                  <a:lnTo>
                    <a:pt x="2252" y="7965"/>
                  </a:lnTo>
                  <a:close/>
                </a:path>
              </a:pathLst>
            </a:custGeom>
            <a:solidFill>
              <a:srgbClr val="0067B7">
                <a:alpha val="52000"/>
              </a:srgbClr>
            </a:solidFill>
            <a:ln>
              <a:noFill/>
            </a:ln>
          </p:spPr>
          <p:txBody>
            <a:bodyPr spcFirstLastPara="1" wrap="square" lIns="91425" tIns="91425" rIns="91425" bIns="91425" anchor="ctr" anchorCtr="0">
              <a:noAutofit/>
            </a:bodyPr>
            <a:lstStyle/>
            <a:p>
              <a:pPr marL="0" lvl="0" indent="0">
                <a:spcBef>
                  <a:spcPts val="0"/>
                </a:spcBef>
                <a:spcAft>
                  <a:spcPts val="0"/>
                </a:spcAft>
                <a:buNone/>
              </a:pPr>
              <a:endParaRPr dirty="0"/>
            </a:p>
          </p:txBody>
        </p:sp>
      </p:grpSp>
      <p:sp>
        <p:nvSpPr>
          <p:cNvPr id="68" name="Rectangle 67">
            <a:extLst>
              <a:ext uri="{FF2B5EF4-FFF2-40B4-BE49-F238E27FC236}">
                <a16:creationId xmlns:a16="http://schemas.microsoft.com/office/drawing/2014/main" id="{A282939F-7EE7-764D-A3A5-07A0FA6ABA3F}"/>
              </a:ext>
            </a:extLst>
          </p:cNvPr>
          <p:cNvSpPr/>
          <p:nvPr/>
        </p:nvSpPr>
        <p:spPr>
          <a:xfrm>
            <a:off x="10216166" y="1911231"/>
            <a:ext cx="937656" cy="28541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r>
              <a:rPr lang="en-US" sz="9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Courier New" panose="02070309020205020404" pitchFamily="49" charset="0"/>
                <a:ea typeface="Nanum Pen Script" panose="03040600000000000000" pitchFamily="66" charset="-127"/>
                <a:cs typeface="Courier New" panose="02070309020205020404" pitchFamily="49" charset="0"/>
              </a:rPr>
              <a:t>Test Automation</a:t>
            </a:r>
          </a:p>
        </p:txBody>
      </p:sp>
      <p:sp>
        <p:nvSpPr>
          <p:cNvPr id="69" name="Rectangle 68">
            <a:extLst>
              <a:ext uri="{FF2B5EF4-FFF2-40B4-BE49-F238E27FC236}">
                <a16:creationId xmlns:a16="http://schemas.microsoft.com/office/drawing/2014/main" id="{74F0AE19-5C48-1348-8574-CB71088313BC}"/>
              </a:ext>
            </a:extLst>
          </p:cNvPr>
          <p:cNvSpPr/>
          <p:nvPr/>
        </p:nvSpPr>
        <p:spPr>
          <a:xfrm>
            <a:off x="7409271" y="1726059"/>
            <a:ext cx="1640126" cy="30228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r>
              <a:rPr lang="en-US" sz="1200" b="1" dirty="0">
                <a:solidFill>
                  <a:srgbClr val="035DA2"/>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Download &amp; Test</a:t>
            </a:r>
          </a:p>
        </p:txBody>
      </p:sp>
      <p:grpSp>
        <p:nvGrpSpPr>
          <p:cNvPr id="64" name="Group 63">
            <a:extLst>
              <a:ext uri="{FF2B5EF4-FFF2-40B4-BE49-F238E27FC236}">
                <a16:creationId xmlns:a16="http://schemas.microsoft.com/office/drawing/2014/main" id="{78D31C42-4E61-8349-B61B-048A1F70F6CD}"/>
              </a:ext>
            </a:extLst>
          </p:cNvPr>
          <p:cNvGrpSpPr/>
          <p:nvPr/>
        </p:nvGrpSpPr>
        <p:grpSpPr>
          <a:xfrm>
            <a:off x="6048170" y="1775746"/>
            <a:ext cx="302359" cy="302281"/>
            <a:chOff x="11013913" y="2398568"/>
            <a:chExt cx="495381" cy="383043"/>
          </a:xfrm>
        </p:grpSpPr>
        <p:pic>
          <p:nvPicPr>
            <p:cNvPr id="70" name="Picture 69">
              <a:extLst>
                <a:ext uri="{FF2B5EF4-FFF2-40B4-BE49-F238E27FC236}">
                  <a16:creationId xmlns:a16="http://schemas.microsoft.com/office/drawing/2014/main" id="{F8DD0AD8-4C1B-FE4D-BD59-B041859A4183}"/>
                </a:ext>
              </a:extLst>
            </p:cNvPr>
            <p:cNvPicPr>
              <a:picLocks noChangeAspect="1"/>
            </p:cNvPicPr>
            <p:nvPr/>
          </p:nvPicPr>
          <p:blipFill>
            <a:blip r:embed="rId6"/>
            <a:stretch>
              <a:fillRect/>
            </a:stretch>
          </p:blipFill>
          <p:spPr>
            <a:xfrm>
              <a:off x="11013913" y="2499935"/>
              <a:ext cx="263688" cy="238964"/>
            </a:xfrm>
            <a:prstGeom prst="rect">
              <a:avLst/>
            </a:prstGeom>
          </p:spPr>
        </p:pic>
        <p:pic>
          <p:nvPicPr>
            <p:cNvPr id="71" name="Picture 70">
              <a:extLst>
                <a:ext uri="{FF2B5EF4-FFF2-40B4-BE49-F238E27FC236}">
                  <a16:creationId xmlns:a16="http://schemas.microsoft.com/office/drawing/2014/main" id="{94C686F8-AF86-8F4C-B9EE-CF7130F2E386}"/>
                </a:ext>
              </a:extLst>
            </p:cNvPr>
            <p:cNvPicPr>
              <a:picLocks noChangeAspect="1"/>
            </p:cNvPicPr>
            <p:nvPr/>
          </p:nvPicPr>
          <p:blipFill>
            <a:blip r:embed="rId6"/>
            <a:stretch>
              <a:fillRect/>
            </a:stretch>
          </p:blipFill>
          <p:spPr>
            <a:xfrm>
              <a:off x="11145757" y="2398568"/>
              <a:ext cx="263688" cy="238964"/>
            </a:xfrm>
            <a:prstGeom prst="rect">
              <a:avLst/>
            </a:prstGeom>
          </p:spPr>
        </p:pic>
        <p:pic>
          <p:nvPicPr>
            <p:cNvPr id="72" name="Picture 71">
              <a:extLst>
                <a:ext uri="{FF2B5EF4-FFF2-40B4-BE49-F238E27FC236}">
                  <a16:creationId xmlns:a16="http://schemas.microsoft.com/office/drawing/2014/main" id="{4C35A16F-0532-294A-85D4-16C1880566AF}"/>
                </a:ext>
              </a:extLst>
            </p:cNvPr>
            <p:cNvPicPr>
              <a:picLocks noChangeAspect="1"/>
            </p:cNvPicPr>
            <p:nvPr/>
          </p:nvPicPr>
          <p:blipFill>
            <a:blip r:embed="rId6"/>
            <a:stretch>
              <a:fillRect/>
            </a:stretch>
          </p:blipFill>
          <p:spPr>
            <a:xfrm>
              <a:off x="11245606" y="2542647"/>
              <a:ext cx="263688" cy="238964"/>
            </a:xfrm>
            <a:prstGeom prst="rect">
              <a:avLst/>
            </a:prstGeom>
          </p:spPr>
        </p:pic>
      </p:grpSp>
      <p:sp>
        <p:nvSpPr>
          <p:cNvPr id="61" name="Rectangle 3">
            <a:extLst>
              <a:ext uri="{FF2B5EF4-FFF2-40B4-BE49-F238E27FC236}">
                <a16:creationId xmlns:a16="http://schemas.microsoft.com/office/drawing/2014/main" id="{77F5D633-0438-6B4A-A4AF-339FCC02D124}"/>
              </a:ext>
            </a:extLst>
          </p:cNvPr>
          <p:cNvSpPr txBox="1"/>
          <p:nvPr/>
        </p:nvSpPr>
        <p:spPr>
          <a:xfrm>
            <a:off x="3267167" y="1133305"/>
            <a:ext cx="5403733" cy="276995"/>
          </a:xfrm>
          <a:prstGeom prst="rect">
            <a:avLst/>
          </a:prstGeom>
          <a:ln w="12700">
            <a:miter lim="400000"/>
          </a:ln>
          <a:extLst>
            <a:ext uri="{C572A759-6A51-4108-AA02-DFA0A04FC94B}">
              <ma14:wrappingTextBoxFlag xmlns="" xmlns:ma14="http://schemas.microsoft.com/office/mac/drawingml/2011/main" val="1"/>
            </a:ext>
          </a:extLst>
        </p:spPr>
        <p:txBody>
          <a:bodyPr wrap="square" lIns="45718" tIns="45718" rIns="45718" bIns="45718">
            <a:spAutoFit/>
          </a:bodyPr>
          <a:lstStyle>
            <a:lvl1pPr algn="l" defTabSz="914400">
              <a:defRPr sz="2000">
                <a:solidFill>
                  <a:srgbClr val="104D6A"/>
                </a:solidFill>
                <a:latin typeface="Arial"/>
                <a:ea typeface="Arial"/>
                <a:cs typeface="Arial"/>
                <a:sym typeface="Arial"/>
              </a:defRPr>
            </a:lvl1pPr>
          </a:lstStyle>
          <a:p>
            <a:pPr lvl="0" algn="ctr">
              <a:defRPr/>
            </a:pPr>
            <a:r>
              <a:rPr lang="en-US" sz="1200" b="1" dirty="0">
                <a:solidFill>
                  <a:srgbClr val="C5277F"/>
                </a:solidFill>
                <a:latin typeface="Comic Sans MS" panose="030F0902030302020204" pitchFamily="66" charset="0"/>
                <a:ea typeface="Nanum Brush Script" panose="03060600000000000000" pitchFamily="66" charset="-127"/>
              </a:rPr>
              <a:t>Integration and continuous deployment</a:t>
            </a:r>
          </a:p>
        </p:txBody>
      </p:sp>
      <p:pic>
        <p:nvPicPr>
          <p:cNvPr id="5" name="Picture 4">
            <a:extLst>
              <a:ext uri="{FF2B5EF4-FFF2-40B4-BE49-F238E27FC236}">
                <a16:creationId xmlns:a16="http://schemas.microsoft.com/office/drawing/2014/main" id="{FC13D8FC-43A4-DA43-BF90-93CD89258DF3}"/>
              </a:ext>
            </a:extLst>
          </p:cNvPr>
          <p:cNvPicPr>
            <a:picLocks noChangeAspect="1"/>
          </p:cNvPicPr>
          <p:nvPr/>
        </p:nvPicPr>
        <p:blipFill>
          <a:blip r:embed="rId9"/>
          <a:stretch>
            <a:fillRect/>
          </a:stretch>
        </p:blipFill>
        <p:spPr>
          <a:xfrm>
            <a:off x="6478054" y="1681278"/>
            <a:ext cx="966632" cy="596962"/>
          </a:xfrm>
          <a:prstGeom prst="rect">
            <a:avLst/>
          </a:prstGeom>
        </p:spPr>
      </p:pic>
      <p:pic>
        <p:nvPicPr>
          <p:cNvPr id="12" name="Picture 11">
            <a:extLst>
              <a:ext uri="{FF2B5EF4-FFF2-40B4-BE49-F238E27FC236}">
                <a16:creationId xmlns:a16="http://schemas.microsoft.com/office/drawing/2014/main" id="{700BBA9D-139A-7A44-B627-60D2220907EB}"/>
              </a:ext>
            </a:extLst>
          </p:cNvPr>
          <p:cNvPicPr>
            <a:picLocks noChangeAspect="1"/>
          </p:cNvPicPr>
          <p:nvPr/>
        </p:nvPicPr>
        <p:blipFill>
          <a:blip r:embed="rId10"/>
          <a:stretch>
            <a:fillRect/>
          </a:stretch>
        </p:blipFill>
        <p:spPr>
          <a:xfrm>
            <a:off x="9984260" y="4228398"/>
            <a:ext cx="1039333" cy="673895"/>
          </a:xfrm>
          <a:prstGeom prst="rect">
            <a:avLst/>
          </a:prstGeom>
        </p:spPr>
      </p:pic>
      <p:sp>
        <p:nvSpPr>
          <p:cNvPr id="14" name="Rectangle 13">
            <a:extLst>
              <a:ext uri="{FF2B5EF4-FFF2-40B4-BE49-F238E27FC236}">
                <a16:creationId xmlns:a16="http://schemas.microsoft.com/office/drawing/2014/main" id="{4E0FF158-0772-C841-AECD-C8BC00AE17AF}"/>
              </a:ext>
            </a:extLst>
          </p:cNvPr>
          <p:cNvSpPr/>
          <p:nvPr/>
        </p:nvSpPr>
        <p:spPr>
          <a:xfrm>
            <a:off x="2954995" y="2716089"/>
            <a:ext cx="4996436" cy="3316849"/>
          </a:xfrm>
          <a:prstGeom prst="rect">
            <a:avLst/>
          </a:prstGeom>
          <a:noFill/>
          <a:ln w="6350">
            <a:solidFill>
              <a:srgbClr val="87CBD8">
                <a:alpha val="48000"/>
              </a:srgbClr>
            </a:solidFill>
            <a:prstDash val="dash"/>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a:solidFill>
                <a:srgbClr val="002D72"/>
              </a:solidFill>
              <a:latin typeface="Arial" pitchFamily="34" charset="0"/>
              <a:cs typeface="Arial" pitchFamily="34" charset="0"/>
            </a:endParaRPr>
          </a:p>
        </p:txBody>
      </p:sp>
      <p:sp>
        <p:nvSpPr>
          <p:cNvPr id="62" name="Rectangle 61">
            <a:extLst>
              <a:ext uri="{FF2B5EF4-FFF2-40B4-BE49-F238E27FC236}">
                <a16:creationId xmlns:a16="http://schemas.microsoft.com/office/drawing/2014/main" id="{09AE9FE0-D40F-1549-82B9-6B8595126929}"/>
              </a:ext>
            </a:extLst>
          </p:cNvPr>
          <p:cNvSpPr/>
          <p:nvPr/>
        </p:nvSpPr>
        <p:spPr>
          <a:xfrm>
            <a:off x="3118104" y="5748756"/>
            <a:ext cx="494110" cy="30228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r>
              <a:rPr lang="en-US" sz="1100" b="1" dirty="0">
                <a:solidFill>
                  <a:srgbClr val="87CBD8"/>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RML</a:t>
            </a:r>
          </a:p>
        </p:txBody>
      </p:sp>
      <p:sp>
        <p:nvSpPr>
          <p:cNvPr id="73" name="Rectangle 3">
            <a:extLst>
              <a:ext uri="{FF2B5EF4-FFF2-40B4-BE49-F238E27FC236}">
                <a16:creationId xmlns:a16="http://schemas.microsoft.com/office/drawing/2014/main" id="{B274BE6D-696E-774B-853A-39FFC81A0DC0}"/>
              </a:ext>
            </a:extLst>
          </p:cNvPr>
          <p:cNvSpPr txBox="1"/>
          <p:nvPr/>
        </p:nvSpPr>
        <p:spPr>
          <a:xfrm>
            <a:off x="404806" y="82014"/>
            <a:ext cx="7585857" cy="400105"/>
          </a:xfrm>
          <a:prstGeom prst="rect">
            <a:avLst/>
          </a:prstGeom>
          <a:ln w="12700">
            <a:miter lim="400000"/>
          </a:ln>
          <a:extLst>
            <a:ext uri="{C572A759-6A51-4108-AA02-DFA0A04FC94B}">
              <ma14:wrappingTextBoxFlag xmlns:ma14="http://schemas.microsoft.com/office/mac/drawingml/2011/main" xmlns="" val="1"/>
            </a:ext>
          </a:extLst>
        </p:spPr>
        <p:txBody>
          <a:bodyPr wrap="square" lIns="45718" tIns="45718" rIns="45718" bIns="45718">
            <a:spAutoFit/>
          </a:bodyPr>
          <a:lstStyle>
            <a:lvl1pPr algn="l" defTabSz="914400">
              <a:defRPr sz="2200" b="1">
                <a:solidFill>
                  <a:srgbClr val="FFFFFF"/>
                </a:solidFill>
                <a:latin typeface="Arial"/>
                <a:ea typeface="Arial"/>
                <a:cs typeface="Arial"/>
                <a:sym typeface="Arial"/>
              </a:defRPr>
            </a:lvl1pPr>
          </a:lstStyle>
          <a:p>
            <a:r>
              <a:rPr lang="en-US" sz="2000" dirty="0">
                <a:solidFill>
                  <a:srgbClr val="016AA2"/>
                </a:solidFill>
              </a:rPr>
              <a:t>Needs and Solution Proposal (XXVII)</a:t>
            </a:r>
          </a:p>
        </p:txBody>
      </p:sp>
      <p:sp>
        <p:nvSpPr>
          <p:cNvPr id="74" name="Rectangle 3">
            <a:extLst>
              <a:ext uri="{FF2B5EF4-FFF2-40B4-BE49-F238E27FC236}">
                <a16:creationId xmlns:a16="http://schemas.microsoft.com/office/drawing/2014/main" id="{4DCC9D19-EDC1-244C-8BBB-5EC7E1C8B970}"/>
              </a:ext>
            </a:extLst>
          </p:cNvPr>
          <p:cNvSpPr txBox="1"/>
          <p:nvPr/>
        </p:nvSpPr>
        <p:spPr>
          <a:xfrm>
            <a:off x="413951" y="421813"/>
            <a:ext cx="5695981" cy="369328"/>
          </a:xfrm>
          <a:prstGeom prst="rect">
            <a:avLst/>
          </a:prstGeom>
          <a:ln w="12700">
            <a:miter lim="400000"/>
          </a:ln>
          <a:extLst>
            <a:ext uri="{C572A759-6A51-4108-AA02-DFA0A04FC94B}">
              <ma14:wrappingTextBoxFlag xmlns="" xmlns:ma14="http://schemas.microsoft.com/office/mac/drawingml/2011/main" val="1"/>
            </a:ext>
          </a:extLst>
        </p:spPr>
        <p:txBody>
          <a:bodyPr wrap="square" lIns="45718" tIns="45718" rIns="45718" bIns="45718">
            <a:spAutoFit/>
          </a:bodyPr>
          <a:lstStyle>
            <a:lvl1pPr algn="l" defTabSz="914400">
              <a:defRPr sz="2000">
                <a:solidFill>
                  <a:srgbClr val="104D6A"/>
                </a:solidFill>
                <a:latin typeface="Arial"/>
                <a:ea typeface="Arial"/>
                <a:cs typeface="Arial"/>
                <a:sym typeface="Arial"/>
              </a:defRPr>
            </a:lvl1pPr>
          </a:lstStyle>
          <a:p>
            <a:pPr lvl="0">
              <a:defRPr/>
            </a:pPr>
            <a:r>
              <a:rPr lang="en-US" sz="1800" b="1" dirty="0">
                <a:solidFill>
                  <a:srgbClr val="73C4EF"/>
                </a:solidFill>
              </a:rPr>
              <a:t>Event Hub Architecture – Agile and DevOps</a:t>
            </a:r>
          </a:p>
        </p:txBody>
      </p:sp>
    </p:spTree>
    <p:extLst>
      <p:ext uri="{BB962C8B-B14F-4D97-AF65-F5344CB8AC3E}">
        <p14:creationId xmlns:p14="http://schemas.microsoft.com/office/powerpoint/2010/main" val="1493434109"/>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0" name="Rounded Rectangle 349">
            <a:extLst>
              <a:ext uri="{FF2B5EF4-FFF2-40B4-BE49-F238E27FC236}">
                <a16:creationId xmlns:a16="http://schemas.microsoft.com/office/drawing/2014/main" id="{37D4EB1C-6D33-FA49-98FD-6040F9924135}"/>
              </a:ext>
            </a:extLst>
          </p:cNvPr>
          <p:cNvSpPr/>
          <p:nvPr/>
        </p:nvSpPr>
        <p:spPr>
          <a:xfrm>
            <a:off x="5026759" y="1574040"/>
            <a:ext cx="2453796" cy="3779481"/>
          </a:xfrm>
          <a:prstGeom prst="roundRect">
            <a:avLst/>
          </a:prstGeom>
          <a:solidFill>
            <a:schemeClr val="bg1">
              <a:lumMod val="85000"/>
              <a:alpha val="33000"/>
            </a:schemeClr>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1200" b="1" dirty="0">
                <a:solidFill>
                  <a:schemeClr val="bg1">
                    <a:lumMod val="50000"/>
                  </a:schemeClr>
                </a:solidFill>
                <a:latin typeface="Nanum Pen Script" panose="03040600000000000000" pitchFamily="66" charset="-127"/>
                <a:ea typeface="Nanum Pen Script" panose="03040600000000000000" pitchFamily="66" charset="-127"/>
              </a:rPr>
              <a:t>Kafka Cluster (Brokers, Zookeeper)</a:t>
            </a:r>
          </a:p>
          <a:p>
            <a:pPr algn="ctr"/>
            <a:endParaRPr lang="en-US" sz="12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2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2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1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1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1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1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3200" dirty="0">
              <a:solidFill>
                <a:schemeClr val="tx1"/>
              </a:solidFill>
              <a:latin typeface="Nanum Pen Script" panose="03040600000000000000" pitchFamily="66" charset="-127"/>
              <a:ea typeface="Nanum Pen Script" panose="03040600000000000000" pitchFamily="66" charset="-127"/>
            </a:endParaRPr>
          </a:p>
          <a:p>
            <a:pPr algn="ctr"/>
            <a:endParaRPr lang="en-US" sz="3200" dirty="0">
              <a:solidFill>
                <a:schemeClr val="tx1"/>
              </a:solidFill>
              <a:latin typeface="Nanum Pen Script" panose="03040600000000000000" pitchFamily="66" charset="-127"/>
              <a:ea typeface="Nanum Pen Script" panose="03040600000000000000" pitchFamily="66" charset="-127"/>
            </a:endParaRPr>
          </a:p>
        </p:txBody>
      </p:sp>
      <p:sp>
        <p:nvSpPr>
          <p:cNvPr id="352" name="Rounded Rectangle 351">
            <a:extLst>
              <a:ext uri="{FF2B5EF4-FFF2-40B4-BE49-F238E27FC236}">
                <a16:creationId xmlns:a16="http://schemas.microsoft.com/office/drawing/2014/main" id="{E5BA36CA-237C-BB42-B395-76CF803EA61A}"/>
              </a:ext>
            </a:extLst>
          </p:cNvPr>
          <p:cNvSpPr/>
          <p:nvPr/>
        </p:nvSpPr>
        <p:spPr>
          <a:xfrm>
            <a:off x="423923" y="2307742"/>
            <a:ext cx="1172463" cy="504056"/>
          </a:xfrm>
          <a:prstGeom prst="roundRect">
            <a:avLst/>
          </a:prstGeom>
          <a:solidFill>
            <a:schemeClr val="bg1">
              <a:lumMod val="85000"/>
            </a:schemeClr>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b="1" dirty="0">
              <a:solidFill>
                <a:schemeClr val="bg1">
                  <a:lumMod val="50000"/>
                </a:schemeClr>
              </a:solidFill>
              <a:ea typeface="Nanum Pen Script" panose="03040600000000000000" pitchFamily="66" charset="-127"/>
            </a:endParaRPr>
          </a:p>
          <a:p>
            <a:pPr algn="ctr"/>
            <a:endParaRPr lang="en-US" sz="1000" b="1" dirty="0">
              <a:solidFill>
                <a:schemeClr val="bg1">
                  <a:lumMod val="50000"/>
                </a:schemeClr>
              </a:solidFill>
              <a:ea typeface="Nanum Pen Script" panose="03040600000000000000" pitchFamily="66" charset="-127"/>
            </a:endParaRPr>
          </a:p>
          <a:p>
            <a:pPr algn="ctr"/>
            <a:endParaRPr lang="en-US" sz="1000" b="1" dirty="0">
              <a:solidFill>
                <a:schemeClr val="bg1">
                  <a:lumMod val="50000"/>
                </a:schemeClr>
              </a:solidFill>
              <a:ea typeface="Nanum Pen Script" panose="03040600000000000000" pitchFamily="66" charset="-127"/>
            </a:endParaRPr>
          </a:p>
          <a:p>
            <a:pPr algn="ctr"/>
            <a:endParaRPr lang="en-US" sz="1000" b="1" dirty="0">
              <a:solidFill>
                <a:schemeClr val="bg1">
                  <a:lumMod val="50000"/>
                </a:schemeClr>
              </a:solidFill>
              <a:ea typeface="Nanum Pen Script" panose="03040600000000000000" pitchFamily="66" charset="-127"/>
            </a:endParaRPr>
          </a:p>
          <a:p>
            <a:pPr algn="ctr"/>
            <a:endParaRPr lang="en-US" sz="900" b="1" dirty="0">
              <a:solidFill>
                <a:schemeClr val="bg1">
                  <a:lumMod val="50000"/>
                </a:schemeClr>
              </a:solidFill>
              <a:ea typeface="Nanum Pen Script" panose="03040600000000000000" pitchFamily="66" charset="-127"/>
            </a:endParaRPr>
          </a:p>
          <a:p>
            <a:pPr algn="ctr"/>
            <a:endParaRPr lang="en-US" sz="900" b="1" dirty="0">
              <a:solidFill>
                <a:schemeClr val="bg1">
                  <a:lumMod val="50000"/>
                </a:schemeClr>
              </a:solidFill>
              <a:ea typeface="Nanum Pen Script" panose="03040600000000000000" pitchFamily="66" charset="-127"/>
            </a:endParaRPr>
          </a:p>
          <a:p>
            <a:pPr algn="ctr">
              <a:spcBef>
                <a:spcPts val="0"/>
              </a:spcBef>
            </a:pPr>
            <a:r>
              <a:rPr lang="en-US" sz="9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rPr>
              <a:t>Search</a:t>
            </a:r>
          </a:p>
          <a:p>
            <a:pPr algn="ctr">
              <a:spcBef>
                <a:spcPts val="0"/>
              </a:spcBef>
            </a:pPr>
            <a:endParaRPr lang="en-US" sz="9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endParaRPr>
          </a:p>
          <a:p>
            <a:pPr algn="ctr">
              <a:spcBef>
                <a:spcPts val="0"/>
              </a:spcBef>
            </a:pPr>
            <a:endParaRPr lang="en-US" sz="2000" dirty="0">
              <a:solidFill>
                <a:schemeClr val="tx1"/>
              </a:solidFill>
              <a:ea typeface="Nanum Pen Script" panose="03040600000000000000" pitchFamily="66" charset="-127"/>
            </a:endParaRPr>
          </a:p>
          <a:p>
            <a:pPr algn="ctr"/>
            <a:endParaRPr lang="en-US" sz="2000" dirty="0">
              <a:solidFill>
                <a:schemeClr val="tx1"/>
              </a:solidFill>
              <a:ea typeface="Nanum Pen Script" panose="03040600000000000000" pitchFamily="66" charset="-127"/>
            </a:endParaRPr>
          </a:p>
        </p:txBody>
      </p:sp>
      <p:sp>
        <p:nvSpPr>
          <p:cNvPr id="353" name="Rounded Rectangle 352">
            <a:extLst>
              <a:ext uri="{FF2B5EF4-FFF2-40B4-BE49-F238E27FC236}">
                <a16:creationId xmlns:a16="http://schemas.microsoft.com/office/drawing/2014/main" id="{E35EBFFD-A676-1D43-9F23-06948ABD1174}"/>
              </a:ext>
            </a:extLst>
          </p:cNvPr>
          <p:cNvSpPr/>
          <p:nvPr/>
        </p:nvSpPr>
        <p:spPr>
          <a:xfrm>
            <a:off x="2226383" y="2663884"/>
            <a:ext cx="1543735" cy="369328"/>
          </a:xfrm>
          <a:prstGeom prst="roundRect">
            <a:avLst/>
          </a:prstGeom>
          <a:solidFill>
            <a:schemeClr val="bg1">
              <a:lumMod val="85000"/>
            </a:schemeClr>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bg1">
                  <a:lumMod val="50000"/>
                </a:schemeClr>
              </a:solidFill>
              <a:latin typeface="+mj-lt"/>
              <a:ea typeface="Nanum Pen Script" panose="03040600000000000000" pitchFamily="66" charset="-127"/>
            </a:endParaRPr>
          </a:p>
          <a:p>
            <a:pPr algn="ctr"/>
            <a:endParaRPr lang="en-US" sz="800" dirty="0">
              <a:solidFill>
                <a:schemeClr val="bg1">
                  <a:lumMod val="50000"/>
                </a:schemeClr>
              </a:solidFill>
              <a:latin typeface="+mj-lt"/>
              <a:ea typeface="Nanum Pen Script" panose="03040600000000000000" pitchFamily="66" charset="-127"/>
            </a:endParaRPr>
          </a:p>
          <a:p>
            <a:pPr algn="ctr"/>
            <a:endParaRPr lang="en-US" sz="800" dirty="0">
              <a:solidFill>
                <a:schemeClr val="bg1">
                  <a:lumMod val="50000"/>
                </a:schemeClr>
              </a:solidFill>
              <a:latin typeface="+mj-lt"/>
              <a:ea typeface="Nanum Pen Script" panose="03040600000000000000" pitchFamily="66" charset="-127"/>
            </a:endParaRPr>
          </a:p>
          <a:p>
            <a:pPr algn="ctr"/>
            <a:endParaRPr lang="en-US" sz="800" dirty="0">
              <a:solidFill>
                <a:schemeClr val="bg1">
                  <a:lumMod val="50000"/>
                </a:schemeClr>
              </a:solidFill>
              <a:latin typeface="+mj-lt"/>
              <a:ea typeface="Nanum Pen Script" panose="03040600000000000000" pitchFamily="66" charset="-127"/>
            </a:endParaRPr>
          </a:p>
          <a:p>
            <a:pPr algn="ctr"/>
            <a:endParaRPr lang="en-US" sz="700" dirty="0">
              <a:solidFill>
                <a:schemeClr val="bg1">
                  <a:lumMod val="50000"/>
                </a:schemeClr>
              </a:solidFill>
              <a:latin typeface="+mj-lt"/>
              <a:ea typeface="Nanum Pen Script" panose="03040600000000000000" pitchFamily="66" charset="-127"/>
            </a:endParaRPr>
          </a:p>
          <a:p>
            <a:pPr algn="ctr"/>
            <a:r>
              <a:rPr lang="en-US" sz="900" dirty="0">
                <a:solidFill>
                  <a:schemeClr val="bg1">
                    <a:lumMod val="50000"/>
                  </a:schemeClr>
                </a:solidFill>
                <a:latin typeface="+mj-lt"/>
                <a:ea typeface="Nanum Pen Script" panose="03040600000000000000" pitchFamily="66" charset="-127"/>
              </a:rPr>
              <a:t>Kafka Connect</a:t>
            </a:r>
          </a:p>
          <a:p>
            <a:pPr algn="ctr"/>
            <a:r>
              <a:rPr lang="en-US" sz="900" dirty="0">
                <a:solidFill>
                  <a:schemeClr val="bg1">
                    <a:lumMod val="50000"/>
                  </a:schemeClr>
                </a:solidFill>
                <a:latin typeface="+mj-lt"/>
                <a:ea typeface="Nanum Pen Script" panose="03040600000000000000" pitchFamily="66" charset="-127"/>
              </a:rPr>
              <a:t>Sources</a:t>
            </a:r>
          </a:p>
          <a:p>
            <a:pPr algn="ctr"/>
            <a:endParaRPr lang="en-US" sz="900" dirty="0">
              <a:solidFill>
                <a:schemeClr val="bg1">
                  <a:lumMod val="50000"/>
                </a:schemeClr>
              </a:solidFill>
              <a:latin typeface="+mj-lt"/>
              <a:ea typeface="Nanum Pen Script" panose="03040600000000000000" pitchFamily="66" charset="-127"/>
            </a:endParaRPr>
          </a:p>
          <a:p>
            <a:pPr algn="ctr"/>
            <a:endParaRPr lang="en-US" sz="1600" dirty="0">
              <a:solidFill>
                <a:schemeClr val="tx1"/>
              </a:solidFill>
              <a:latin typeface="+mj-lt"/>
              <a:ea typeface="Nanum Pen Script" panose="03040600000000000000" pitchFamily="66" charset="-127"/>
            </a:endParaRPr>
          </a:p>
          <a:p>
            <a:pPr algn="ctr"/>
            <a:endParaRPr lang="en-US" sz="1600" dirty="0">
              <a:solidFill>
                <a:schemeClr val="tx1"/>
              </a:solidFill>
              <a:latin typeface="+mj-lt"/>
              <a:ea typeface="Nanum Pen Script" panose="03040600000000000000" pitchFamily="66" charset="-127"/>
            </a:endParaRPr>
          </a:p>
        </p:txBody>
      </p:sp>
      <p:sp>
        <p:nvSpPr>
          <p:cNvPr id="356" name="Rounded Rectangle 355">
            <a:extLst>
              <a:ext uri="{FF2B5EF4-FFF2-40B4-BE49-F238E27FC236}">
                <a16:creationId xmlns:a16="http://schemas.microsoft.com/office/drawing/2014/main" id="{31151B7A-DD04-6449-A967-279DB0FB3B71}"/>
              </a:ext>
            </a:extLst>
          </p:cNvPr>
          <p:cNvSpPr/>
          <p:nvPr/>
        </p:nvSpPr>
        <p:spPr>
          <a:xfrm>
            <a:off x="423923" y="2911810"/>
            <a:ext cx="1172464" cy="504056"/>
          </a:xfrm>
          <a:prstGeom prst="roundRect">
            <a:avLst/>
          </a:prstGeom>
          <a:solidFill>
            <a:schemeClr val="bg1">
              <a:lumMod val="85000"/>
            </a:schemeClr>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b="1" dirty="0">
              <a:solidFill>
                <a:schemeClr val="bg1">
                  <a:lumMod val="50000"/>
                </a:schemeClr>
              </a:solidFill>
              <a:ea typeface="Nanum Pen Script" panose="03040600000000000000" pitchFamily="66" charset="-127"/>
            </a:endParaRPr>
          </a:p>
          <a:p>
            <a:pPr algn="ctr"/>
            <a:endParaRPr lang="en-US" sz="1000" b="1" dirty="0">
              <a:solidFill>
                <a:schemeClr val="bg1">
                  <a:lumMod val="50000"/>
                </a:schemeClr>
              </a:solidFill>
              <a:ea typeface="Nanum Pen Script" panose="03040600000000000000" pitchFamily="66" charset="-127"/>
            </a:endParaRPr>
          </a:p>
          <a:p>
            <a:pPr algn="ctr"/>
            <a:endParaRPr lang="en-US" sz="1000" b="1" dirty="0">
              <a:solidFill>
                <a:schemeClr val="bg1">
                  <a:lumMod val="50000"/>
                </a:schemeClr>
              </a:solidFill>
              <a:ea typeface="Nanum Pen Script" panose="03040600000000000000" pitchFamily="66" charset="-127"/>
            </a:endParaRPr>
          </a:p>
          <a:p>
            <a:pPr algn="ctr"/>
            <a:endParaRPr lang="en-US" sz="1000" b="1" dirty="0">
              <a:solidFill>
                <a:schemeClr val="bg1">
                  <a:lumMod val="50000"/>
                </a:schemeClr>
              </a:solidFill>
              <a:ea typeface="Nanum Pen Script" panose="03040600000000000000" pitchFamily="66" charset="-127"/>
            </a:endParaRPr>
          </a:p>
          <a:p>
            <a:pPr algn="ctr"/>
            <a:endParaRPr lang="en-US" sz="900" b="1" dirty="0">
              <a:solidFill>
                <a:schemeClr val="bg1">
                  <a:lumMod val="50000"/>
                </a:schemeClr>
              </a:solidFill>
              <a:ea typeface="Nanum Pen Script" panose="03040600000000000000" pitchFamily="66" charset="-127"/>
            </a:endParaRPr>
          </a:p>
          <a:p>
            <a:pPr algn="ctr"/>
            <a:endParaRPr lang="en-US" sz="900" b="1" dirty="0">
              <a:solidFill>
                <a:schemeClr val="bg1">
                  <a:lumMod val="50000"/>
                </a:schemeClr>
              </a:solidFill>
              <a:ea typeface="Nanum Pen Script" panose="03040600000000000000" pitchFamily="66" charset="-127"/>
            </a:endParaRPr>
          </a:p>
          <a:p>
            <a:pPr algn="ctr"/>
            <a:endParaRPr lang="en-US" sz="900" b="1" dirty="0">
              <a:solidFill>
                <a:schemeClr val="bg1">
                  <a:lumMod val="50000"/>
                </a:schemeClr>
              </a:solidFill>
              <a:ea typeface="Nanum Pen Script" panose="03040600000000000000" pitchFamily="66" charset="-127"/>
            </a:endParaRPr>
          </a:p>
          <a:p>
            <a:pPr algn="ctr">
              <a:spcBef>
                <a:spcPts val="0"/>
              </a:spcBef>
            </a:pPr>
            <a:endParaRPr lang="en-US" sz="9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endParaRPr>
          </a:p>
          <a:p>
            <a:pPr algn="ctr">
              <a:spcBef>
                <a:spcPts val="0"/>
              </a:spcBef>
            </a:pPr>
            <a:r>
              <a:rPr lang="en-US" sz="9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rPr>
              <a:t>Key Value Storage</a:t>
            </a:r>
          </a:p>
          <a:p>
            <a:pPr algn="ctr">
              <a:spcBef>
                <a:spcPts val="0"/>
              </a:spcBef>
            </a:pPr>
            <a:endParaRPr lang="en-US" sz="9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endParaRPr>
          </a:p>
          <a:p>
            <a:pPr algn="ctr">
              <a:spcBef>
                <a:spcPts val="0"/>
              </a:spcBef>
            </a:pPr>
            <a:endParaRPr lang="en-US" sz="9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endParaRPr>
          </a:p>
          <a:p>
            <a:pPr algn="ctr">
              <a:spcBef>
                <a:spcPts val="0"/>
              </a:spcBef>
            </a:pPr>
            <a:endParaRPr lang="en-US" sz="9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endParaRPr>
          </a:p>
          <a:p>
            <a:pPr algn="ctr">
              <a:spcBef>
                <a:spcPts val="0"/>
              </a:spcBef>
            </a:pPr>
            <a:endParaRPr lang="en-US" sz="900" dirty="0">
              <a:solidFill>
                <a:schemeClr val="tx1">
                  <a:lumMod val="50000"/>
                  <a:lumOff val="50000"/>
                </a:schemeClr>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endParaRPr>
          </a:p>
          <a:p>
            <a:pPr algn="ctr"/>
            <a:endParaRPr lang="en-US" sz="2000" dirty="0">
              <a:solidFill>
                <a:schemeClr val="tx1"/>
              </a:solidFill>
              <a:ea typeface="Nanum Pen Script" panose="03040600000000000000" pitchFamily="66" charset="-127"/>
            </a:endParaRPr>
          </a:p>
          <a:p>
            <a:pPr algn="ctr"/>
            <a:endParaRPr lang="en-US" sz="2000" dirty="0">
              <a:solidFill>
                <a:schemeClr val="tx1"/>
              </a:solidFill>
              <a:ea typeface="Nanum Pen Script" panose="03040600000000000000" pitchFamily="66" charset="-127"/>
            </a:endParaRPr>
          </a:p>
        </p:txBody>
      </p:sp>
      <p:sp>
        <p:nvSpPr>
          <p:cNvPr id="357" name="Rounded Rectangle 356">
            <a:extLst>
              <a:ext uri="{FF2B5EF4-FFF2-40B4-BE49-F238E27FC236}">
                <a16:creationId xmlns:a16="http://schemas.microsoft.com/office/drawing/2014/main" id="{FF4C3035-A61D-724D-9F0E-C62717DAE6A8}"/>
              </a:ext>
            </a:extLst>
          </p:cNvPr>
          <p:cNvSpPr/>
          <p:nvPr/>
        </p:nvSpPr>
        <p:spPr>
          <a:xfrm>
            <a:off x="423922" y="3488446"/>
            <a:ext cx="1172464" cy="504056"/>
          </a:xfrm>
          <a:prstGeom prst="roundRect">
            <a:avLst/>
          </a:prstGeom>
          <a:solidFill>
            <a:schemeClr val="bg1">
              <a:lumMod val="85000"/>
            </a:schemeClr>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b="1" dirty="0">
              <a:solidFill>
                <a:schemeClr val="bg1">
                  <a:lumMod val="50000"/>
                </a:schemeClr>
              </a:solidFill>
              <a:ea typeface="Nanum Pen Script" panose="03040600000000000000" pitchFamily="66" charset="-127"/>
            </a:endParaRPr>
          </a:p>
          <a:p>
            <a:pPr algn="ctr"/>
            <a:endParaRPr lang="en-US" sz="1000" b="1" dirty="0">
              <a:solidFill>
                <a:schemeClr val="bg1">
                  <a:lumMod val="50000"/>
                </a:schemeClr>
              </a:solidFill>
              <a:ea typeface="Nanum Pen Script" panose="03040600000000000000" pitchFamily="66" charset="-127"/>
            </a:endParaRPr>
          </a:p>
          <a:p>
            <a:pPr algn="ctr"/>
            <a:endParaRPr lang="en-US" sz="1000" b="1" dirty="0">
              <a:solidFill>
                <a:schemeClr val="bg1">
                  <a:lumMod val="50000"/>
                </a:schemeClr>
              </a:solidFill>
              <a:ea typeface="Nanum Pen Script" panose="03040600000000000000" pitchFamily="66" charset="-127"/>
            </a:endParaRPr>
          </a:p>
          <a:p>
            <a:pPr algn="ctr"/>
            <a:endParaRPr lang="en-US" sz="1000" b="1" dirty="0">
              <a:solidFill>
                <a:schemeClr val="bg1">
                  <a:lumMod val="50000"/>
                </a:schemeClr>
              </a:solidFill>
              <a:ea typeface="Nanum Pen Script" panose="03040600000000000000" pitchFamily="66" charset="-127"/>
            </a:endParaRPr>
          </a:p>
          <a:p>
            <a:pPr algn="ctr"/>
            <a:endParaRPr lang="en-US" sz="900" b="1" dirty="0">
              <a:solidFill>
                <a:schemeClr val="bg1">
                  <a:lumMod val="50000"/>
                </a:schemeClr>
              </a:solidFill>
              <a:ea typeface="Nanum Pen Script" panose="03040600000000000000" pitchFamily="66" charset="-127"/>
            </a:endParaRPr>
          </a:p>
          <a:p>
            <a:pPr algn="ctr"/>
            <a:endParaRPr lang="en-US" sz="900" b="1" dirty="0">
              <a:solidFill>
                <a:schemeClr val="bg1">
                  <a:lumMod val="50000"/>
                </a:schemeClr>
              </a:solidFill>
              <a:ea typeface="Nanum Pen Script" panose="03040600000000000000" pitchFamily="66" charset="-127"/>
            </a:endParaRPr>
          </a:p>
          <a:p>
            <a:pPr algn="ctr">
              <a:spcBef>
                <a:spcPts val="0"/>
              </a:spcBef>
            </a:pPr>
            <a:r>
              <a:rPr lang="en-US" sz="9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rPr>
              <a:t>COP</a:t>
            </a:r>
          </a:p>
          <a:p>
            <a:pPr algn="ctr">
              <a:spcBef>
                <a:spcPts val="0"/>
              </a:spcBef>
            </a:pPr>
            <a:endParaRPr lang="en-US" sz="9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endParaRPr>
          </a:p>
          <a:p>
            <a:pPr algn="ctr"/>
            <a:endParaRPr lang="en-US" sz="2000" dirty="0">
              <a:solidFill>
                <a:schemeClr val="tx1"/>
              </a:solidFill>
              <a:ea typeface="Nanum Pen Script" panose="03040600000000000000" pitchFamily="66" charset="-127"/>
            </a:endParaRPr>
          </a:p>
          <a:p>
            <a:pPr algn="ctr"/>
            <a:endParaRPr lang="en-US" sz="2000" dirty="0">
              <a:solidFill>
                <a:schemeClr val="tx1"/>
              </a:solidFill>
              <a:ea typeface="Nanum Pen Script" panose="03040600000000000000" pitchFamily="66" charset="-127"/>
            </a:endParaRPr>
          </a:p>
        </p:txBody>
      </p:sp>
      <p:grpSp>
        <p:nvGrpSpPr>
          <p:cNvPr id="358" name="Group 357">
            <a:extLst>
              <a:ext uri="{FF2B5EF4-FFF2-40B4-BE49-F238E27FC236}">
                <a16:creationId xmlns:a16="http://schemas.microsoft.com/office/drawing/2014/main" id="{AE9AFE8D-243D-324C-BD00-85790CBB53D2}"/>
              </a:ext>
            </a:extLst>
          </p:cNvPr>
          <p:cNvGrpSpPr/>
          <p:nvPr/>
        </p:nvGrpSpPr>
        <p:grpSpPr>
          <a:xfrm rot="21011211">
            <a:off x="420919" y="2386524"/>
            <a:ext cx="292910" cy="222927"/>
            <a:chOff x="702590" y="1203599"/>
            <a:chExt cx="301686" cy="290724"/>
          </a:xfrm>
        </p:grpSpPr>
        <p:sp>
          <p:nvSpPr>
            <p:cNvPr id="359" name="Google Shape;431;p39">
              <a:extLst>
                <a:ext uri="{FF2B5EF4-FFF2-40B4-BE49-F238E27FC236}">
                  <a16:creationId xmlns:a16="http://schemas.microsoft.com/office/drawing/2014/main" id="{BFEC4B86-5E4C-BC4B-BF59-E42C7103DA0E}"/>
                </a:ext>
              </a:extLst>
            </p:cNvPr>
            <p:cNvSpPr/>
            <p:nvPr/>
          </p:nvSpPr>
          <p:spPr>
            <a:xfrm>
              <a:off x="736556" y="1203599"/>
              <a:ext cx="219241" cy="290724"/>
            </a:xfrm>
            <a:custGeom>
              <a:avLst/>
              <a:gdLst/>
              <a:ahLst/>
              <a:cxnLst/>
              <a:rect l="0" t="0" r="0" b="0"/>
              <a:pathLst>
                <a:path w="67641" h="69056" extrusionOk="0">
                  <a:moveTo>
                    <a:pt x="49622" y="2736"/>
                  </a:moveTo>
                  <a:lnTo>
                    <a:pt x="49622" y="2736"/>
                  </a:lnTo>
                  <a:lnTo>
                    <a:pt x="49622" y="2736"/>
                  </a:lnTo>
                  <a:close/>
                  <a:moveTo>
                    <a:pt x="59622" y="55565"/>
                  </a:moveTo>
                  <a:lnTo>
                    <a:pt x="59622" y="55565"/>
                  </a:lnTo>
                  <a:lnTo>
                    <a:pt x="59622" y="55565"/>
                  </a:lnTo>
                  <a:close/>
                  <a:moveTo>
                    <a:pt x="35471" y="0"/>
                  </a:moveTo>
                  <a:lnTo>
                    <a:pt x="34433" y="95"/>
                  </a:lnTo>
                  <a:lnTo>
                    <a:pt x="33584" y="189"/>
                  </a:lnTo>
                  <a:lnTo>
                    <a:pt x="32735" y="378"/>
                  </a:lnTo>
                  <a:lnTo>
                    <a:pt x="32169" y="566"/>
                  </a:lnTo>
                  <a:lnTo>
                    <a:pt x="31509" y="472"/>
                  </a:lnTo>
                  <a:lnTo>
                    <a:pt x="30754" y="472"/>
                  </a:lnTo>
                  <a:lnTo>
                    <a:pt x="29339" y="566"/>
                  </a:lnTo>
                  <a:lnTo>
                    <a:pt x="27830" y="849"/>
                  </a:lnTo>
                  <a:lnTo>
                    <a:pt x="26320" y="1321"/>
                  </a:lnTo>
                  <a:lnTo>
                    <a:pt x="24811" y="1981"/>
                  </a:lnTo>
                  <a:lnTo>
                    <a:pt x="23207" y="2736"/>
                  </a:lnTo>
                  <a:lnTo>
                    <a:pt x="21698" y="3585"/>
                  </a:lnTo>
                  <a:lnTo>
                    <a:pt x="20188" y="4623"/>
                  </a:lnTo>
                  <a:lnTo>
                    <a:pt x="18679" y="5661"/>
                  </a:lnTo>
                  <a:lnTo>
                    <a:pt x="17170" y="6793"/>
                  </a:lnTo>
                  <a:lnTo>
                    <a:pt x="15754" y="8019"/>
                  </a:lnTo>
                  <a:lnTo>
                    <a:pt x="14434" y="9151"/>
                  </a:lnTo>
                  <a:lnTo>
                    <a:pt x="11981" y="11510"/>
                  </a:lnTo>
                  <a:lnTo>
                    <a:pt x="10000" y="13774"/>
                  </a:lnTo>
                  <a:lnTo>
                    <a:pt x="7736" y="16981"/>
                  </a:lnTo>
                  <a:lnTo>
                    <a:pt x="8019" y="16321"/>
                  </a:lnTo>
                  <a:lnTo>
                    <a:pt x="8302" y="15660"/>
                  </a:lnTo>
                  <a:lnTo>
                    <a:pt x="7736" y="16604"/>
                  </a:lnTo>
                  <a:lnTo>
                    <a:pt x="7075" y="17642"/>
                  </a:lnTo>
                  <a:lnTo>
                    <a:pt x="7170" y="17830"/>
                  </a:lnTo>
                  <a:lnTo>
                    <a:pt x="6509" y="18868"/>
                  </a:lnTo>
                  <a:lnTo>
                    <a:pt x="7075" y="17359"/>
                  </a:lnTo>
                  <a:lnTo>
                    <a:pt x="6132" y="19057"/>
                  </a:lnTo>
                  <a:lnTo>
                    <a:pt x="5189" y="20849"/>
                  </a:lnTo>
                  <a:lnTo>
                    <a:pt x="4434" y="22736"/>
                  </a:lnTo>
                  <a:lnTo>
                    <a:pt x="3679" y="24622"/>
                  </a:lnTo>
                  <a:lnTo>
                    <a:pt x="2453" y="28490"/>
                  </a:lnTo>
                  <a:lnTo>
                    <a:pt x="1321" y="32169"/>
                  </a:lnTo>
                  <a:lnTo>
                    <a:pt x="1509" y="32264"/>
                  </a:lnTo>
                  <a:lnTo>
                    <a:pt x="1604" y="32453"/>
                  </a:lnTo>
                  <a:lnTo>
                    <a:pt x="1604" y="32641"/>
                  </a:lnTo>
                  <a:lnTo>
                    <a:pt x="1509" y="32924"/>
                  </a:lnTo>
                  <a:lnTo>
                    <a:pt x="1226" y="33396"/>
                  </a:lnTo>
                  <a:lnTo>
                    <a:pt x="1038" y="33585"/>
                  </a:lnTo>
                  <a:lnTo>
                    <a:pt x="1038" y="33773"/>
                  </a:lnTo>
                  <a:lnTo>
                    <a:pt x="1038" y="35000"/>
                  </a:lnTo>
                  <a:lnTo>
                    <a:pt x="849" y="36132"/>
                  </a:lnTo>
                  <a:lnTo>
                    <a:pt x="660" y="37358"/>
                  </a:lnTo>
                  <a:lnTo>
                    <a:pt x="472" y="38867"/>
                  </a:lnTo>
                  <a:lnTo>
                    <a:pt x="283" y="38301"/>
                  </a:lnTo>
                  <a:lnTo>
                    <a:pt x="94" y="39811"/>
                  </a:lnTo>
                  <a:lnTo>
                    <a:pt x="0" y="41509"/>
                  </a:lnTo>
                  <a:lnTo>
                    <a:pt x="94" y="43301"/>
                  </a:lnTo>
                  <a:lnTo>
                    <a:pt x="283" y="44056"/>
                  </a:lnTo>
                  <a:lnTo>
                    <a:pt x="472" y="44622"/>
                  </a:lnTo>
                  <a:lnTo>
                    <a:pt x="566" y="45660"/>
                  </a:lnTo>
                  <a:lnTo>
                    <a:pt x="755" y="46792"/>
                  </a:lnTo>
                  <a:lnTo>
                    <a:pt x="1226" y="48962"/>
                  </a:lnTo>
                  <a:lnTo>
                    <a:pt x="1981" y="51037"/>
                  </a:lnTo>
                  <a:lnTo>
                    <a:pt x="2924" y="53112"/>
                  </a:lnTo>
                  <a:lnTo>
                    <a:pt x="4057" y="55094"/>
                  </a:lnTo>
                  <a:lnTo>
                    <a:pt x="5283" y="56980"/>
                  </a:lnTo>
                  <a:lnTo>
                    <a:pt x="6698" y="58678"/>
                  </a:lnTo>
                  <a:lnTo>
                    <a:pt x="8113" y="60282"/>
                  </a:lnTo>
                  <a:lnTo>
                    <a:pt x="9056" y="61131"/>
                  </a:lnTo>
                  <a:lnTo>
                    <a:pt x="10000" y="61980"/>
                  </a:lnTo>
                  <a:lnTo>
                    <a:pt x="11038" y="62829"/>
                  </a:lnTo>
                  <a:lnTo>
                    <a:pt x="12075" y="63584"/>
                  </a:lnTo>
                  <a:lnTo>
                    <a:pt x="14339" y="64905"/>
                  </a:lnTo>
                  <a:lnTo>
                    <a:pt x="16604" y="66131"/>
                  </a:lnTo>
                  <a:lnTo>
                    <a:pt x="19056" y="67169"/>
                  </a:lnTo>
                  <a:lnTo>
                    <a:pt x="21509" y="67923"/>
                  </a:lnTo>
                  <a:lnTo>
                    <a:pt x="24056" y="68584"/>
                  </a:lnTo>
                  <a:lnTo>
                    <a:pt x="26603" y="69055"/>
                  </a:lnTo>
                  <a:lnTo>
                    <a:pt x="27830" y="69055"/>
                  </a:lnTo>
                  <a:lnTo>
                    <a:pt x="30188" y="68867"/>
                  </a:lnTo>
                  <a:lnTo>
                    <a:pt x="33113" y="68678"/>
                  </a:lnTo>
                  <a:lnTo>
                    <a:pt x="36509" y="68301"/>
                  </a:lnTo>
                  <a:lnTo>
                    <a:pt x="39811" y="67923"/>
                  </a:lnTo>
                  <a:lnTo>
                    <a:pt x="42735" y="67452"/>
                  </a:lnTo>
                  <a:lnTo>
                    <a:pt x="44905" y="66980"/>
                  </a:lnTo>
                  <a:lnTo>
                    <a:pt x="45565" y="66791"/>
                  </a:lnTo>
                  <a:lnTo>
                    <a:pt x="45943" y="66508"/>
                  </a:lnTo>
                  <a:lnTo>
                    <a:pt x="47358" y="65942"/>
                  </a:lnTo>
                  <a:lnTo>
                    <a:pt x="48018" y="65565"/>
                  </a:lnTo>
                  <a:lnTo>
                    <a:pt x="48678" y="65188"/>
                  </a:lnTo>
                  <a:lnTo>
                    <a:pt x="47924" y="65471"/>
                  </a:lnTo>
                  <a:lnTo>
                    <a:pt x="51509" y="62924"/>
                  </a:lnTo>
                  <a:lnTo>
                    <a:pt x="53301" y="61508"/>
                  </a:lnTo>
                  <a:lnTo>
                    <a:pt x="55093" y="59905"/>
                  </a:lnTo>
                  <a:lnTo>
                    <a:pt x="55093" y="59905"/>
                  </a:lnTo>
                  <a:lnTo>
                    <a:pt x="54810" y="60376"/>
                  </a:lnTo>
                  <a:lnTo>
                    <a:pt x="54339" y="60754"/>
                  </a:lnTo>
                  <a:lnTo>
                    <a:pt x="55376" y="59999"/>
                  </a:lnTo>
                  <a:lnTo>
                    <a:pt x="56320" y="59056"/>
                  </a:lnTo>
                  <a:lnTo>
                    <a:pt x="57075" y="58395"/>
                  </a:lnTo>
                  <a:lnTo>
                    <a:pt x="57169" y="58207"/>
                  </a:lnTo>
                  <a:lnTo>
                    <a:pt x="57075" y="58207"/>
                  </a:lnTo>
                  <a:lnTo>
                    <a:pt x="57924" y="57546"/>
                  </a:lnTo>
                  <a:lnTo>
                    <a:pt x="58678" y="56697"/>
                  </a:lnTo>
                  <a:lnTo>
                    <a:pt x="59339" y="55754"/>
                  </a:lnTo>
                  <a:lnTo>
                    <a:pt x="59905" y="54905"/>
                  </a:lnTo>
                  <a:lnTo>
                    <a:pt x="59716" y="54999"/>
                  </a:lnTo>
                  <a:lnTo>
                    <a:pt x="59622" y="54999"/>
                  </a:lnTo>
                  <a:lnTo>
                    <a:pt x="59810" y="54622"/>
                  </a:lnTo>
                  <a:lnTo>
                    <a:pt x="59150" y="55565"/>
                  </a:lnTo>
                  <a:lnTo>
                    <a:pt x="59527" y="55094"/>
                  </a:lnTo>
                  <a:lnTo>
                    <a:pt x="59433" y="55377"/>
                  </a:lnTo>
                  <a:lnTo>
                    <a:pt x="58867" y="56037"/>
                  </a:lnTo>
                  <a:lnTo>
                    <a:pt x="59056" y="55660"/>
                  </a:lnTo>
                  <a:lnTo>
                    <a:pt x="59056" y="55660"/>
                  </a:lnTo>
                  <a:lnTo>
                    <a:pt x="58678" y="56037"/>
                  </a:lnTo>
                  <a:lnTo>
                    <a:pt x="59810" y="54339"/>
                  </a:lnTo>
                  <a:lnTo>
                    <a:pt x="60282" y="53490"/>
                  </a:lnTo>
                  <a:lnTo>
                    <a:pt x="60282" y="53301"/>
                  </a:lnTo>
                  <a:lnTo>
                    <a:pt x="60188" y="53395"/>
                  </a:lnTo>
                  <a:lnTo>
                    <a:pt x="60188" y="53395"/>
                  </a:lnTo>
                  <a:lnTo>
                    <a:pt x="60565" y="52924"/>
                  </a:lnTo>
                  <a:lnTo>
                    <a:pt x="61037" y="52452"/>
                  </a:lnTo>
                  <a:lnTo>
                    <a:pt x="61886" y="51509"/>
                  </a:lnTo>
                  <a:lnTo>
                    <a:pt x="61508" y="52452"/>
                  </a:lnTo>
                  <a:lnTo>
                    <a:pt x="60848" y="53584"/>
                  </a:lnTo>
                  <a:lnTo>
                    <a:pt x="59622" y="55565"/>
                  </a:lnTo>
                  <a:lnTo>
                    <a:pt x="60376" y="54528"/>
                  </a:lnTo>
                  <a:lnTo>
                    <a:pt x="60942" y="53678"/>
                  </a:lnTo>
                  <a:lnTo>
                    <a:pt x="61980" y="51792"/>
                  </a:lnTo>
                  <a:lnTo>
                    <a:pt x="61886" y="51886"/>
                  </a:lnTo>
                  <a:lnTo>
                    <a:pt x="61886" y="51697"/>
                  </a:lnTo>
                  <a:lnTo>
                    <a:pt x="62169" y="51037"/>
                  </a:lnTo>
                  <a:lnTo>
                    <a:pt x="62735" y="49999"/>
                  </a:lnTo>
                  <a:lnTo>
                    <a:pt x="61508" y="51603"/>
                  </a:lnTo>
                  <a:lnTo>
                    <a:pt x="61603" y="51037"/>
                  </a:lnTo>
                  <a:lnTo>
                    <a:pt x="61697" y="50377"/>
                  </a:lnTo>
                  <a:lnTo>
                    <a:pt x="62169" y="48962"/>
                  </a:lnTo>
                  <a:lnTo>
                    <a:pt x="62829" y="47358"/>
                  </a:lnTo>
                  <a:lnTo>
                    <a:pt x="63678" y="45565"/>
                  </a:lnTo>
                  <a:lnTo>
                    <a:pt x="65376" y="42169"/>
                  </a:lnTo>
                  <a:lnTo>
                    <a:pt x="66131" y="40660"/>
                  </a:lnTo>
                  <a:lnTo>
                    <a:pt x="66697" y="39339"/>
                  </a:lnTo>
                  <a:lnTo>
                    <a:pt x="66603" y="39528"/>
                  </a:lnTo>
                  <a:lnTo>
                    <a:pt x="66697" y="39056"/>
                  </a:lnTo>
                  <a:lnTo>
                    <a:pt x="66791" y="38962"/>
                  </a:lnTo>
                  <a:lnTo>
                    <a:pt x="66791" y="39056"/>
                  </a:lnTo>
                  <a:lnTo>
                    <a:pt x="66886" y="38584"/>
                  </a:lnTo>
                  <a:lnTo>
                    <a:pt x="66791" y="38867"/>
                  </a:lnTo>
                  <a:lnTo>
                    <a:pt x="66980" y="38207"/>
                  </a:lnTo>
                  <a:lnTo>
                    <a:pt x="67169" y="37264"/>
                  </a:lnTo>
                  <a:lnTo>
                    <a:pt x="67263" y="36415"/>
                  </a:lnTo>
                  <a:lnTo>
                    <a:pt x="67357" y="36509"/>
                  </a:lnTo>
                  <a:lnTo>
                    <a:pt x="67452" y="36509"/>
                  </a:lnTo>
                  <a:lnTo>
                    <a:pt x="67546" y="35943"/>
                  </a:lnTo>
                  <a:lnTo>
                    <a:pt x="67546" y="34811"/>
                  </a:lnTo>
                  <a:lnTo>
                    <a:pt x="67640" y="31037"/>
                  </a:lnTo>
                  <a:lnTo>
                    <a:pt x="67640" y="28490"/>
                  </a:lnTo>
                  <a:lnTo>
                    <a:pt x="67546" y="27736"/>
                  </a:lnTo>
                  <a:lnTo>
                    <a:pt x="67546" y="27547"/>
                  </a:lnTo>
                  <a:lnTo>
                    <a:pt x="67452" y="27547"/>
                  </a:lnTo>
                  <a:lnTo>
                    <a:pt x="67074" y="26792"/>
                  </a:lnTo>
                  <a:lnTo>
                    <a:pt x="66791" y="25660"/>
                  </a:lnTo>
                  <a:lnTo>
                    <a:pt x="66508" y="24528"/>
                  </a:lnTo>
                  <a:lnTo>
                    <a:pt x="66414" y="23585"/>
                  </a:lnTo>
                  <a:lnTo>
                    <a:pt x="66320" y="23679"/>
                  </a:lnTo>
                  <a:lnTo>
                    <a:pt x="66320" y="23490"/>
                  </a:lnTo>
                  <a:lnTo>
                    <a:pt x="65942" y="22924"/>
                  </a:lnTo>
                  <a:lnTo>
                    <a:pt x="65565" y="22358"/>
                  </a:lnTo>
                  <a:lnTo>
                    <a:pt x="64527" y="21132"/>
                  </a:lnTo>
                  <a:lnTo>
                    <a:pt x="63584" y="19906"/>
                  </a:lnTo>
                  <a:lnTo>
                    <a:pt x="63207" y="19340"/>
                  </a:lnTo>
                  <a:lnTo>
                    <a:pt x="63018" y="18774"/>
                  </a:lnTo>
                  <a:lnTo>
                    <a:pt x="63112" y="18962"/>
                  </a:lnTo>
                  <a:lnTo>
                    <a:pt x="63301" y="19057"/>
                  </a:lnTo>
                  <a:lnTo>
                    <a:pt x="63301" y="19057"/>
                  </a:lnTo>
                  <a:lnTo>
                    <a:pt x="63207" y="18868"/>
                  </a:lnTo>
                  <a:lnTo>
                    <a:pt x="62923" y="18491"/>
                  </a:lnTo>
                  <a:lnTo>
                    <a:pt x="61980" y="17453"/>
                  </a:lnTo>
                  <a:lnTo>
                    <a:pt x="61037" y="16509"/>
                  </a:lnTo>
                  <a:lnTo>
                    <a:pt x="61037" y="16698"/>
                  </a:lnTo>
                  <a:lnTo>
                    <a:pt x="61037" y="16887"/>
                  </a:lnTo>
                  <a:lnTo>
                    <a:pt x="60093" y="15943"/>
                  </a:lnTo>
                  <a:lnTo>
                    <a:pt x="60376" y="16321"/>
                  </a:lnTo>
                  <a:lnTo>
                    <a:pt x="59527" y="15377"/>
                  </a:lnTo>
                  <a:lnTo>
                    <a:pt x="59056" y="14906"/>
                  </a:lnTo>
                  <a:lnTo>
                    <a:pt x="59244" y="14906"/>
                  </a:lnTo>
                  <a:lnTo>
                    <a:pt x="59905" y="15472"/>
                  </a:lnTo>
                  <a:lnTo>
                    <a:pt x="59905" y="15472"/>
                  </a:lnTo>
                  <a:lnTo>
                    <a:pt x="57641" y="13396"/>
                  </a:lnTo>
                  <a:lnTo>
                    <a:pt x="58112" y="13868"/>
                  </a:lnTo>
                  <a:lnTo>
                    <a:pt x="56886" y="13019"/>
                  </a:lnTo>
                  <a:lnTo>
                    <a:pt x="55754" y="12453"/>
                  </a:lnTo>
                  <a:lnTo>
                    <a:pt x="56603" y="13113"/>
                  </a:lnTo>
                  <a:lnTo>
                    <a:pt x="57452" y="13774"/>
                  </a:lnTo>
                  <a:lnTo>
                    <a:pt x="58961" y="15283"/>
                  </a:lnTo>
                  <a:lnTo>
                    <a:pt x="60376" y="16604"/>
                  </a:lnTo>
                  <a:lnTo>
                    <a:pt x="61225" y="17264"/>
                  </a:lnTo>
                  <a:lnTo>
                    <a:pt x="62074" y="17925"/>
                  </a:lnTo>
                  <a:lnTo>
                    <a:pt x="62074" y="17925"/>
                  </a:lnTo>
                  <a:lnTo>
                    <a:pt x="61414" y="17547"/>
                  </a:lnTo>
                  <a:lnTo>
                    <a:pt x="60659" y="16981"/>
                  </a:lnTo>
                  <a:lnTo>
                    <a:pt x="60754" y="17264"/>
                  </a:lnTo>
                  <a:lnTo>
                    <a:pt x="60942" y="17642"/>
                  </a:lnTo>
                  <a:lnTo>
                    <a:pt x="61980" y="19151"/>
                  </a:lnTo>
                  <a:lnTo>
                    <a:pt x="63301" y="20943"/>
                  </a:lnTo>
                  <a:lnTo>
                    <a:pt x="63207" y="20943"/>
                  </a:lnTo>
                  <a:lnTo>
                    <a:pt x="63395" y="21038"/>
                  </a:lnTo>
                  <a:lnTo>
                    <a:pt x="63490" y="21321"/>
                  </a:lnTo>
                  <a:lnTo>
                    <a:pt x="63678" y="21604"/>
                  </a:lnTo>
                  <a:lnTo>
                    <a:pt x="63773" y="21698"/>
                  </a:lnTo>
                  <a:lnTo>
                    <a:pt x="63584" y="21321"/>
                  </a:lnTo>
                  <a:lnTo>
                    <a:pt x="63584" y="21321"/>
                  </a:lnTo>
                  <a:lnTo>
                    <a:pt x="64244" y="22170"/>
                  </a:lnTo>
                  <a:lnTo>
                    <a:pt x="64716" y="22641"/>
                  </a:lnTo>
                  <a:lnTo>
                    <a:pt x="64905" y="22830"/>
                  </a:lnTo>
                  <a:lnTo>
                    <a:pt x="64999" y="22830"/>
                  </a:lnTo>
                  <a:lnTo>
                    <a:pt x="64999" y="22641"/>
                  </a:lnTo>
                  <a:lnTo>
                    <a:pt x="64905" y="22358"/>
                  </a:lnTo>
                  <a:lnTo>
                    <a:pt x="65282" y="23207"/>
                  </a:lnTo>
                  <a:lnTo>
                    <a:pt x="65565" y="24056"/>
                  </a:lnTo>
                  <a:lnTo>
                    <a:pt x="66225" y="25943"/>
                  </a:lnTo>
                  <a:lnTo>
                    <a:pt x="66697" y="27830"/>
                  </a:lnTo>
                  <a:lnTo>
                    <a:pt x="66886" y="28490"/>
                  </a:lnTo>
                  <a:lnTo>
                    <a:pt x="66980" y="28868"/>
                  </a:lnTo>
                  <a:lnTo>
                    <a:pt x="66886" y="28962"/>
                  </a:lnTo>
                  <a:lnTo>
                    <a:pt x="66697" y="28679"/>
                  </a:lnTo>
                  <a:lnTo>
                    <a:pt x="66697" y="29245"/>
                  </a:lnTo>
                  <a:lnTo>
                    <a:pt x="66791" y="29905"/>
                  </a:lnTo>
                  <a:lnTo>
                    <a:pt x="66886" y="29905"/>
                  </a:lnTo>
                  <a:lnTo>
                    <a:pt x="66886" y="30094"/>
                  </a:lnTo>
                  <a:lnTo>
                    <a:pt x="66886" y="30566"/>
                  </a:lnTo>
                  <a:lnTo>
                    <a:pt x="66697" y="30377"/>
                  </a:lnTo>
                  <a:lnTo>
                    <a:pt x="66603" y="30188"/>
                  </a:lnTo>
                  <a:lnTo>
                    <a:pt x="66603" y="30094"/>
                  </a:lnTo>
                  <a:lnTo>
                    <a:pt x="66697" y="29905"/>
                  </a:lnTo>
                  <a:lnTo>
                    <a:pt x="66508" y="28679"/>
                  </a:lnTo>
                  <a:lnTo>
                    <a:pt x="66225" y="27358"/>
                  </a:lnTo>
                  <a:lnTo>
                    <a:pt x="66603" y="30283"/>
                  </a:lnTo>
                  <a:lnTo>
                    <a:pt x="66697" y="31792"/>
                  </a:lnTo>
                  <a:lnTo>
                    <a:pt x="66697" y="33302"/>
                  </a:lnTo>
                  <a:lnTo>
                    <a:pt x="66603" y="34717"/>
                  </a:lnTo>
                  <a:lnTo>
                    <a:pt x="66414" y="36226"/>
                  </a:lnTo>
                  <a:lnTo>
                    <a:pt x="66131" y="37547"/>
                  </a:lnTo>
                  <a:lnTo>
                    <a:pt x="65659" y="38962"/>
                  </a:lnTo>
                  <a:lnTo>
                    <a:pt x="65848" y="38584"/>
                  </a:lnTo>
                  <a:lnTo>
                    <a:pt x="65942" y="38584"/>
                  </a:lnTo>
                  <a:lnTo>
                    <a:pt x="65848" y="39245"/>
                  </a:lnTo>
                  <a:lnTo>
                    <a:pt x="65565" y="40188"/>
                  </a:lnTo>
                  <a:lnTo>
                    <a:pt x="65471" y="40471"/>
                  </a:lnTo>
                  <a:lnTo>
                    <a:pt x="65282" y="40660"/>
                  </a:lnTo>
                  <a:lnTo>
                    <a:pt x="65282" y="40566"/>
                  </a:lnTo>
                  <a:lnTo>
                    <a:pt x="65093" y="41132"/>
                  </a:lnTo>
                  <a:lnTo>
                    <a:pt x="64433" y="43018"/>
                  </a:lnTo>
                  <a:lnTo>
                    <a:pt x="63678" y="45282"/>
                  </a:lnTo>
                  <a:lnTo>
                    <a:pt x="62735" y="47264"/>
                  </a:lnTo>
                  <a:lnTo>
                    <a:pt x="61697" y="49056"/>
                  </a:lnTo>
                  <a:lnTo>
                    <a:pt x="60659" y="50943"/>
                  </a:lnTo>
                  <a:lnTo>
                    <a:pt x="59433" y="52735"/>
                  </a:lnTo>
                  <a:lnTo>
                    <a:pt x="58207" y="54433"/>
                  </a:lnTo>
                  <a:lnTo>
                    <a:pt x="56886" y="56037"/>
                  </a:lnTo>
                  <a:lnTo>
                    <a:pt x="55376" y="57641"/>
                  </a:lnTo>
                  <a:lnTo>
                    <a:pt x="53867" y="59150"/>
                  </a:lnTo>
                  <a:lnTo>
                    <a:pt x="52169" y="60376"/>
                  </a:lnTo>
                  <a:lnTo>
                    <a:pt x="48961" y="62452"/>
                  </a:lnTo>
                  <a:lnTo>
                    <a:pt x="44528" y="65282"/>
                  </a:lnTo>
                  <a:lnTo>
                    <a:pt x="44622" y="65188"/>
                  </a:lnTo>
                  <a:lnTo>
                    <a:pt x="44716" y="65093"/>
                  </a:lnTo>
                  <a:lnTo>
                    <a:pt x="45094" y="64810"/>
                  </a:lnTo>
                  <a:lnTo>
                    <a:pt x="45660" y="64527"/>
                  </a:lnTo>
                  <a:lnTo>
                    <a:pt x="43867" y="65376"/>
                  </a:lnTo>
                  <a:lnTo>
                    <a:pt x="43113" y="65754"/>
                  </a:lnTo>
                  <a:lnTo>
                    <a:pt x="42924" y="65754"/>
                  </a:lnTo>
                  <a:lnTo>
                    <a:pt x="43113" y="65659"/>
                  </a:lnTo>
                  <a:lnTo>
                    <a:pt x="41603" y="66037"/>
                  </a:lnTo>
                  <a:lnTo>
                    <a:pt x="39999" y="66320"/>
                  </a:lnTo>
                  <a:lnTo>
                    <a:pt x="38396" y="66508"/>
                  </a:lnTo>
                  <a:lnTo>
                    <a:pt x="36792" y="66697"/>
                  </a:lnTo>
                  <a:lnTo>
                    <a:pt x="33584" y="66980"/>
                  </a:lnTo>
                  <a:lnTo>
                    <a:pt x="32169" y="67169"/>
                  </a:lnTo>
                  <a:lnTo>
                    <a:pt x="30754" y="67357"/>
                  </a:lnTo>
                  <a:lnTo>
                    <a:pt x="30094" y="67357"/>
                  </a:lnTo>
                  <a:lnTo>
                    <a:pt x="29339" y="67263"/>
                  </a:lnTo>
                  <a:lnTo>
                    <a:pt x="27830" y="66886"/>
                  </a:lnTo>
                  <a:lnTo>
                    <a:pt x="26415" y="66508"/>
                  </a:lnTo>
                  <a:lnTo>
                    <a:pt x="25754" y="66414"/>
                  </a:lnTo>
                  <a:lnTo>
                    <a:pt x="25094" y="66414"/>
                  </a:lnTo>
                  <a:lnTo>
                    <a:pt x="25566" y="66980"/>
                  </a:lnTo>
                  <a:lnTo>
                    <a:pt x="25471" y="67074"/>
                  </a:lnTo>
                  <a:lnTo>
                    <a:pt x="25188" y="66980"/>
                  </a:lnTo>
                  <a:lnTo>
                    <a:pt x="24339" y="66791"/>
                  </a:lnTo>
                  <a:lnTo>
                    <a:pt x="23773" y="66508"/>
                  </a:lnTo>
                  <a:lnTo>
                    <a:pt x="24245" y="66414"/>
                  </a:lnTo>
                  <a:lnTo>
                    <a:pt x="24717" y="66603"/>
                  </a:lnTo>
                  <a:lnTo>
                    <a:pt x="24811" y="66414"/>
                  </a:lnTo>
                  <a:lnTo>
                    <a:pt x="24811" y="66320"/>
                  </a:lnTo>
                  <a:lnTo>
                    <a:pt x="24717" y="66225"/>
                  </a:lnTo>
                  <a:lnTo>
                    <a:pt x="24528" y="66131"/>
                  </a:lnTo>
                  <a:lnTo>
                    <a:pt x="24151" y="66225"/>
                  </a:lnTo>
                  <a:lnTo>
                    <a:pt x="23679" y="66320"/>
                  </a:lnTo>
                  <a:lnTo>
                    <a:pt x="23018" y="66414"/>
                  </a:lnTo>
                  <a:lnTo>
                    <a:pt x="23490" y="66225"/>
                  </a:lnTo>
                  <a:lnTo>
                    <a:pt x="22075" y="65942"/>
                  </a:lnTo>
                  <a:lnTo>
                    <a:pt x="20943" y="65659"/>
                  </a:lnTo>
                  <a:lnTo>
                    <a:pt x="20000" y="65282"/>
                  </a:lnTo>
                  <a:lnTo>
                    <a:pt x="19056" y="64810"/>
                  </a:lnTo>
                  <a:lnTo>
                    <a:pt x="19056" y="64810"/>
                  </a:lnTo>
                  <a:lnTo>
                    <a:pt x="19717" y="64999"/>
                  </a:lnTo>
                  <a:lnTo>
                    <a:pt x="19151" y="64716"/>
                  </a:lnTo>
                  <a:lnTo>
                    <a:pt x="18962" y="64810"/>
                  </a:lnTo>
                  <a:lnTo>
                    <a:pt x="19151" y="64905"/>
                  </a:lnTo>
                  <a:lnTo>
                    <a:pt x="18490" y="64905"/>
                  </a:lnTo>
                  <a:lnTo>
                    <a:pt x="17830" y="64716"/>
                  </a:lnTo>
                  <a:lnTo>
                    <a:pt x="17264" y="64527"/>
                  </a:lnTo>
                  <a:lnTo>
                    <a:pt x="16698" y="64150"/>
                  </a:lnTo>
                  <a:lnTo>
                    <a:pt x="16981" y="64056"/>
                  </a:lnTo>
                  <a:lnTo>
                    <a:pt x="17264" y="64150"/>
                  </a:lnTo>
                  <a:lnTo>
                    <a:pt x="17264" y="64150"/>
                  </a:lnTo>
                  <a:lnTo>
                    <a:pt x="15188" y="63207"/>
                  </a:lnTo>
                  <a:lnTo>
                    <a:pt x="14622" y="62829"/>
                  </a:lnTo>
                  <a:lnTo>
                    <a:pt x="14717" y="62924"/>
                  </a:lnTo>
                  <a:lnTo>
                    <a:pt x="13773" y="62546"/>
                  </a:lnTo>
                  <a:lnTo>
                    <a:pt x="12924" y="62075"/>
                  </a:lnTo>
                  <a:lnTo>
                    <a:pt x="12358" y="61697"/>
                  </a:lnTo>
                  <a:lnTo>
                    <a:pt x="12264" y="61508"/>
                  </a:lnTo>
                  <a:lnTo>
                    <a:pt x="12170" y="61320"/>
                  </a:lnTo>
                  <a:lnTo>
                    <a:pt x="11698" y="60942"/>
                  </a:lnTo>
                  <a:lnTo>
                    <a:pt x="11132" y="60471"/>
                  </a:lnTo>
                  <a:lnTo>
                    <a:pt x="9906" y="59244"/>
                  </a:lnTo>
                  <a:lnTo>
                    <a:pt x="9906" y="59244"/>
                  </a:lnTo>
                  <a:lnTo>
                    <a:pt x="10566" y="59527"/>
                  </a:lnTo>
                  <a:lnTo>
                    <a:pt x="9434" y="58584"/>
                  </a:lnTo>
                  <a:lnTo>
                    <a:pt x="8207" y="57546"/>
                  </a:lnTo>
                  <a:lnTo>
                    <a:pt x="7547" y="56886"/>
                  </a:lnTo>
                  <a:lnTo>
                    <a:pt x="6981" y="56131"/>
                  </a:lnTo>
                  <a:lnTo>
                    <a:pt x="6226" y="55094"/>
                  </a:lnTo>
                  <a:lnTo>
                    <a:pt x="6415" y="55377"/>
                  </a:lnTo>
                  <a:lnTo>
                    <a:pt x="6038" y="54905"/>
                  </a:lnTo>
                  <a:lnTo>
                    <a:pt x="5472" y="54244"/>
                  </a:lnTo>
                  <a:lnTo>
                    <a:pt x="5283" y="53961"/>
                  </a:lnTo>
                  <a:lnTo>
                    <a:pt x="5094" y="53867"/>
                  </a:lnTo>
                  <a:lnTo>
                    <a:pt x="5377" y="54622"/>
                  </a:lnTo>
                  <a:lnTo>
                    <a:pt x="5849" y="55282"/>
                  </a:lnTo>
                  <a:lnTo>
                    <a:pt x="6321" y="55943"/>
                  </a:lnTo>
                  <a:lnTo>
                    <a:pt x="6698" y="56603"/>
                  </a:lnTo>
                  <a:lnTo>
                    <a:pt x="6226" y="56226"/>
                  </a:lnTo>
                  <a:lnTo>
                    <a:pt x="5943" y="55848"/>
                  </a:lnTo>
                  <a:lnTo>
                    <a:pt x="6038" y="56037"/>
                  </a:lnTo>
                  <a:lnTo>
                    <a:pt x="5943" y="55943"/>
                  </a:lnTo>
                  <a:lnTo>
                    <a:pt x="5377" y="55188"/>
                  </a:lnTo>
                  <a:lnTo>
                    <a:pt x="5000" y="54716"/>
                  </a:lnTo>
                  <a:lnTo>
                    <a:pt x="4717" y="54150"/>
                  </a:lnTo>
                  <a:lnTo>
                    <a:pt x="4528" y="53678"/>
                  </a:lnTo>
                  <a:lnTo>
                    <a:pt x="4528" y="53584"/>
                  </a:lnTo>
                  <a:lnTo>
                    <a:pt x="4623" y="53395"/>
                  </a:lnTo>
                  <a:lnTo>
                    <a:pt x="5094" y="54244"/>
                  </a:lnTo>
                  <a:lnTo>
                    <a:pt x="4717" y="53301"/>
                  </a:lnTo>
                  <a:lnTo>
                    <a:pt x="4528" y="53018"/>
                  </a:lnTo>
                  <a:lnTo>
                    <a:pt x="4151" y="52263"/>
                  </a:lnTo>
                  <a:lnTo>
                    <a:pt x="4151" y="52169"/>
                  </a:lnTo>
                  <a:lnTo>
                    <a:pt x="3774" y="51509"/>
                  </a:lnTo>
                  <a:lnTo>
                    <a:pt x="3396" y="50660"/>
                  </a:lnTo>
                  <a:lnTo>
                    <a:pt x="3585" y="51603"/>
                  </a:lnTo>
                  <a:lnTo>
                    <a:pt x="3396" y="51226"/>
                  </a:lnTo>
                  <a:lnTo>
                    <a:pt x="3208" y="50848"/>
                  </a:lnTo>
                  <a:lnTo>
                    <a:pt x="3208" y="50471"/>
                  </a:lnTo>
                  <a:lnTo>
                    <a:pt x="3208" y="50094"/>
                  </a:lnTo>
                  <a:lnTo>
                    <a:pt x="3585" y="50754"/>
                  </a:lnTo>
                  <a:lnTo>
                    <a:pt x="3868" y="51509"/>
                  </a:lnTo>
                  <a:lnTo>
                    <a:pt x="3868" y="51509"/>
                  </a:lnTo>
                  <a:lnTo>
                    <a:pt x="3208" y="49528"/>
                  </a:lnTo>
                  <a:lnTo>
                    <a:pt x="3208" y="49528"/>
                  </a:lnTo>
                  <a:lnTo>
                    <a:pt x="3868" y="50754"/>
                  </a:lnTo>
                  <a:lnTo>
                    <a:pt x="3208" y="48962"/>
                  </a:lnTo>
                  <a:lnTo>
                    <a:pt x="3585" y="49339"/>
                  </a:lnTo>
                  <a:lnTo>
                    <a:pt x="3774" y="49433"/>
                  </a:lnTo>
                  <a:lnTo>
                    <a:pt x="3962" y="49528"/>
                  </a:lnTo>
                  <a:lnTo>
                    <a:pt x="4057" y="49905"/>
                  </a:lnTo>
                  <a:lnTo>
                    <a:pt x="3868" y="48962"/>
                  </a:lnTo>
                  <a:lnTo>
                    <a:pt x="3491" y="47924"/>
                  </a:lnTo>
                  <a:lnTo>
                    <a:pt x="2641" y="45565"/>
                  </a:lnTo>
                  <a:lnTo>
                    <a:pt x="2170" y="43867"/>
                  </a:lnTo>
                  <a:lnTo>
                    <a:pt x="1698" y="41886"/>
                  </a:lnTo>
                  <a:lnTo>
                    <a:pt x="1698" y="41886"/>
                  </a:lnTo>
                  <a:lnTo>
                    <a:pt x="1887" y="42075"/>
                  </a:lnTo>
                  <a:lnTo>
                    <a:pt x="1981" y="41981"/>
                  </a:lnTo>
                  <a:lnTo>
                    <a:pt x="2075" y="42075"/>
                  </a:lnTo>
                  <a:lnTo>
                    <a:pt x="2264" y="42169"/>
                  </a:lnTo>
                  <a:lnTo>
                    <a:pt x="2170" y="40283"/>
                  </a:lnTo>
                  <a:lnTo>
                    <a:pt x="2075" y="38301"/>
                  </a:lnTo>
                  <a:lnTo>
                    <a:pt x="2170" y="36415"/>
                  </a:lnTo>
                  <a:lnTo>
                    <a:pt x="2358" y="35566"/>
                  </a:lnTo>
                  <a:lnTo>
                    <a:pt x="2453" y="34811"/>
                  </a:lnTo>
                  <a:lnTo>
                    <a:pt x="2830" y="32830"/>
                  </a:lnTo>
                  <a:lnTo>
                    <a:pt x="2830" y="33207"/>
                  </a:lnTo>
                  <a:lnTo>
                    <a:pt x="2924" y="33490"/>
                  </a:lnTo>
                  <a:lnTo>
                    <a:pt x="2924" y="32453"/>
                  </a:lnTo>
                  <a:lnTo>
                    <a:pt x="3019" y="31415"/>
                  </a:lnTo>
                  <a:lnTo>
                    <a:pt x="3396" y="29245"/>
                  </a:lnTo>
                  <a:lnTo>
                    <a:pt x="3868" y="27075"/>
                  </a:lnTo>
                  <a:lnTo>
                    <a:pt x="4623" y="25000"/>
                  </a:lnTo>
                  <a:lnTo>
                    <a:pt x="5566" y="22830"/>
                  </a:lnTo>
                  <a:lnTo>
                    <a:pt x="6604" y="20849"/>
                  </a:lnTo>
                  <a:lnTo>
                    <a:pt x="7830" y="18868"/>
                  </a:lnTo>
                  <a:lnTo>
                    <a:pt x="9151" y="16887"/>
                  </a:lnTo>
                  <a:lnTo>
                    <a:pt x="10566" y="15094"/>
                  </a:lnTo>
                  <a:lnTo>
                    <a:pt x="12075" y="13302"/>
                  </a:lnTo>
                  <a:lnTo>
                    <a:pt x="13773" y="11698"/>
                  </a:lnTo>
                  <a:lnTo>
                    <a:pt x="15377" y="10095"/>
                  </a:lnTo>
                  <a:lnTo>
                    <a:pt x="17170" y="8679"/>
                  </a:lnTo>
                  <a:lnTo>
                    <a:pt x="18962" y="7453"/>
                  </a:lnTo>
                  <a:lnTo>
                    <a:pt x="20754" y="6321"/>
                  </a:lnTo>
                  <a:lnTo>
                    <a:pt x="22547" y="5378"/>
                  </a:lnTo>
                  <a:lnTo>
                    <a:pt x="21603" y="6227"/>
                  </a:lnTo>
                  <a:lnTo>
                    <a:pt x="22641" y="5472"/>
                  </a:lnTo>
                  <a:lnTo>
                    <a:pt x="23302" y="5095"/>
                  </a:lnTo>
                  <a:lnTo>
                    <a:pt x="25377" y="4151"/>
                  </a:lnTo>
                  <a:lnTo>
                    <a:pt x="24811" y="4151"/>
                  </a:lnTo>
                  <a:lnTo>
                    <a:pt x="25660" y="3774"/>
                  </a:lnTo>
                  <a:lnTo>
                    <a:pt x="26886" y="3208"/>
                  </a:lnTo>
                  <a:lnTo>
                    <a:pt x="26603" y="3585"/>
                  </a:lnTo>
                  <a:lnTo>
                    <a:pt x="26886" y="3585"/>
                  </a:lnTo>
                  <a:lnTo>
                    <a:pt x="26886" y="3680"/>
                  </a:lnTo>
                  <a:lnTo>
                    <a:pt x="26792" y="3774"/>
                  </a:lnTo>
                  <a:lnTo>
                    <a:pt x="28301" y="3302"/>
                  </a:lnTo>
                  <a:lnTo>
                    <a:pt x="29622" y="2736"/>
                  </a:lnTo>
                  <a:lnTo>
                    <a:pt x="31037" y="2264"/>
                  </a:lnTo>
                  <a:lnTo>
                    <a:pt x="31792" y="2076"/>
                  </a:lnTo>
                  <a:lnTo>
                    <a:pt x="32641" y="1981"/>
                  </a:lnTo>
                  <a:lnTo>
                    <a:pt x="32547" y="2076"/>
                  </a:lnTo>
                  <a:lnTo>
                    <a:pt x="32924" y="1981"/>
                  </a:lnTo>
                  <a:lnTo>
                    <a:pt x="34245" y="1793"/>
                  </a:lnTo>
                  <a:lnTo>
                    <a:pt x="35848" y="1415"/>
                  </a:lnTo>
                  <a:lnTo>
                    <a:pt x="36981" y="1132"/>
                  </a:lnTo>
                  <a:lnTo>
                    <a:pt x="36981" y="1415"/>
                  </a:lnTo>
                  <a:lnTo>
                    <a:pt x="40943" y="1227"/>
                  </a:lnTo>
                  <a:lnTo>
                    <a:pt x="41509" y="1038"/>
                  </a:lnTo>
                  <a:lnTo>
                    <a:pt x="41697" y="1132"/>
                  </a:lnTo>
                  <a:lnTo>
                    <a:pt x="41509" y="1227"/>
                  </a:lnTo>
                  <a:lnTo>
                    <a:pt x="41320" y="1321"/>
                  </a:lnTo>
                  <a:lnTo>
                    <a:pt x="42263" y="1321"/>
                  </a:lnTo>
                  <a:lnTo>
                    <a:pt x="43113" y="1227"/>
                  </a:lnTo>
                  <a:lnTo>
                    <a:pt x="43396" y="1415"/>
                  </a:lnTo>
                  <a:lnTo>
                    <a:pt x="44056" y="1604"/>
                  </a:lnTo>
                  <a:lnTo>
                    <a:pt x="45943" y="2076"/>
                  </a:lnTo>
                  <a:lnTo>
                    <a:pt x="48018" y="2359"/>
                  </a:lnTo>
                  <a:lnTo>
                    <a:pt x="49622" y="2736"/>
                  </a:lnTo>
                  <a:lnTo>
                    <a:pt x="47641" y="1981"/>
                  </a:lnTo>
                  <a:lnTo>
                    <a:pt x="45282" y="1321"/>
                  </a:lnTo>
                  <a:lnTo>
                    <a:pt x="42735" y="755"/>
                  </a:lnTo>
                  <a:lnTo>
                    <a:pt x="40188" y="283"/>
                  </a:lnTo>
                  <a:lnTo>
                    <a:pt x="37735" y="95"/>
                  </a:lnTo>
                  <a:lnTo>
                    <a:pt x="35471" y="0"/>
                  </a:lnTo>
                  <a:close/>
                </a:path>
              </a:pathLst>
            </a:custGeom>
            <a:solidFill>
              <a:srgbClr val="FF0000"/>
            </a:solidFill>
            <a:ln>
              <a:noFill/>
            </a:ln>
          </p:spPr>
          <p:txBody>
            <a:bodyPr spcFirstLastPara="1" wrap="square" lIns="91425" tIns="91425" rIns="91425" bIns="91425" anchor="ctr" anchorCtr="0">
              <a:noAutofit/>
            </a:bodyPr>
            <a:lstStyle/>
            <a:p>
              <a:pPr marL="0" lvl="0" indent="0">
                <a:spcBef>
                  <a:spcPts val="0"/>
                </a:spcBef>
                <a:spcAft>
                  <a:spcPts val="0"/>
                </a:spcAft>
                <a:buNone/>
              </a:pPr>
              <a:endParaRPr sz="1100"/>
            </a:p>
          </p:txBody>
        </p:sp>
        <p:sp>
          <p:nvSpPr>
            <p:cNvPr id="360" name="TextBox 359">
              <a:extLst>
                <a:ext uri="{FF2B5EF4-FFF2-40B4-BE49-F238E27FC236}">
                  <a16:creationId xmlns:a16="http://schemas.microsoft.com/office/drawing/2014/main" id="{F14C059B-C94E-BA4D-A0A5-23BD6A9CED70}"/>
                </a:ext>
              </a:extLst>
            </p:cNvPr>
            <p:cNvSpPr txBox="1"/>
            <p:nvPr/>
          </p:nvSpPr>
          <p:spPr>
            <a:xfrm>
              <a:off x="702590" y="1204757"/>
              <a:ext cx="301686" cy="260896"/>
            </a:xfrm>
            <a:prstGeom prst="rect">
              <a:avLst/>
            </a:prstGeom>
            <a:noFill/>
          </p:spPr>
          <p:txBody>
            <a:bodyPr wrap="square" rtlCol="0">
              <a:spAutoFit/>
            </a:bodyPr>
            <a:lstStyle/>
            <a:p>
              <a:r>
                <a:rPr lang="en-US" sz="700" dirty="0">
                  <a:solidFill>
                    <a:srgbClr val="FF0000"/>
                  </a:solidFill>
                </a:rPr>
                <a:t>3.</a:t>
              </a:r>
            </a:p>
          </p:txBody>
        </p:sp>
      </p:grpSp>
      <p:grpSp>
        <p:nvGrpSpPr>
          <p:cNvPr id="361" name="Group 360">
            <a:extLst>
              <a:ext uri="{FF2B5EF4-FFF2-40B4-BE49-F238E27FC236}">
                <a16:creationId xmlns:a16="http://schemas.microsoft.com/office/drawing/2014/main" id="{71EE0E96-9453-9248-9274-7215E2DC8727}"/>
              </a:ext>
            </a:extLst>
          </p:cNvPr>
          <p:cNvGrpSpPr/>
          <p:nvPr/>
        </p:nvGrpSpPr>
        <p:grpSpPr>
          <a:xfrm rot="21011211">
            <a:off x="420919" y="3552308"/>
            <a:ext cx="292910" cy="222927"/>
            <a:chOff x="702590" y="1203599"/>
            <a:chExt cx="301686" cy="290724"/>
          </a:xfrm>
        </p:grpSpPr>
        <p:sp>
          <p:nvSpPr>
            <p:cNvPr id="362" name="Google Shape;431;p39">
              <a:extLst>
                <a:ext uri="{FF2B5EF4-FFF2-40B4-BE49-F238E27FC236}">
                  <a16:creationId xmlns:a16="http://schemas.microsoft.com/office/drawing/2014/main" id="{CC475A35-D5A4-BE47-A6F8-231C2EBF60DC}"/>
                </a:ext>
              </a:extLst>
            </p:cNvPr>
            <p:cNvSpPr/>
            <p:nvPr/>
          </p:nvSpPr>
          <p:spPr>
            <a:xfrm>
              <a:off x="736556" y="1203599"/>
              <a:ext cx="219241" cy="290724"/>
            </a:xfrm>
            <a:custGeom>
              <a:avLst/>
              <a:gdLst/>
              <a:ahLst/>
              <a:cxnLst/>
              <a:rect l="0" t="0" r="0" b="0"/>
              <a:pathLst>
                <a:path w="67641" h="69056" extrusionOk="0">
                  <a:moveTo>
                    <a:pt x="49622" y="2736"/>
                  </a:moveTo>
                  <a:lnTo>
                    <a:pt x="49622" y="2736"/>
                  </a:lnTo>
                  <a:lnTo>
                    <a:pt x="49622" y="2736"/>
                  </a:lnTo>
                  <a:close/>
                  <a:moveTo>
                    <a:pt x="59622" y="55565"/>
                  </a:moveTo>
                  <a:lnTo>
                    <a:pt x="59622" y="55565"/>
                  </a:lnTo>
                  <a:lnTo>
                    <a:pt x="59622" y="55565"/>
                  </a:lnTo>
                  <a:close/>
                  <a:moveTo>
                    <a:pt x="35471" y="0"/>
                  </a:moveTo>
                  <a:lnTo>
                    <a:pt x="34433" y="95"/>
                  </a:lnTo>
                  <a:lnTo>
                    <a:pt x="33584" y="189"/>
                  </a:lnTo>
                  <a:lnTo>
                    <a:pt x="32735" y="378"/>
                  </a:lnTo>
                  <a:lnTo>
                    <a:pt x="32169" y="566"/>
                  </a:lnTo>
                  <a:lnTo>
                    <a:pt x="31509" y="472"/>
                  </a:lnTo>
                  <a:lnTo>
                    <a:pt x="30754" y="472"/>
                  </a:lnTo>
                  <a:lnTo>
                    <a:pt x="29339" y="566"/>
                  </a:lnTo>
                  <a:lnTo>
                    <a:pt x="27830" y="849"/>
                  </a:lnTo>
                  <a:lnTo>
                    <a:pt x="26320" y="1321"/>
                  </a:lnTo>
                  <a:lnTo>
                    <a:pt x="24811" y="1981"/>
                  </a:lnTo>
                  <a:lnTo>
                    <a:pt x="23207" y="2736"/>
                  </a:lnTo>
                  <a:lnTo>
                    <a:pt x="21698" y="3585"/>
                  </a:lnTo>
                  <a:lnTo>
                    <a:pt x="20188" y="4623"/>
                  </a:lnTo>
                  <a:lnTo>
                    <a:pt x="18679" y="5661"/>
                  </a:lnTo>
                  <a:lnTo>
                    <a:pt x="17170" y="6793"/>
                  </a:lnTo>
                  <a:lnTo>
                    <a:pt x="15754" y="8019"/>
                  </a:lnTo>
                  <a:lnTo>
                    <a:pt x="14434" y="9151"/>
                  </a:lnTo>
                  <a:lnTo>
                    <a:pt x="11981" y="11510"/>
                  </a:lnTo>
                  <a:lnTo>
                    <a:pt x="10000" y="13774"/>
                  </a:lnTo>
                  <a:lnTo>
                    <a:pt x="7736" y="16981"/>
                  </a:lnTo>
                  <a:lnTo>
                    <a:pt x="8019" y="16321"/>
                  </a:lnTo>
                  <a:lnTo>
                    <a:pt x="8302" y="15660"/>
                  </a:lnTo>
                  <a:lnTo>
                    <a:pt x="7736" y="16604"/>
                  </a:lnTo>
                  <a:lnTo>
                    <a:pt x="7075" y="17642"/>
                  </a:lnTo>
                  <a:lnTo>
                    <a:pt x="7170" y="17830"/>
                  </a:lnTo>
                  <a:lnTo>
                    <a:pt x="6509" y="18868"/>
                  </a:lnTo>
                  <a:lnTo>
                    <a:pt x="7075" y="17359"/>
                  </a:lnTo>
                  <a:lnTo>
                    <a:pt x="6132" y="19057"/>
                  </a:lnTo>
                  <a:lnTo>
                    <a:pt x="5189" y="20849"/>
                  </a:lnTo>
                  <a:lnTo>
                    <a:pt x="4434" y="22736"/>
                  </a:lnTo>
                  <a:lnTo>
                    <a:pt x="3679" y="24622"/>
                  </a:lnTo>
                  <a:lnTo>
                    <a:pt x="2453" y="28490"/>
                  </a:lnTo>
                  <a:lnTo>
                    <a:pt x="1321" y="32169"/>
                  </a:lnTo>
                  <a:lnTo>
                    <a:pt x="1509" y="32264"/>
                  </a:lnTo>
                  <a:lnTo>
                    <a:pt x="1604" y="32453"/>
                  </a:lnTo>
                  <a:lnTo>
                    <a:pt x="1604" y="32641"/>
                  </a:lnTo>
                  <a:lnTo>
                    <a:pt x="1509" y="32924"/>
                  </a:lnTo>
                  <a:lnTo>
                    <a:pt x="1226" y="33396"/>
                  </a:lnTo>
                  <a:lnTo>
                    <a:pt x="1038" y="33585"/>
                  </a:lnTo>
                  <a:lnTo>
                    <a:pt x="1038" y="33773"/>
                  </a:lnTo>
                  <a:lnTo>
                    <a:pt x="1038" y="35000"/>
                  </a:lnTo>
                  <a:lnTo>
                    <a:pt x="849" y="36132"/>
                  </a:lnTo>
                  <a:lnTo>
                    <a:pt x="660" y="37358"/>
                  </a:lnTo>
                  <a:lnTo>
                    <a:pt x="472" y="38867"/>
                  </a:lnTo>
                  <a:lnTo>
                    <a:pt x="283" y="38301"/>
                  </a:lnTo>
                  <a:lnTo>
                    <a:pt x="94" y="39811"/>
                  </a:lnTo>
                  <a:lnTo>
                    <a:pt x="0" y="41509"/>
                  </a:lnTo>
                  <a:lnTo>
                    <a:pt x="94" y="43301"/>
                  </a:lnTo>
                  <a:lnTo>
                    <a:pt x="283" y="44056"/>
                  </a:lnTo>
                  <a:lnTo>
                    <a:pt x="472" y="44622"/>
                  </a:lnTo>
                  <a:lnTo>
                    <a:pt x="566" y="45660"/>
                  </a:lnTo>
                  <a:lnTo>
                    <a:pt x="755" y="46792"/>
                  </a:lnTo>
                  <a:lnTo>
                    <a:pt x="1226" y="48962"/>
                  </a:lnTo>
                  <a:lnTo>
                    <a:pt x="1981" y="51037"/>
                  </a:lnTo>
                  <a:lnTo>
                    <a:pt x="2924" y="53112"/>
                  </a:lnTo>
                  <a:lnTo>
                    <a:pt x="4057" y="55094"/>
                  </a:lnTo>
                  <a:lnTo>
                    <a:pt x="5283" y="56980"/>
                  </a:lnTo>
                  <a:lnTo>
                    <a:pt x="6698" y="58678"/>
                  </a:lnTo>
                  <a:lnTo>
                    <a:pt x="8113" y="60282"/>
                  </a:lnTo>
                  <a:lnTo>
                    <a:pt x="9056" y="61131"/>
                  </a:lnTo>
                  <a:lnTo>
                    <a:pt x="10000" y="61980"/>
                  </a:lnTo>
                  <a:lnTo>
                    <a:pt x="11038" y="62829"/>
                  </a:lnTo>
                  <a:lnTo>
                    <a:pt x="12075" y="63584"/>
                  </a:lnTo>
                  <a:lnTo>
                    <a:pt x="14339" y="64905"/>
                  </a:lnTo>
                  <a:lnTo>
                    <a:pt x="16604" y="66131"/>
                  </a:lnTo>
                  <a:lnTo>
                    <a:pt x="19056" y="67169"/>
                  </a:lnTo>
                  <a:lnTo>
                    <a:pt x="21509" y="67923"/>
                  </a:lnTo>
                  <a:lnTo>
                    <a:pt x="24056" y="68584"/>
                  </a:lnTo>
                  <a:lnTo>
                    <a:pt x="26603" y="69055"/>
                  </a:lnTo>
                  <a:lnTo>
                    <a:pt x="27830" y="69055"/>
                  </a:lnTo>
                  <a:lnTo>
                    <a:pt x="30188" y="68867"/>
                  </a:lnTo>
                  <a:lnTo>
                    <a:pt x="33113" y="68678"/>
                  </a:lnTo>
                  <a:lnTo>
                    <a:pt x="36509" y="68301"/>
                  </a:lnTo>
                  <a:lnTo>
                    <a:pt x="39811" y="67923"/>
                  </a:lnTo>
                  <a:lnTo>
                    <a:pt x="42735" y="67452"/>
                  </a:lnTo>
                  <a:lnTo>
                    <a:pt x="44905" y="66980"/>
                  </a:lnTo>
                  <a:lnTo>
                    <a:pt x="45565" y="66791"/>
                  </a:lnTo>
                  <a:lnTo>
                    <a:pt x="45943" y="66508"/>
                  </a:lnTo>
                  <a:lnTo>
                    <a:pt x="47358" y="65942"/>
                  </a:lnTo>
                  <a:lnTo>
                    <a:pt x="48018" y="65565"/>
                  </a:lnTo>
                  <a:lnTo>
                    <a:pt x="48678" y="65188"/>
                  </a:lnTo>
                  <a:lnTo>
                    <a:pt x="47924" y="65471"/>
                  </a:lnTo>
                  <a:lnTo>
                    <a:pt x="51509" y="62924"/>
                  </a:lnTo>
                  <a:lnTo>
                    <a:pt x="53301" y="61508"/>
                  </a:lnTo>
                  <a:lnTo>
                    <a:pt x="55093" y="59905"/>
                  </a:lnTo>
                  <a:lnTo>
                    <a:pt x="55093" y="59905"/>
                  </a:lnTo>
                  <a:lnTo>
                    <a:pt x="54810" y="60376"/>
                  </a:lnTo>
                  <a:lnTo>
                    <a:pt x="54339" y="60754"/>
                  </a:lnTo>
                  <a:lnTo>
                    <a:pt x="55376" y="59999"/>
                  </a:lnTo>
                  <a:lnTo>
                    <a:pt x="56320" y="59056"/>
                  </a:lnTo>
                  <a:lnTo>
                    <a:pt x="57075" y="58395"/>
                  </a:lnTo>
                  <a:lnTo>
                    <a:pt x="57169" y="58207"/>
                  </a:lnTo>
                  <a:lnTo>
                    <a:pt x="57075" y="58207"/>
                  </a:lnTo>
                  <a:lnTo>
                    <a:pt x="57924" y="57546"/>
                  </a:lnTo>
                  <a:lnTo>
                    <a:pt x="58678" y="56697"/>
                  </a:lnTo>
                  <a:lnTo>
                    <a:pt x="59339" y="55754"/>
                  </a:lnTo>
                  <a:lnTo>
                    <a:pt x="59905" y="54905"/>
                  </a:lnTo>
                  <a:lnTo>
                    <a:pt x="59716" y="54999"/>
                  </a:lnTo>
                  <a:lnTo>
                    <a:pt x="59622" y="54999"/>
                  </a:lnTo>
                  <a:lnTo>
                    <a:pt x="59810" y="54622"/>
                  </a:lnTo>
                  <a:lnTo>
                    <a:pt x="59150" y="55565"/>
                  </a:lnTo>
                  <a:lnTo>
                    <a:pt x="59527" y="55094"/>
                  </a:lnTo>
                  <a:lnTo>
                    <a:pt x="59433" y="55377"/>
                  </a:lnTo>
                  <a:lnTo>
                    <a:pt x="58867" y="56037"/>
                  </a:lnTo>
                  <a:lnTo>
                    <a:pt x="59056" y="55660"/>
                  </a:lnTo>
                  <a:lnTo>
                    <a:pt x="59056" y="55660"/>
                  </a:lnTo>
                  <a:lnTo>
                    <a:pt x="58678" y="56037"/>
                  </a:lnTo>
                  <a:lnTo>
                    <a:pt x="59810" y="54339"/>
                  </a:lnTo>
                  <a:lnTo>
                    <a:pt x="60282" y="53490"/>
                  </a:lnTo>
                  <a:lnTo>
                    <a:pt x="60282" y="53301"/>
                  </a:lnTo>
                  <a:lnTo>
                    <a:pt x="60188" y="53395"/>
                  </a:lnTo>
                  <a:lnTo>
                    <a:pt x="60188" y="53395"/>
                  </a:lnTo>
                  <a:lnTo>
                    <a:pt x="60565" y="52924"/>
                  </a:lnTo>
                  <a:lnTo>
                    <a:pt x="61037" y="52452"/>
                  </a:lnTo>
                  <a:lnTo>
                    <a:pt x="61886" y="51509"/>
                  </a:lnTo>
                  <a:lnTo>
                    <a:pt x="61508" y="52452"/>
                  </a:lnTo>
                  <a:lnTo>
                    <a:pt x="60848" y="53584"/>
                  </a:lnTo>
                  <a:lnTo>
                    <a:pt x="59622" y="55565"/>
                  </a:lnTo>
                  <a:lnTo>
                    <a:pt x="60376" y="54528"/>
                  </a:lnTo>
                  <a:lnTo>
                    <a:pt x="60942" y="53678"/>
                  </a:lnTo>
                  <a:lnTo>
                    <a:pt x="61980" y="51792"/>
                  </a:lnTo>
                  <a:lnTo>
                    <a:pt x="61886" y="51886"/>
                  </a:lnTo>
                  <a:lnTo>
                    <a:pt x="61886" y="51697"/>
                  </a:lnTo>
                  <a:lnTo>
                    <a:pt x="62169" y="51037"/>
                  </a:lnTo>
                  <a:lnTo>
                    <a:pt x="62735" y="49999"/>
                  </a:lnTo>
                  <a:lnTo>
                    <a:pt x="61508" y="51603"/>
                  </a:lnTo>
                  <a:lnTo>
                    <a:pt x="61603" y="51037"/>
                  </a:lnTo>
                  <a:lnTo>
                    <a:pt x="61697" y="50377"/>
                  </a:lnTo>
                  <a:lnTo>
                    <a:pt x="62169" y="48962"/>
                  </a:lnTo>
                  <a:lnTo>
                    <a:pt x="62829" y="47358"/>
                  </a:lnTo>
                  <a:lnTo>
                    <a:pt x="63678" y="45565"/>
                  </a:lnTo>
                  <a:lnTo>
                    <a:pt x="65376" y="42169"/>
                  </a:lnTo>
                  <a:lnTo>
                    <a:pt x="66131" y="40660"/>
                  </a:lnTo>
                  <a:lnTo>
                    <a:pt x="66697" y="39339"/>
                  </a:lnTo>
                  <a:lnTo>
                    <a:pt x="66603" y="39528"/>
                  </a:lnTo>
                  <a:lnTo>
                    <a:pt x="66697" y="39056"/>
                  </a:lnTo>
                  <a:lnTo>
                    <a:pt x="66791" y="38962"/>
                  </a:lnTo>
                  <a:lnTo>
                    <a:pt x="66791" y="39056"/>
                  </a:lnTo>
                  <a:lnTo>
                    <a:pt x="66886" y="38584"/>
                  </a:lnTo>
                  <a:lnTo>
                    <a:pt x="66791" y="38867"/>
                  </a:lnTo>
                  <a:lnTo>
                    <a:pt x="66980" y="38207"/>
                  </a:lnTo>
                  <a:lnTo>
                    <a:pt x="67169" y="37264"/>
                  </a:lnTo>
                  <a:lnTo>
                    <a:pt x="67263" y="36415"/>
                  </a:lnTo>
                  <a:lnTo>
                    <a:pt x="67357" y="36509"/>
                  </a:lnTo>
                  <a:lnTo>
                    <a:pt x="67452" y="36509"/>
                  </a:lnTo>
                  <a:lnTo>
                    <a:pt x="67546" y="35943"/>
                  </a:lnTo>
                  <a:lnTo>
                    <a:pt x="67546" y="34811"/>
                  </a:lnTo>
                  <a:lnTo>
                    <a:pt x="67640" y="31037"/>
                  </a:lnTo>
                  <a:lnTo>
                    <a:pt x="67640" y="28490"/>
                  </a:lnTo>
                  <a:lnTo>
                    <a:pt x="67546" y="27736"/>
                  </a:lnTo>
                  <a:lnTo>
                    <a:pt x="67546" y="27547"/>
                  </a:lnTo>
                  <a:lnTo>
                    <a:pt x="67452" y="27547"/>
                  </a:lnTo>
                  <a:lnTo>
                    <a:pt x="67074" y="26792"/>
                  </a:lnTo>
                  <a:lnTo>
                    <a:pt x="66791" y="25660"/>
                  </a:lnTo>
                  <a:lnTo>
                    <a:pt x="66508" y="24528"/>
                  </a:lnTo>
                  <a:lnTo>
                    <a:pt x="66414" y="23585"/>
                  </a:lnTo>
                  <a:lnTo>
                    <a:pt x="66320" y="23679"/>
                  </a:lnTo>
                  <a:lnTo>
                    <a:pt x="66320" y="23490"/>
                  </a:lnTo>
                  <a:lnTo>
                    <a:pt x="65942" y="22924"/>
                  </a:lnTo>
                  <a:lnTo>
                    <a:pt x="65565" y="22358"/>
                  </a:lnTo>
                  <a:lnTo>
                    <a:pt x="64527" y="21132"/>
                  </a:lnTo>
                  <a:lnTo>
                    <a:pt x="63584" y="19906"/>
                  </a:lnTo>
                  <a:lnTo>
                    <a:pt x="63207" y="19340"/>
                  </a:lnTo>
                  <a:lnTo>
                    <a:pt x="63018" y="18774"/>
                  </a:lnTo>
                  <a:lnTo>
                    <a:pt x="63112" y="18962"/>
                  </a:lnTo>
                  <a:lnTo>
                    <a:pt x="63301" y="19057"/>
                  </a:lnTo>
                  <a:lnTo>
                    <a:pt x="63301" y="19057"/>
                  </a:lnTo>
                  <a:lnTo>
                    <a:pt x="63207" y="18868"/>
                  </a:lnTo>
                  <a:lnTo>
                    <a:pt x="62923" y="18491"/>
                  </a:lnTo>
                  <a:lnTo>
                    <a:pt x="61980" y="17453"/>
                  </a:lnTo>
                  <a:lnTo>
                    <a:pt x="61037" y="16509"/>
                  </a:lnTo>
                  <a:lnTo>
                    <a:pt x="61037" y="16698"/>
                  </a:lnTo>
                  <a:lnTo>
                    <a:pt x="61037" y="16887"/>
                  </a:lnTo>
                  <a:lnTo>
                    <a:pt x="60093" y="15943"/>
                  </a:lnTo>
                  <a:lnTo>
                    <a:pt x="60376" y="16321"/>
                  </a:lnTo>
                  <a:lnTo>
                    <a:pt x="59527" y="15377"/>
                  </a:lnTo>
                  <a:lnTo>
                    <a:pt x="59056" y="14906"/>
                  </a:lnTo>
                  <a:lnTo>
                    <a:pt x="59244" y="14906"/>
                  </a:lnTo>
                  <a:lnTo>
                    <a:pt x="59905" y="15472"/>
                  </a:lnTo>
                  <a:lnTo>
                    <a:pt x="59905" y="15472"/>
                  </a:lnTo>
                  <a:lnTo>
                    <a:pt x="57641" y="13396"/>
                  </a:lnTo>
                  <a:lnTo>
                    <a:pt x="58112" y="13868"/>
                  </a:lnTo>
                  <a:lnTo>
                    <a:pt x="56886" y="13019"/>
                  </a:lnTo>
                  <a:lnTo>
                    <a:pt x="55754" y="12453"/>
                  </a:lnTo>
                  <a:lnTo>
                    <a:pt x="56603" y="13113"/>
                  </a:lnTo>
                  <a:lnTo>
                    <a:pt x="57452" y="13774"/>
                  </a:lnTo>
                  <a:lnTo>
                    <a:pt x="58961" y="15283"/>
                  </a:lnTo>
                  <a:lnTo>
                    <a:pt x="60376" y="16604"/>
                  </a:lnTo>
                  <a:lnTo>
                    <a:pt x="61225" y="17264"/>
                  </a:lnTo>
                  <a:lnTo>
                    <a:pt x="62074" y="17925"/>
                  </a:lnTo>
                  <a:lnTo>
                    <a:pt x="62074" y="17925"/>
                  </a:lnTo>
                  <a:lnTo>
                    <a:pt x="61414" y="17547"/>
                  </a:lnTo>
                  <a:lnTo>
                    <a:pt x="60659" y="16981"/>
                  </a:lnTo>
                  <a:lnTo>
                    <a:pt x="60754" y="17264"/>
                  </a:lnTo>
                  <a:lnTo>
                    <a:pt x="60942" y="17642"/>
                  </a:lnTo>
                  <a:lnTo>
                    <a:pt x="61980" y="19151"/>
                  </a:lnTo>
                  <a:lnTo>
                    <a:pt x="63301" y="20943"/>
                  </a:lnTo>
                  <a:lnTo>
                    <a:pt x="63207" y="20943"/>
                  </a:lnTo>
                  <a:lnTo>
                    <a:pt x="63395" y="21038"/>
                  </a:lnTo>
                  <a:lnTo>
                    <a:pt x="63490" y="21321"/>
                  </a:lnTo>
                  <a:lnTo>
                    <a:pt x="63678" y="21604"/>
                  </a:lnTo>
                  <a:lnTo>
                    <a:pt x="63773" y="21698"/>
                  </a:lnTo>
                  <a:lnTo>
                    <a:pt x="63584" y="21321"/>
                  </a:lnTo>
                  <a:lnTo>
                    <a:pt x="63584" y="21321"/>
                  </a:lnTo>
                  <a:lnTo>
                    <a:pt x="64244" y="22170"/>
                  </a:lnTo>
                  <a:lnTo>
                    <a:pt x="64716" y="22641"/>
                  </a:lnTo>
                  <a:lnTo>
                    <a:pt x="64905" y="22830"/>
                  </a:lnTo>
                  <a:lnTo>
                    <a:pt x="64999" y="22830"/>
                  </a:lnTo>
                  <a:lnTo>
                    <a:pt x="64999" y="22641"/>
                  </a:lnTo>
                  <a:lnTo>
                    <a:pt x="64905" y="22358"/>
                  </a:lnTo>
                  <a:lnTo>
                    <a:pt x="65282" y="23207"/>
                  </a:lnTo>
                  <a:lnTo>
                    <a:pt x="65565" y="24056"/>
                  </a:lnTo>
                  <a:lnTo>
                    <a:pt x="66225" y="25943"/>
                  </a:lnTo>
                  <a:lnTo>
                    <a:pt x="66697" y="27830"/>
                  </a:lnTo>
                  <a:lnTo>
                    <a:pt x="66886" y="28490"/>
                  </a:lnTo>
                  <a:lnTo>
                    <a:pt x="66980" y="28868"/>
                  </a:lnTo>
                  <a:lnTo>
                    <a:pt x="66886" y="28962"/>
                  </a:lnTo>
                  <a:lnTo>
                    <a:pt x="66697" y="28679"/>
                  </a:lnTo>
                  <a:lnTo>
                    <a:pt x="66697" y="29245"/>
                  </a:lnTo>
                  <a:lnTo>
                    <a:pt x="66791" y="29905"/>
                  </a:lnTo>
                  <a:lnTo>
                    <a:pt x="66886" y="29905"/>
                  </a:lnTo>
                  <a:lnTo>
                    <a:pt x="66886" y="30094"/>
                  </a:lnTo>
                  <a:lnTo>
                    <a:pt x="66886" y="30566"/>
                  </a:lnTo>
                  <a:lnTo>
                    <a:pt x="66697" y="30377"/>
                  </a:lnTo>
                  <a:lnTo>
                    <a:pt x="66603" y="30188"/>
                  </a:lnTo>
                  <a:lnTo>
                    <a:pt x="66603" y="30094"/>
                  </a:lnTo>
                  <a:lnTo>
                    <a:pt x="66697" y="29905"/>
                  </a:lnTo>
                  <a:lnTo>
                    <a:pt x="66508" y="28679"/>
                  </a:lnTo>
                  <a:lnTo>
                    <a:pt x="66225" y="27358"/>
                  </a:lnTo>
                  <a:lnTo>
                    <a:pt x="66603" y="30283"/>
                  </a:lnTo>
                  <a:lnTo>
                    <a:pt x="66697" y="31792"/>
                  </a:lnTo>
                  <a:lnTo>
                    <a:pt x="66697" y="33302"/>
                  </a:lnTo>
                  <a:lnTo>
                    <a:pt x="66603" y="34717"/>
                  </a:lnTo>
                  <a:lnTo>
                    <a:pt x="66414" y="36226"/>
                  </a:lnTo>
                  <a:lnTo>
                    <a:pt x="66131" y="37547"/>
                  </a:lnTo>
                  <a:lnTo>
                    <a:pt x="65659" y="38962"/>
                  </a:lnTo>
                  <a:lnTo>
                    <a:pt x="65848" y="38584"/>
                  </a:lnTo>
                  <a:lnTo>
                    <a:pt x="65942" y="38584"/>
                  </a:lnTo>
                  <a:lnTo>
                    <a:pt x="65848" y="39245"/>
                  </a:lnTo>
                  <a:lnTo>
                    <a:pt x="65565" y="40188"/>
                  </a:lnTo>
                  <a:lnTo>
                    <a:pt x="65471" y="40471"/>
                  </a:lnTo>
                  <a:lnTo>
                    <a:pt x="65282" y="40660"/>
                  </a:lnTo>
                  <a:lnTo>
                    <a:pt x="65282" y="40566"/>
                  </a:lnTo>
                  <a:lnTo>
                    <a:pt x="65093" y="41132"/>
                  </a:lnTo>
                  <a:lnTo>
                    <a:pt x="64433" y="43018"/>
                  </a:lnTo>
                  <a:lnTo>
                    <a:pt x="63678" y="45282"/>
                  </a:lnTo>
                  <a:lnTo>
                    <a:pt x="62735" y="47264"/>
                  </a:lnTo>
                  <a:lnTo>
                    <a:pt x="61697" y="49056"/>
                  </a:lnTo>
                  <a:lnTo>
                    <a:pt x="60659" y="50943"/>
                  </a:lnTo>
                  <a:lnTo>
                    <a:pt x="59433" y="52735"/>
                  </a:lnTo>
                  <a:lnTo>
                    <a:pt x="58207" y="54433"/>
                  </a:lnTo>
                  <a:lnTo>
                    <a:pt x="56886" y="56037"/>
                  </a:lnTo>
                  <a:lnTo>
                    <a:pt x="55376" y="57641"/>
                  </a:lnTo>
                  <a:lnTo>
                    <a:pt x="53867" y="59150"/>
                  </a:lnTo>
                  <a:lnTo>
                    <a:pt x="52169" y="60376"/>
                  </a:lnTo>
                  <a:lnTo>
                    <a:pt x="48961" y="62452"/>
                  </a:lnTo>
                  <a:lnTo>
                    <a:pt x="44528" y="65282"/>
                  </a:lnTo>
                  <a:lnTo>
                    <a:pt x="44622" y="65188"/>
                  </a:lnTo>
                  <a:lnTo>
                    <a:pt x="44716" y="65093"/>
                  </a:lnTo>
                  <a:lnTo>
                    <a:pt x="45094" y="64810"/>
                  </a:lnTo>
                  <a:lnTo>
                    <a:pt x="45660" y="64527"/>
                  </a:lnTo>
                  <a:lnTo>
                    <a:pt x="43867" y="65376"/>
                  </a:lnTo>
                  <a:lnTo>
                    <a:pt x="43113" y="65754"/>
                  </a:lnTo>
                  <a:lnTo>
                    <a:pt x="42924" y="65754"/>
                  </a:lnTo>
                  <a:lnTo>
                    <a:pt x="43113" y="65659"/>
                  </a:lnTo>
                  <a:lnTo>
                    <a:pt x="41603" y="66037"/>
                  </a:lnTo>
                  <a:lnTo>
                    <a:pt x="39999" y="66320"/>
                  </a:lnTo>
                  <a:lnTo>
                    <a:pt x="38396" y="66508"/>
                  </a:lnTo>
                  <a:lnTo>
                    <a:pt x="36792" y="66697"/>
                  </a:lnTo>
                  <a:lnTo>
                    <a:pt x="33584" y="66980"/>
                  </a:lnTo>
                  <a:lnTo>
                    <a:pt x="32169" y="67169"/>
                  </a:lnTo>
                  <a:lnTo>
                    <a:pt x="30754" y="67357"/>
                  </a:lnTo>
                  <a:lnTo>
                    <a:pt x="30094" y="67357"/>
                  </a:lnTo>
                  <a:lnTo>
                    <a:pt x="29339" y="67263"/>
                  </a:lnTo>
                  <a:lnTo>
                    <a:pt x="27830" y="66886"/>
                  </a:lnTo>
                  <a:lnTo>
                    <a:pt x="26415" y="66508"/>
                  </a:lnTo>
                  <a:lnTo>
                    <a:pt x="25754" y="66414"/>
                  </a:lnTo>
                  <a:lnTo>
                    <a:pt x="25094" y="66414"/>
                  </a:lnTo>
                  <a:lnTo>
                    <a:pt x="25566" y="66980"/>
                  </a:lnTo>
                  <a:lnTo>
                    <a:pt x="25471" y="67074"/>
                  </a:lnTo>
                  <a:lnTo>
                    <a:pt x="25188" y="66980"/>
                  </a:lnTo>
                  <a:lnTo>
                    <a:pt x="24339" y="66791"/>
                  </a:lnTo>
                  <a:lnTo>
                    <a:pt x="23773" y="66508"/>
                  </a:lnTo>
                  <a:lnTo>
                    <a:pt x="24245" y="66414"/>
                  </a:lnTo>
                  <a:lnTo>
                    <a:pt x="24717" y="66603"/>
                  </a:lnTo>
                  <a:lnTo>
                    <a:pt x="24811" y="66414"/>
                  </a:lnTo>
                  <a:lnTo>
                    <a:pt x="24811" y="66320"/>
                  </a:lnTo>
                  <a:lnTo>
                    <a:pt x="24717" y="66225"/>
                  </a:lnTo>
                  <a:lnTo>
                    <a:pt x="24528" y="66131"/>
                  </a:lnTo>
                  <a:lnTo>
                    <a:pt x="24151" y="66225"/>
                  </a:lnTo>
                  <a:lnTo>
                    <a:pt x="23679" y="66320"/>
                  </a:lnTo>
                  <a:lnTo>
                    <a:pt x="23018" y="66414"/>
                  </a:lnTo>
                  <a:lnTo>
                    <a:pt x="23490" y="66225"/>
                  </a:lnTo>
                  <a:lnTo>
                    <a:pt x="22075" y="65942"/>
                  </a:lnTo>
                  <a:lnTo>
                    <a:pt x="20943" y="65659"/>
                  </a:lnTo>
                  <a:lnTo>
                    <a:pt x="20000" y="65282"/>
                  </a:lnTo>
                  <a:lnTo>
                    <a:pt x="19056" y="64810"/>
                  </a:lnTo>
                  <a:lnTo>
                    <a:pt x="19056" y="64810"/>
                  </a:lnTo>
                  <a:lnTo>
                    <a:pt x="19717" y="64999"/>
                  </a:lnTo>
                  <a:lnTo>
                    <a:pt x="19151" y="64716"/>
                  </a:lnTo>
                  <a:lnTo>
                    <a:pt x="18962" y="64810"/>
                  </a:lnTo>
                  <a:lnTo>
                    <a:pt x="19151" y="64905"/>
                  </a:lnTo>
                  <a:lnTo>
                    <a:pt x="18490" y="64905"/>
                  </a:lnTo>
                  <a:lnTo>
                    <a:pt x="17830" y="64716"/>
                  </a:lnTo>
                  <a:lnTo>
                    <a:pt x="17264" y="64527"/>
                  </a:lnTo>
                  <a:lnTo>
                    <a:pt x="16698" y="64150"/>
                  </a:lnTo>
                  <a:lnTo>
                    <a:pt x="16981" y="64056"/>
                  </a:lnTo>
                  <a:lnTo>
                    <a:pt x="17264" y="64150"/>
                  </a:lnTo>
                  <a:lnTo>
                    <a:pt x="17264" y="64150"/>
                  </a:lnTo>
                  <a:lnTo>
                    <a:pt x="15188" y="63207"/>
                  </a:lnTo>
                  <a:lnTo>
                    <a:pt x="14622" y="62829"/>
                  </a:lnTo>
                  <a:lnTo>
                    <a:pt x="14717" y="62924"/>
                  </a:lnTo>
                  <a:lnTo>
                    <a:pt x="13773" y="62546"/>
                  </a:lnTo>
                  <a:lnTo>
                    <a:pt x="12924" y="62075"/>
                  </a:lnTo>
                  <a:lnTo>
                    <a:pt x="12358" y="61697"/>
                  </a:lnTo>
                  <a:lnTo>
                    <a:pt x="12264" y="61508"/>
                  </a:lnTo>
                  <a:lnTo>
                    <a:pt x="12170" y="61320"/>
                  </a:lnTo>
                  <a:lnTo>
                    <a:pt x="11698" y="60942"/>
                  </a:lnTo>
                  <a:lnTo>
                    <a:pt x="11132" y="60471"/>
                  </a:lnTo>
                  <a:lnTo>
                    <a:pt x="9906" y="59244"/>
                  </a:lnTo>
                  <a:lnTo>
                    <a:pt x="9906" y="59244"/>
                  </a:lnTo>
                  <a:lnTo>
                    <a:pt x="10566" y="59527"/>
                  </a:lnTo>
                  <a:lnTo>
                    <a:pt x="9434" y="58584"/>
                  </a:lnTo>
                  <a:lnTo>
                    <a:pt x="8207" y="57546"/>
                  </a:lnTo>
                  <a:lnTo>
                    <a:pt x="7547" y="56886"/>
                  </a:lnTo>
                  <a:lnTo>
                    <a:pt x="6981" y="56131"/>
                  </a:lnTo>
                  <a:lnTo>
                    <a:pt x="6226" y="55094"/>
                  </a:lnTo>
                  <a:lnTo>
                    <a:pt x="6415" y="55377"/>
                  </a:lnTo>
                  <a:lnTo>
                    <a:pt x="6038" y="54905"/>
                  </a:lnTo>
                  <a:lnTo>
                    <a:pt x="5472" y="54244"/>
                  </a:lnTo>
                  <a:lnTo>
                    <a:pt x="5283" y="53961"/>
                  </a:lnTo>
                  <a:lnTo>
                    <a:pt x="5094" y="53867"/>
                  </a:lnTo>
                  <a:lnTo>
                    <a:pt x="5377" y="54622"/>
                  </a:lnTo>
                  <a:lnTo>
                    <a:pt x="5849" y="55282"/>
                  </a:lnTo>
                  <a:lnTo>
                    <a:pt x="6321" y="55943"/>
                  </a:lnTo>
                  <a:lnTo>
                    <a:pt x="6698" y="56603"/>
                  </a:lnTo>
                  <a:lnTo>
                    <a:pt x="6226" y="56226"/>
                  </a:lnTo>
                  <a:lnTo>
                    <a:pt x="5943" y="55848"/>
                  </a:lnTo>
                  <a:lnTo>
                    <a:pt x="6038" y="56037"/>
                  </a:lnTo>
                  <a:lnTo>
                    <a:pt x="5943" y="55943"/>
                  </a:lnTo>
                  <a:lnTo>
                    <a:pt x="5377" y="55188"/>
                  </a:lnTo>
                  <a:lnTo>
                    <a:pt x="5000" y="54716"/>
                  </a:lnTo>
                  <a:lnTo>
                    <a:pt x="4717" y="54150"/>
                  </a:lnTo>
                  <a:lnTo>
                    <a:pt x="4528" y="53678"/>
                  </a:lnTo>
                  <a:lnTo>
                    <a:pt x="4528" y="53584"/>
                  </a:lnTo>
                  <a:lnTo>
                    <a:pt x="4623" y="53395"/>
                  </a:lnTo>
                  <a:lnTo>
                    <a:pt x="5094" y="54244"/>
                  </a:lnTo>
                  <a:lnTo>
                    <a:pt x="4717" y="53301"/>
                  </a:lnTo>
                  <a:lnTo>
                    <a:pt x="4528" y="53018"/>
                  </a:lnTo>
                  <a:lnTo>
                    <a:pt x="4151" y="52263"/>
                  </a:lnTo>
                  <a:lnTo>
                    <a:pt x="4151" y="52169"/>
                  </a:lnTo>
                  <a:lnTo>
                    <a:pt x="3774" y="51509"/>
                  </a:lnTo>
                  <a:lnTo>
                    <a:pt x="3396" y="50660"/>
                  </a:lnTo>
                  <a:lnTo>
                    <a:pt x="3585" y="51603"/>
                  </a:lnTo>
                  <a:lnTo>
                    <a:pt x="3396" y="51226"/>
                  </a:lnTo>
                  <a:lnTo>
                    <a:pt x="3208" y="50848"/>
                  </a:lnTo>
                  <a:lnTo>
                    <a:pt x="3208" y="50471"/>
                  </a:lnTo>
                  <a:lnTo>
                    <a:pt x="3208" y="50094"/>
                  </a:lnTo>
                  <a:lnTo>
                    <a:pt x="3585" y="50754"/>
                  </a:lnTo>
                  <a:lnTo>
                    <a:pt x="3868" y="51509"/>
                  </a:lnTo>
                  <a:lnTo>
                    <a:pt x="3868" y="51509"/>
                  </a:lnTo>
                  <a:lnTo>
                    <a:pt x="3208" y="49528"/>
                  </a:lnTo>
                  <a:lnTo>
                    <a:pt x="3208" y="49528"/>
                  </a:lnTo>
                  <a:lnTo>
                    <a:pt x="3868" y="50754"/>
                  </a:lnTo>
                  <a:lnTo>
                    <a:pt x="3208" y="48962"/>
                  </a:lnTo>
                  <a:lnTo>
                    <a:pt x="3585" y="49339"/>
                  </a:lnTo>
                  <a:lnTo>
                    <a:pt x="3774" y="49433"/>
                  </a:lnTo>
                  <a:lnTo>
                    <a:pt x="3962" y="49528"/>
                  </a:lnTo>
                  <a:lnTo>
                    <a:pt x="4057" y="49905"/>
                  </a:lnTo>
                  <a:lnTo>
                    <a:pt x="3868" y="48962"/>
                  </a:lnTo>
                  <a:lnTo>
                    <a:pt x="3491" y="47924"/>
                  </a:lnTo>
                  <a:lnTo>
                    <a:pt x="2641" y="45565"/>
                  </a:lnTo>
                  <a:lnTo>
                    <a:pt x="2170" y="43867"/>
                  </a:lnTo>
                  <a:lnTo>
                    <a:pt x="1698" y="41886"/>
                  </a:lnTo>
                  <a:lnTo>
                    <a:pt x="1698" y="41886"/>
                  </a:lnTo>
                  <a:lnTo>
                    <a:pt x="1887" y="42075"/>
                  </a:lnTo>
                  <a:lnTo>
                    <a:pt x="1981" y="41981"/>
                  </a:lnTo>
                  <a:lnTo>
                    <a:pt x="2075" y="42075"/>
                  </a:lnTo>
                  <a:lnTo>
                    <a:pt x="2264" y="42169"/>
                  </a:lnTo>
                  <a:lnTo>
                    <a:pt x="2170" y="40283"/>
                  </a:lnTo>
                  <a:lnTo>
                    <a:pt x="2075" y="38301"/>
                  </a:lnTo>
                  <a:lnTo>
                    <a:pt x="2170" y="36415"/>
                  </a:lnTo>
                  <a:lnTo>
                    <a:pt x="2358" y="35566"/>
                  </a:lnTo>
                  <a:lnTo>
                    <a:pt x="2453" y="34811"/>
                  </a:lnTo>
                  <a:lnTo>
                    <a:pt x="2830" y="32830"/>
                  </a:lnTo>
                  <a:lnTo>
                    <a:pt x="2830" y="33207"/>
                  </a:lnTo>
                  <a:lnTo>
                    <a:pt x="2924" y="33490"/>
                  </a:lnTo>
                  <a:lnTo>
                    <a:pt x="2924" y="32453"/>
                  </a:lnTo>
                  <a:lnTo>
                    <a:pt x="3019" y="31415"/>
                  </a:lnTo>
                  <a:lnTo>
                    <a:pt x="3396" y="29245"/>
                  </a:lnTo>
                  <a:lnTo>
                    <a:pt x="3868" y="27075"/>
                  </a:lnTo>
                  <a:lnTo>
                    <a:pt x="4623" y="25000"/>
                  </a:lnTo>
                  <a:lnTo>
                    <a:pt x="5566" y="22830"/>
                  </a:lnTo>
                  <a:lnTo>
                    <a:pt x="6604" y="20849"/>
                  </a:lnTo>
                  <a:lnTo>
                    <a:pt x="7830" y="18868"/>
                  </a:lnTo>
                  <a:lnTo>
                    <a:pt x="9151" y="16887"/>
                  </a:lnTo>
                  <a:lnTo>
                    <a:pt x="10566" y="15094"/>
                  </a:lnTo>
                  <a:lnTo>
                    <a:pt x="12075" y="13302"/>
                  </a:lnTo>
                  <a:lnTo>
                    <a:pt x="13773" y="11698"/>
                  </a:lnTo>
                  <a:lnTo>
                    <a:pt x="15377" y="10095"/>
                  </a:lnTo>
                  <a:lnTo>
                    <a:pt x="17170" y="8679"/>
                  </a:lnTo>
                  <a:lnTo>
                    <a:pt x="18962" y="7453"/>
                  </a:lnTo>
                  <a:lnTo>
                    <a:pt x="20754" y="6321"/>
                  </a:lnTo>
                  <a:lnTo>
                    <a:pt x="22547" y="5378"/>
                  </a:lnTo>
                  <a:lnTo>
                    <a:pt x="21603" y="6227"/>
                  </a:lnTo>
                  <a:lnTo>
                    <a:pt x="22641" y="5472"/>
                  </a:lnTo>
                  <a:lnTo>
                    <a:pt x="23302" y="5095"/>
                  </a:lnTo>
                  <a:lnTo>
                    <a:pt x="25377" y="4151"/>
                  </a:lnTo>
                  <a:lnTo>
                    <a:pt x="24811" y="4151"/>
                  </a:lnTo>
                  <a:lnTo>
                    <a:pt x="25660" y="3774"/>
                  </a:lnTo>
                  <a:lnTo>
                    <a:pt x="26886" y="3208"/>
                  </a:lnTo>
                  <a:lnTo>
                    <a:pt x="26603" y="3585"/>
                  </a:lnTo>
                  <a:lnTo>
                    <a:pt x="26886" y="3585"/>
                  </a:lnTo>
                  <a:lnTo>
                    <a:pt x="26886" y="3680"/>
                  </a:lnTo>
                  <a:lnTo>
                    <a:pt x="26792" y="3774"/>
                  </a:lnTo>
                  <a:lnTo>
                    <a:pt x="28301" y="3302"/>
                  </a:lnTo>
                  <a:lnTo>
                    <a:pt x="29622" y="2736"/>
                  </a:lnTo>
                  <a:lnTo>
                    <a:pt x="31037" y="2264"/>
                  </a:lnTo>
                  <a:lnTo>
                    <a:pt x="31792" y="2076"/>
                  </a:lnTo>
                  <a:lnTo>
                    <a:pt x="32641" y="1981"/>
                  </a:lnTo>
                  <a:lnTo>
                    <a:pt x="32547" y="2076"/>
                  </a:lnTo>
                  <a:lnTo>
                    <a:pt x="32924" y="1981"/>
                  </a:lnTo>
                  <a:lnTo>
                    <a:pt x="34245" y="1793"/>
                  </a:lnTo>
                  <a:lnTo>
                    <a:pt x="35848" y="1415"/>
                  </a:lnTo>
                  <a:lnTo>
                    <a:pt x="36981" y="1132"/>
                  </a:lnTo>
                  <a:lnTo>
                    <a:pt x="36981" y="1415"/>
                  </a:lnTo>
                  <a:lnTo>
                    <a:pt x="40943" y="1227"/>
                  </a:lnTo>
                  <a:lnTo>
                    <a:pt x="41509" y="1038"/>
                  </a:lnTo>
                  <a:lnTo>
                    <a:pt x="41697" y="1132"/>
                  </a:lnTo>
                  <a:lnTo>
                    <a:pt x="41509" y="1227"/>
                  </a:lnTo>
                  <a:lnTo>
                    <a:pt x="41320" y="1321"/>
                  </a:lnTo>
                  <a:lnTo>
                    <a:pt x="42263" y="1321"/>
                  </a:lnTo>
                  <a:lnTo>
                    <a:pt x="43113" y="1227"/>
                  </a:lnTo>
                  <a:lnTo>
                    <a:pt x="43396" y="1415"/>
                  </a:lnTo>
                  <a:lnTo>
                    <a:pt x="44056" y="1604"/>
                  </a:lnTo>
                  <a:lnTo>
                    <a:pt x="45943" y="2076"/>
                  </a:lnTo>
                  <a:lnTo>
                    <a:pt x="48018" y="2359"/>
                  </a:lnTo>
                  <a:lnTo>
                    <a:pt x="49622" y="2736"/>
                  </a:lnTo>
                  <a:lnTo>
                    <a:pt x="47641" y="1981"/>
                  </a:lnTo>
                  <a:lnTo>
                    <a:pt x="45282" y="1321"/>
                  </a:lnTo>
                  <a:lnTo>
                    <a:pt x="42735" y="755"/>
                  </a:lnTo>
                  <a:lnTo>
                    <a:pt x="40188" y="283"/>
                  </a:lnTo>
                  <a:lnTo>
                    <a:pt x="37735" y="95"/>
                  </a:lnTo>
                  <a:lnTo>
                    <a:pt x="35471" y="0"/>
                  </a:lnTo>
                  <a:close/>
                </a:path>
              </a:pathLst>
            </a:custGeom>
            <a:solidFill>
              <a:srgbClr val="FF0000"/>
            </a:solidFill>
            <a:ln>
              <a:noFill/>
            </a:ln>
          </p:spPr>
          <p:txBody>
            <a:bodyPr spcFirstLastPara="1" wrap="square" lIns="91425" tIns="91425" rIns="91425" bIns="91425" anchor="ctr" anchorCtr="0">
              <a:noAutofit/>
            </a:bodyPr>
            <a:lstStyle/>
            <a:p>
              <a:pPr marL="0" lvl="0" indent="0">
                <a:spcBef>
                  <a:spcPts val="0"/>
                </a:spcBef>
                <a:spcAft>
                  <a:spcPts val="0"/>
                </a:spcAft>
                <a:buNone/>
              </a:pPr>
              <a:endParaRPr sz="1100"/>
            </a:p>
          </p:txBody>
        </p:sp>
        <p:sp>
          <p:nvSpPr>
            <p:cNvPr id="363" name="TextBox 362">
              <a:extLst>
                <a:ext uri="{FF2B5EF4-FFF2-40B4-BE49-F238E27FC236}">
                  <a16:creationId xmlns:a16="http://schemas.microsoft.com/office/drawing/2014/main" id="{C82F55DB-CCE1-DC44-AFF2-B36833B5F620}"/>
                </a:ext>
              </a:extLst>
            </p:cNvPr>
            <p:cNvSpPr txBox="1"/>
            <p:nvPr/>
          </p:nvSpPr>
          <p:spPr>
            <a:xfrm>
              <a:off x="702590" y="1204757"/>
              <a:ext cx="301686" cy="260896"/>
            </a:xfrm>
            <a:prstGeom prst="rect">
              <a:avLst/>
            </a:prstGeom>
            <a:noFill/>
          </p:spPr>
          <p:txBody>
            <a:bodyPr wrap="square" rtlCol="0">
              <a:spAutoFit/>
            </a:bodyPr>
            <a:lstStyle/>
            <a:p>
              <a:r>
                <a:rPr lang="en-US" sz="700" dirty="0">
                  <a:solidFill>
                    <a:srgbClr val="FF0000"/>
                  </a:solidFill>
                </a:rPr>
                <a:t>5.</a:t>
              </a:r>
            </a:p>
          </p:txBody>
        </p:sp>
      </p:grpSp>
      <p:sp>
        <p:nvSpPr>
          <p:cNvPr id="364" name="Rounded Rectangle 363">
            <a:extLst>
              <a:ext uri="{FF2B5EF4-FFF2-40B4-BE49-F238E27FC236}">
                <a16:creationId xmlns:a16="http://schemas.microsoft.com/office/drawing/2014/main" id="{079CAF48-C60B-8C4E-81E8-489C653F532E}"/>
              </a:ext>
            </a:extLst>
          </p:cNvPr>
          <p:cNvSpPr/>
          <p:nvPr/>
        </p:nvSpPr>
        <p:spPr>
          <a:xfrm>
            <a:off x="423921" y="4084652"/>
            <a:ext cx="1177919" cy="504056"/>
          </a:xfrm>
          <a:prstGeom prst="roundRect">
            <a:avLst/>
          </a:prstGeom>
          <a:solidFill>
            <a:schemeClr val="bg1">
              <a:lumMod val="85000"/>
            </a:schemeClr>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b="1" dirty="0">
              <a:solidFill>
                <a:schemeClr val="bg1">
                  <a:lumMod val="50000"/>
                </a:schemeClr>
              </a:solidFill>
              <a:ea typeface="Nanum Pen Script" panose="03040600000000000000" pitchFamily="66" charset="-127"/>
            </a:endParaRPr>
          </a:p>
          <a:p>
            <a:pPr algn="ctr"/>
            <a:endParaRPr lang="en-US" sz="1000" b="1" dirty="0">
              <a:solidFill>
                <a:schemeClr val="bg1">
                  <a:lumMod val="50000"/>
                </a:schemeClr>
              </a:solidFill>
              <a:ea typeface="Nanum Pen Script" panose="03040600000000000000" pitchFamily="66" charset="-127"/>
            </a:endParaRPr>
          </a:p>
          <a:p>
            <a:pPr algn="ctr"/>
            <a:endParaRPr lang="en-US" sz="1000" b="1" dirty="0">
              <a:solidFill>
                <a:schemeClr val="bg1">
                  <a:lumMod val="50000"/>
                </a:schemeClr>
              </a:solidFill>
              <a:ea typeface="Nanum Pen Script" panose="03040600000000000000" pitchFamily="66" charset="-127"/>
            </a:endParaRPr>
          </a:p>
          <a:p>
            <a:pPr algn="ctr"/>
            <a:endParaRPr lang="en-US" sz="1000" b="1" dirty="0">
              <a:solidFill>
                <a:schemeClr val="bg1">
                  <a:lumMod val="50000"/>
                </a:schemeClr>
              </a:solidFill>
              <a:ea typeface="Nanum Pen Script" panose="03040600000000000000" pitchFamily="66" charset="-127"/>
            </a:endParaRPr>
          </a:p>
          <a:p>
            <a:pPr algn="ctr"/>
            <a:endParaRPr lang="en-US" sz="900" b="1" dirty="0">
              <a:solidFill>
                <a:schemeClr val="bg1">
                  <a:lumMod val="50000"/>
                </a:schemeClr>
              </a:solidFill>
              <a:ea typeface="Nanum Pen Script" panose="03040600000000000000" pitchFamily="66" charset="-127"/>
            </a:endParaRPr>
          </a:p>
          <a:p>
            <a:pPr algn="ctr"/>
            <a:endParaRPr lang="en-US" sz="900" b="1" dirty="0">
              <a:solidFill>
                <a:schemeClr val="bg1">
                  <a:lumMod val="50000"/>
                </a:schemeClr>
              </a:solidFill>
              <a:ea typeface="Nanum Pen Script" panose="03040600000000000000" pitchFamily="66" charset="-127"/>
            </a:endParaRPr>
          </a:p>
          <a:p>
            <a:pPr algn="ctr">
              <a:spcBef>
                <a:spcPts val="0"/>
              </a:spcBef>
            </a:pPr>
            <a:r>
              <a:rPr lang="en-US" sz="9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rPr>
              <a:t>Newsfeed</a:t>
            </a:r>
          </a:p>
          <a:p>
            <a:pPr algn="ctr">
              <a:spcBef>
                <a:spcPts val="0"/>
              </a:spcBef>
            </a:pPr>
            <a:endParaRPr lang="en-US" sz="9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endParaRPr>
          </a:p>
          <a:p>
            <a:pPr algn="ctr">
              <a:spcBef>
                <a:spcPts val="0"/>
              </a:spcBef>
            </a:pPr>
            <a:endParaRPr lang="en-US" sz="9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endParaRPr>
          </a:p>
          <a:p>
            <a:pPr algn="ctr"/>
            <a:endParaRPr lang="en-US" sz="2000" dirty="0">
              <a:solidFill>
                <a:schemeClr val="tx1"/>
              </a:solidFill>
              <a:ea typeface="Nanum Pen Script" panose="03040600000000000000" pitchFamily="66" charset="-127"/>
            </a:endParaRPr>
          </a:p>
          <a:p>
            <a:pPr algn="ctr"/>
            <a:endParaRPr lang="en-US" sz="2000" dirty="0">
              <a:solidFill>
                <a:schemeClr val="tx1"/>
              </a:solidFill>
              <a:ea typeface="Nanum Pen Script" panose="03040600000000000000" pitchFamily="66" charset="-127"/>
            </a:endParaRPr>
          </a:p>
        </p:txBody>
      </p:sp>
      <p:sp>
        <p:nvSpPr>
          <p:cNvPr id="368" name="Rounded Rectangle 367">
            <a:extLst>
              <a:ext uri="{FF2B5EF4-FFF2-40B4-BE49-F238E27FC236}">
                <a16:creationId xmlns:a16="http://schemas.microsoft.com/office/drawing/2014/main" id="{EAB97B32-9678-B948-893E-1382454F6179}"/>
              </a:ext>
            </a:extLst>
          </p:cNvPr>
          <p:cNvSpPr/>
          <p:nvPr/>
        </p:nvSpPr>
        <p:spPr>
          <a:xfrm>
            <a:off x="5348783" y="2007632"/>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369" name="Rounded Rectangle 368">
            <a:extLst>
              <a:ext uri="{FF2B5EF4-FFF2-40B4-BE49-F238E27FC236}">
                <a16:creationId xmlns:a16="http://schemas.microsoft.com/office/drawing/2014/main" id="{A3163297-B97D-D545-A304-198BFB7A171A}"/>
              </a:ext>
            </a:extLst>
          </p:cNvPr>
          <p:cNvSpPr/>
          <p:nvPr/>
        </p:nvSpPr>
        <p:spPr>
          <a:xfrm>
            <a:off x="5542946" y="2007631"/>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370" name="Rounded Rectangle 369">
            <a:extLst>
              <a:ext uri="{FF2B5EF4-FFF2-40B4-BE49-F238E27FC236}">
                <a16:creationId xmlns:a16="http://schemas.microsoft.com/office/drawing/2014/main" id="{9B22CD20-DE5D-9841-A95C-DAAD93495507}"/>
              </a:ext>
            </a:extLst>
          </p:cNvPr>
          <p:cNvSpPr/>
          <p:nvPr/>
        </p:nvSpPr>
        <p:spPr>
          <a:xfrm>
            <a:off x="5737109" y="2005073"/>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371" name="Rounded Rectangle 370">
            <a:extLst>
              <a:ext uri="{FF2B5EF4-FFF2-40B4-BE49-F238E27FC236}">
                <a16:creationId xmlns:a16="http://schemas.microsoft.com/office/drawing/2014/main" id="{D637BE40-C52B-5740-B381-151607BE38CB}"/>
              </a:ext>
            </a:extLst>
          </p:cNvPr>
          <p:cNvSpPr/>
          <p:nvPr/>
        </p:nvSpPr>
        <p:spPr>
          <a:xfrm>
            <a:off x="5929518" y="2007909"/>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372" name="Rounded Rectangle 371">
            <a:extLst>
              <a:ext uri="{FF2B5EF4-FFF2-40B4-BE49-F238E27FC236}">
                <a16:creationId xmlns:a16="http://schemas.microsoft.com/office/drawing/2014/main" id="{30A7CBD1-88CE-5247-9959-DEB78D653FBD}"/>
              </a:ext>
            </a:extLst>
          </p:cNvPr>
          <p:cNvSpPr/>
          <p:nvPr/>
        </p:nvSpPr>
        <p:spPr>
          <a:xfrm>
            <a:off x="10604241" y="979945"/>
            <a:ext cx="1125759" cy="4556156"/>
          </a:xfrm>
          <a:prstGeom prst="roundRect">
            <a:avLst/>
          </a:prstGeom>
          <a:solidFill>
            <a:schemeClr val="bg1">
              <a:lumMod val="85000"/>
            </a:schemeClr>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endParaRPr lang="en-US" sz="24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24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24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24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20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20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200"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200"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200"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200"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200"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200"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200"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200"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200" dirty="0">
              <a:solidFill>
                <a:schemeClr val="bg1">
                  <a:lumMod val="50000"/>
                </a:schemeClr>
              </a:solidFill>
              <a:latin typeface="Nanum Pen Script" panose="03040600000000000000" pitchFamily="66" charset="-127"/>
              <a:ea typeface="Nanum Pen Script" panose="03040600000000000000" pitchFamily="66" charset="-127"/>
            </a:endParaRPr>
          </a:p>
          <a:p>
            <a:pPr algn="ctr"/>
            <a:r>
              <a:rPr lang="en-US" sz="900" dirty="0">
                <a:solidFill>
                  <a:schemeClr val="bg1">
                    <a:lumMod val="50000"/>
                  </a:schemeClr>
                </a:solidFill>
                <a:latin typeface="+mj-lt"/>
                <a:ea typeface="Nanum Pen Script" panose="03040600000000000000" pitchFamily="66" charset="-127"/>
              </a:rPr>
              <a:t>Serving Layer</a:t>
            </a:r>
          </a:p>
          <a:p>
            <a:pPr algn="ctr"/>
            <a:endParaRPr lang="en-US" sz="900" dirty="0">
              <a:solidFill>
                <a:schemeClr val="bg1">
                  <a:lumMod val="50000"/>
                </a:schemeClr>
              </a:solidFill>
              <a:latin typeface="+mj-lt"/>
              <a:ea typeface="Nanum Pen Script" panose="03040600000000000000" pitchFamily="66" charset="-127"/>
            </a:endParaRPr>
          </a:p>
          <a:p>
            <a:pPr algn="ctr"/>
            <a:endParaRPr lang="en-US" sz="1200"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200"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200"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200"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200"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200"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200"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200"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200"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200"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200"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200"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200"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5400" dirty="0">
              <a:solidFill>
                <a:schemeClr val="tx1"/>
              </a:solidFill>
              <a:latin typeface="Nanum Pen Script" panose="03040600000000000000" pitchFamily="66" charset="-127"/>
              <a:ea typeface="Nanum Pen Script" panose="03040600000000000000" pitchFamily="66" charset="-127"/>
            </a:endParaRPr>
          </a:p>
          <a:p>
            <a:pPr algn="ctr"/>
            <a:endParaRPr lang="en-US" sz="5400" dirty="0">
              <a:solidFill>
                <a:schemeClr val="tx1"/>
              </a:solidFill>
              <a:latin typeface="Nanum Pen Script" panose="03040600000000000000" pitchFamily="66" charset="-127"/>
              <a:ea typeface="Nanum Pen Script" panose="03040600000000000000" pitchFamily="66" charset="-127"/>
            </a:endParaRPr>
          </a:p>
        </p:txBody>
      </p:sp>
      <p:sp>
        <p:nvSpPr>
          <p:cNvPr id="373" name="Rounded Rectangle 372">
            <a:extLst>
              <a:ext uri="{FF2B5EF4-FFF2-40B4-BE49-F238E27FC236}">
                <a16:creationId xmlns:a16="http://schemas.microsoft.com/office/drawing/2014/main" id="{60F22487-1D8B-5E47-A1E4-E43D1F98DB6F}"/>
              </a:ext>
            </a:extLst>
          </p:cNvPr>
          <p:cNvSpPr/>
          <p:nvPr/>
        </p:nvSpPr>
        <p:spPr>
          <a:xfrm>
            <a:off x="6120252" y="2011745"/>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374" name="Rounded Rectangle 373">
            <a:extLst>
              <a:ext uri="{FF2B5EF4-FFF2-40B4-BE49-F238E27FC236}">
                <a16:creationId xmlns:a16="http://schemas.microsoft.com/office/drawing/2014/main" id="{16BF7391-EBBF-CA46-936F-DC46D48B9491}"/>
              </a:ext>
            </a:extLst>
          </p:cNvPr>
          <p:cNvSpPr/>
          <p:nvPr/>
        </p:nvSpPr>
        <p:spPr>
          <a:xfrm>
            <a:off x="6304141" y="2001470"/>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375" name="Rounded Rectangle 374">
            <a:extLst>
              <a:ext uri="{FF2B5EF4-FFF2-40B4-BE49-F238E27FC236}">
                <a16:creationId xmlns:a16="http://schemas.microsoft.com/office/drawing/2014/main" id="{033804F1-9110-FA41-A489-1175651853EA}"/>
              </a:ext>
            </a:extLst>
          </p:cNvPr>
          <p:cNvSpPr/>
          <p:nvPr/>
        </p:nvSpPr>
        <p:spPr>
          <a:xfrm>
            <a:off x="6498304" y="2008744"/>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376" name="Rounded Rectangle 375">
            <a:extLst>
              <a:ext uri="{FF2B5EF4-FFF2-40B4-BE49-F238E27FC236}">
                <a16:creationId xmlns:a16="http://schemas.microsoft.com/office/drawing/2014/main" id="{A8DF4B0E-5D18-BB4B-A9D3-AB5C3A2E8B9F}"/>
              </a:ext>
            </a:extLst>
          </p:cNvPr>
          <p:cNvSpPr/>
          <p:nvPr/>
        </p:nvSpPr>
        <p:spPr>
          <a:xfrm>
            <a:off x="6690713" y="2001748"/>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377" name="TextBox 376">
            <a:extLst>
              <a:ext uri="{FF2B5EF4-FFF2-40B4-BE49-F238E27FC236}">
                <a16:creationId xmlns:a16="http://schemas.microsoft.com/office/drawing/2014/main" id="{BEBD59F8-5E05-E445-AE32-C0F96A1E2328}"/>
              </a:ext>
            </a:extLst>
          </p:cNvPr>
          <p:cNvSpPr txBox="1"/>
          <p:nvPr/>
        </p:nvSpPr>
        <p:spPr>
          <a:xfrm>
            <a:off x="5138000" y="2115915"/>
            <a:ext cx="1289135" cy="366424"/>
          </a:xfrm>
          <a:prstGeom prst="rect">
            <a:avLst/>
          </a:prstGeom>
          <a:noFill/>
        </p:spPr>
        <p:txBody>
          <a:bodyPr wrap="none" tIns="90000" bIns="90000" rtlCol="0" anchor="t">
            <a:spAutoFit/>
          </a:bodyPr>
          <a:lstStyle/>
          <a:p>
            <a:pPr algn="ctr" defTabSz="457200"/>
            <a:r>
              <a:rPr lang="en-US" sz="12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Name Events (Topic)</a:t>
            </a:r>
          </a:p>
        </p:txBody>
      </p:sp>
      <p:sp>
        <p:nvSpPr>
          <p:cNvPr id="378" name="Rounded Rectangle 377">
            <a:extLst>
              <a:ext uri="{FF2B5EF4-FFF2-40B4-BE49-F238E27FC236}">
                <a16:creationId xmlns:a16="http://schemas.microsoft.com/office/drawing/2014/main" id="{77C9136F-FC6D-A745-8110-48B1C0B63C1D}"/>
              </a:ext>
            </a:extLst>
          </p:cNvPr>
          <p:cNvSpPr/>
          <p:nvPr/>
        </p:nvSpPr>
        <p:spPr>
          <a:xfrm>
            <a:off x="5270657" y="2494054"/>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379" name="Rounded Rectangle 378">
            <a:extLst>
              <a:ext uri="{FF2B5EF4-FFF2-40B4-BE49-F238E27FC236}">
                <a16:creationId xmlns:a16="http://schemas.microsoft.com/office/drawing/2014/main" id="{8F2590AB-1590-A84A-AF59-F1CAB4734405}"/>
              </a:ext>
            </a:extLst>
          </p:cNvPr>
          <p:cNvSpPr/>
          <p:nvPr/>
        </p:nvSpPr>
        <p:spPr>
          <a:xfrm>
            <a:off x="5464820" y="2494053"/>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380" name="Rounded Rectangle 379">
            <a:extLst>
              <a:ext uri="{FF2B5EF4-FFF2-40B4-BE49-F238E27FC236}">
                <a16:creationId xmlns:a16="http://schemas.microsoft.com/office/drawing/2014/main" id="{09F14FB7-CB49-8149-91B0-C27ED091DBC7}"/>
              </a:ext>
            </a:extLst>
          </p:cNvPr>
          <p:cNvSpPr/>
          <p:nvPr/>
        </p:nvSpPr>
        <p:spPr>
          <a:xfrm>
            <a:off x="5658983" y="2494053"/>
            <a:ext cx="180437"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381" name="Rounded Rectangle 380">
            <a:extLst>
              <a:ext uri="{FF2B5EF4-FFF2-40B4-BE49-F238E27FC236}">
                <a16:creationId xmlns:a16="http://schemas.microsoft.com/office/drawing/2014/main" id="{F4445CBB-9F24-424C-A722-1EB1AA5433FB}"/>
              </a:ext>
            </a:extLst>
          </p:cNvPr>
          <p:cNvSpPr/>
          <p:nvPr/>
        </p:nvSpPr>
        <p:spPr>
          <a:xfrm>
            <a:off x="5851392" y="2494331"/>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382" name="Rounded Rectangle 381">
            <a:extLst>
              <a:ext uri="{FF2B5EF4-FFF2-40B4-BE49-F238E27FC236}">
                <a16:creationId xmlns:a16="http://schemas.microsoft.com/office/drawing/2014/main" id="{9CBCCE6A-C57F-314A-9317-F614C1391D13}"/>
              </a:ext>
            </a:extLst>
          </p:cNvPr>
          <p:cNvSpPr/>
          <p:nvPr/>
        </p:nvSpPr>
        <p:spPr>
          <a:xfrm>
            <a:off x="6031852" y="2497725"/>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383" name="Rounded Rectangle 382">
            <a:extLst>
              <a:ext uri="{FF2B5EF4-FFF2-40B4-BE49-F238E27FC236}">
                <a16:creationId xmlns:a16="http://schemas.microsoft.com/office/drawing/2014/main" id="{0CC7F673-7F56-1E42-9C60-EC7D5900C0F7}"/>
              </a:ext>
            </a:extLst>
          </p:cNvPr>
          <p:cNvSpPr/>
          <p:nvPr/>
        </p:nvSpPr>
        <p:spPr>
          <a:xfrm>
            <a:off x="6226015" y="2497724"/>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384" name="Rounded Rectangle 383">
            <a:extLst>
              <a:ext uri="{FF2B5EF4-FFF2-40B4-BE49-F238E27FC236}">
                <a16:creationId xmlns:a16="http://schemas.microsoft.com/office/drawing/2014/main" id="{DB4E9D0F-C0D1-924B-BDD4-6C11732010A7}"/>
              </a:ext>
            </a:extLst>
          </p:cNvPr>
          <p:cNvSpPr/>
          <p:nvPr/>
        </p:nvSpPr>
        <p:spPr>
          <a:xfrm>
            <a:off x="6420178" y="2495166"/>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385" name="Rounded Rectangle 384">
            <a:extLst>
              <a:ext uri="{FF2B5EF4-FFF2-40B4-BE49-F238E27FC236}">
                <a16:creationId xmlns:a16="http://schemas.microsoft.com/office/drawing/2014/main" id="{F139C928-B115-DB46-A678-010FB8CD2B77}"/>
              </a:ext>
            </a:extLst>
          </p:cNvPr>
          <p:cNvSpPr/>
          <p:nvPr/>
        </p:nvSpPr>
        <p:spPr>
          <a:xfrm>
            <a:off x="6612587" y="2498002"/>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386" name="TextBox 385">
            <a:extLst>
              <a:ext uri="{FF2B5EF4-FFF2-40B4-BE49-F238E27FC236}">
                <a16:creationId xmlns:a16="http://schemas.microsoft.com/office/drawing/2014/main" id="{4919292E-3030-B546-AFC7-8EBCCDAB3824}"/>
              </a:ext>
            </a:extLst>
          </p:cNvPr>
          <p:cNvSpPr txBox="1"/>
          <p:nvPr/>
        </p:nvSpPr>
        <p:spPr>
          <a:xfrm>
            <a:off x="5059874" y="2602337"/>
            <a:ext cx="1289135" cy="366424"/>
          </a:xfrm>
          <a:prstGeom prst="rect">
            <a:avLst/>
          </a:prstGeom>
          <a:noFill/>
        </p:spPr>
        <p:txBody>
          <a:bodyPr wrap="none" tIns="90000" bIns="90000" rtlCol="0" anchor="t">
            <a:spAutoFit/>
          </a:bodyPr>
          <a:lstStyle/>
          <a:p>
            <a:pPr algn="ctr" defTabSz="457200"/>
            <a:r>
              <a:rPr lang="en-US" sz="12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Name Events (Topic)</a:t>
            </a:r>
          </a:p>
        </p:txBody>
      </p:sp>
      <p:sp>
        <p:nvSpPr>
          <p:cNvPr id="387" name="Rounded Rectangle 386">
            <a:extLst>
              <a:ext uri="{FF2B5EF4-FFF2-40B4-BE49-F238E27FC236}">
                <a16:creationId xmlns:a16="http://schemas.microsoft.com/office/drawing/2014/main" id="{8A06B6C2-CC37-664F-8034-685163314AC9}"/>
              </a:ext>
            </a:extLst>
          </p:cNvPr>
          <p:cNvSpPr/>
          <p:nvPr/>
        </p:nvSpPr>
        <p:spPr>
          <a:xfrm>
            <a:off x="5216128" y="2970649"/>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388" name="Rounded Rectangle 387">
            <a:extLst>
              <a:ext uri="{FF2B5EF4-FFF2-40B4-BE49-F238E27FC236}">
                <a16:creationId xmlns:a16="http://schemas.microsoft.com/office/drawing/2014/main" id="{EF13E575-3732-0E43-9093-A9D3333AFD19}"/>
              </a:ext>
            </a:extLst>
          </p:cNvPr>
          <p:cNvSpPr/>
          <p:nvPr/>
        </p:nvSpPr>
        <p:spPr>
          <a:xfrm>
            <a:off x="5410291" y="2970648"/>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389" name="Rounded Rectangle 388">
            <a:extLst>
              <a:ext uri="{FF2B5EF4-FFF2-40B4-BE49-F238E27FC236}">
                <a16:creationId xmlns:a16="http://schemas.microsoft.com/office/drawing/2014/main" id="{1A53B6A9-5F07-8249-8A3A-F59829985322}"/>
              </a:ext>
            </a:extLst>
          </p:cNvPr>
          <p:cNvSpPr/>
          <p:nvPr/>
        </p:nvSpPr>
        <p:spPr>
          <a:xfrm>
            <a:off x="5604454" y="2970648"/>
            <a:ext cx="180437"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390" name="Rounded Rectangle 389">
            <a:extLst>
              <a:ext uri="{FF2B5EF4-FFF2-40B4-BE49-F238E27FC236}">
                <a16:creationId xmlns:a16="http://schemas.microsoft.com/office/drawing/2014/main" id="{BBB4A0C1-07D7-7B4F-9D9B-E1B36EABEFFA}"/>
              </a:ext>
            </a:extLst>
          </p:cNvPr>
          <p:cNvSpPr/>
          <p:nvPr/>
        </p:nvSpPr>
        <p:spPr>
          <a:xfrm>
            <a:off x="5796863" y="2970926"/>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391" name="Rounded Rectangle 390">
            <a:extLst>
              <a:ext uri="{FF2B5EF4-FFF2-40B4-BE49-F238E27FC236}">
                <a16:creationId xmlns:a16="http://schemas.microsoft.com/office/drawing/2014/main" id="{EF0E90DD-2C41-CE49-A0E5-DDC0EAC2F541}"/>
              </a:ext>
            </a:extLst>
          </p:cNvPr>
          <p:cNvSpPr/>
          <p:nvPr/>
        </p:nvSpPr>
        <p:spPr>
          <a:xfrm>
            <a:off x="5977323" y="2964488"/>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392" name="Rounded Rectangle 391">
            <a:extLst>
              <a:ext uri="{FF2B5EF4-FFF2-40B4-BE49-F238E27FC236}">
                <a16:creationId xmlns:a16="http://schemas.microsoft.com/office/drawing/2014/main" id="{9E55C273-6B48-594B-8D6D-9DCD754BDD8A}"/>
              </a:ext>
            </a:extLst>
          </p:cNvPr>
          <p:cNvSpPr/>
          <p:nvPr/>
        </p:nvSpPr>
        <p:spPr>
          <a:xfrm>
            <a:off x="6171486" y="2964487"/>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393" name="Rounded Rectangle 392">
            <a:extLst>
              <a:ext uri="{FF2B5EF4-FFF2-40B4-BE49-F238E27FC236}">
                <a16:creationId xmlns:a16="http://schemas.microsoft.com/office/drawing/2014/main" id="{0D4494B7-B598-EC41-9FCA-EBD2ED752FE2}"/>
              </a:ext>
            </a:extLst>
          </p:cNvPr>
          <p:cNvSpPr/>
          <p:nvPr/>
        </p:nvSpPr>
        <p:spPr>
          <a:xfrm>
            <a:off x="6365649" y="2971761"/>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394" name="TextBox 393">
            <a:extLst>
              <a:ext uri="{FF2B5EF4-FFF2-40B4-BE49-F238E27FC236}">
                <a16:creationId xmlns:a16="http://schemas.microsoft.com/office/drawing/2014/main" id="{6322C212-7708-3C4B-86C1-A0B190949A4E}"/>
              </a:ext>
            </a:extLst>
          </p:cNvPr>
          <p:cNvSpPr txBox="1"/>
          <p:nvPr/>
        </p:nvSpPr>
        <p:spPr>
          <a:xfrm>
            <a:off x="5005345" y="3078932"/>
            <a:ext cx="1289135" cy="366424"/>
          </a:xfrm>
          <a:prstGeom prst="rect">
            <a:avLst/>
          </a:prstGeom>
          <a:noFill/>
        </p:spPr>
        <p:txBody>
          <a:bodyPr wrap="none" tIns="90000" bIns="90000" rtlCol="0" anchor="t">
            <a:spAutoFit/>
          </a:bodyPr>
          <a:lstStyle/>
          <a:p>
            <a:pPr algn="ctr" defTabSz="457200"/>
            <a:r>
              <a:rPr lang="en-US" sz="12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Name Events (Topic)</a:t>
            </a:r>
          </a:p>
        </p:txBody>
      </p:sp>
      <p:sp>
        <p:nvSpPr>
          <p:cNvPr id="395" name="Rounded Rectangle 394">
            <a:extLst>
              <a:ext uri="{FF2B5EF4-FFF2-40B4-BE49-F238E27FC236}">
                <a16:creationId xmlns:a16="http://schemas.microsoft.com/office/drawing/2014/main" id="{F2C709DB-E4D3-8549-A1C0-1ECF967645C2}"/>
              </a:ext>
            </a:extLst>
          </p:cNvPr>
          <p:cNvSpPr/>
          <p:nvPr/>
        </p:nvSpPr>
        <p:spPr>
          <a:xfrm>
            <a:off x="6809335" y="2497724"/>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396" name="Rounded Rectangle 395">
            <a:extLst>
              <a:ext uri="{FF2B5EF4-FFF2-40B4-BE49-F238E27FC236}">
                <a16:creationId xmlns:a16="http://schemas.microsoft.com/office/drawing/2014/main" id="{97C505A0-8BB7-1946-8F47-228813CC5848}"/>
              </a:ext>
            </a:extLst>
          </p:cNvPr>
          <p:cNvSpPr/>
          <p:nvPr/>
        </p:nvSpPr>
        <p:spPr>
          <a:xfrm>
            <a:off x="7035646" y="2494053"/>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397" name="Rounded Rectangle 396">
            <a:extLst>
              <a:ext uri="{FF2B5EF4-FFF2-40B4-BE49-F238E27FC236}">
                <a16:creationId xmlns:a16="http://schemas.microsoft.com/office/drawing/2014/main" id="{A7712D8F-7CF6-414A-9DEC-1274D40E1D8C}"/>
              </a:ext>
            </a:extLst>
          </p:cNvPr>
          <p:cNvSpPr/>
          <p:nvPr/>
        </p:nvSpPr>
        <p:spPr>
          <a:xfrm>
            <a:off x="5231878" y="3455958"/>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398" name="Rounded Rectangle 397">
            <a:extLst>
              <a:ext uri="{FF2B5EF4-FFF2-40B4-BE49-F238E27FC236}">
                <a16:creationId xmlns:a16="http://schemas.microsoft.com/office/drawing/2014/main" id="{385DB6A2-DE64-004D-82B8-7D607C5DACE6}"/>
              </a:ext>
            </a:extLst>
          </p:cNvPr>
          <p:cNvSpPr/>
          <p:nvPr/>
        </p:nvSpPr>
        <p:spPr>
          <a:xfrm>
            <a:off x="5426041" y="3455957"/>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399" name="Rounded Rectangle 398">
            <a:extLst>
              <a:ext uri="{FF2B5EF4-FFF2-40B4-BE49-F238E27FC236}">
                <a16:creationId xmlns:a16="http://schemas.microsoft.com/office/drawing/2014/main" id="{6CC18CA0-8352-3845-911C-1FAC03AFD53C}"/>
              </a:ext>
            </a:extLst>
          </p:cNvPr>
          <p:cNvSpPr/>
          <p:nvPr/>
        </p:nvSpPr>
        <p:spPr>
          <a:xfrm>
            <a:off x="5620204" y="3455957"/>
            <a:ext cx="180437"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400" name="Rounded Rectangle 399">
            <a:extLst>
              <a:ext uri="{FF2B5EF4-FFF2-40B4-BE49-F238E27FC236}">
                <a16:creationId xmlns:a16="http://schemas.microsoft.com/office/drawing/2014/main" id="{978868FF-54C8-8743-8C99-FF1FAF09D8DE}"/>
              </a:ext>
            </a:extLst>
          </p:cNvPr>
          <p:cNvSpPr/>
          <p:nvPr/>
        </p:nvSpPr>
        <p:spPr>
          <a:xfrm>
            <a:off x="5812613" y="3456235"/>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401" name="Rounded Rectangle 400">
            <a:extLst>
              <a:ext uri="{FF2B5EF4-FFF2-40B4-BE49-F238E27FC236}">
                <a16:creationId xmlns:a16="http://schemas.microsoft.com/office/drawing/2014/main" id="{1A0893EF-FF06-5642-BD57-51CCDA65382C}"/>
              </a:ext>
            </a:extLst>
          </p:cNvPr>
          <p:cNvSpPr/>
          <p:nvPr/>
        </p:nvSpPr>
        <p:spPr>
          <a:xfrm>
            <a:off x="5993073" y="3459629"/>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402" name="Rounded Rectangle 401">
            <a:extLst>
              <a:ext uri="{FF2B5EF4-FFF2-40B4-BE49-F238E27FC236}">
                <a16:creationId xmlns:a16="http://schemas.microsoft.com/office/drawing/2014/main" id="{3262205D-40AD-7745-89CF-457415977C47}"/>
              </a:ext>
            </a:extLst>
          </p:cNvPr>
          <p:cNvSpPr/>
          <p:nvPr/>
        </p:nvSpPr>
        <p:spPr>
          <a:xfrm>
            <a:off x="6187236" y="3459628"/>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403" name="Rounded Rectangle 402">
            <a:extLst>
              <a:ext uri="{FF2B5EF4-FFF2-40B4-BE49-F238E27FC236}">
                <a16:creationId xmlns:a16="http://schemas.microsoft.com/office/drawing/2014/main" id="{48FB875D-3337-0A40-9098-4D34A5D105C2}"/>
              </a:ext>
            </a:extLst>
          </p:cNvPr>
          <p:cNvSpPr/>
          <p:nvPr/>
        </p:nvSpPr>
        <p:spPr>
          <a:xfrm>
            <a:off x="6381399" y="3457070"/>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404" name="TextBox 403">
            <a:extLst>
              <a:ext uri="{FF2B5EF4-FFF2-40B4-BE49-F238E27FC236}">
                <a16:creationId xmlns:a16="http://schemas.microsoft.com/office/drawing/2014/main" id="{F3DCBA99-F0BC-E04F-8553-EFEABA8D6B90}"/>
              </a:ext>
            </a:extLst>
          </p:cNvPr>
          <p:cNvSpPr txBox="1"/>
          <p:nvPr/>
        </p:nvSpPr>
        <p:spPr>
          <a:xfrm>
            <a:off x="5021095" y="3564241"/>
            <a:ext cx="1289135" cy="366424"/>
          </a:xfrm>
          <a:prstGeom prst="rect">
            <a:avLst/>
          </a:prstGeom>
          <a:noFill/>
        </p:spPr>
        <p:txBody>
          <a:bodyPr wrap="none" tIns="90000" bIns="90000" rtlCol="0" anchor="t">
            <a:spAutoFit/>
          </a:bodyPr>
          <a:lstStyle/>
          <a:p>
            <a:pPr algn="ctr" defTabSz="457200"/>
            <a:r>
              <a:rPr lang="en-US" sz="12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Name Events (Topic)</a:t>
            </a:r>
          </a:p>
        </p:txBody>
      </p:sp>
      <p:sp>
        <p:nvSpPr>
          <p:cNvPr id="405" name="Rounded Rectangle 404">
            <a:extLst>
              <a:ext uri="{FF2B5EF4-FFF2-40B4-BE49-F238E27FC236}">
                <a16:creationId xmlns:a16="http://schemas.microsoft.com/office/drawing/2014/main" id="{021C6D3A-86DE-4E4F-87BA-CDF8AC2890C8}"/>
              </a:ext>
            </a:extLst>
          </p:cNvPr>
          <p:cNvSpPr/>
          <p:nvPr/>
        </p:nvSpPr>
        <p:spPr>
          <a:xfrm>
            <a:off x="5242414" y="3892773"/>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406" name="Rounded Rectangle 405">
            <a:extLst>
              <a:ext uri="{FF2B5EF4-FFF2-40B4-BE49-F238E27FC236}">
                <a16:creationId xmlns:a16="http://schemas.microsoft.com/office/drawing/2014/main" id="{49E8EF3B-B91E-2D45-A5DD-075D9329BE5B}"/>
              </a:ext>
            </a:extLst>
          </p:cNvPr>
          <p:cNvSpPr/>
          <p:nvPr/>
        </p:nvSpPr>
        <p:spPr>
          <a:xfrm>
            <a:off x="5436577" y="3892772"/>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407" name="Rounded Rectangle 406">
            <a:extLst>
              <a:ext uri="{FF2B5EF4-FFF2-40B4-BE49-F238E27FC236}">
                <a16:creationId xmlns:a16="http://schemas.microsoft.com/office/drawing/2014/main" id="{1429B769-9C0E-B14E-8F03-B0B160F61F56}"/>
              </a:ext>
            </a:extLst>
          </p:cNvPr>
          <p:cNvSpPr/>
          <p:nvPr/>
        </p:nvSpPr>
        <p:spPr>
          <a:xfrm>
            <a:off x="5630740" y="3890214"/>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408" name="Rounded Rectangle 407">
            <a:extLst>
              <a:ext uri="{FF2B5EF4-FFF2-40B4-BE49-F238E27FC236}">
                <a16:creationId xmlns:a16="http://schemas.microsoft.com/office/drawing/2014/main" id="{B97AAA93-7C9B-AD45-AA5A-86239AFD6065}"/>
              </a:ext>
            </a:extLst>
          </p:cNvPr>
          <p:cNvSpPr/>
          <p:nvPr/>
        </p:nvSpPr>
        <p:spPr>
          <a:xfrm>
            <a:off x="5813317" y="3893050"/>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409" name="Rounded Rectangle 408">
            <a:extLst>
              <a:ext uri="{FF2B5EF4-FFF2-40B4-BE49-F238E27FC236}">
                <a16:creationId xmlns:a16="http://schemas.microsoft.com/office/drawing/2014/main" id="{A357932F-C325-0C40-B3B3-43DD9E60480B}"/>
              </a:ext>
            </a:extLst>
          </p:cNvPr>
          <p:cNvSpPr/>
          <p:nvPr/>
        </p:nvSpPr>
        <p:spPr>
          <a:xfrm>
            <a:off x="6003609" y="3896444"/>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410" name="Rounded Rectangle 409">
            <a:extLst>
              <a:ext uri="{FF2B5EF4-FFF2-40B4-BE49-F238E27FC236}">
                <a16:creationId xmlns:a16="http://schemas.microsoft.com/office/drawing/2014/main" id="{4B10A630-2350-024E-B6A4-356D38DBFFB1}"/>
              </a:ext>
            </a:extLst>
          </p:cNvPr>
          <p:cNvSpPr/>
          <p:nvPr/>
        </p:nvSpPr>
        <p:spPr>
          <a:xfrm>
            <a:off x="6187940" y="3896443"/>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411" name="Rounded Rectangle 410">
            <a:extLst>
              <a:ext uri="{FF2B5EF4-FFF2-40B4-BE49-F238E27FC236}">
                <a16:creationId xmlns:a16="http://schemas.microsoft.com/office/drawing/2014/main" id="{E944122B-04AC-7941-9380-9600031DCADE}"/>
              </a:ext>
            </a:extLst>
          </p:cNvPr>
          <p:cNvSpPr/>
          <p:nvPr/>
        </p:nvSpPr>
        <p:spPr>
          <a:xfrm>
            <a:off x="6382103" y="3893885"/>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412" name="Rounded Rectangle 411">
            <a:extLst>
              <a:ext uri="{FF2B5EF4-FFF2-40B4-BE49-F238E27FC236}">
                <a16:creationId xmlns:a16="http://schemas.microsoft.com/office/drawing/2014/main" id="{32E8B56D-6C49-B54B-B8CF-684BBD3819EA}"/>
              </a:ext>
            </a:extLst>
          </p:cNvPr>
          <p:cNvSpPr/>
          <p:nvPr/>
        </p:nvSpPr>
        <p:spPr>
          <a:xfrm>
            <a:off x="6574512" y="3896721"/>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413" name="TextBox 412">
            <a:extLst>
              <a:ext uri="{FF2B5EF4-FFF2-40B4-BE49-F238E27FC236}">
                <a16:creationId xmlns:a16="http://schemas.microsoft.com/office/drawing/2014/main" id="{C9690CEB-913C-1848-B46E-EE47EEED498E}"/>
              </a:ext>
            </a:extLst>
          </p:cNvPr>
          <p:cNvSpPr txBox="1"/>
          <p:nvPr/>
        </p:nvSpPr>
        <p:spPr>
          <a:xfrm>
            <a:off x="5031631" y="4001056"/>
            <a:ext cx="1289135" cy="366424"/>
          </a:xfrm>
          <a:prstGeom prst="rect">
            <a:avLst/>
          </a:prstGeom>
          <a:noFill/>
        </p:spPr>
        <p:txBody>
          <a:bodyPr wrap="none" tIns="90000" bIns="90000" rtlCol="0" anchor="t">
            <a:spAutoFit/>
          </a:bodyPr>
          <a:lstStyle/>
          <a:p>
            <a:pPr algn="ctr" defTabSz="457200"/>
            <a:r>
              <a:rPr lang="en-US" sz="12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Name Events (Topic)</a:t>
            </a:r>
          </a:p>
        </p:txBody>
      </p:sp>
      <p:sp>
        <p:nvSpPr>
          <p:cNvPr id="414" name="Rounded Rectangle 413">
            <a:extLst>
              <a:ext uri="{FF2B5EF4-FFF2-40B4-BE49-F238E27FC236}">
                <a16:creationId xmlns:a16="http://schemas.microsoft.com/office/drawing/2014/main" id="{6D2C1B95-A58D-0F4A-9224-7E071A805574}"/>
              </a:ext>
            </a:extLst>
          </p:cNvPr>
          <p:cNvSpPr/>
          <p:nvPr/>
        </p:nvSpPr>
        <p:spPr>
          <a:xfrm>
            <a:off x="5237542" y="4360436"/>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415" name="Rounded Rectangle 414">
            <a:extLst>
              <a:ext uri="{FF2B5EF4-FFF2-40B4-BE49-F238E27FC236}">
                <a16:creationId xmlns:a16="http://schemas.microsoft.com/office/drawing/2014/main" id="{129AE37A-FA44-E04E-8039-081D8D378724}"/>
              </a:ext>
            </a:extLst>
          </p:cNvPr>
          <p:cNvSpPr/>
          <p:nvPr/>
        </p:nvSpPr>
        <p:spPr>
          <a:xfrm>
            <a:off x="5431705" y="4360435"/>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416" name="Rounded Rectangle 415">
            <a:extLst>
              <a:ext uri="{FF2B5EF4-FFF2-40B4-BE49-F238E27FC236}">
                <a16:creationId xmlns:a16="http://schemas.microsoft.com/office/drawing/2014/main" id="{D670CE08-F39C-9E4E-9BAF-A16B266DA21A}"/>
              </a:ext>
            </a:extLst>
          </p:cNvPr>
          <p:cNvSpPr/>
          <p:nvPr/>
        </p:nvSpPr>
        <p:spPr>
          <a:xfrm>
            <a:off x="5625868" y="4360435"/>
            <a:ext cx="180437"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417" name="Rounded Rectangle 416">
            <a:extLst>
              <a:ext uri="{FF2B5EF4-FFF2-40B4-BE49-F238E27FC236}">
                <a16:creationId xmlns:a16="http://schemas.microsoft.com/office/drawing/2014/main" id="{FB744851-564D-BC46-A1BA-27B4E760E672}"/>
              </a:ext>
            </a:extLst>
          </p:cNvPr>
          <p:cNvSpPr/>
          <p:nvPr/>
        </p:nvSpPr>
        <p:spPr>
          <a:xfrm>
            <a:off x="5818277" y="4360713"/>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418" name="Rounded Rectangle 417">
            <a:extLst>
              <a:ext uri="{FF2B5EF4-FFF2-40B4-BE49-F238E27FC236}">
                <a16:creationId xmlns:a16="http://schemas.microsoft.com/office/drawing/2014/main" id="{176C0BC9-F716-1845-94AB-624194DAE959}"/>
              </a:ext>
            </a:extLst>
          </p:cNvPr>
          <p:cNvSpPr/>
          <p:nvPr/>
        </p:nvSpPr>
        <p:spPr>
          <a:xfrm>
            <a:off x="5998737" y="4364107"/>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419" name="Rounded Rectangle 418">
            <a:extLst>
              <a:ext uri="{FF2B5EF4-FFF2-40B4-BE49-F238E27FC236}">
                <a16:creationId xmlns:a16="http://schemas.microsoft.com/office/drawing/2014/main" id="{0EED5FD5-1160-634D-AFDC-E5268A6BA05E}"/>
              </a:ext>
            </a:extLst>
          </p:cNvPr>
          <p:cNvSpPr/>
          <p:nvPr/>
        </p:nvSpPr>
        <p:spPr>
          <a:xfrm>
            <a:off x="6192900" y="4364106"/>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420" name="Rounded Rectangle 419">
            <a:extLst>
              <a:ext uri="{FF2B5EF4-FFF2-40B4-BE49-F238E27FC236}">
                <a16:creationId xmlns:a16="http://schemas.microsoft.com/office/drawing/2014/main" id="{02B9D045-4D34-4746-A3BF-5AE75986F50B}"/>
              </a:ext>
            </a:extLst>
          </p:cNvPr>
          <p:cNvSpPr/>
          <p:nvPr/>
        </p:nvSpPr>
        <p:spPr>
          <a:xfrm>
            <a:off x="6387063" y="4361548"/>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421" name="Rounded Rectangle 420">
            <a:extLst>
              <a:ext uri="{FF2B5EF4-FFF2-40B4-BE49-F238E27FC236}">
                <a16:creationId xmlns:a16="http://schemas.microsoft.com/office/drawing/2014/main" id="{266EF58E-3444-5742-8269-17E4B3F7746D}"/>
              </a:ext>
            </a:extLst>
          </p:cNvPr>
          <p:cNvSpPr/>
          <p:nvPr/>
        </p:nvSpPr>
        <p:spPr>
          <a:xfrm>
            <a:off x="6579472" y="4364384"/>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422" name="TextBox 421">
            <a:extLst>
              <a:ext uri="{FF2B5EF4-FFF2-40B4-BE49-F238E27FC236}">
                <a16:creationId xmlns:a16="http://schemas.microsoft.com/office/drawing/2014/main" id="{26AF09B7-504F-A441-98CB-217C7A864A95}"/>
              </a:ext>
            </a:extLst>
          </p:cNvPr>
          <p:cNvSpPr txBox="1"/>
          <p:nvPr/>
        </p:nvSpPr>
        <p:spPr>
          <a:xfrm>
            <a:off x="5026759" y="4468719"/>
            <a:ext cx="1289135" cy="366424"/>
          </a:xfrm>
          <a:prstGeom prst="rect">
            <a:avLst/>
          </a:prstGeom>
          <a:noFill/>
        </p:spPr>
        <p:txBody>
          <a:bodyPr wrap="none" tIns="90000" bIns="90000" rtlCol="0" anchor="t">
            <a:spAutoFit/>
          </a:bodyPr>
          <a:lstStyle/>
          <a:p>
            <a:pPr algn="ctr" defTabSz="457200"/>
            <a:r>
              <a:rPr lang="en-US" sz="12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Name Events (Topic)</a:t>
            </a:r>
          </a:p>
        </p:txBody>
      </p:sp>
      <p:sp>
        <p:nvSpPr>
          <p:cNvPr id="423" name="Rounded Rectangle 422">
            <a:extLst>
              <a:ext uri="{FF2B5EF4-FFF2-40B4-BE49-F238E27FC236}">
                <a16:creationId xmlns:a16="http://schemas.microsoft.com/office/drawing/2014/main" id="{0902EB9A-7D0D-B549-B1EA-AFBE0344B446}"/>
              </a:ext>
            </a:extLst>
          </p:cNvPr>
          <p:cNvSpPr/>
          <p:nvPr/>
        </p:nvSpPr>
        <p:spPr>
          <a:xfrm>
            <a:off x="6776220" y="4364106"/>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424" name="Rounded Rectangle 423">
            <a:extLst>
              <a:ext uri="{FF2B5EF4-FFF2-40B4-BE49-F238E27FC236}">
                <a16:creationId xmlns:a16="http://schemas.microsoft.com/office/drawing/2014/main" id="{D03C005D-9C0C-0941-84F2-81C569FE1A83}"/>
              </a:ext>
            </a:extLst>
          </p:cNvPr>
          <p:cNvSpPr/>
          <p:nvPr/>
        </p:nvSpPr>
        <p:spPr>
          <a:xfrm>
            <a:off x="6971709" y="4360435"/>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grpSp>
        <p:nvGrpSpPr>
          <p:cNvPr id="425" name="Group 424">
            <a:extLst>
              <a:ext uri="{FF2B5EF4-FFF2-40B4-BE49-F238E27FC236}">
                <a16:creationId xmlns:a16="http://schemas.microsoft.com/office/drawing/2014/main" id="{C5993623-23C6-5A46-AD2C-AB5B9B30FADC}"/>
              </a:ext>
            </a:extLst>
          </p:cNvPr>
          <p:cNvGrpSpPr/>
          <p:nvPr/>
        </p:nvGrpSpPr>
        <p:grpSpPr>
          <a:xfrm rot="21011211">
            <a:off x="419162" y="4152127"/>
            <a:ext cx="292910" cy="222927"/>
            <a:chOff x="702590" y="1203599"/>
            <a:chExt cx="301686" cy="290724"/>
          </a:xfrm>
        </p:grpSpPr>
        <p:sp>
          <p:nvSpPr>
            <p:cNvPr id="426" name="Google Shape;431;p39">
              <a:extLst>
                <a:ext uri="{FF2B5EF4-FFF2-40B4-BE49-F238E27FC236}">
                  <a16:creationId xmlns:a16="http://schemas.microsoft.com/office/drawing/2014/main" id="{6BE90D6F-13D8-B34E-B161-3ACC92DFE7CD}"/>
                </a:ext>
              </a:extLst>
            </p:cNvPr>
            <p:cNvSpPr/>
            <p:nvPr/>
          </p:nvSpPr>
          <p:spPr>
            <a:xfrm>
              <a:off x="736556" y="1203599"/>
              <a:ext cx="219241" cy="290724"/>
            </a:xfrm>
            <a:custGeom>
              <a:avLst/>
              <a:gdLst/>
              <a:ahLst/>
              <a:cxnLst/>
              <a:rect l="0" t="0" r="0" b="0"/>
              <a:pathLst>
                <a:path w="67641" h="69056" extrusionOk="0">
                  <a:moveTo>
                    <a:pt x="49622" y="2736"/>
                  </a:moveTo>
                  <a:lnTo>
                    <a:pt x="49622" y="2736"/>
                  </a:lnTo>
                  <a:lnTo>
                    <a:pt x="49622" y="2736"/>
                  </a:lnTo>
                  <a:close/>
                  <a:moveTo>
                    <a:pt x="59622" y="55565"/>
                  </a:moveTo>
                  <a:lnTo>
                    <a:pt x="59622" y="55565"/>
                  </a:lnTo>
                  <a:lnTo>
                    <a:pt x="59622" y="55565"/>
                  </a:lnTo>
                  <a:close/>
                  <a:moveTo>
                    <a:pt x="35471" y="0"/>
                  </a:moveTo>
                  <a:lnTo>
                    <a:pt x="34433" y="95"/>
                  </a:lnTo>
                  <a:lnTo>
                    <a:pt x="33584" y="189"/>
                  </a:lnTo>
                  <a:lnTo>
                    <a:pt x="32735" y="378"/>
                  </a:lnTo>
                  <a:lnTo>
                    <a:pt x="32169" y="566"/>
                  </a:lnTo>
                  <a:lnTo>
                    <a:pt x="31509" y="472"/>
                  </a:lnTo>
                  <a:lnTo>
                    <a:pt x="30754" y="472"/>
                  </a:lnTo>
                  <a:lnTo>
                    <a:pt x="29339" y="566"/>
                  </a:lnTo>
                  <a:lnTo>
                    <a:pt x="27830" y="849"/>
                  </a:lnTo>
                  <a:lnTo>
                    <a:pt x="26320" y="1321"/>
                  </a:lnTo>
                  <a:lnTo>
                    <a:pt x="24811" y="1981"/>
                  </a:lnTo>
                  <a:lnTo>
                    <a:pt x="23207" y="2736"/>
                  </a:lnTo>
                  <a:lnTo>
                    <a:pt x="21698" y="3585"/>
                  </a:lnTo>
                  <a:lnTo>
                    <a:pt x="20188" y="4623"/>
                  </a:lnTo>
                  <a:lnTo>
                    <a:pt x="18679" y="5661"/>
                  </a:lnTo>
                  <a:lnTo>
                    <a:pt x="17170" y="6793"/>
                  </a:lnTo>
                  <a:lnTo>
                    <a:pt x="15754" y="8019"/>
                  </a:lnTo>
                  <a:lnTo>
                    <a:pt x="14434" y="9151"/>
                  </a:lnTo>
                  <a:lnTo>
                    <a:pt x="11981" y="11510"/>
                  </a:lnTo>
                  <a:lnTo>
                    <a:pt x="10000" y="13774"/>
                  </a:lnTo>
                  <a:lnTo>
                    <a:pt x="7736" y="16981"/>
                  </a:lnTo>
                  <a:lnTo>
                    <a:pt x="8019" y="16321"/>
                  </a:lnTo>
                  <a:lnTo>
                    <a:pt x="8302" y="15660"/>
                  </a:lnTo>
                  <a:lnTo>
                    <a:pt x="7736" y="16604"/>
                  </a:lnTo>
                  <a:lnTo>
                    <a:pt x="7075" y="17642"/>
                  </a:lnTo>
                  <a:lnTo>
                    <a:pt x="7170" y="17830"/>
                  </a:lnTo>
                  <a:lnTo>
                    <a:pt x="6509" y="18868"/>
                  </a:lnTo>
                  <a:lnTo>
                    <a:pt x="7075" y="17359"/>
                  </a:lnTo>
                  <a:lnTo>
                    <a:pt x="6132" y="19057"/>
                  </a:lnTo>
                  <a:lnTo>
                    <a:pt x="5189" y="20849"/>
                  </a:lnTo>
                  <a:lnTo>
                    <a:pt x="4434" y="22736"/>
                  </a:lnTo>
                  <a:lnTo>
                    <a:pt x="3679" y="24622"/>
                  </a:lnTo>
                  <a:lnTo>
                    <a:pt x="2453" y="28490"/>
                  </a:lnTo>
                  <a:lnTo>
                    <a:pt x="1321" y="32169"/>
                  </a:lnTo>
                  <a:lnTo>
                    <a:pt x="1509" y="32264"/>
                  </a:lnTo>
                  <a:lnTo>
                    <a:pt x="1604" y="32453"/>
                  </a:lnTo>
                  <a:lnTo>
                    <a:pt x="1604" y="32641"/>
                  </a:lnTo>
                  <a:lnTo>
                    <a:pt x="1509" y="32924"/>
                  </a:lnTo>
                  <a:lnTo>
                    <a:pt x="1226" y="33396"/>
                  </a:lnTo>
                  <a:lnTo>
                    <a:pt x="1038" y="33585"/>
                  </a:lnTo>
                  <a:lnTo>
                    <a:pt x="1038" y="33773"/>
                  </a:lnTo>
                  <a:lnTo>
                    <a:pt x="1038" y="35000"/>
                  </a:lnTo>
                  <a:lnTo>
                    <a:pt x="849" y="36132"/>
                  </a:lnTo>
                  <a:lnTo>
                    <a:pt x="660" y="37358"/>
                  </a:lnTo>
                  <a:lnTo>
                    <a:pt x="472" y="38867"/>
                  </a:lnTo>
                  <a:lnTo>
                    <a:pt x="283" y="38301"/>
                  </a:lnTo>
                  <a:lnTo>
                    <a:pt x="94" y="39811"/>
                  </a:lnTo>
                  <a:lnTo>
                    <a:pt x="0" y="41509"/>
                  </a:lnTo>
                  <a:lnTo>
                    <a:pt x="94" y="43301"/>
                  </a:lnTo>
                  <a:lnTo>
                    <a:pt x="283" y="44056"/>
                  </a:lnTo>
                  <a:lnTo>
                    <a:pt x="472" y="44622"/>
                  </a:lnTo>
                  <a:lnTo>
                    <a:pt x="566" y="45660"/>
                  </a:lnTo>
                  <a:lnTo>
                    <a:pt x="755" y="46792"/>
                  </a:lnTo>
                  <a:lnTo>
                    <a:pt x="1226" y="48962"/>
                  </a:lnTo>
                  <a:lnTo>
                    <a:pt x="1981" y="51037"/>
                  </a:lnTo>
                  <a:lnTo>
                    <a:pt x="2924" y="53112"/>
                  </a:lnTo>
                  <a:lnTo>
                    <a:pt x="4057" y="55094"/>
                  </a:lnTo>
                  <a:lnTo>
                    <a:pt x="5283" y="56980"/>
                  </a:lnTo>
                  <a:lnTo>
                    <a:pt x="6698" y="58678"/>
                  </a:lnTo>
                  <a:lnTo>
                    <a:pt x="8113" y="60282"/>
                  </a:lnTo>
                  <a:lnTo>
                    <a:pt x="9056" y="61131"/>
                  </a:lnTo>
                  <a:lnTo>
                    <a:pt x="10000" y="61980"/>
                  </a:lnTo>
                  <a:lnTo>
                    <a:pt x="11038" y="62829"/>
                  </a:lnTo>
                  <a:lnTo>
                    <a:pt x="12075" y="63584"/>
                  </a:lnTo>
                  <a:lnTo>
                    <a:pt x="14339" y="64905"/>
                  </a:lnTo>
                  <a:lnTo>
                    <a:pt x="16604" y="66131"/>
                  </a:lnTo>
                  <a:lnTo>
                    <a:pt x="19056" y="67169"/>
                  </a:lnTo>
                  <a:lnTo>
                    <a:pt x="21509" y="67923"/>
                  </a:lnTo>
                  <a:lnTo>
                    <a:pt x="24056" y="68584"/>
                  </a:lnTo>
                  <a:lnTo>
                    <a:pt x="26603" y="69055"/>
                  </a:lnTo>
                  <a:lnTo>
                    <a:pt x="27830" y="69055"/>
                  </a:lnTo>
                  <a:lnTo>
                    <a:pt x="30188" y="68867"/>
                  </a:lnTo>
                  <a:lnTo>
                    <a:pt x="33113" y="68678"/>
                  </a:lnTo>
                  <a:lnTo>
                    <a:pt x="36509" y="68301"/>
                  </a:lnTo>
                  <a:lnTo>
                    <a:pt x="39811" y="67923"/>
                  </a:lnTo>
                  <a:lnTo>
                    <a:pt x="42735" y="67452"/>
                  </a:lnTo>
                  <a:lnTo>
                    <a:pt x="44905" y="66980"/>
                  </a:lnTo>
                  <a:lnTo>
                    <a:pt x="45565" y="66791"/>
                  </a:lnTo>
                  <a:lnTo>
                    <a:pt x="45943" y="66508"/>
                  </a:lnTo>
                  <a:lnTo>
                    <a:pt x="47358" y="65942"/>
                  </a:lnTo>
                  <a:lnTo>
                    <a:pt x="48018" y="65565"/>
                  </a:lnTo>
                  <a:lnTo>
                    <a:pt x="48678" y="65188"/>
                  </a:lnTo>
                  <a:lnTo>
                    <a:pt x="47924" y="65471"/>
                  </a:lnTo>
                  <a:lnTo>
                    <a:pt x="51509" y="62924"/>
                  </a:lnTo>
                  <a:lnTo>
                    <a:pt x="53301" y="61508"/>
                  </a:lnTo>
                  <a:lnTo>
                    <a:pt x="55093" y="59905"/>
                  </a:lnTo>
                  <a:lnTo>
                    <a:pt x="55093" y="59905"/>
                  </a:lnTo>
                  <a:lnTo>
                    <a:pt x="54810" y="60376"/>
                  </a:lnTo>
                  <a:lnTo>
                    <a:pt x="54339" y="60754"/>
                  </a:lnTo>
                  <a:lnTo>
                    <a:pt x="55376" y="59999"/>
                  </a:lnTo>
                  <a:lnTo>
                    <a:pt x="56320" y="59056"/>
                  </a:lnTo>
                  <a:lnTo>
                    <a:pt x="57075" y="58395"/>
                  </a:lnTo>
                  <a:lnTo>
                    <a:pt x="57169" y="58207"/>
                  </a:lnTo>
                  <a:lnTo>
                    <a:pt x="57075" y="58207"/>
                  </a:lnTo>
                  <a:lnTo>
                    <a:pt x="57924" y="57546"/>
                  </a:lnTo>
                  <a:lnTo>
                    <a:pt x="58678" y="56697"/>
                  </a:lnTo>
                  <a:lnTo>
                    <a:pt x="59339" y="55754"/>
                  </a:lnTo>
                  <a:lnTo>
                    <a:pt x="59905" y="54905"/>
                  </a:lnTo>
                  <a:lnTo>
                    <a:pt x="59716" y="54999"/>
                  </a:lnTo>
                  <a:lnTo>
                    <a:pt x="59622" y="54999"/>
                  </a:lnTo>
                  <a:lnTo>
                    <a:pt x="59810" y="54622"/>
                  </a:lnTo>
                  <a:lnTo>
                    <a:pt x="59150" y="55565"/>
                  </a:lnTo>
                  <a:lnTo>
                    <a:pt x="59527" y="55094"/>
                  </a:lnTo>
                  <a:lnTo>
                    <a:pt x="59433" y="55377"/>
                  </a:lnTo>
                  <a:lnTo>
                    <a:pt x="58867" y="56037"/>
                  </a:lnTo>
                  <a:lnTo>
                    <a:pt x="59056" y="55660"/>
                  </a:lnTo>
                  <a:lnTo>
                    <a:pt x="59056" y="55660"/>
                  </a:lnTo>
                  <a:lnTo>
                    <a:pt x="58678" y="56037"/>
                  </a:lnTo>
                  <a:lnTo>
                    <a:pt x="59810" y="54339"/>
                  </a:lnTo>
                  <a:lnTo>
                    <a:pt x="60282" y="53490"/>
                  </a:lnTo>
                  <a:lnTo>
                    <a:pt x="60282" y="53301"/>
                  </a:lnTo>
                  <a:lnTo>
                    <a:pt x="60188" y="53395"/>
                  </a:lnTo>
                  <a:lnTo>
                    <a:pt x="60188" y="53395"/>
                  </a:lnTo>
                  <a:lnTo>
                    <a:pt x="60565" y="52924"/>
                  </a:lnTo>
                  <a:lnTo>
                    <a:pt x="61037" y="52452"/>
                  </a:lnTo>
                  <a:lnTo>
                    <a:pt x="61886" y="51509"/>
                  </a:lnTo>
                  <a:lnTo>
                    <a:pt x="61508" y="52452"/>
                  </a:lnTo>
                  <a:lnTo>
                    <a:pt x="60848" y="53584"/>
                  </a:lnTo>
                  <a:lnTo>
                    <a:pt x="59622" y="55565"/>
                  </a:lnTo>
                  <a:lnTo>
                    <a:pt x="60376" y="54528"/>
                  </a:lnTo>
                  <a:lnTo>
                    <a:pt x="60942" y="53678"/>
                  </a:lnTo>
                  <a:lnTo>
                    <a:pt x="61980" y="51792"/>
                  </a:lnTo>
                  <a:lnTo>
                    <a:pt x="61886" y="51886"/>
                  </a:lnTo>
                  <a:lnTo>
                    <a:pt x="61886" y="51697"/>
                  </a:lnTo>
                  <a:lnTo>
                    <a:pt x="62169" y="51037"/>
                  </a:lnTo>
                  <a:lnTo>
                    <a:pt x="62735" y="49999"/>
                  </a:lnTo>
                  <a:lnTo>
                    <a:pt x="61508" y="51603"/>
                  </a:lnTo>
                  <a:lnTo>
                    <a:pt x="61603" y="51037"/>
                  </a:lnTo>
                  <a:lnTo>
                    <a:pt x="61697" y="50377"/>
                  </a:lnTo>
                  <a:lnTo>
                    <a:pt x="62169" y="48962"/>
                  </a:lnTo>
                  <a:lnTo>
                    <a:pt x="62829" y="47358"/>
                  </a:lnTo>
                  <a:lnTo>
                    <a:pt x="63678" y="45565"/>
                  </a:lnTo>
                  <a:lnTo>
                    <a:pt x="65376" y="42169"/>
                  </a:lnTo>
                  <a:lnTo>
                    <a:pt x="66131" y="40660"/>
                  </a:lnTo>
                  <a:lnTo>
                    <a:pt x="66697" y="39339"/>
                  </a:lnTo>
                  <a:lnTo>
                    <a:pt x="66603" y="39528"/>
                  </a:lnTo>
                  <a:lnTo>
                    <a:pt x="66697" y="39056"/>
                  </a:lnTo>
                  <a:lnTo>
                    <a:pt x="66791" y="38962"/>
                  </a:lnTo>
                  <a:lnTo>
                    <a:pt x="66791" y="39056"/>
                  </a:lnTo>
                  <a:lnTo>
                    <a:pt x="66886" y="38584"/>
                  </a:lnTo>
                  <a:lnTo>
                    <a:pt x="66791" y="38867"/>
                  </a:lnTo>
                  <a:lnTo>
                    <a:pt x="66980" y="38207"/>
                  </a:lnTo>
                  <a:lnTo>
                    <a:pt x="67169" y="37264"/>
                  </a:lnTo>
                  <a:lnTo>
                    <a:pt x="67263" y="36415"/>
                  </a:lnTo>
                  <a:lnTo>
                    <a:pt x="67357" y="36509"/>
                  </a:lnTo>
                  <a:lnTo>
                    <a:pt x="67452" y="36509"/>
                  </a:lnTo>
                  <a:lnTo>
                    <a:pt x="67546" y="35943"/>
                  </a:lnTo>
                  <a:lnTo>
                    <a:pt x="67546" y="34811"/>
                  </a:lnTo>
                  <a:lnTo>
                    <a:pt x="67640" y="31037"/>
                  </a:lnTo>
                  <a:lnTo>
                    <a:pt x="67640" y="28490"/>
                  </a:lnTo>
                  <a:lnTo>
                    <a:pt x="67546" y="27736"/>
                  </a:lnTo>
                  <a:lnTo>
                    <a:pt x="67546" y="27547"/>
                  </a:lnTo>
                  <a:lnTo>
                    <a:pt x="67452" y="27547"/>
                  </a:lnTo>
                  <a:lnTo>
                    <a:pt x="67074" y="26792"/>
                  </a:lnTo>
                  <a:lnTo>
                    <a:pt x="66791" y="25660"/>
                  </a:lnTo>
                  <a:lnTo>
                    <a:pt x="66508" y="24528"/>
                  </a:lnTo>
                  <a:lnTo>
                    <a:pt x="66414" y="23585"/>
                  </a:lnTo>
                  <a:lnTo>
                    <a:pt x="66320" y="23679"/>
                  </a:lnTo>
                  <a:lnTo>
                    <a:pt x="66320" y="23490"/>
                  </a:lnTo>
                  <a:lnTo>
                    <a:pt x="65942" y="22924"/>
                  </a:lnTo>
                  <a:lnTo>
                    <a:pt x="65565" y="22358"/>
                  </a:lnTo>
                  <a:lnTo>
                    <a:pt x="64527" y="21132"/>
                  </a:lnTo>
                  <a:lnTo>
                    <a:pt x="63584" y="19906"/>
                  </a:lnTo>
                  <a:lnTo>
                    <a:pt x="63207" y="19340"/>
                  </a:lnTo>
                  <a:lnTo>
                    <a:pt x="63018" y="18774"/>
                  </a:lnTo>
                  <a:lnTo>
                    <a:pt x="63112" y="18962"/>
                  </a:lnTo>
                  <a:lnTo>
                    <a:pt x="63301" y="19057"/>
                  </a:lnTo>
                  <a:lnTo>
                    <a:pt x="63301" y="19057"/>
                  </a:lnTo>
                  <a:lnTo>
                    <a:pt x="63207" y="18868"/>
                  </a:lnTo>
                  <a:lnTo>
                    <a:pt x="62923" y="18491"/>
                  </a:lnTo>
                  <a:lnTo>
                    <a:pt x="61980" y="17453"/>
                  </a:lnTo>
                  <a:lnTo>
                    <a:pt x="61037" y="16509"/>
                  </a:lnTo>
                  <a:lnTo>
                    <a:pt x="61037" y="16698"/>
                  </a:lnTo>
                  <a:lnTo>
                    <a:pt x="61037" y="16887"/>
                  </a:lnTo>
                  <a:lnTo>
                    <a:pt x="60093" y="15943"/>
                  </a:lnTo>
                  <a:lnTo>
                    <a:pt x="60376" y="16321"/>
                  </a:lnTo>
                  <a:lnTo>
                    <a:pt x="59527" y="15377"/>
                  </a:lnTo>
                  <a:lnTo>
                    <a:pt x="59056" y="14906"/>
                  </a:lnTo>
                  <a:lnTo>
                    <a:pt x="59244" y="14906"/>
                  </a:lnTo>
                  <a:lnTo>
                    <a:pt x="59905" y="15472"/>
                  </a:lnTo>
                  <a:lnTo>
                    <a:pt x="59905" y="15472"/>
                  </a:lnTo>
                  <a:lnTo>
                    <a:pt x="57641" y="13396"/>
                  </a:lnTo>
                  <a:lnTo>
                    <a:pt x="58112" y="13868"/>
                  </a:lnTo>
                  <a:lnTo>
                    <a:pt x="56886" y="13019"/>
                  </a:lnTo>
                  <a:lnTo>
                    <a:pt x="55754" y="12453"/>
                  </a:lnTo>
                  <a:lnTo>
                    <a:pt x="56603" y="13113"/>
                  </a:lnTo>
                  <a:lnTo>
                    <a:pt x="57452" y="13774"/>
                  </a:lnTo>
                  <a:lnTo>
                    <a:pt x="58961" y="15283"/>
                  </a:lnTo>
                  <a:lnTo>
                    <a:pt x="60376" y="16604"/>
                  </a:lnTo>
                  <a:lnTo>
                    <a:pt x="61225" y="17264"/>
                  </a:lnTo>
                  <a:lnTo>
                    <a:pt x="62074" y="17925"/>
                  </a:lnTo>
                  <a:lnTo>
                    <a:pt x="62074" y="17925"/>
                  </a:lnTo>
                  <a:lnTo>
                    <a:pt x="61414" y="17547"/>
                  </a:lnTo>
                  <a:lnTo>
                    <a:pt x="60659" y="16981"/>
                  </a:lnTo>
                  <a:lnTo>
                    <a:pt x="60754" y="17264"/>
                  </a:lnTo>
                  <a:lnTo>
                    <a:pt x="60942" y="17642"/>
                  </a:lnTo>
                  <a:lnTo>
                    <a:pt x="61980" y="19151"/>
                  </a:lnTo>
                  <a:lnTo>
                    <a:pt x="63301" y="20943"/>
                  </a:lnTo>
                  <a:lnTo>
                    <a:pt x="63207" y="20943"/>
                  </a:lnTo>
                  <a:lnTo>
                    <a:pt x="63395" y="21038"/>
                  </a:lnTo>
                  <a:lnTo>
                    <a:pt x="63490" y="21321"/>
                  </a:lnTo>
                  <a:lnTo>
                    <a:pt x="63678" y="21604"/>
                  </a:lnTo>
                  <a:lnTo>
                    <a:pt x="63773" y="21698"/>
                  </a:lnTo>
                  <a:lnTo>
                    <a:pt x="63584" y="21321"/>
                  </a:lnTo>
                  <a:lnTo>
                    <a:pt x="63584" y="21321"/>
                  </a:lnTo>
                  <a:lnTo>
                    <a:pt x="64244" y="22170"/>
                  </a:lnTo>
                  <a:lnTo>
                    <a:pt x="64716" y="22641"/>
                  </a:lnTo>
                  <a:lnTo>
                    <a:pt x="64905" y="22830"/>
                  </a:lnTo>
                  <a:lnTo>
                    <a:pt x="64999" y="22830"/>
                  </a:lnTo>
                  <a:lnTo>
                    <a:pt x="64999" y="22641"/>
                  </a:lnTo>
                  <a:lnTo>
                    <a:pt x="64905" y="22358"/>
                  </a:lnTo>
                  <a:lnTo>
                    <a:pt x="65282" y="23207"/>
                  </a:lnTo>
                  <a:lnTo>
                    <a:pt x="65565" y="24056"/>
                  </a:lnTo>
                  <a:lnTo>
                    <a:pt x="66225" y="25943"/>
                  </a:lnTo>
                  <a:lnTo>
                    <a:pt x="66697" y="27830"/>
                  </a:lnTo>
                  <a:lnTo>
                    <a:pt x="66886" y="28490"/>
                  </a:lnTo>
                  <a:lnTo>
                    <a:pt x="66980" y="28868"/>
                  </a:lnTo>
                  <a:lnTo>
                    <a:pt x="66886" y="28962"/>
                  </a:lnTo>
                  <a:lnTo>
                    <a:pt x="66697" y="28679"/>
                  </a:lnTo>
                  <a:lnTo>
                    <a:pt x="66697" y="29245"/>
                  </a:lnTo>
                  <a:lnTo>
                    <a:pt x="66791" y="29905"/>
                  </a:lnTo>
                  <a:lnTo>
                    <a:pt x="66886" y="29905"/>
                  </a:lnTo>
                  <a:lnTo>
                    <a:pt x="66886" y="30094"/>
                  </a:lnTo>
                  <a:lnTo>
                    <a:pt x="66886" y="30566"/>
                  </a:lnTo>
                  <a:lnTo>
                    <a:pt x="66697" y="30377"/>
                  </a:lnTo>
                  <a:lnTo>
                    <a:pt x="66603" y="30188"/>
                  </a:lnTo>
                  <a:lnTo>
                    <a:pt x="66603" y="30094"/>
                  </a:lnTo>
                  <a:lnTo>
                    <a:pt x="66697" y="29905"/>
                  </a:lnTo>
                  <a:lnTo>
                    <a:pt x="66508" y="28679"/>
                  </a:lnTo>
                  <a:lnTo>
                    <a:pt x="66225" y="27358"/>
                  </a:lnTo>
                  <a:lnTo>
                    <a:pt x="66603" y="30283"/>
                  </a:lnTo>
                  <a:lnTo>
                    <a:pt x="66697" y="31792"/>
                  </a:lnTo>
                  <a:lnTo>
                    <a:pt x="66697" y="33302"/>
                  </a:lnTo>
                  <a:lnTo>
                    <a:pt x="66603" y="34717"/>
                  </a:lnTo>
                  <a:lnTo>
                    <a:pt x="66414" y="36226"/>
                  </a:lnTo>
                  <a:lnTo>
                    <a:pt x="66131" y="37547"/>
                  </a:lnTo>
                  <a:lnTo>
                    <a:pt x="65659" y="38962"/>
                  </a:lnTo>
                  <a:lnTo>
                    <a:pt x="65848" y="38584"/>
                  </a:lnTo>
                  <a:lnTo>
                    <a:pt x="65942" y="38584"/>
                  </a:lnTo>
                  <a:lnTo>
                    <a:pt x="65848" y="39245"/>
                  </a:lnTo>
                  <a:lnTo>
                    <a:pt x="65565" y="40188"/>
                  </a:lnTo>
                  <a:lnTo>
                    <a:pt x="65471" y="40471"/>
                  </a:lnTo>
                  <a:lnTo>
                    <a:pt x="65282" y="40660"/>
                  </a:lnTo>
                  <a:lnTo>
                    <a:pt x="65282" y="40566"/>
                  </a:lnTo>
                  <a:lnTo>
                    <a:pt x="65093" y="41132"/>
                  </a:lnTo>
                  <a:lnTo>
                    <a:pt x="64433" y="43018"/>
                  </a:lnTo>
                  <a:lnTo>
                    <a:pt x="63678" y="45282"/>
                  </a:lnTo>
                  <a:lnTo>
                    <a:pt x="62735" y="47264"/>
                  </a:lnTo>
                  <a:lnTo>
                    <a:pt x="61697" y="49056"/>
                  </a:lnTo>
                  <a:lnTo>
                    <a:pt x="60659" y="50943"/>
                  </a:lnTo>
                  <a:lnTo>
                    <a:pt x="59433" y="52735"/>
                  </a:lnTo>
                  <a:lnTo>
                    <a:pt x="58207" y="54433"/>
                  </a:lnTo>
                  <a:lnTo>
                    <a:pt x="56886" y="56037"/>
                  </a:lnTo>
                  <a:lnTo>
                    <a:pt x="55376" y="57641"/>
                  </a:lnTo>
                  <a:lnTo>
                    <a:pt x="53867" y="59150"/>
                  </a:lnTo>
                  <a:lnTo>
                    <a:pt x="52169" y="60376"/>
                  </a:lnTo>
                  <a:lnTo>
                    <a:pt x="48961" y="62452"/>
                  </a:lnTo>
                  <a:lnTo>
                    <a:pt x="44528" y="65282"/>
                  </a:lnTo>
                  <a:lnTo>
                    <a:pt x="44622" y="65188"/>
                  </a:lnTo>
                  <a:lnTo>
                    <a:pt x="44716" y="65093"/>
                  </a:lnTo>
                  <a:lnTo>
                    <a:pt x="45094" y="64810"/>
                  </a:lnTo>
                  <a:lnTo>
                    <a:pt x="45660" y="64527"/>
                  </a:lnTo>
                  <a:lnTo>
                    <a:pt x="43867" y="65376"/>
                  </a:lnTo>
                  <a:lnTo>
                    <a:pt x="43113" y="65754"/>
                  </a:lnTo>
                  <a:lnTo>
                    <a:pt x="42924" y="65754"/>
                  </a:lnTo>
                  <a:lnTo>
                    <a:pt x="43113" y="65659"/>
                  </a:lnTo>
                  <a:lnTo>
                    <a:pt x="41603" y="66037"/>
                  </a:lnTo>
                  <a:lnTo>
                    <a:pt x="39999" y="66320"/>
                  </a:lnTo>
                  <a:lnTo>
                    <a:pt x="38396" y="66508"/>
                  </a:lnTo>
                  <a:lnTo>
                    <a:pt x="36792" y="66697"/>
                  </a:lnTo>
                  <a:lnTo>
                    <a:pt x="33584" y="66980"/>
                  </a:lnTo>
                  <a:lnTo>
                    <a:pt x="32169" y="67169"/>
                  </a:lnTo>
                  <a:lnTo>
                    <a:pt x="30754" y="67357"/>
                  </a:lnTo>
                  <a:lnTo>
                    <a:pt x="30094" y="67357"/>
                  </a:lnTo>
                  <a:lnTo>
                    <a:pt x="29339" y="67263"/>
                  </a:lnTo>
                  <a:lnTo>
                    <a:pt x="27830" y="66886"/>
                  </a:lnTo>
                  <a:lnTo>
                    <a:pt x="26415" y="66508"/>
                  </a:lnTo>
                  <a:lnTo>
                    <a:pt x="25754" y="66414"/>
                  </a:lnTo>
                  <a:lnTo>
                    <a:pt x="25094" y="66414"/>
                  </a:lnTo>
                  <a:lnTo>
                    <a:pt x="25566" y="66980"/>
                  </a:lnTo>
                  <a:lnTo>
                    <a:pt x="25471" y="67074"/>
                  </a:lnTo>
                  <a:lnTo>
                    <a:pt x="25188" y="66980"/>
                  </a:lnTo>
                  <a:lnTo>
                    <a:pt x="24339" y="66791"/>
                  </a:lnTo>
                  <a:lnTo>
                    <a:pt x="23773" y="66508"/>
                  </a:lnTo>
                  <a:lnTo>
                    <a:pt x="24245" y="66414"/>
                  </a:lnTo>
                  <a:lnTo>
                    <a:pt x="24717" y="66603"/>
                  </a:lnTo>
                  <a:lnTo>
                    <a:pt x="24811" y="66414"/>
                  </a:lnTo>
                  <a:lnTo>
                    <a:pt x="24811" y="66320"/>
                  </a:lnTo>
                  <a:lnTo>
                    <a:pt x="24717" y="66225"/>
                  </a:lnTo>
                  <a:lnTo>
                    <a:pt x="24528" y="66131"/>
                  </a:lnTo>
                  <a:lnTo>
                    <a:pt x="24151" y="66225"/>
                  </a:lnTo>
                  <a:lnTo>
                    <a:pt x="23679" y="66320"/>
                  </a:lnTo>
                  <a:lnTo>
                    <a:pt x="23018" y="66414"/>
                  </a:lnTo>
                  <a:lnTo>
                    <a:pt x="23490" y="66225"/>
                  </a:lnTo>
                  <a:lnTo>
                    <a:pt x="22075" y="65942"/>
                  </a:lnTo>
                  <a:lnTo>
                    <a:pt x="20943" y="65659"/>
                  </a:lnTo>
                  <a:lnTo>
                    <a:pt x="20000" y="65282"/>
                  </a:lnTo>
                  <a:lnTo>
                    <a:pt x="19056" y="64810"/>
                  </a:lnTo>
                  <a:lnTo>
                    <a:pt x="19056" y="64810"/>
                  </a:lnTo>
                  <a:lnTo>
                    <a:pt x="19717" y="64999"/>
                  </a:lnTo>
                  <a:lnTo>
                    <a:pt x="19151" y="64716"/>
                  </a:lnTo>
                  <a:lnTo>
                    <a:pt x="18962" y="64810"/>
                  </a:lnTo>
                  <a:lnTo>
                    <a:pt x="19151" y="64905"/>
                  </a:lnTo>
                  <a:lnTo>
                    <a:pt x="18490" y="64905"/>
                  </a:lnTo>
                  <a:lnTo>
                    <a:pt x="17830" y="64716"/>
                  </a:lnTo>
                  <a:lnTo>
                    <a:pt x="17264" y="64527"/>
                  </a:lnTo>
                  <a:lnTo>
                    <a:pt x="16698" y="64150"/>
                  </a:lnTo>
                  <a:lnTo>
                    <a:pt x="16981" y="64056"/>
                  </a:lnTo>
                  <a:lnTo>
                    <a:pt x="17264" y="64150"/>
                  </a:lnTo>
                  <a:lnTo>
                    <a:pt x="17264" y="64150"/>
                  </a:lnTo>
                  <a:lnTo>
                    <a:pt x="15188" y="63207"/>
                  </a:lnTo>
                  <a:lnTo>
                    <a:pt x="14622" y="62829"/>
                  </a:lnTo>
                  <a:lnTo>
                    <a:pt x="14717" y="62924"/>
                  </a:lnTo>
                  <a:lnTo>
                    <a:pt x="13773" y="62546"/>
                  </a:lnTo>
                  <a:lnTo>
                    <a:pt x="12924" y="62075"/>
                  </a:lnTo>
                  <a:lnTo>
                    <a:pt x="12358" y="61697"/>
                  </a:lnTo>
                  <a:lnTo>
                    <a:pt x="12264" y="61508"/>
                  </a:lnTo>
                  <a:lnTo>
                    <a:pt x="12170" y="61320"/>
                  </a:lnTo>
                  <a:lnTo>
                    <a:pt x="11698" y="60942"/>
                  </a:lnTo>
                  <a:lnTo>
                    <a:pt x="11132" y="60471"/>
                  </a:lnTo>
                  <a:lnTo>
                    <a:pt x="9906" y="59244"/>
                  </a:lnTo>
                  <a:lnTo>
                    <a:pt x="9906" y="59244"/>
                  </a:lnTo>
                  <a:lnTo>
                    <a:pt x="10566" y="59527"/>
                  </a:lnTo>
                  <a:lnTo>
                    <a:pt x="9434" y="58584"/>
                  </a:lnTo>
                  <a:lnTo>
                    <a:pt x="8207" y="57546"/>
                  </a:lnTo>
                  <a:lnTo>
                    <a:pt x="7547" y="56886"/>
                  </a:lnTo>
                  <a:lnTo>
                    <a:pt x="6981" y="56131"/>
                  </a:lnTo>
                  <a:lnTo>
                    <a:pt x="6226" y="55094"/>
                  </a:lnTo>
                  <a:lnTo>
                    <a:pt x="6415" y="55377"/>
                  </a:lnTo>
                  <a:lnTo>
                    <a:pt x="6038" y="54905"/>
                  </a:lnTo>
                  <a:lnTo>
                    <a:pt x="5472" y="54244"/>
                  </a:lnTo>
                  <a:lnTo>
                    <a:pt x="5283" y="53961"/>
                  </a:lnTo>
                  <a:lnTo>
                    <a:pt x="5094" y="53867"/>
                  </a:lnTo>
                  <a:lnTo>
                    <a:pt x="5377" y="54622"/>
                  </a:lnTo>
                  <a:lnTo>
                    <a:pt x="5849" y="55282"/>
                  </a:lnTo>
                  <a:lnTo>
                    <a:pt x="6321" y="55943"/>
                  </a:lnTo>
                  <a:lnTo>
                    <a:pt x="6698" y="56603"/>
                  </a:lnTo>
                  <a:lnTo>
                    <a:pt x="6226" y="56226"/>
                  </a:lnTo>
                  <a:lnTo>
                    <a:pt x="5943" y="55848"/>
                  </a:lnTo>
                  <a:lnTo>
                    <a:pt x="6038" y="56037"/>
                  </a:lnTo>
                  <a:lnTo>
                    <a:pt x="5943" y="55943"/>
                  </a:lnTo>
                  <a:lnTo>
                    <a:pt x="5377" y="55188"/>
                  </a:lnTo>
                  <a:lnTo>
                    <a:pt x="5000" y="54716"/>
                  </a:lnTo>
                  <a:lnTo>
                    <a:pt x="4717" y="54150"/>
                  </a:lnTo>
                  <a:lnTo>
                    <a:pt x="4528" y="53678"/>
                  </a:lnTo>
                  <a:lnTo>
                    <a:pt x="4528" y="53584"/>
                  </a:lnTo>
                  <a:lnTo>
                    <a:pt x="4623" y="53395"/>
                  </a:lnTo>
                  <a:lnTo>
                    <a:pt x="5094" y="54244"/>
                  </a:lnTo>
                  <a:lnTo>
                    <a:pt x="4717" y="53301"/>
                  </a:lnTo>
                  <a:lnTo>
                    <a:pt x="4528" y="53018"/>
                  </a:lnTo>
                  <a:lnTo>
                    <a:pt x="4151" y="52263"/>
                  </a:lnTo>
                  <a:lnTo>
                    <a:pt x="4151" y="52169"/>
                  </a:lnTo>
                  <a:lnTo>
                    <a:pt x="3774" y="51509"/>
                  </a:lnTo>
                  <a:lnTo>
                    <a:pt x="3396" y="50660"/>
                  </a:lnTo>
                  <a:lnTo>
                    <a:pt x="3585" y="51603"/>
                  </a:lnTo>
                  <a:lnTo>
                    <a:pt x="3396" y="51226"/>
                  </a:lnTo>
                  <a:lnTo>
                    <a:pt x="3208" y="50848"/>
                  </a:lnTo>
                  <a:lnTo>
                    <a:pt x="3208" y="50471"/>
                  </a:lnTo>
                  <a:lnTo>
                    <a:pt x="3208" y="50094"/>
                  </a:lnTo>
                  <a:lnTo>
                    <a:pt x="3585" y="50754"/>
                  </a:lnTo>
                  <a:lnTo>
                    <a:pt x="3868" y="51509"/>
                  </a:lnTo>
                  <a:lnTo>
                    <a:pt x="3868" y="51509"/>
                  </a:lnTo>
                  <a:lnTo>
                    <a:pt x="3208" y="49528"/>
                  </a:lnTo>
                  <a:lnTo>
                    <a:pt x="3208" y="49528"/>
                  </a:lnTo>
                  <a:lnTo>
                    <a:pt x="3868" y="50754"/>
                  </a:lnTo>
                  <a:lnTo>
                    <a:pt x="3208" y="48962"/>
                  </a:lnTo>
                  <a:lnTo>
                    <a:pt x="3585" y="49339"/>
                  </a:lnTo>
                  <a:lnTo>
                    <a:pt x="3774" y="49433"/>
                  </a:lnTo>
                  <a:lnTo>
                    <a:pt x="3962" y="49528"/>
                  </a:lnTo>
                  <a:lnTo>
                    <a:pt x="4057" y="49905"/>
                  </a:lnTo>
                  <a:lnTo>
                    <a:pt x="3868" y="48962"/>
                  </a:lnTo>
                  <a:lnTo>
                    <a:pt x="3491" y="47924"/>
                  </a:lnTo>
                  <a:lnTo>
                    <a:pt x="2641" y="45565"/>
                  </a:lnTo>
                  <a:lnTo>
                    <a:pt x="2170" y="43867"/>
                  </a:lnTo>
                  <a:lnTo>
                    <a:pt x="1698" y="41886"/>
                  </a:lnTo>
                  <a:lnTo>
                    <a:pt x="1698" y="41886"/>
                  </a:lnTo>
                  <a:lnTo>
                    <a:pt x="1887" y="42075"/>
                  </a:lnTo>
                  <a:lnTo>
                    <a:pt x="1981" y="41981"/>
                  </a:lnTo>
                  <a:lnTo>
                    <a:pt x="2075" y="42075"/>
                  </a:lnTo>
                  <a:lnTo>
                    <a:pt x="2264" y="42169"/>
                  </a:lnTo>
                  <a:lnTo>
                    <a:pt x="2170" y="40283"/>
                  </a:lnTo>
                  <a:lnTo>
                    <a:pt x="2075" y="38301"/>
                  </a:lnTo>
                  <a:lnTo>
                    <a:pt x="2170" y="36415"/>
                  </a:lnTo>
                  <a:lnTo>
                    <a:pt x="2358" y="35566"/>
                  </a:lnTo>
                  <a:lnTo>
                    <a:pt x="2453" y="34811"/>
                  </a:lnTo>
                  <a:lnTo>
                    <a:pt x="2830" y="32830"/>
                  </a:lnTo>
                  <a:lnTo>
                    <a:pt x="2830" y="33207"/>
                  </a:lnTo>
                  <a:lnTo>
                    <a:pt x="2924" y="33490"/>
                  </a:lnTo>
                  <a:lnTo>
                    <a:pt x="2924" y="32453"/>
                  </a:lnTo>
                  <a:lnTo>
                    <a:pt x="3019" y="31415"/>
                  </a:lnTo>
                  <a:lnTo>
                    <a:pt x="3396" y="29245"/>
                  </a:lnTo>
                  <a:lnTo>
                    <a:pt x="3868" y="27075"/>
                  </a:lnTo>
                  <a:lnTo>
                    <a:pt x="4623" y="25000"/>
                  </a:lnTo>
                  <a:lnTo>
                    <a:pt x="5566" y="22830"/>
                  </a:lnTo>
                  <a:lnTo>
                    <a:pt x="6604" y="20849"/>
                  </a:lnTo>
                  <a:lnTo>
                    <a:pt x="7830" y="18868"/>
                  </a:lnTo>
                  <a:lnTo>
                    <a:pt x="9151" y="16887"/>
                  </a:lnTo>
                  <a:lnTo>
                    <a:pt x="10566" y="15094"/>
                  </a:lnTo>
                  <a:lnTo>
                    <a:pt x="12075" y="13302"/>
                  </a:lnTo>
                  <a:lnTo>
                    <a:pt x="13773" y="11698"/>
                  </a:lnTo>
                  <a:lnTo>
                    <a:pt x="15377" y="10095"/>
                  </a:lnTo>
                  <a:lnTo>
                    <a:pt x="17170" y="8679"/>
                  </a:lnTo>
                  <a:lnTo>
                    <a:pt x="18962" y="7453"/>
                  </a:lnTo>
                  <a:lnTo>
                    <a:pt x="20754" y="6321"/>
                  </a:lnTo>
                  <a:lnTo>
                    <a:pt x="22547" y="5378"/>
                  </a:lnTo>
                  <a:lnTo>
                    <a:pt x="21603" y="6227"/>
                  </a:lnTo>
                  <a:lnTo>
                    <a:pt x="22641" y="5472"/>
                  </a:lnTo>
                  <a:lnTo>
                    <a:pt x="23302" y="5095"/>
                  </a:lnTo>
                  <a:lnTo>
                    <a:pt x="25377" y="4151"/>
                  </a:lnTo>
                  <a:lnTo>
                    <a:pt x="24811" y="4151"/>
                  </a:lnTo>
                  <a:lnTo>
                    <a:pt x="25660" y="3774"/>
                  </a:lnTo>
                  <a:lnTo>
                    <a:pt x="26886" y="3208"/>
                  </a:lnTo>
                  <a:lnTo>
                    <a:pt x="26603" y="3585"/>
                  </a:lnTo>
                  <a:lnTo>
                    <a:pt x="26886" y="3585"/>
                  </a:lnTo>
                  <a:lnTo>
                    <a:pt x="26886" y="3680"/>
                  </a:lnTo>
                  <a:lnTo>
                    <a:pt x="26792" y="3774"/>
                  </a:lnTo>
                  <a:lnTo>
                    <a:pt x="28301" y="3302"/>
                  </a:lnTo>
                  <a:lnTo>
                    <a:pt x="29622" y="2736"/>
                  </a:lnTo>
                  <a:lnTo>
                    <a:pt x="31037" y="2264"/>
                  </a:lnTo>
                  <a:lnTo>
                    <a:pt x="31792" y="2076"/>
                  </a:lnTo>
                  <a:lnTo>
                    <a:pt x="32641" y="1981"/>
                  </a:lnTo>
                  <a:lnTo>
                    <a:pt x="32547" y="2076"/>
                  </a:lnTo>
                  <a:lnTo>
                    <a:pt x="32924" y="1981"/>
                  </a:lnTo>
                  <a:lnTo>
                    <a:pt x="34245" y="1793"/>
                  </a:lnTo>
                  <a:lnTo>
                    <a:pt x="35848" y="1415"/>
                  </a:lnTo>
                  <a:lnTo>
                    <a:pt x="36981" y="1132"/>
                  </a:lnTo>
                  <a:lnTo>
                    <a:pt x="36981" y="1415"/>
                  </a:lnTo>
                  <a:lnTo>
                    <a:pt x="40943" y="1227"/>
                  </a:lnTo>
                  <a:lnTo>
                    <a:pt x="41509" y="1038"/>
                  </a:lnTo>
                  <a:lnTo>
                    <a:pt x="41697" y="1132"/>
                  </a:lnTo>
                  <a:lnTo>
                    <a:pt x="41509" y="1227"/>
                  </a:lnTo>
                  <a:lnTo>
                    <a:pt x="41320" y="1321"/>
                  </a:lnTo>
                  <a:lnTo>
                    <a:pt x="42263" y="1321"/>
                  </a:lnTo>
                  <a:lnTo>
                    <a:pt x="43113" y="1227"/>
                  </a:lnTo>
                  <a:lnTo>
                    <a:pt x="43396" y="1415"/>
                  </a:lnTo>
                  <a:lnTo>
                    <a:pt x="44056" y="1604"/>
                  </a:lnTo>
                  <a:lnTo>
                    <a:pt x="45943" y="2076"/>
                  </a:lnTo>
                  <a:lnTo>
                    <a:pt x="48018" y="2359"/>
                  </a:lnTo>
                  <a:lnTo>
                    <a:pt x="49622" y="2736"/>
                  </a:lnTo>
                  <a:lnTo>
                    <a:pt x="47641" y="1981"/>
                  </a:lnTo>
                  <a:lnTo>
                    <a:pt x="45282" y="1321"/>
                  </a:lnTo>
                  <a:lnTo>
                    <a:pt x="42735" y="755"/>
                  </a:lnTo>
                  <a:lnTo>
                    <a:pt x="40188" y="283"/>
                  </a:lnTo>
                  <a:lnTo>
                    <a:pt x="37735" y="95"/>
                  </a:lnTo>
                  <a:lnTo>
                    <a:pt x="35471" y="0"/>
                  </a:lnTo>
                  <a:close/>
                </a:path>
              </a:pathLst>
            </a:custGeom>
            <a:solidFill>
              <a:srgbClr val="FF0000"/>
            </a:solidFill>
            <a:ln>
              <a:noFill/>
            </a:ln>
          </p:spPr>
          <p:txBody>
            <a:bodyPr spcFirstLastPara="1" wrap="square" lIns="91425" tIns="91425" rIns="91425" bIns="91425" anchor="ctr" anchorCtr="0">
              <a:noAutofit/>
            </a:bodyPr>
            <a:lstStyle/>
            <a:p>
              <a:pPr marL="0" lvl="0" indent="0">
                <a:spcBef>
                  <a:spcPts val="0"/>
                </a:spcBef>
                <a:spcAft>
                  <a:spcPts val="0"/>
                </a:spcAft>
                <a:buNone/>
              </a:pPr>
              <a:endParaRPr sz="1100"/>
            </a:p>
          </p:txBody>
        </p:sp>
        <p:sp>
          <p:nvSpPr>
            <p:cNvPr id="427" name="TextBox 426">
              <a:extLst>
                <a:ext uri="{FF2B5EF4-FFF2-40B4-BE49-F238E27FC236}">
                  <a16:creationId xmlns:a16="http://schemas.microsoft.com/office/drawing/2014/main" id="{46A24F9F-D592-6F4C-B53D-BBBE52260A16}"/>
                </a:ext>
              </a:extLst>
            </p:cNvPr>
            <p:cNvSpPr txBox="1"/>
            <p:nvPr/>
          </p:nvSpPr>
          <p:spPr>
            <a:xfrm>
              <a:off x="702590" y="1204757"/>
              <a:ext cx="301686" cy="260896"/>
            </a:xfrm>
            <a:prstGeom prst="rect">
              <a:avLst/>
            </a:prstGeom>
            <a:noFill/>
          </p:spPr>
          <p:txBody>
            <a:bodyPr wrap="square" rtlCol="0">
              <a:spAutoFit/>
            </a:bodyPr>
            <a:lstStyle/>
            <a:p>
              <a:r>
                <a:rPr lang="en-US" sz="700" dirty="0">
                  <a:solidFill>
                    <a:srgbClr val="FF0000"/>
                  </a:solidFill>
                </a:rPr>
                <a:t>6.</a:t>
              </a:r>
            </a:p>
          </p:txBody>
        </p:sp>
      </p:grpSp>
      <p:sp>
        <p:nvSpPr>
          <p:cNvPr id="428" name="Rounded Rectangle 427">
            <a:extLst>
              <a:ext uri="{FF2B5EF4-FFF2-40B4-BE49-F238E27FC236}">
                <a16:creationId xmlns:a16="http://schemas.microsoft.com/office/drawing/2014/main" id="{D454E609-8399-E347-83F0-8959A8285498}"/>
              </a:ext>
            </a:extLst>
          </p:cNvPr>
          <p:cNvSpPr/>
          <p:nvPr/>
        </p:nvSpPr>
        <p:spPr>
          <a:xfrm>
            <a:off x="423921" y="4667680"/>
            <a:ext cx="1182630" cy="504056"/>
          </a:xfrm>
          <a:prstGeom prst="roundRect">
            <a:avLst/>
          </a:prstGeom>
          <a:solidFill>
            <a:schemeClr val="bg1">
              <a:lumMod val="85000"/>
            </a:schemeClr>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b="1" dirty="0">
              <a:solidFill>
                <a:schemeClr val="bg1">
                  <a:lumMod val="50000"/>
                </a:schemeClr>
              </a:solidFill>
              <a:ea typeface="Nanum Pen Script" panose="03040600000000000000" pitchFamily="66" charset="-127"/>
            </a:endParaRPr>
          </a:p>
          <a:p>
            <a:pPr algn="ctr"/>
            <a:endParaRPr lang="en-US" sz="1000" b="1" dirty="0">
              <a:solidFill>
                <a:schemeClr val="bg1">
                  <a:lumMod val="50000"/>
                </a:schemeClr>
              </a:solidFill>
              <a:ea typeface="Nanum Pen Script" panose="03040600000000000000" pitchFamily="66" charset="-127"/>
            </a:endParaRPr>
          </a:p>
          <a:p>
            <a:pPr algn="ctr"/>
            <a:endParaRPr lang="en-US" sz="1000" b="1" dirty="0">
              <a:solidFill>
                <a:schemeClr val="bg1">
                  <a:lumMod val="50000"/>
                </a:schemeClr>
              </a:solidFill>
              <a:ea typeface="Nanum Pen Script" panose="03040600000000000000" pitchFamily="66" charset="-127"/>
            </a:endParaRPr>
          </a:p>
          <a:p>
            <a:pPr algn="ctr"/>
            <a:endParaRPr lang="en-US" sz="1000" b="1" dirty="0">
              <a:solidFill>
                <a:schemeClr val="bg1">
                  <a:lumMod val="50000"/>
                </a:schemeClr>
              </a:solidFill>
              <a:ea typeface="Nanum Pen Script" panose="03040600000000000000" pitchFamily="66" charset="-127"/>
            </a:endParaRPr>
          </a:p>
          <a:p>
            <a:pPr algn="ctr"/>
            <a:endParaRPr lang="en-US" sz="900" b="1" dirty="0">
              <a:solidFill>
                <a:schemeClr val="bg1">
                  <a:lumMod val="50000"/>
                </a:schemeClr>
              </a:solidFill>
              <a:ea typeface="Nanum Pen Script" panose="03040600000000000000" pitchFamily="66" charset="-127"/>
            </a:endParaRPr>
          </a:p>
          <a:p>
            <a:pPr algn="ctr"/>
            <a:endParaRPr lang="en-US" sz="900" b="1" dirty="0">
              <a:solidFill>
                <a:schemeClr val="bg1">
                  <a:lumMod val="50000"/>
                </a:schemeClr>
              </a:solidFill>
              <a:ea typeface="Nanum Pen Script" panose="03040600000000000000" pitchFamily="66" charset="-127"/>
            </a:endParaRPr>
          </a:p>
          <a:p>
            <a:pPr algn="ctr">
              <a:spcBef>
                <a:spcPts val="0"/>
              </a:spcBef>
            </a:pPr>
            <a:r>
              <a:rPr lang="en-US" sz="9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rPr>
              <a:t>OLAP</a:t>
            </a:r>
          </a:p>
          <a:p>
            <a:pPr algn="ctr">
              <a:spcBef>
                <a:spcPts val="0"/>
              </a:spcBef>
            </a:pPr>
            <a:endParaRPr lang="en-US" sz="9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endParaRPr>
          </a:p>
          <a:p>
            <a:pPr algn="ctr">
              <a:spcBef>
                <a:spcPts val="0"/>
              </a:spcBef>
            </a:pPr>
            <a:endParaRPr lang="en-US" sz="2000" dirty="0">
              <a:solidFill>
                <a:schemeClr val="tx1"/>
              </a:solidFill>
              <a:ea typeface="Nanum Pen Script" panose="03040600000000000000" pitchFamily="66" charset="-127"/>
            </a:endParaRPr>
          </a:p>
          <a:p>
            <a:pPr algn="ctr"/>
            <a:endParaRPr lang="en-US" sz="2000" dirty="0">
              <a:solidFill>
                <a:schemeClr val="tx1"/>
              </a:solidFill>
              <a:ea typeface="Nanum Pen Script" panose="03040600000000000000" pitchFamily="66" charset="-127"/>
            </a:endParaRPr>
          </a:p>
        </p:txBody>
      </p:sp>
      <p:sp>
        <p:nvSpPr>
          <p:cNvPr id="430" name="Rounded Rectangle 429">
            <a:extLst>
              <a:ext uri="{FF2B5EF4-FFF2-40B4-BE49-F238E27FC236}">
                <a16:creationId xmlns:a16="http://schemas.microsoft.com/office/drawing/2014/main" id="{76970DBF-728B-C241-A71C-A891724C0423}"/>
              </a:ext>
            </a:extLst>
          </p:cNvPr>
          <p:cNvSpPr/>
          <p:nvPr/>
        </p:nvSpPr>
        <p:spPr>
          <a:xfrm>
            <a:off x="5261230" y="4796055"/>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431" name="Rounded Rectangle 430">
            <a:extLst>
              <a:ext uri="{FF2B5EF4-FFF2-40B4-BE49-F238E27FC236}">
                <a16:creationId xmlns:a16="http://schemas.microsoft.com/office/drawing/2014/main" id="{A08E2755-09F2-3748-A54A-892C65826321}"/>
              </a:ext>
            </a:extLst>
          </p:cNvPr>
          <p:cNvSpPr/>
          <p:nvPr/>
        </p:nvSpPr>
        <p:spPr>
          <a:xfrm>
            <a:off x="5455393" y="4796054"/>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432" name="Rounded Rectangle 431">
            <a:extLst>
              <a:ext uri="{FF2B5EF4-FFF2-40B4-BE49-F238E27FC236}">
                <a16:creationId xmlns:a16="http://schemas.microsoft.com/office/drawing/2014/main" id="{B100A81C-5C96-224B-B147-36ADAC0D0ABD}"/>
              </a:ext>
            </a:extLst>
          </p:cNvPr>
          <p:cNvSpPr/>
          <p:nvPr/>
        </p:nvSpPr>
        <p:spPr>
          <a:xfrm>
            <a:off x="5649556" y="4796054"/>
            <a:ext cx="180437"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433" name="Rounded Rectangle 432">
            <a:extLst>
              <a:ext uri="{FF2B5EF4-FFF2-40B4-BE49-F238E27FC236}">
                <a16:creationId xmlns:a16="http://schemas.microsoft.com/office/drawing/2014/main" id="{469394AE-FC82-554B-B76F-804068E91FAF}"/>
              </a:ext>
            </a:extLst>
          </p:cNvPr>
          <p:cNvSpPr/>
          <p:nvPr/>
        </p:nvSpPr>
        <p:spPr>
          <a:xfrm>
            <a:off x="5841965" y="4796332"/>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434" name="Rounded Rectangle 433">
            <a:extLst>
              <a:ext uri="{FF2B5EF4-FFF2-40B4-BE49-F238E27FC236}">
                <a16:creationId xmlns:a16="http://schemas.microsoft.com/office/drawing/2014/main" id="{52D81EE7-042E-D14B-981A-DA295E9A99F2}"/>
              </a:ext>
            </a:extLst>
          </p:cNvPr>
          <p:cNvSpPr/>
          <p:nvPr/>
        </p:nvSpPr>
        <p:spPr>
          <a:xfrm>
            <a:off x="6022425" y="4799726"/>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435" name="Rounded Rectangle 434">
            <a:extLst>
              <a:ext uri="{FF2B5EF4-FFF2-40B4-BE49-F238E27FC236}">
                <a16:creationId xmlns:a16="http://schemas.microsoft.com/office/drawing/2014/main" id="{616D0EE4-EE30-D64A-AEBC-F519BF3411BB}"/>
              </a:ext>
            </a:extLst>
          </p:cNvPr>
          <p:cNvSpPr/>
          <p:nvPr/>
        </p:nvSpPr>
        <p:spPr>
          <a:xfrm>
            <a:off x="6216588" y="4799725"/>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436" name="Rounded Rectangle 435">
            <a:extLst>
              <a:ext uri="{FF2B5EF4-FFF2-40B4-BE49-F238E27FC236}">
                <a16:creationId xmlns:a16="http://schemas.microsoft.com/office/drawing/2014/main" id="{7BE4DE5A-A6C5-7B41-92D8-6C04C420F6C7}"/>
              </a:ext>
            </a:extLst>
          </p:cNvPr>
          <p:cNvSpPr/>
          <p:nvPr/>
        </p:nvSpPr>
        <p:spPr>
          <a:xfrm>
            <a:off x="6410751" y="4797167"/>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437" name="Rounded Rectangle 436">
            <a:extLst>
              <a:ext uri="{FF2B5EF4-FFF2-40B4-BE49-F238E27FC236}">
                <a16:creationId xmlns:a16="http://schemas.microsoft.com/office/drawing/2014/main" id="{C271AA4C-6979-BE40-B0AF-4EE535FB15C0}"/>
              </a:ext>
            </a:extLst>
          </p:cNvPr>
          <p:cNvSpPr/>
          <p:nvPr/>
        </p:nvSpPr>
        <p:spPr>
          <a:xfrm>
            <a:off x="6603160" y="4800003"/>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438" name="TextBox 437">
            <a:extLst>
              <a:ext uri="{FF2B5EF4-FFF2-40B4-BE49-F238E27FC236}">
                <a16:creationId xmlns:a16="http://schemas.microsoft.com/office/drawing/2014/main" id="{E8458E64-1122-434E-9614-74933588FAF9}"/>
              </a:ext>
            </a:extLst>
          </p:cNvPr>
          <p:cNvSpPr txBox="1"/>
          <p:nvPr/>
        </p:nvSpPr>
        <p:spPr>
          <a:xfrm>
            <a:off x="5050447" y="4904338"/>
            <a:ext cx="1289135" cy="366424"/>
          </a:xfrm>
          <a:prstGeom prst="rect">
            <a:avLst/>
          </a:prstGeom>
          <a:noFill/>
        </p:spPr>
        <p:txBody>
          <a:bodyPr wrap="none" tIns="90000" bIns="90000" rtlCol="0" anchor="t">
            <a:spAutoFit/>
          </a:bodyPr>
          <a:lstStyle/>
          <a:p>
            <a:pPr algn="ctr" defTabSz="457200"/>
            <a:r>
              <a:rPr lang="en-US" sz="12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Name Events (Topic)</a:t>
            </a:r>
          </a:p>
        </p:txBody>
      </p:sp>
      <p:sp>
        <p:nvSpPr>
          <p:cNvPr id="439" name="Rounded Rectangle 438">
            <a:extLst>
              <a:ext uri="{FF2B5EF4-FFF2-40B4-BE49-F238E27FC236}">
                <a16:creationId xmlns:a16="http://schemas.microsoft.com/office/drawing/2014/main" id="{53D5B582-A244-F241-A57B-A33FAAC16E4A}"/>
              </a:ext>
            </a:extLst>
          </p:cNvPr>
          <p:cNvSpPr/>
          <p:nvPr/>
        </p:nvSpPr>
        <p:spPr>
          <a:xfrm>
            <a:off x="6799908" y="4799725"/>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grpSp>
        <p:nvGrpSpPr>
          <p:cNvPr id="478" name="Group 477">
            <a:extLst>
              <a:ext uri="{FF2B5EF4-FFF2-40B4-BE49-F238E27FC236}">
                <a16:creationId xmlns:a16="http://schemas.microsoft.com/office/drawing/2014/main" id="{B792F5F8-F689-DE4F-BFC2-61765AE3CEB6}"/>
              </a:ext>
            </a:extLst>
          </p:cNvPr>
          <p:cNvGrpSpPr/>
          <p:nvPr/>
        </p:nvGrpSpPr>
        <p:grpSpPr>
          <a:xfrm>
            <a:off x="10800795" y="1442971"/>
            <a:ext cx="753431" cy="523886"/>
            <a:chOff x="3589489" y="3095660"/>
            <a:chExt cx="753431" cy="523886"/>
          </a:xfrm>
        </p:grpSpPr>
        <p:pic>
          <p:nvPicPr>
            <p:cNvPr id="479" name="Picture 478">
              <a:extLst>
                <a:ext uri="{FF2B5EF4-FFF2-40B4-BE49-F238E27FC236}">
                  <a16:creationId xmlns:a16="http://schemas.microsoft.com/office/drawing/2014/main" id="{920680A9-2EF9-EC4D-99EC-0284923614E4}"/>
                </a:ext>
              </a:extLst>
            </p:cNvPr>
            <p:cNvPicPr>
              <a:picLocks noChangeAspect="1"/>
            </p:cNvPicPr>
            <p:nvPr/>
          </p:nvPicPr>
          <p:blipFill>
            <a:blip r:embed="rId2">
              <a:alphaModFix amt="27000"/>
            </a:blip>
            <a:stretch>
              <a:fillRect/>
            </a:stretch>
          </p:blipFill>
          <p:spPr>
            <a:xfrm>
              <a:off x="3699164" y="3095660"/>
              <a:ext cx="488354" cy="333340"/>
            </a:xfrm>
            <a:prstGeom prst="rect">
              <a:avLst/>
            </a:prstGeom>
          </p:spPr>
        </p:pic>
        <p:sp>
          <p:nvSpPr>
            <p:cNvPr id="480" name="TextBox 479">
              <a:extLst>
                <a:ext uri="{FF2B5EF4-FFF2-40B4-BE49-F238E27FC236}">
                  <a16:creationId xmlns:a16="http://schemas.microsoft.com/office/drawing/2014/main" id="{2841BF02-C924-FB45-8BA0-86F02BEB5B67}"/>
                </a:ext>
              </a:extLst>
            </p:cNvPr>
            <p:cNvSpPr txBox="1"/>
            <p:nvPr/>
          </p:nvSpPr>
          <p:spPr>
            <a:xfrm>
              <a:off x="3589489" y="3330066"/>
              <a:ext cx="753431" cy="289480"/>
            </a:xfrm>
            <a:prstGeom prst="rect">
              <a:avLst/>
            </a:prstGeom>
            <a:noFill/>
          </p:spPr>
          <p:txBody>
            <a:bodyPr wrap="square" tIns="90000" bIns="90000" rtlCol="0" anchor="t">
              <a:spAutoFit/>
            </a:bodyPr>
            <a:lstStyle/>
            <a:p>
              <a:pPr algn="ctr"/>
              <a:r>
                <a:rPr lang="en-US" sz="700" b="1"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rPr>
                <a:t>Stream APIs</a:t>
              </a:r>
            </a:p>
          </p:txBody>
        </p:sp>
      </p:grpSp>
      <p:grpSp>
        <p:nvGrpSpPr>
          <p:cNvPr id="481" name="Group 480">
            <a:extLst>
              <a:ext uri="{FF2B5EF4-FFF2-40B4-BE49-F238E27FC236}">
                <a16:creationId xmlns:a16="http://schemas.microsoft.com/office/drawing/2014/main" id="{25B08EBE-B774-354C-9B12-B96069A3F5A6}"/>
              </a:ext>
            </a:extLst>
          </p:cNvPr>
          <p:cNvGrpSpPr/>
          <p:nvPr/>
        </p:nvGrpSpPr>
        <p:grpSpPr>
          <a:xfrm>
            <a:off x="10665221" y="1976637"/>
            <a:ext cx="992579" cy="534509"/>
            <a:chOff x="10787398" y="3618404"/>
            <a:chExt cx="992579" cy="534509"/>
          </a:xfrm>
        </p:grpSpPr>
        <p:pic>
          <p:nvPicPr>
            <p:cNvPr id="482" name="Picture 481">
              <a:extLst>
                <a:ext uri="{FF2B5EF4-FFF2-40B4-BE49-F238E27FC236}">
                  <a16:creationId xmlns:a16="http://schemas.microsoft.com/office/drawing/2014/main" id="{4CAA4FF3-ACB7-3740-BA88-2E6DADBB235B}"/>
                </a:ext>
              </a:extLst>
            </p:cNvPr>
            <p:cNvPicPr>
              <a:picLocks noChangeAspect="1"/>
            </p:cNvPicPr>
            <p:nvPr/>
          </p:nvPicPr>
          <p:blipFill>
            <a:blip r:embed="rId3">
              <a:alphaModFix amt="57000"/>
            </a:blip>
            <a:stretch>
              <a:fillRect/>
            </a:stretch>
          </p:blipFill>
          <p:spPr>
            <a:xfrm>
              <a:off x="11020649" y="3618404"/>
              <a:ext cx="431837" cy="329077"/>
            </a:xfrm>
            <a:prstGeom prst="rect">
              <a:avLst/>
            </a:prstGeom>
          </p:spPr>
        </p:pic>
        <p:sp>
          <p:nvSpPr>
            <p:cNvPr id="483" name="TextBox 482">
              <a:extLst>
                <a:ext uri="{FF2B5EF4-FFF2-40B4-BE49-F238E27FC236}">
                  <a16:creationId xmlns:a16="http://schemas.microsoft.com/office/drawing/2014/main" id="{B24AD6C7-64E2-A84D-8113-33AC4009064E}"/>
                </a:ext>
              </a:extLst>
            </p:cNvPr>
            <p:cNvSpPr txBox="1"/>
            <p:nvPr/>
          </p:nvSpPr>
          <p:spPr>
            <a:xfrm>
              <a:off x="10787398" y="3863433"/>
              <a:ext cx="992579" cy="289480"/>
            </a:xfrm>
            <a:prstGeom prst="rect">
              <a:avLst/>
            </a:prstGeom>
            <a:noFill/>
          </p:spPr>
          <p:txBody>
            <a:bodyPr wrap="none" tIns="90000" bIns="90000" rtlCol="0" anchor="t">
              <a:spAutoFit/>
            </a:bodyPr>
            <a:lstStyle/>
            <a:p>
              <a:pPr algn="ctr"/>
              <a:r>
                <a:rPr lang="en-US" sz="700" b="1"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Indexed for Search</a:t>
              </a:r>
            </a:p>
          </p:txBody>
        </p:sp>
      </p:grpSp>
      <p:grpSp>
        <p:nvGrpSpPr>
          <p:cNvPr id="484" name="Group 483">
            <a:extLst>
              <a:ext uri="{FF2B5EF4-FFF2-40B4-BE49-F238E27FC236}">
                <a16:creationId xmlns:a16="http://schemas.microsoft.com/office/drawing/2014/main" id="{38E7D598-1BF8-B048-93D2-58E74A6C955A}"/>
              </a:ext>
            </a:extLst>
          </p:cNvPr>
          <p:cNvGrpSpPr/>
          <p:nvPr/>
        </p:nvGrpSpPr>
        <p:grpSpPr>
          <a:xfrm>
            <a:off x="10616302" y="2478001"/>
            <a:ext cx="1103187" cy="703869"/>
            <a:chOff x="10758706" y="3546264"/>
            <a:chExt cx="1103187" cy="703869"/>
          </a:xfrm>
        </p:grpSpPr>
        <p:pic>
          <p:nvPicPr>
            <p:cNvPr id="485" name="Picture 484">
              <a:extLst>
                <a:ext uri="{FF2B5EF4-FFF2-40B4-BE49-F238E27FC236}">
                  <a16:creationId xmlns:a16="http://schemas.microsoft.com/office/drawing/2014/main" id="{03C8CAF4-211F-EC47-A96E-8BDE44527207}"/>
                </a:ext>
              </a:extLst>
            </p:cNvPr>
            <p:cNvPicPr>
              <a:picLocks noChangeAspect="1"/>
            </p:cNvPicPr>
            <p:nvPr/>
          </p:nvPicPr>
          <p:blipFill>
            <a:blip r:embed="rId4">
              <a:alphaModFix amt="50000"/>
            </a:blip>
            <a:stretch>
              <a:fillRect/>
            </a:stretch>
          </p:blipFill>
          <p:spPr>
            <a:xfrm>
              <a:off x="11041322" y="3546264"/>
              <a:ext cx="498883" cy="502431"/>
            </a:xfrm>
            <a:prstGeom prst="rect">
              <a:avLst/>
            </a:prstGeom>
          </p:spPr>
        </p:pic>
        <p:sp>
          <p:nvSpPr>
            <p:cNvPr id="486" name="TextBox 485">
              <a:extLst>
                <a:ext uri="{FF2B5EF4-FFF2-40B4-BE49-F238E27FC236}">
                  <a16:creationId xmlns:a16="http://schemas.microsoft.com/office/drawing/2014/main" id="{39DBFD31-9705-9B4A-B311-3C13805A6A43}"/>
                </a:ext>
              </a:extLst>
            </p:cNvPr>
            <p:cNvSpPr txBox="1"/>
            <p:nvPr/>
          </p:nvSpPr>
          <p:spPr>
            <a:xfrm>
              <a:off x="10758706" y="3960653"/>
              <a:ext cx="1103187" cy="289480"/>
            </a:xfrm>
            <a:prstGeom prst="rect">
              <a:avLst/>
            </a:prstGeom>
            <a:noFill/>
          </p:spPr>
          <p:txBody>
            <a:bodyPr wrap="none" tIns="90000" bIns="90000" rtlCol="0" anchor="t">
              <a:spAutoFit/>
            </a:bodyPr>
            <a:lstStyle/>
            <a:p>
              <a:pPr algn="ctr"/>
              <a:r>
                <a:rPr lang="en-US" sz="700" b="1"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mj-lt"/>
                  <a:ea typeface="Nanum Pen Script" panose="03040600000000000000" pitchFamily="66" charset="-127"/>
                  <a:cs typeface="Arial" panose="020B0604020202020204" pitchFamily="34" charset="0"/>
                </a:rPr>
                <a:t>Business Intelligence</a:t>
              </a:r>
            </a:p>
          </p:txBody>
        </p:sp>
      </p:grpSp>
      <p:sp>
        <p:nvSpPr>
          <p:cNvPr id="489" name="Rounded Rectangle 488">
            <a:extLst>
              <a:ext uri="{FF2B5EF4-FFF2-40B4-BE49-F238E27FC236}">
                <a16:creationId xmlns:a16="http://schemas.microsoft.com/office/drawing/2014/main" id="{AB1970D5-AD44-3844-AD72-1AA6849902E2}"/>
              </a:ext>
            </a:extLst>
          </p:cNvPr>
          <p:cNvSpPr/>
          <p:nvPr/>
        </p:nvSpPr>
        <p:spPr>
          <a:xfrm>
            <a:off x="8027511" y="2661927"/>
            <a:ext cx="1627439" cy="375693"/>
          </a:xfrm>
          <a:prstGeom prst="roundRect">
            <a:avLst/>
          </a:prstGeom>
          <a:solidFill>
            <a:schemeClr val="bg1">
              <a:lumMod val="85000"/>
            </a:schemeClr>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bg1">
                  <a:lumMod val="50000"/>
                </a:schemeClr>
              </a:solidFill>
              <a:latin typeface="+mj-lt"/>
              <a:ea typeface="Nanum Pen Script" panose="03040600000000000000" pitchFamily="66" charset="-127"/>
            </a:endParaRPr>
          </a:p>
          <a:p>
            <a:pPr algn="ctr"/>
            <a:endParaRPr lang="en-US" sz="800" dirty="0">
              <a:solidFill>
                <a:schemeClr val="bg1">
                  <a:lumMod val="50000"/>
                </a:schemeClr>
              </a:solidFill>
              <a:latin typeface="+mj-lt"/>
              <a:ea typeface="Nanum Pen Script" panose="03040600000000000000" pitchFamily="66" charset="-127"/>
            </a:endParaRPr>
          </a:p>
          <a:p>
            <a:pPr algn="ctr"/>
            <a:endParaRPr lang="en-US" sz="800" dirty="0">
              <a:solidFill>
                <a:schemeClr val="bg1">
                  <a:lumMod val="50000"/>
                </a:schemeClr>
              </a:solidFill>
              <a:latin typeface="+mj-lt"/>
              <a:ea typeface="Nanum Pen Script" panose="03040600000000000000" pitchFamily="66" charset="-127"/>
            </a:endParaRPr>
          </a:p>
          <a:p>
            <a:pPr algn="ctr"/>
            <a:endParaRPr lang="en-US" sz="800" dirty="0">
              <a:solidFill>
                <a:schemeClr val="bg1">
                  <a:lumMod val="50000"/>
                </a:schemeClr>
              </a:solidFill>
              <a:latin typeface="+mj-lt"/>
              <a:ea typeface="Nanum Pen Script" panose="03040600000000000000" pitchFamily="66" charset="-127"/>
            </a:endParaRPr>
          </a:p>
          <a:p>
            <a:pPr algn="ctr"/>
            <a:endParaRPr lang="en-US" sz="700" dirty="0">
              <a:solidFill>
                <a:schemeClr val="bg1">
                  <a:lumMod val="50000"/>
                </a:schemeClr>
              </a:solidFill>
              <a:latin typeface="+mj-lt"/>
              <a:ea typeface="Nanum Pen Script" panose="03040600000000000000" pitchFamily="66" charset="-127"/>
            </a:endParaRPr>
          </a:p>
          <a:p>
            <a:pPr algn="ctr"/>
            <a:endParaRPr lang="en-US" sz="900" dirty="0">
              <a:solidFill>
                <a:schemeClr val="bg1">
                  <a:lumMod val="50000"/>
                </a:schemeClr>
              </a:solidFill>
              <a:latin typeface="+mj-lt"/>
              <a:ea typeface="Nanum Pen Script" panose="03040600000000000000" pitchFamily="66" charset="-127"/>
            </a:endParaRPr>
          </a:p>
          <a:p>
            <a:pPr algn="ctr"/>
            <a:r>
              <a:rPr lang="en-US" sz="900" dirty="0">
                <a:solidFill>
                  <a:schemeClr val="bg1">
                    <a:lumMod val="50000"/>
                  </a:schemeClr>
                </a:solidFill>
                <a:latin typeface="+mj-lt"/>
                <a:ea typeface="Nanum Pen Script" panose="03040600000000000000" pitchFamily="66" charset="-127"/>
              </a:rPr>
              <a:t>Kafka Connect</a:t>
            </a:r>
          </a:p>
          <a:p>
            <a:pPr algn="ctr"/>
            <a:r>
              <a:rPr lang="en-US" sz="900" dirty="0">
                <a:solidFill>
                  <a:schemeClr val="bg1">
                    <a:lumMod val="50000"/>
                  </a:schemeClr>
                </a:solidFill>
                <a:latin typeface="+mj-lt"/>
                <a:ea typeface="Nanum Pen Script" panose="03040600000000000000" pitchFamily="66" charset="-127"/>
              </a:rPr>
              <a:t>Sink</a:t>
            </a:r>
          </a:p>
          <a:p>
            <a:pPr algn="ctr"/>
            <a:endParaRPr lang="en-US" sz="900" dirty="0">
              <a:solidFill>
                <a:schemeClr val="bg1">
                  <a:lumMod val="50000"/>
                </a:schemeClr>
              </a:solidFill>
              <a:latin typeface="+mj-lt"/>
              <a:ea typeface="Nanum Pen Script" panose="03040600000000000000" pitchFamily="66" charset="-127"/>
            </a:endParaRPr>
          </a:p>
          <a:p>
            <a:pPr algn="ctr"/>
            <a:endParaRPr lang="en-US" sz="900" dirty="0">
              <a:solidFill>
                <a:schemeClr val="bg1">
                  <a:lumMod val="50000"/>
                </a:schemeClr>
              </a:solidFill>
              <a:latin typeface="+mj-lt"/>
              <a:ea typeface="Nanum Pen Script" panose="03040600000000000000" pitchFamily="66" charset="-127"/>
            </a:endParaRPr>
          </a:p>
          <a:p>
            <a:pPr algn="ctr"/>
            <a:endParaRPr lang="en-US" sz="1600" dirty="0">
              <a:solidFill>
                <a:schemeClr val="tx1"/>
              </a:solidFill>
              <a:latin typeface="+mj-lt"/>
              <a:ea typeface="Nanum Pen Script" panose="03040600000000000000" pitchFamily="66" charset="-127"/>
            </a:endParaRPr>
          </a:p>
          <a:p>
            <a:pPr algn="ctr"/>
            <a:endParaRPr lang="en-US" sz="1600" dirty="0">
              <a:solidFill>
                <a:schemeClr val="tx1"/>
              </a:solidFill>
              <a:latin typeface="+mj-lt"/>
              <a:ea typeface="Nanum Pen Script" panose="03040600000000000000" pitchFamily="66" charset="-127"/>
            </a:endParaRPr>
          </a:p>
        </p:txBody>
      </p:sp>
      <p:grpSp>
        <p:nvGrpSpPr>
          <p:cNvPr id="496" name="Group 495">
            <a:extLst>
              <a:ext uri="{FF2B5EF4-FFF2-40B4-BE49-F238E27FC236}">
                <a16:creationId xmlns:a16="http://schemas.microsoft.com/office/drawing/2014/main" id="{AE512457-27AD-B242-A8E5-25052F37264C}"/>
              </a:ext>
            </a:extLst>
          </p:cNvPr>
          <p:cNvGrpSpPr/>
          <p:nvPr/>
        </p:nvGrpSpPr>
        <p:grpSpPr>
          <a:xfrm>
            <a:off x="10817447" y="3506630"/>
            <a:ext cx="740908" cy="731246"/>
            <a:chOff x="9490766" y="4204210"/>
            <a:chExt cx="740908" cy="731246"/>
          </a:xfrm>
        </p:grpSpPr>
        <p:pic>
          <p:nvPicPr>
            <p:cNvPr id="497" name="Picture 496">
              <a:extLst>
                <a:ext uri="{FF2B5EF4-FFF2-40B4-BE49-F238E27FC236}">
                  <a16:creationId xmlns:a16="http://schemas.microsoft.com/office/drawing/2014/main" id="{C5118A1B-370C-974F-AE6B-BF6B7E9771D6}"/>
                </a:ext>
              </a:extLst>
            </p:cNvPr>
            <p:cNvPicPr>
              <a:picLocks noChangeAspect="1"/>
            </p:cNvPicPr>
            <p:nvPr/>
          </p:nvPicPr>
          <p:blipFill>
            <a:blip r:embed="rId5">
              <a:alphaModFix amt="10000"/>
            </a:blip>
            <a:stretch>
              <a:fillRect/>
            </a:stretch>
          </p:blipFill>
          <p:spPr>
            <a:xfrm>
              <a:off x="9527636" y="4204210"/>
              <a:ext cx="564571" cy="564571"/>
            </a:xfrm>
            <a:prstGeom prst="rect">
              <a:avLst/>
            </a:prstGeom>
          </p:spPr>
        </p:pic>
        <p:sp>
          <p:nvSpPr>
            <p:cNvPr id="498" name="TextBox 497">
              <a:extLst>
                <a:ext uri="{FF2B5EF4-FFF2-40B4-BE49-F238E27FC236}">
                  <a16:creationId xmlns:a16="http://schemas.microsoft.com/office/drawing/2014/main" id="{CDF53E78-A4E7-AE47-A739-B9FAAD8C3D6C}"/>
                </a:ext>
              </a:extLst>
            </p:cNvPr>
            <p:cNvSpPr txBox="1"/>
            <p:nvPr/>
          </p:nvSpPr>
          <p:spPr>
            <a:xfrm>
              <a:off x="9490766" y="4630588"/>
              <a:ext cx="740908" cy="304868"/>
            </a:xfrm>
            <a:prstGeom prst="rect">
              <a:avLst/>
            </a:prstGeom>
            <a:noFill/>
          </p:spPr>
          <p:txBody>
            <a:bodyPr wrap="none" tIns="90000" bIns="90000" rtlCol="0" anchor="t">
              <a:spAutoFit/>
            </a:bodyPr>
            <a:lstStyle/>
            <a:p>
              <a:pPr algn="ctr"/>
              <a:r>
                <a:rPr lang="en-US" sz="800" b="1"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rPr>
                <a:t>Data Bases</a:t>
              </a:r>
            </a:p>
          </p:txBody>
        </p:sp>
      </p:grpSp>
      <p:pic>
        <p:nvPicPr>
          <p:cNvPr id="499" name="Picture 498">
            <a:extLst>
              <a:ext uri="{FF2B5EF4-FFF2-40B4-BE49-F238E27FC236}">
                <a16:creationId xmlns:a16="http://schemas.microsoft.com/office/drawing/2014/main" id="{55CF5CD5-BFD0-F442-BF88-DDED09D30476}"/>
              </a:ext>
            </a:extLst>
          </p:cNvPr>
          <p:cNvPicPr>
            <a:picLocks noChangeAspect="1"/>
          </p:cNvPicPr>
          <p:nvPr/>
        </p:nvPicPr>
        <p:blipFill>
          <a:blip r:embed="rId6">
            <a:alphaModFix amt="48000"/>
          </a:blip>
          <a:stretch>
            <a:fillRect/>
          </a:stretch>
        </p:blipFill>
        <p:spPr>
          <a:xfrm>
            <a:off x="10974588" y="3173363"/>
            <a:ext cx="385064" cy="385064"/>
          </a:xfrm>
          <a:prstGeom prst="rect">
            <a:avLst/>
          </a:prstGeom>
        </p:spPr>
      </p:pic>
      <p:grpSp>
        <p:nvGrpSpPr>
          <p:cNvPr id="500" name="Group 499">
            <a:extLst>
              <a:ext uri="{FF2B5EF4-FFF2-40B4-BE49-F238E27FC236}">
                <a16:creationId xmlns:a16="http://schemas.microsoft.com/office/drawing/2014/main" id="{C9CBE247-C893-484E-9F4E-2CE26A99742D}"/>
              </a:ext>
            </a:extLst>
          </p:cNvPr>
          <p:cNvGrpSpPr/>
          <p:nvPr/>
        </p:nvGrpSpPr>
        <p:grpSpPr>
          <a:xfrm>
            <a:off x="10831538" y="4218695"/>
            <a:ext cx="652743" cy="621088"/>
            <a:chOff x="9121139" y="4882158"/>
            <a:chExt cx="652743" cy="621088"/>
          </a:xfrm>
        </p:grpSpPr>
        <p:pic>
          <p:nvPicPr>
            <p:cNvPr id="501" name="Picture 500">
              <a:extLst>
                <a:ext uri="{FF2B5EF4-FFF2-40B4-BE49-F238E27FC236}">
                  <a16:creationId xmlns:a16="http://schemas.microsoft.com/office/drawing/2014/main" id="{A965C5E0-8D73-A940-9501-4F3EC03B5C18}"/>
                </a:ext>
              </a:extLst>
            </p:cNvPr>
            <p:cNvPicPr>
              <a:picLocks noChangeAspect="1"/>
            </p:cNvPicPr>
            <p:nvPr/>
          </p:nvPicPr>
          <p:blipFill>
            <a:blip r:embed="rId7">
              <a:alphaModFix amt="46000"/>
            </a:blip>
            <a:stretch>
              <a:fillRect/>
            </a:stretch>
          </p:blipFill>
          <p:spPr>
            <a:xfrm>
              <a:off x="9176452" y="4882158"/>
              <a:ext cx="539048" cy="392205"/>
            </a:xfrm>
            <a:prstGeom prst="rect">
              <a:avLst/>
            </a:prstGeom>
          </p:spPr>
        </p:pic>
        <p:sp>
          <p:nvSpPr>
            <p:cNvPr id="502" name="TextBox 501">
              <a:extLst>
                <a:ext uri="{FF2B5EF4-FFF2-40B4-BE49-F238E27FC236}">
                  <a16:creationId xmlns:a16="http://schemas.microsoft.com/office/drawing/2014/main" id="{6D4F7013-7EFD-0148-8587-2398879C0197}"/>
                </a:ext>
              </a:extLst>
            </p:cNvPr>
            <p:cNvSpPr txBox="1"/>
            <p:nvPr/>
          </p:nvSpPr>
          <p:spPr>
            <a:xfrm>
              <a:off x="9121139" y="5198378"/>
              <a:ext cx="652743" cy="304868"/>
            </a:xfrm>
            <a:prstGeom prst="rect">
              <a:avLst/>
            </a:prstGeom>
            <a:noFill/>
          </p:spPr>
          <p:txBody>
            <a:bodyPr wrap="none" tIns="90000" bIns="90000" rtlCol="0" anchor="t">
              <a:spAutoFit/>
            </a:bodyPr>
            <a:lstStyle/>
            <a:p>
              <a:pPr algn="ctr"/>
              <a:r>
                <a:rPr lang="en-US" sz="800" b="1"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rPr>
                <a:t>Cognitive</a:t>
              </a:r>
            </a:p>
          </p:txBody>
        </p:sp>
      </p:grpSp>
      <p:sp>
        <p:nvSpPr>
          <p:cNvPr id="503" name="Rectangle 502">
            <a:extLst>
              <a:ext uri="{FF2B5EF4-FFF2-40B4-BE49-F238E27FC236}">
                <a16:creationId xmlns:a16="http://schemas.microsoft.com/office/drawing/2014/main" id="{F495CB2A-CA72-D042-A03F-FC25BA8E9D7A}"/>
              </a:ext>
            </a:extLst>
          </p:cNvPr>
          <p:cNvSpPr/>
          <p:nvPr/>
        </p:nvSpPr>
        <p:spPr>
          <a:xfrm>
            <a:off x="10840806" y="4807990"/>
            <a:ext cx="611064" cy="461665"/>
          </a:xfrm>
          <a:prstGeom prst="rect">
            <a:avLst/>
          </a:prstGeom>
          <a:noFill/>
        </p:spPr>
        <p:txBody>
          <a:bodyPr wrap="square" lIns="91440" tIns="45720" rIns="91440" bIns="45720">
            <a:spAutoFit/>
          </a:bodyPr>
          <a:lstStyle/>
          <a:p>
            <a:pPr algn="ctr"/>
            <a:r>
              <a:rPr lang="en-US" sz="2400" b="1" dirty="0">
                <a:ln w="9525">
                  <a:solidFill>
                    <a:schemeClr val="bg1">
                      <a:lumMod val="75000"/>
                    </a:schemeClr>
                  </a:solidFill>
                  <a:prstDash val="solid"/>
                </a:ln>
                <a:solidFill>
                  <a:schemeClr val="bg1">
                    <a:lumMod val="65000"/>
                    <a:alpha val="17000"/>
                  </a:schemeClr>
                </a:solidFill>
                <a:effectLst>
                  <a:outerShdw blurRad="12700" dist="38100" dir="2700000" algn="tl" rotWithShape="0">
                    <a:schemeClr val="bg1">
                      <a:lumMod val="50000"/>
                    </a:schemeClr>
                  </a:outerShdw>
                </a:effectLst>
                <a:ea typeface="Brush Script MT" panose="03060802040406070304" pitchFamily="66" charset="-122"/>
                <a:cs typeface="Brush Script MT" panose="03060802040406070304" pitchFamily="66" charset="-122"/>
              </a:rPr>
              <a:t>S3</a:t>
            </a:r>
            <a:endParaRPr lang="en-US" sz="2800" b="1" cap="none" spc="0" dirty="0">
              <a:ln w="9525">
                <a:solidFill>
                  <a:schemeClr val="bg1">
                    <a:lumMod val="75000"/>
                  </a:schemeClr>
                </a:solidFill>
                <a:prstDash val="solid"/>
              </a:ln>
              <a:solidFill>
                <a:schemeClr val="bg1">
                  <a:lumMod val="65000"/>
                  <a:alpha val="17000"/>
                </a:schemeClr>
              </a:solidFill>
              <a:effectLst>
                <a:outerShdw blurRad="12700" dist="38100" dir="2700000" algn="tl" rotWithShape="0">
                  <a:schemeClr val="bg1">
                    <a:lumMod val="50000"/>
                  </a:schemeClr>
                </a:outerShdw>
              </a:effectLst>
            </a:endParaRPr>
          </a:p>
        </p:txBody>
      </p:sp>
      <p:cxnSp>
        <p:nvCxnSpPr>
          <p:cNvPr id="505" name="Elbow Connector 504">
            <a:extLst>
              <a:ext uri="{FF2B5EF4-FFF2-40B4-BE49-F238E27FC236}">
                <a16:creationId xmlns:a16="http://schemas.microsoft.com/office/drawing/2014/main" id="{223646F6-C91D-9A40-8620-100887DE9C19}"/>
              </a:ext>
            </a:extLst>
          </p:cNvPr>
          <p:cNvCxnSpPr>
            <a:cxnSpLocks/>
            <a:stCxn id="356" idx="3"/>
            <a:endCxn id="353" idx="1"/>
          </p:cNvCxnSpPr>
          <p:nvPr/>
        </p:nvCxnSpPr>
        <p:spPr>
          <a:xfrm flipV="1">
            <a:off x="1596387" y="2848548"/>
            <a:ext cx="629996" cy="315290"/>
          </a:xfrm>
          <a:prstGeom prst="bentConnector3">
            <a:avLst>
              <a:gd name="adj1" fmla="val 50000"/>
            </a:avLst>
          </a:prstGeom>
          <a:ln>
            <a:solidFill>
              <a:schemeClr val="bg1">
                <a:lumMod val="50000"/>
              </a:schemeClr>
            </a:solidFill>
            <a:headEnd type="oval"/>
            <a:tailEnd type="triangle"/>
          </a:ln>
        </p:spPr>
        <p:style>
          <a:lnRef idx="1">
            <a:schemeClr val="accent1"/>
          </a:lnRef>
          <a:fillRef idx="0">
            <a:schemeClr val="accent1"/>
          </a:fillRef>
          <a:effectRef idx="0">
            <a:schemeClr val="accent1"/>
          </a:effectRef>
          <a:fontRef idx="minor">
            <a:schemeClr val="tx1"/>
          </a:fontRef>
        </p:style>
      </p:cxnSp>
      <p:grpSp>
        <p:nvGrpSpPr>
          <p:cNvPr id="509" name="Group 508">
            <a:extLst>
              <a:ext uri="{FF2B5EF4-FFF2-40B4-BE49-F238E27FC236}">
                <a16:creationId xmlns:a16="http://schemas.microsoft.com/office/drawing/2014/main" id="{CDD00DA3-7F19-294D-BF79-2ED272489999}"/>
              </a:ext>
            </a:extLst>
          </p:cNvPr>
          <p:cNvGrpSpPr/>
          <p:nvPr/>
        </p:nvGrpSpPr>
        <p:grpSpPr>
          <a:xfrm rot="21011211">
            <a:off x="423703" y="2957384"/>
            <a:ext cx="292910" cy="222927"/>
            <a:chOff x="702590" y="1203599"/>
            <a:chExt cx="301686" cy="290724"/>
          </a:xfrm>
        </p:grpSpPr>
        <p:sp>
          <p:nvSpPr>
            <p:cNvPr id="510" name="Google Shape;431;p39">
              <a:extLst>
                <a:ext uri="{FF2B5EF4-FFF2-40B4-BE49-F238E27FC236}">
                  <a16:creationId xmlns:a16="http://schemas.microsoft.com/office/drawing/2014/main" id="{CA24A662-6DEC-F744-8D07-C2B4930589DD}"/>
                </a:ext>
              </a:extLst>
            </p:cNvPr>
            <p:cNvSpPr/>
            <p:nvPr/>
          </p:nvSpPr>
          <p:spPr>
            <a:xfrm>
              <a:off x="736556" y="1203599"/>
              <a:ext cx="219241" cy="290724"/>
            </a:xfrm>
            <a:custGeom>
              <a:avLst/>
              <a:gdLst/>
              <a:ahLst/>
              <a:cxnLst/>
              <a:rect l="0" t="0" r="0" b="0"/>
              <a:pathLst>
                <a:path w="67641" h="69056" extrusionOk="0">
                  <a:moveTo>
                    <a:pt x="49622" y="2736"/>
                  </a:moveTo>
                  <a:lnTo>
                    <a:pt x="49622" y="2736"/>
                  </a:lnTo>
                  <a:lnTo>
                    <a:pt x="49622" y="2736"/>
                  </a:lnTo>
                  <a:close/>
                  <a:moveTo>
                    <a:pt x="59622" y="55565"/>
                  </a:moveTo>
                  <a:lnTo>
                    <a:pt x="59622" y="55565"/>
                  </a:lnTo>
                  <a:lnTo>
                    <a:pt x="59622" y="55565"/>
                  </a:lnTo>
                  <a:close/>
                  <a:moveTo>
                    <a:pt x="35471" y="0"/>
                  </a:moveTo>
                  <a:lnTo>
                    <a:pt x="34433" y="95"/>
                  </a:lnTo>
                  <a:lnTo>
                    <a:pt x="33584" y="189"/>
                  </a:lnTo>
                  <a:lnTo>
                    <a:pt x="32735" y="378"/>
                  </a:lnTo>
                  <a:lnTo>
                    <a:pt x="32169" y="566"/>
                  </a:lnTo>
                  <a:lnTo>
                    <a:pt x="31509" y="472"/>
                  </a:lnTo>
                  <a:lnTo>
                    <a:pt x="30754" y="472"/>
                  </a:lnTo>
                  <a:lnTo>
                    <a:pt x="29339" y="566"/>
                  </a:lnTo>
                  <a:lnTo>
                    <a:pt x="27830" y="849"/>
                  </a:lnTo>
                  <a:lnTo>
                    <a:pt x="26320" y="1321"/>
                  </a:lnTo>
                  <a:lnTo>
                    <a:pt x="24811" y="1981"/>
                  </a:lnTo>
                  <a:lnTo>
                    <a:pt x="23207" y="2736"/>
                  </a:lnTo>
                  <a:lnTo>
                    <a:pt x="21698" y="3585"/>
                  </a:lnTo>
                  <a:lnTo>
                    <a:pt x="20188" y="4623"/>
                  </a:lnTo>
                  <a:lnTo>
                    <a:pt x="18679" y="5661"/>
                  </a:lnTo>
                  <a:lnTo>
                    <a:pt x="17170" y="6793"/>
                  </a:lnTo>
                  <a:lnTo>
                    <a:pt x="15754" y="8019"/>
                  </a:lnTo>
                  <a:lnTo>
                    <a:pt x="14434" y="9151"/>
                  </a:lnTo>
                  <a:lnTo>
                    <a:pt x="11981" y="11510"/>
                  </a:lnTo>
                  <a:lnTo>
                    <a:pt x="10000" y="13774"/>
                  </a:lnTo>
                  <a:lnTo>
                    <a:pt x="7736" y="16981"/>
                  </a:lnTo>
                  <a:lnTo>
                    <a:pt x="8019" y="16321"/>
                  </a:lnTo>
                  <a:lnTo>
                    <a:pt x="8302" y="15660"/>
                  </a:lnTo>
                  <a:lnTo>
                    <a:pt x="7736" y="16604"/>
                  </a:lnTo>
                  <a:lnTo>
                    <a:pt x="7075" y="17642"/>
                  </a:lnTo>
                  <a:lnTo>
                    <a:pt x="7170" y="17830"/>
                  </a:lnTo>
                  <a:lnTo>
                    <a:pt x="6509" y="18868"/>
                  </a:lnTo>
                  <a:lnTo>
                    <a:pt x="7075" y="17359"/>
                  </a:lnTo>
                  <a:lnTo>
                    <a:pt x="6132" y="19057"/>
                  </a:lnTo>
                  <a:lnTo>
                    <a:pt x="5189" y="20849"/>
                  </a:lnTo>
                  <a:lnTo>
                    <a:pt x="4434" y="22736"/>
                  </a:lnTo>
                  <a:lnTo>
                    <a:pt x="3679" y="24622"/>
                  </a:lnTo>
                  <a:lnTo>
                    <a:pt x="2453" y="28490"/>
                  </a:lnTo>
                  <a:lnTo>
                    <a:pt x="1321" y="32169"/>
                  </a:lnTo>
                  <a:lnTo>
                    <a:pt x="1509" y="32264"/>
                  </a:lnTo>
                  <a:lnTo>
                    <a:pt x="1604" y="32453"/>
                  </a:lnTo>
                  <a:lnTo>
                    <a:pt x="1604" y="32641"/>
                  </a:lnTo>
                  <a:lnTo>
                    <a:pt x="1509" y="32924"/>
                  </a:lnTo>
                  <a:lnTo>
                    <a:pt x="1226" y="33396"/>
                  </a:lnTo>
                  <a:lnTo>
                    <a:pt x="1038" y="33585"/>
                  </a:lnTo>
                  <a:lnTo>
                    <a:pt x="1038" y="33773"/>
                  </a:lnTo>
                  <a:lnTo>
                    <a:pt x="1038" y="35000"/>
                  </a:lnTo>
                  <a:lnTo>
                    <a:pt x="849" y="36132"/>
                  </a:lnTo>
                  <a:lnTo>
                    <a:pt x="660" y="37358"/>
                  </a:lnTo>
                  <a:lnTo>
                    <a:pt x="472" y="38867"/>
                  </a:lnTo>
                  <a:lnTo>
                    <a:pt x="283" y="38301"/>
                  </a:lnTo>
                  <a:lnTo>
                    <a:pt x="94" y="39811"/>
                  </a:lnTo>
                  <a:lnTo>
                    <a:pt x="0" y="41509"/>
                  </a:lnTo>
                  <a:lnTo>
                    <a:pt x="94" y="43301"/>
                  </a:lnTo>
                  <a:lnTo>
                    <a:pt x="283" y="44056"/>
                  </a:lnTo>
                  <a:lnTo>
                    <a:pt x="472" y="44622"/>
                  </a:lnTo>
                  <a:lnTo>
                    <a:pt x="566" y="45660"/>
                  </a:lnTo>
                  <a:lnTo>
                    <a:pt x="755" y="46792"/>
                  </a:lnTo>
                  <a:lnTo>
                    <a:pt x="1226" y="48962"/>
                  </a:lnTo>
                  <a:lnTo>
                    <a:pt x="1981" y="51037"/>
                  </a:lnTo>
                  <a:lnTo>
                    <a:pt x="2924" y="53112"/>
                  </a:lnTo>
                  <a:lnTo>
                    <a:pt x="4057" y="55094"/>
                  </a:lnTo>
                  <a:lnTo>
                    <a:pt x="5283" y="56980"/>
                  </a:lnTo>
                  <a:lnTo>
                    <a:pt x="6698" y="58678"/>
                  </a:lnTo>
                  <a:lnTo>
                    <a:pt x="8113" y="60282"/>
                  </a:lnTo>
                  <a:lnTo>
                    <a:pt x="9056" y="61131"/>
                  </a:lnTo>
                  <a:lnTo>
                    <a:pt x="10000" y="61980"/>
                  </a:lnTo>
                  <a:lnTo>
                    <a:pt x="11038" y="62829"/>
                  </a:lnTo>
                  <a:lnTo>
                    <a:pt x="12075" y="63584"/>
                  </a:lnTo>
                  <a:lnTo>
                    <a:pt x="14339" y="64905"/>
                  </a:lnTo>
                  <a:lnTo>
                    <a:pt x="16604" y="66131"/>
                  </a:lnTo>
                  <a:lnTo>
                    <a:pt x="19056" y="67169"/>
                  </a:lnTo>
                  <a:lnTo>
                    <a:pt x="21509" y="67923"/>
                  </a:lnTo>
                  <a:lnTo>
                    <a:pt x="24056" y="68584"/>
                  </a:lnTo>
                  <a:lnTo>
                    <a:pt x="26603" y="69055"/>
                  </a:lnTo>
                  <a:lnTo>
                    <a:pt x="27830" y="69055"/>
                  </a:lnTo>
                  <a:lnTo>
                    <a:pt x="30188" y="68867"/>
                  </a:lnTo>
                  <a:lnTo>
                    <a:pt x="33113" y="68678"/>
                  </a:lnTo>
                  <a:lnTo>
                    <a:pt x="36509" y="68301"/>
                  </a:lnTo>
                  <a:lnTo>
                    <a:pt x="39811" y="67923"/>
                  </a:lnTo>
                  <a:lnTo>
                    <a:pt x="42735" y="67452"/>
                  </a:lnTo>
                  <a:lnTo>
                    <a:pt x="44905" y="66980"/>
                  </a:lnTo>
                  <a:lnTo>
                    <a:pt x="45565" y="66791"/>
                  </a:lnTo>
                  <a:lnTo>
                    <a:pt x="45943" y="66508"/>
                  </a:lnTo>
                  <a:lnTo>
                    <a:pt x="47358" y="65942"/>
                  </a:lnTo>
                  <a:lnTo>
                    <a:pt x="48018" y="65565"/>
                  </a:lnTo>
                  <a:lnTo>
                    <a:pt x="48678" y="65188"/>
                  </a:lnTo>
                  <a:lnTo>
                    <a:pt x="47924" y="65471"/>
                  </a:lnTo>
                  <a:lnTo>
                    <a:pt x="51509" y="62924"/>
                  </a:lnTo>
                  <a:lnTo>
                    <a:pt x="53301" y="61508"/>
                  </a:lnTo>
                  <a:lnTo>
                    <a:pt x="55093" y="59905"/>
                  </a:lnTo>
                  <a:lnTo>
                    <a:pt x="55093" y="59905"/>
                  </a:lnTo>
                  <a:lnTo>
                    <a:pt x="54810" y="60376"/>
                  </a:lnTo>
                  <a:lnTo>
                    <a:pt x="54339" y="60754"/>
                  </a:lnTo>
                  <a:lnTo>
                    <a:pt x="55376" y="59999"/>
                  </a:lnTo>
                  <a:lnTo>
                    <a:pt x="56320" y="59056"/>
                  </a:lnTo>
                  <a:lnTo>
                    <a:pt x="57075" y="58395"/>
                  </a:lnTo>
                  <a:lnTo>
                    <a:pt x="57169" y="58207"/>
                  </a:lnTo>
                  <a:lnTo>
                    <a:pt x="57075" y="58207"/>
                  </a:lnTo>
                  <a:lnTo>
                    <a:pt x="57924" y="57546"/>
                  </a:lnTo>
                  <a:lnTo>
                    <a:pt x="58678" y="56697"/>
                  </a:lnTo>
                  <a:lnTo>
                    <a:pt x="59339" y="55754"/>
                  </a:lnTo>
                  <a:lnTo>
                    <a:pt x="59905" y="54905"/>
                  </a:lnTo>
                  <a:lnTo>
                    <a:pt x="59716" y="54999"/>
                  </a:lnTo>
                  <a:lnTo>
                    <a:pt x="59622" y="54999"/>
                  </a:lnTo>
                  <a:lnTo>
                    <a:pt x="59810" y="54622"/>
                  </a:lnTo>
                  <a:lnTo>
                    <a:pt x="59150" y="55565"/>
                  </a:lnTo>
                  <a:lnTo>
                    <a:pt x="59527" y="55094"/>
                  </a:lnTo>
                  <a:lnTo>
                    <a:pt x="59433" y="55377"/>
                  </a:lnTo>
                  <a:lnTo>
                    <a:pt x="58867" y="56037"/>
                  </a:lnTo>
                  <a:lnTo>
                    <a:pt x="59056" y="55660"/>
                  </a:lnTo>
                  <a:lnTo>
                    <a:pt x="59056" y="55660"/>
                  </a:lnTo>
                  <a:lnTo>
                    <a:pt x="58678" y="56037"/>
                  </a:lnTo>
                  <a:lnTo>
                    <a:pt x="59810" y="54339"/>
                  </a:lnTo>
                  <a:lnTo>
                    <a:pt x="60282" y="53490"/>
                  </a:lnTo>
                  <a:lnTo>
                    <a:pt x="60282" y="53301"/>
                  </a:lnTo>
                  <a:lnTo>
                    <a:pt x="60188" y="53395"/>
                  </a:lnTo>
                  <a:lnTo>
                    <a:pt x="60188" y="53395"/>
                  </a:lnTo>
                  <a:lnTo>
                    <a:pt x="60565" y="52924"/>
                  </a:lnTo>
                  <a:lnTo>
                    <a:pt x="61037" y="52452"/>
                  </a:lnTo>
                  <a:lnTo>
                    <a:pt x="61886" y="51509"/>
                  </a:lnTo>
                  <a:lnTo>
                    <a:pt x="61508" y="52452"/>
                  </a:lnTo>
                  <a:lnTo>
                    <a:pt x="60848" y="53584"/>
                  </a:lnTo>
                  <a:lnTo>
                    <a:pt x="59622" y="55565"/>
                  </a:lnTo>
                  <a:lnTo>
                    <a:pt x="60376" y="54528"/>
                  </a:lnTo>
                  <a:lnTo>
                    <a:pt x="60942" y="53678"/>
                  </a:lnTo>
                  <a:lnTo>
                    <a:pt x="61980" y="51792"/>
                  </a:lnTo>
                  <a:lnTo>
                    <a:pt x="61886" y="51886"/>
                  </a:lnTo>
                  <a:lnTo>
                    <a:pt x="61886" y="51697"/>
                  </a:lnTo>
                  <a:lnTo>
                    <a:pt x="62169" y="51037"/>
                  </a:lnTo>
                  <a:lnTo>
                    <a:pt x="62735" y="49999"/>
                  </a:lnTo>
                  <a:lnTo>
                    <a:pt x="61508" y="51603"/>
                  </a:lnTo>
                  <a:lnTo>
                    <a:pt x="61603" y="51037"/>
                  </a:lnTo>
                  <a:lnTo>
                    <a:pt x="61697" y="50377"/>
                  </a:lnTo>
                  <a:lnTo>
                    <a:pt x="62169" y="48962"/>
                  </a:lnTo>
                  <a:lnTo>
                    <a:pt x="62829" y="47358"/>
                  </a:lnTo>
                  <a:lnTo>
                    <a:pt x="63678" y="45565"/>
                  </a:lnTo>
                  <a:lnTo>
                    <a:pt x="65376" y="42169"/>
                  </a:lnTo>
                  <a:lnTo>
                    <a:pt x="66131" y="40660"/>
                  </a:lnTo>
                  <a:lnTo>
                    <a:pt x="66697" y="39339"/>
                  </a:lnTo>
                  <a:lnTo>
                    <a:pt x="66603" y="39528"/>
                  </a:lnTo>
                  <a:lnTo>
                    <a:pt x="66697" y="39056"/>
                  </a:lnTo>
                  <a:lnTo>
                    <a:pt x="66791" y="38962"/>
                  </a:lnTo>
                  <a:lnTo>
                    <a:pt x="66791" y="39056"/>
                  </a:lnTo>
                  <a:lnTo>
                    <a:pt x="66886" y="38584"/>
                  </a:lnTo>
                  <a:lnTo>
                    <a:pt x="66791" y="38867"/>
                  </a:lnTo>
                  <a:lnTo>
                    <a:pt x="66980" y="38207"/>
                  </a:lnTo>
                  <a:lnTo>
                    <a:pt x="67169" y="37264"/>
                  </a:lnTo>
                  <a:lnTo>
                    <a:pt x="67263" y="36415"/>
                  </a:lnTo>
                  <a:lnTo>
                    <a:pt x="67357" y="36509"/>
                  </a:lnTo>
                  <a:lnTo>
                    <a:pt x="67452" y="36509"/>
                  </a:lnTo>
                  <a:lnTo>
                    <a:pt x="67546" y="35943"/>
                  </a:lnTo>
                  <a:lnTo>
                    <a:pt x="67546" y="34811"/>
                  </a:lnTo>
                  <a:lnTo>
                    <a:pt x="67640" y="31037"/>
                  </a:lnTo>
                  <a:lnTo>
                    <a:pt x="67640" y="28490"/>
                  </a:lnTo>
                  <a:lnTo>
                    <a:pt x="67546" y="27736"/>
                  </a:lnTo>
                  <a:lnTo>
                    <a:pt x="67546" y="27547"/>
                  </a:lnTo>
                  <a:lnTo>
                    <a:pt x="67452" y="27547"/>
                  </a:lnTo>
                  <a:lnTo>
                    <a:pt x="67074" y="26792"/>
                  </a:lnTo>
                  <a:lnTo>
                    <a:pt x="66791" y="25660"/>
                  </a:lnTo>
                  <a:lnTo>
                    <a:pt x="66508" y="24528"/>
                  </a:lnTo>
                  <a:lnTo>
                    <a:pt x="66414" y="23585"/>
                  </a:lnTo>
                  <a:lnTo>
                    <a:pt x="66320" y="23679"/>
                  </a:lnTo>
                  <a:lnTo>
                    <a:pt x="66320" y="23490"/>
                  </a:lnTo>
                  <a:lnTo>
                    <a:pt x="65942" y="22924"/>
                  </a:lnTo>
                  <a:lnTo>
                    <a:pt x="65565" y="22358"/>
                  </a:lnTo>
                  <a:lnTo>
                    <a:pt x="64527" y="21132"/>
                  </a:lnTo>
                  <a:lnTo>
                    <a:pt x="63584" y="19906"/>
                  </a:lnTo>
                  <a:lnTo>
                    <a:pt x="63207" y="19340"/>
                  </a:lnTo>
                  <a:lnTo>
                    <a:pt x="63018" y="18774"/>
                  </a:lnTo>
                  <a:lnTo>
                    <a:pt x="63112" y="18962"/>
                  </a:lnTo>
                  <a:lnTo>
                    <a:pt x="63301" y="19057"/>
                  </a:lnTo>
                  <a:lnTo>
                    <a:pt x="63301" y="19057"/>
                  </a:lnTo>
                  <a:lnTo>
                    <a:pt x="63207" y="18868"/>
                  </a:lnTo>
                  <a:lnTo>
                    <a:pt x="62923" y="18491"/>
                  </a:lnTo>
                  <a:lnTo>
                    <a:pt x="61980" y="17453"/>
                  </a:lnTo>
                  <a:lnTo>
                    <a:pt x="61037" y="16509"/>
                  </a:lnTo>
                  <a:lnTo>
                    <a:pt x="61037" y="16698"/>
                  </a:lnTo>
                  <a:lnTo>
                    <a:pt x="61037" y="16887"/>
                  </a:lnTo>
                  <a:lnTo>
                    <a:pt x="60093" y="15943"/>
                  </a:lnTo>
                  <a:lnTo>
                    <a:pt x="60376" y="16321"/>
                  </a:lnTo>
                  <a:lnTo>
                    <a:pt x="59527" y="15377"/>
                  </a:lnTo>
                  <a:lnTo>
                    <a:pt x="59056" y="14906"/>
                  </a:lnTo>
                  <a:lnTo>
                    <a:pt x="59244" y="14906"/>
                  </a:lnTo>
                  <a:lnTo>
                    <a:pt x="59905" y="15472"/>
                  </a:lnTo>
                  <a:lnTo>
                    <a:pt x="59905" y="15472"/>
                  </a:lnTo>
                  <a:lnTo>
                    <a:pt x="57641" y="13396"/>
                  </a:lnTo>
                  <a:lnTo>
                    <a:pt x="58112" y="13868"/>
                  </a:lnTo>
                  <a:lnTo>
                    <a:pt x="56886" y="13019"/>
                  </a:lnTo>
                  <a:lnTo>
                    <a:pt x="55754" y="12453"/>
                  </a:lnTo>
                  <a:lnTo>
                    <a:pt x="56603" y="13113"/>
                  </a:lnTo>
                  <a:lnTo>
                    <a:pt x="57452" y="13774"/>
                  </a:lnTo>
                  <a:lnTo>
                    <a:pt x="58961" y="15283"/>
                  </a:lnTo>
                  <a:lnTo>
                    <a:pt x="60376" y="16604"/>
                  </a:lnTo>
                  <a:lnTo>
                    <a:pt x="61225" y="17264"/>
                  </a:lnTo>
                  <a:lnTo>
                    <a:pt x="62074" y="17925"/>
                  </a:lnTo>
                  <a:lnTo>
                    <a:pt x="62074" y="17925"/>
                  </a:lnTo>
                  <a:lnTo>
                    <a:pt x="61414" y="17547"/>
                  </a:lnTo>
                  <a:lnTo>
                    <a:pt x="60659" y="16981"/>
                  </a:lnTo>
                  <a:lnTo>
                    <a:pt x="60754" y="17264"/>
                  </a:lnTo>
                  <a:lnTo>
                    <a:pt x="60942" y="17642"/>
                  </a:lnTo>
                  <a:lnTo>
                    <a:pt x="61980" y="19151"/>
                  </a:lnTo>
                  <a:lnTo>
                    <a:pt x="63301" y="20943"/>
                  </a:lnTo>
                  <a:lnTo>
                    <a:pt x="63207" y="20943"/>
                  </a:lnTo>
                  <a:lnTo>
                    <a:pt x="63395" y="21038"/>
                  </a:lnTo>
                  <a:lnTo>
                    <a:pt x="63490" y="21321"/>
                  </a:lnTo>
                  <a:lnTo>
                    <a:pt x="63678" y="21604"/>
                  </a:lnTo>
                  <a:lnTo>
                    <a:pt x="63773" y="21698"/>
                  </a:lnTo>
                  <a:lnTo>
                    <a:pt x="63584" y="21321"/>
                  </a:lnTo>
                  <a:lnTo>
                    <a:pt x="63584" y="21321"/>
                  </a:lnTo>
                  <a:lnTo>
                    <a:pt x="64244" y="22170"/>
                  </a:lnTo>
                  <a:lnTo>
                    <a:pt x="64716" y="22641"/>
                  </a:lnTo>
                  <a:lnTo>
                    <a:pt x="64905" y="22830"/>
                  </a:lnTo>
                  <a:lnTo>
                    <a:pt x="64999" y="22830"/>
                  </a:lnTo>
                  <a:lnTo>
                    <a:pt x="64999" y="22641"/>
                  </a:lnTo>
                  <a:lnTo>
                    <a:pt x="64905" y="22358"/>
                  </a:lnTo>
                  <a:lnTo>
                    <a:pt x="65282" y="23207"/>
                  </a:lnTo>
                  <a:lnTo>
                    <a:pt x="65565" y="24056"/>
                  </a:lnTo>
                  <a:lnTo>
                    <a:pt x="66225" y="25943"/>
                  </a:lnTo>
                  <a:lnTo>
                    <a:pt x="66697" y="27830"/>
                  </a:lnTo>
                  <a:lnTo>
                    <a:pt x="66886" y="28490"/>
                  </a:lnTo>
                  <a:lnTo>
                    <a:pt x="66980" y="28868"/>
                  </a:lnTo>
                  <a:lnTo>
                    <a:pt x="66886" y="28962"/>
                  </a:lnTo>
                  <a:lnTo>
                    <a:pt x="66697" y="28679"/>
                  </a:lnTo>
                  <a:lnTo>
                    <a:pt x="66697" y="29245"/>
                  </a:lnTo>
                  <a:lnTo>
                    <a:pt x="66791" y="29905"/>
                  </a:lnTo>
                  <a:lnTo>
                    <a:pt x="66886" y="29905"/>
                  </a:lnTo>
                  <a:lnTo>
                    <a:pt x="66886" y="30094"/>
                  </a:lnTo>
                  <a:lnTo>
                    <a:pt x="66886" y="30566"/>
                  </a:lnTo>
                  <a:lnTo>
                    <a:pt x="66697" y="30377"/>
                  </a:lnTo>
                  <a:lnTo>
                    <a:pt x="66603" y="30188"/>
                  </a:lnTo>
                  <a:lnTo>
                    <a:pt x="66603" y="30094"/>
                  </a:lnTo>
                  <a:lnTo>
                    <a:pt x="66697" y="29905"/>
                  </a:lnTo>
                  <a:lnTo>
                    <a:pt x="66508" y="28679"/>
                  </a:lnTo>
                  <a:lnTo>
                    <a:pt x="66225" y="27358"/>
                  </a:lnTo>
                  <a:lnTo>
                    <a:pt x="66603" y="30283"/>
                  </a:lnTo>
                  <a:lnTo>
                    <a:pt x="66697" y="31792"/>
                  </a:lnTo>
                  <a:lnTo>
                    <a:pt x="66697" y="33302"/>
                  </a:lnTo>
                  <a:lnTo>
                    <a:pt x="66603" y="34717"/>
                  </a:lnTo>
                  <a:lnTo>
                    <a:pt x="66414" y="36226"/>
                  </a:lnTo>
                  <a:lnTo>
                    <a:pt x="66131" y="37547"/>
                  </a:lnTo>
                  <a:lnTo>
                    <a:pt x="65659" y="38962"/>
                  </a:lnTo>
                  <a:lnTo>
                    <a:pt x="65848" y="38584"/>
                  </a:lnTo>
                  <a:lnTo>
                    <a:pt x="65942" y="38584"/>
                  </a:lnTo>
                  <a:lnTo>
                    <a:pt x="65848" y="39245"/>
                  </a:lnTo>
                  <a:lnTo>
                    <a:pt x="65565" y="40188"/>
                  </a:lnTo>
                  <a:lnTo>
                    <a:pt x="65471" y="40471"/>
                  </a:lnTo>
                  <a:lnTo>
                    <a:pt x="65282" y="40660"/>
                  </a:lnTo>
                  <a:lnTo>
                    <a:pt x="65282" y="40566"/>
                  </a:lnTo>
                  <a:lnTo>
                    <a:pt x="65093" y="41132"/>
                  </a:lnTo>
                  <a:lnTo>
                    <a:pt x="64433" y="43018"/>
                  </a:lnTo>
                  <a:lnTo>
                    <a:pt x="63678" y="45282"/>
                  </a:lnTo>
                  <a:lnTo>
                    <a:pt x="62735" y="47264"/>
                  </a:lnTo>
                  <a:lnTo>
                    <a:pt x="61697" y="49056"/>
                  </a:lnTo>
                  <a:lnTo>
                    <a:pt x="60659" y="50943"/>
                  </a:lnTo>
                  <a:lnTo>
                    <a:pt x="59433" y="52735"/>
                  </a:lnTo>
                  <a:lnTo>
                    <a:pt x="58207" y="54433"/>
                  </a:lnTo>
                  <a:lnTo>
                    <a:pt x="56886" y="56037"/>
                  </a:lnTo>
                  <a:lnTo>
                    <a:pt x="55376" y="57641"/>
                  </a:lnTo>
                  <a:lnTo>
                    <a:pt x="53867" y="59150"/>
                  </a:lnTo>
                  <a:lnTo>
                    <a:pt x="52169" y="60376"/>
                  </a:lnTo>
                  <a:lnTo>
                    <a:pt x="48961" y="62452"/>
                  </a:lnTo>
                  <a:lnTo>
                    <a:pt x="44528" y="65282"/>
                  </a:lnTo>
                  <a:lnTo>
                    <a:pt x="44622" y="65188"/>
                  </a:lnTo>
                  <a:lnTo>
                    <a:pt x="44716" y="65093"/>
                  </a:lnTo>
                  <a:lnTo>
                    <a:pt x="45094" y="64810"/>
                  </a:lnTo>
                  <a:lnTo>
                    <a:pt x="45660" y="64527"/>
                  </a:lnTo>
                  <a:lnTo>
                    <a:pt x="43867" y="65376"/>
                  </a:lnTo>
                  <a:lnTo>
                    <a:pt x="43113" y="65754"/>
                  </a:lnTo>
                  <a:lnTo>
                    <a:pt x="42924" y="65754"/>
                  </a:lnTo>
                  <a:lnTo>
                    <a:pt x="43113" y="65659"/>
                  </a:lnTo>
                  <a:lnTo>
                    <a:pt x="41603" y="66037"/>
                  </a:lnTo>
                  <a:lnTo>
                    <a:pt x="39999" y="66320"/>
                  </a:lnTo>
                  <a:lnTo>
                    <a:pt x="38396" y="66508"/>
                  </a:lnTo>
                  <a:lnTo>
                    <a:pt x="36792" y="66697"/>
                  </a:lnTo>
                  <a:lnTo>
                    <a:pt x="33584" y="66980"/>
                  </a:lnTo>
                  <a:lnTo>
                    <a:pt x="32169" y="67169"/>
                  </a:lnTo>
                  <a:lnTo>
                    <a:pt x="30754" y="67357"/>
                  </a:lnTo>
                  <a:lnTo>
                    <a:pt x="30094" y="67357"/>
                  </a:lnTo>
                  <a:lnTo>
                    <a:pt x="29339" y="67263"/>
                  </a:lnTo>
                  <a:lnTo>
                    <a:pt x="27830" y="66886"/>
                  </a:lnTo>
                  <a:lnTo>
                    <a:pt x="26415" y="66508"/>
                  </a:lnTo>
                  <a:lnTo>
                    <a:pt x="25754" y="66414"/>
                  </a:lnTo>
                  <a:lnTo>
                    <a:pt x="25094" y="66414"/>
                  </a:lnTo>
                  <a:lnTo>
                    <a:pt x="25566" y="66980"/>
                  </a:lnTo>
                  <a:lnTo>
                    <a:pt x="25471" y="67074"/>
                  </a:lnTo>
                  <a:lnTo>
                    <a:pt x="25188" y="66980"/>
                  </a:lnTo>
                  <a:lnTo>
                    <a:pt x="24339" y="66791"/>
                  </a:lnTo>
                  <a:lnTo>
                    <a:pt x="23773" y="66508"/>
                  </a:lnTo>
                  <a:lnTo>
                    <a:pt x="24245" y="66414"/>
                  </a:lnTo>
                  <a:lnTo>
                    <a:pt x="24717" y="66603"/>
                  </a:lnTo>
                  <a:lnTo>
                    <a:pt x="24811" y="66414"/>
                  </a:lnTo>
                  <a:lnTo>
                    <a:pt x="24811" y="66320"/>
                  </a:lnTo>
                  <a:lnTo>
                    <a:pt x="24717" y="66225"/>
                  </a:lnTo>
                  <a:lnTo>
                    <a:pt x="24528" y="66131"/>
                  </a:lnTo>
                  <a:lnTo>
                    <a:pt x="24151" y="66225"/>
                  </a:lnTo>
                  <a:lnTo>
                    <a:pt x="23679" y="66320"/>
                  </a:lnTo>
                  <a:lnTo>
                    <a:pt x="23018" y="66414"/>
                  </a:lnTo>
                  <a:lnTo>
                    <a:pt x="23490" y="66225"/>
                  </a:lnTo>
                  <a:lnTo>
                    <a:pt x="22075" y="65942"/>
                  </a:lnTo>
                  <a:lnTo>
                    <a:pt x="20943" y="65659"/>
                  </a:lnTo>
                  <a:lnTo>
                    <a:pt x="20000" y="65282"/>
                  </a:lnTo>
                  <a:lnTo>
                    <a:pt x="19056" y="64810"/>
                  </a:lnTo>
                  <a:lnTo>
                    <a:pt x="19056" y="64810"/>
                  </a:lnTo>
                  <a:lnTo>
                    <a:pt x="19717" y="64999"/>
                  </a:lnTo>
                  <a:lnTo>
                    <a:pt x="19151" y="64716"/>
                  </a:lnTo>
                  <a:lnTo>
                    <a:pt x="18962" y="64810"/>
                  </a:lnTo>
                  <a:lnTo>
                    <a:pt x="19151" y="64905"/>
                  </a:lnTo>
                  <a:lnTo>
                    <a:pt x="18490" y="64905"/>
                  </a:lnTo>
                  <a:lnTo>
                    <a:pt x="17830" y="64716"/>
                  </a:lnTo>
                  <a:lnTo>
                    <a:pt x="17264" y="64527"/>
                  </a:lnTo>
                  <a:lnTo>
                    <a:pt x="16698" y="64150"/>
                  </a:lnTo>
                  <a:lnTo>
                    <a:pt x="16981" y="64056"/>
                  </a:lnTo>
                  <a:lnTo>
                    <a:pt x="17264" y="64150"/>
                  </a:lnTo>
                  <a:lnTo>
                    <a:pt x="17264" y="64150"/>
                  </a:lnTo>
                  <a:lnTo>
                    <a:pt x="15188" y="63207"/>
                  </a:lnTo>
                  <a:lnTo>
                    <a:pt x="14622" y="62829"/>
                  </a:lnTo>
                  <a:lnTo>
                    <a:pt x="14717" y="62924"/>
                  </a:lnTo>
                  <a:lnTo>
                    <a:pt x="13773" y="62546"/>
                  </a:lnTo>
                  <a:lnTo>
                    <a:pt x="12924" y="62075"/>
                  </a:lnTo>
                  <a:lnTo>
                    <a:pt x="12358" y="61697"/>
                  </a:lnTo>
                  <a:lnTo>
                    <a:pt x="12264" y="61508"/>
                  </a:lnTo>
                  <a:lnTo>
                    <a:pt x="12170" y="61320"/>
                  </a:lnTo>
                  <a:lnTo>
                    <a:pt x="11698" y="60942"/>
                  </a:lnTo>
                  <a:lnTo>
                    <a:pt x="11132" y="60471"/>
                  </a:lnTo>
                  <a:lnTo>
                    <a:pt x="9906" y="59244"/>
                  </a:lnTo>
                  <a:lnTo>
                    <a:pt x="9906" y="59244"/>
                  </a:lnTo>
                  <a:lnTo>
                    <a:pt x="10566" y="59527"/>
                  </a:lnTo>
                  <a:lnTo>
                    <a:pt x="9434" y="58584"/>
                  </a:lnTo>
                  <a:lnTo>
                    <a:pt x="8207" y="57546"/>
                  </a:lnTo>
                  <a:lnTo>
                    <a:pt x="7547" y="56886"/>
                  </a:lnTo>
                  <a:lnTo>
                    <a:pt x="6981" y="56131"/>
                  </a:lnTo>
                  <a:lnTo>
                    <a:pt x="6226" y="55094"/>
                  </a:lnTo>
                  <a:lnTo>
                    <a:pt x="6415" y="55377"/>
                  </a:lnTo>
                  <a:lnTo>
                    <a:pt x="6038" y="54905"/>
                  </a:lnTo>
                  <a:lnTo>
                    <a:pt x="5472" y="54244"/>
                  </a:lnTo>
                  <a:lnTo>
                    <a:pt x="5283" y="53961"/>
                  </a:lnTo>
                  <a:lnTo>
                    <a:pt x="5094" y="53867"/>
                  </a:lnTo>
                  <a:lnTo>
                    <a:pt x="5377" y="54622"/>
                  </a:lnTo>
                  <a:lnTo>
                    <a:pt x="5849" y="55282"/>
                  </a:lnTo>
                  <a:lnTo>
                    <a:pt x="6321" y="55943"/>
                  </a:lnTo>
                  <a:lnTo>
                    <a:pt x="6698" y="56603"/>
                  </a:lnTo>
                  <a:lnTo>
                    <a:pt x="6226" y="56226"/>
                  </a:lnTo>
                  <a:lnTo>
                    <a:pt x="5943" y="55848"/>
                  </a:lnTo>
                  <a:lnTo>
                    <a:pt x="6038" y="56037"/>
                  </a:lnTo>
                  <a:lnTo>
                    <a:pt x="5943" y="55943"/>
                  </a:lnTo>
                  <a:lnTo>
                    <a:pt x="5377" y="55188"/>
                  </a:lnTo>
                  <a:lnTo>
                    <a:pt x="5000" y="54716"/>
                  </a:lnTo>
                  <a:lnTo>
                    <a:pt x="4717" y="54150"/>
                  </a:lnTo>
                  <a:lnTo>
                    <a:pt x="4528" y="53678"/>
                  </a:lnTo>
                  <a:lnTo>
                    <a:pt x="4528" y="53584"/>
                  </a:lnTo>
                  <a:lnTo>
                    <a:pt x="4623" y="53395"/>
                  </a:lnTo>
                  <a:lnTo>
                    <a:pt x="5094" y="54244"/>
                  </a:lnTo>
                  <a:lnTo>
                    <a:pt x="4717" y="53301"/>
                  </a:lnTo>
                  <a:lnTo>
                    <a:pt x="4528" y="53018"/>
                  </a:lnTo>
                  <a:lnTo>
                    <a:pt x="4151" y="52263"/>
                  </a:lnTo>
                  <a:lnTo>
                    <a:pt x="4151" y="52169"/>
                  </a:lnTo>
                  <a:lnTo>
                    <a:pt x="3774" y="51509"/>
                  </a:lnTo>
                  <a:lnTo>
                    <a:pt x="3396" y="50660"/>
                  </a:lnTo>
                  <a:lnTo>
                    <a:pt x="3585" y="51603"/>
                  </a:lnTo>
                  <a:lnTo>
                    <a:pt x="3396" y="51226"/>
                  </a:lnTo>
                  <a:lnTo>
                    <a:pt x="3208" y="50848"/>
                  </a:lnTo>
                  <a:lnTo>
                    <a:pt x="3208" y="50471"/>
                  </a:lnTo>
                  <a:lnTo>
                    <a:pt x="3208" y="50094"/>
                  </a:lnTo>
                  <a:lnTo>
                    <a:pt x="3585" y="50754"/>
                  </a:lnTo>
                  <a:lnTo>
                    <a:pt x="3868" y="51509"/>
                  </a:lnTo>
                  <a:lnTo>
                    <a:pt x="3868" y="51509"/>
                  </a:lnTo>
                  <a:lnTo>
                    <a:pt x="3208" y="49528"/>
                  </a:lnTo>
                  <a:lnTo>
                    <a:pt x="3208" y="49528"/>
                  </a:lnTo>
                  <a:lnTo>
                    <a:pt x="3868" y="50754"/>
                  </a:lnTo>
                  <a:lnTo>
                    <a:pt x="3208" y="48962"/>
                  </a:lnTo>
                  <a:lnTo>
                    <a:pt x="3585" y="49339"/>
                  </a:lnTo>
                  <a:lnTo>
                    <a:pt x="3774" y="49433"/>
                  </a:lnTo>
                  <a:lnTo>
                    <a:pt x="3962" y="49528"/>
                  </a:lnTo>
                  <a:lnTo>
                    <a:pt x="4057" y="49905"/>
                  </a:lnTo>
                  <a:lnTo>
                    <a:pt x="3868" y="48962"/>
                  </a:lnTo>
                  <a:lnTo>
                    <a:pt x="3491" y="47924"/>
                  </a:lnTo>
                  <a:lnTo>
                    <a:pt x="2641" y="45565"/>
                  </a:lnTo>
                  <a:lnTo>
                    <a:pt x="2170" y="43867"/>
                  </a:lnTo>
                  <a:lnTo>
                    <a:pt x="1698" y="41886"/>
                  </a:lnTo>
                  <a:lnTo>
                    <a:pt x="1698" y="41886"/>
                  </a:lnTo>
                  <a:lnTo>
                    <a:pt x="1887" y="42075"/>
                  </a:lnTo>
                  <a:lnTo>
                    <a:pt x="1981" y="41981"/>
                  </a:lnTo>
                  <a:lnTo>
                    <a:pt x="2075" y="42075"/>
                  </a:lnTo>
                  <a:lnTo>
                    <a:pt x="2264" y="42169"/>
                  </a:lnTo>
                  <a:lnTo>
                    <a:pt x="2170" y="40283"/>
                  </a:lnTo>
                  <a:lnTo>
                    <a:pt x="2075" y="38301"/>
                  </a:lnTo>
                  <a:lnTo>
                    <a:pt x="2170" y="36415"/>
                  </a:lnTo>
                  <a:lnTo>
                    <a:pt x="2358" y="35566"/>
                  </a:lnTo>
                  <a:lnTo>
                    <a:pt x="2453" y="34811"/>
                  </a:lnTo>
                  <a:lnTo>
                    <a:pt x="2830" y="32830"/>
                  </a:lnTo>
                  <a:lnTo>
                    <a:pt x="2830" y="33207"/>
                  </a:lnTo>
                  <a:lnTo>
                    <a:pt x="2924" y="33490"/>
                  </a:lnTo>
                  <a:lnTo>
                    <a:pt x="2924" y="32453"/>
                  </a:lnTo>
                  <a:lnTo>
                    <a:pt x="3019" y="31415"/>
                  </a:lnTo>
                  <a:lnTo>
                    <a:pt x="3396" y="29245"/>
                  </a:lnTo>
                  <a:lnTo>
                    <a:pt x="3868" y="27075"/>
                  </a:lnTo>
                  <a:lnTo>
                    <a:pt x="4623" y="25000"/>
                  </a:lnTo>
                  <a:lnTo>
                    <a:pt x="5566" y="22830"/>
                  </a:lnTo>
                  <a:lnTo>
                    <a:pt x="6604" y="20849"/>
                  </a:lnTo>
                  <a:lnTo>
                    <a:pt x="7830" y="18868"/>
                  </a:lnTo>
                  <a:lnTo>
                    <a:pt x="9151" y="16887"/>
                  </a:lnTo>
                  <a:lnTo>
                    <a:pt x="10566" y="15094"/>
                  </a:lnTo>
                  <a:lnTo>
                    <a:pt x="12075" y="13302"/>
                  </a:lnTo>
                  <a:lnTo>
                    <a:pt x="13773" y="11698"/>
                  </a:lnTo>
                  <a:lnTo>
                    <a:pt x="15377" y="10095"/>
                  </a:lnTo>
                  <a:lnTo>
                    <a:pt x="17170" y="8679"/>
                  </a:lnTo>
                  <a:lnTo>
                    <a:pt x="18962" y="7453"/>
                  </a:lnTo>
                  <a:lnTo>
                    <a:pt x="20754" y="6321"/>
                  </a:lnTo>
                  <a:lnTo>
                    <a:pt x="22547" y="5378"/>
                  </a:lnTo>
                  <a:lnTo>
                    <a:pt x="21603" y="6227"/>
                  </a:lnTo>
                  <a:lnTo>
                    <a:pt x="22641" y="5472"/>
                  </a:lnTo>
                  <a:lnTo>
                    <a:pt x="23302" y="5095"/>
                  </a:lnTo>
                  <a:lnTo>
                    <a:pt x="25377" y="4151"/>
                  </a:lnTo>
                  <a:lnTo>
                    <a:pt x="24811" y="4151"/>
                  </a:lnTo>
                  <a:lnTo>
                    <a:pt x="25660" y="3774"/>
                  </a:lnTo>
                  <a:lnTo>
                    <a:pt x="26886" y="3208"/>
                  </a:lnTo>
                  <a:lnTo>
                    <a:pt x="26603" y="3585"/>
                  </a:lnTo>
                  <a:lnTo>
                    <a:pt x="26886" y="3585"/>
                  </a:lnTo>
                  <a:lnTo>
                    <a:pt x="26886" y="3680"/>
                  </a:lnTo>
                  <a:lnTo>
                    <a:pt x="26792" y="3774"/>
                  </a:lnTo>
                  <a:lnTo>
                    <a:pt x="28301" y="3302"/>
                  </a:lnTo>
                  <a:lnTo>
                    <a:pt x="29622" y="2736"/>
                  </a:lnTo>
                  <a:lnTo>
                    <a:pt x="31037" y="2264"/>
                  </a:lnTo>
                  <a:lnTo>
                    <a:pt x="31792" y="2076"/>
                  </a:lnTo>
                  <a:lnTo>
                    <a:pt x="32641" y="1981"/>
                  </a:lnTo>
                  <a:lnTo>
                    <a:pt x="32547" y="2076"/>
                  </a:lnTo>
                  <a:lnTo>
                    <a:pt x="32924" y="1981"/>
                  </a:lnTo>
                  <a:lnTo>
                    <a:pt x="34245" y="1793"/>
                  </a:lnTo>
                  <a:lnTo>
                    <a:pt x="35848" y="1415"/>
                  </a:lnTo>
                  <a:lnTo>
                    <a:pt x="36981" y="1132"/>
                  </a:lnTo>
                  <a:lnTo>
                    <a:pt x="36981" y="1415"/>
                  </a:lnTo>
                  <a:lnTo>
                    <a:pt x="40943" y="1227"/>
                  </a:lnTo>
                  <a:lnTo>
                    <a:pt x="41509" y="1038"/>
                  </a:lnTo>
                  <a:lnTo>
                    <a:pt x="41697" y="1132"/>
                  </a:lnTo>
                  <a:lnTo>
                    <a:pt x="41509" y="1227"/>
                  </a:lnTo>
                  <a:lnTo>
                    <a:pt x="41320" y="1321"/>
                  </a:lnTo>
                  <a:lnTo>
                    <a:pt x="42263" y="1321"/>
                  </a:lnTo>
                  <a:lnTo>
                    <a:pt x="43113" y="1227"/>
                  </a:lnTo>
                  <a:lnTo>
                    <a:pt x="43396" y="1415"/>
                  </a:lnTo>
                  <a:lnTo>
                    <a:pt x="44056" y="1604"/>
                  </a:lnTo>
                  <a:lnTo>
                    <a:pt x="45943" y="2076"/>
                  </a:lnTo>
                  <a:lnTo>
                    <a:pt x="48018" y="2359"/>
                  </a:lnTo>
                  <a:lnTo>
                    <a:pt x="49622" y="2736"/>
                  </a:lnTo>
                  <a:lnTo>
                    <a:pt x="47641" y="1981"/>
                  </a:lnTo>
                  <a:lnTo>
                    <a:pt x="45282" y="1321"/>
                  </a:lnTo>
                  <a:lnTo>
                    <a:pt x="42735" y="755"/>
                  </a:lnTo>
                  <a:lnTo>
                    <a:pt x="40188" y="283"/>
                  </a:lnTo>
                  <a:lnTo>
                    <a:pt x="37735" y="95"/>
                  </a:lnTo>
                  <a:lnTo>
                    <a:pt x="35471" y="0"/>
                  </a:lnTo>
                  <a:close/>
                </a:path>
              </a:pathLst>
            </a:custGeom>
            <a:solidFill>
              <a:srgbClr val="FF0000"/>
            </a:solidFill>
            <a:ln>
              <a:noFill/>
            </a:ln>
          </p:spPr>
          <p:txBody>
            <a:bodyPr spcFirstLastPara="1" wrap="square" lIns="91425" tIns="91425" rIns="91425" bIns="91425" anchor="ctr" anchorCtr="0">
              <a:noAutofit/>
            </a:bodyPr>
            <a:lstStyle/>
            <a:p>
              <a:pPr marL="0" lvl="0" indent="0">
                <a:spcBef>
                  <a:spcPts val="0"/>
                </a:spcBef>
                <a:spcAft>
                  <a:spcPts val="0"/>
                </a:spcAft>
                <a:buNone/>
              </a:pPr>
              <a:endParaRPr sz="1100"/>
            </a:p>
          </p:txBody>
        </p:sp>
        <p:sp>
          <p:nvSpPr>
            <p:cNvPr id="511" name="TextBox 510">
              <a:extLst>
                <a:ext uri="{FF2B5EF4-FFF2-40B4-BE49-F238E27FC236}">
                  <a16:creationId xmlns:a16="http://schemas.microsoft.com/office/drawing/2014/main" id="{80A5F69C-F06F-6446-BD82-354351CD912D}"/>
                </a:ext>
              </a:extLst>
            </p:cNvPr>
            <p:cNvSpPr txBox="1"/>
            <p:nvPr/>
          </p:nvSpPr>
          <p:spPr>
            <a:xfrm>
              <a:off x="702590" y="1204757"/>
              <a:ext cx="301686" cy="260896"/>
            </a:xfrm>
            <a:prstGeom prst="rect">
              <a:avLst/>
            </a:prstGeom>
            <a:noFill/>
          </p:spPr>
          <p:txBody>
            <a:bodyPr wrap="square" rtlCol="0">
              <a:spAutoFit/>
            </a:bodyPr>
            <a:lstStyle/>
            <a:p>
              <a:r>
                <a:rPr lang="en-US" sz="700" dirty="0">
                  <a:solidFill>
                    <a:srgbClr val="FF0000"/>
                  </a:solidFill>
                </a:rPr>
                <a:t>4.</a:t>
              </a:r>
            </a:p>
          </p:txBody>
        </p:sp>
      </p:grpSp>
      <p:sp>
        <p:nvSpPr>
          <p:cNvPr id="531" name="Rounded Rectangle 530">
            <a:extLst>
              <a:ext uri="{FF2B5EF4-FFF2-40B4-BE49-F238E27FC236}">
                <a16:creationId xmlns:a16="http://schemas.microsoft.com/office/drawing/2014/main" id="{795C7458-F806-3440-897C-2CFDF06DE993}"/>
              </a:ext>
            </a:extLst>
          </p:cNvPr>
          <p:cNvSpPr/>
          <p:nvPr/>
        </p:nvSpPr>
        <p:spPr>
          <a:xfrm>
            <a:off x="423921" y="5257494"/>
            <a:ext cx="1182630" cy="504056"/>
          </a:xfrm>
          <a:prstGeom prst="roundRect">
            <a:avLst/>
          </a:prstGeom>
          <a:solidFill>
            <a:schemeClr val="bg1">
              <a:lumMod val="85000"/>
            </a:schemeClr>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b="1" dirty="0">
              <a:solidFill>
                <a:schemeClr val="bg1">
                  <a:lumMod val="50000"/>
                </a:schemeClr>
              </a:solidFill>
              <a:ea typeface="Nanum Pen Script" panose="03040600000000000000" pitchFamily="66" charset="-127"/>
            </a:endParaRPr>
          </a:p>
          <a:p>
            <a:pPr algn="ctr"/>
            <a:endParaRPr lang="en-US" sz="1000" b="1" dirty="0">
              <a:solidFill>
                <a:schemeClr val="bg1">
                  <a:lumMod val="50000"/>
                </a:schemeClr>
              </a:solidFill>
              <a:ea typeface="Nanum Pen Script" panose="03040600000000000000" pitchFamily="66" charset="-127"/>
            </a:endParaRPr>
          </a:p>
          <a:p>
            <a:pPr algn="ctr"/>
            <a:endParaRPr lang="en-US" sz="1000" b="1" dirty="0">
              <a:solidFill>
                <a:schemeClr val="bg1">
                  <a:lumMod val="50000"/>
                </a:schemeClr>
              </a:solidFill>
              <a:ea typeface="Nanum Pen Script" panose="03040600000000000000" pitchFamily="66" charset="-127"/>
            </a:endParaRPr>
          </a:p>
          <a:p>
            <a:pPr algn="ctr"/>
            <a:endParaRPr lang="en-US" sz="1000" b="1" dirty="0">
              <a:solidFill>
                <a:schemeClr val="bg1">
                  <a:lumMod val="50000"/>
                </a:schemeClr>
              </a:solidFill>
              <a:ea typeface="Nanum Pen Script" panose="03040600000000000000" pitchFamily="66" charset="-127"/>
            </a:endParaRPr>
          </a:p>
          <a:p>
            <a:pPr algn="ctr"/>
            <a:endParaRPr lang="en-US" sz="900" b="1" dirty="0">
              <a:solidFill>
                <a:schemeClr val="bg1">
                  <a:lumMod val="50000"/>
                </a:schemeClr>
              </a:solidFill>
              <a:ea typeface="Nanum Pen Script" panose="03040600000000000000" pitchFamily="66" charset="-127"/>
            </a:endParaRPr>
          </a:p>
          <a:p>
            <a:pPr algn="ctr"/>
            <a:endParaRPr lang="en-US" sz="900" b="1" dirty="0">
              <a:solidFill>
                <a:schemeClr val="bg1">
                  <a:lumMod val="50000"/>
                </a:schemeClr>
              </a:solidFill>
              <a:ea typeface="Nanum Pen Script" panose="03040600000000000000" pitchFamily="66" charset="-127"/>
            </a:endParaRPr>
          </a:p>
          <a:p>
            <a:pPr algn="ctr">
              <a:spcBef>
                <a:spcPts val="0"/>
              </a:spcBef>
            </a:pPr>
            <a:r>
              <a:rPr lang="en-US" sz="9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rPr>
              <a:t>Log aggregation</a:t>
            </a:r>
          </a:p>
          <a:p>
            <a:pPr algn="ctr">
              <a:spcBef>
                <a:spcPts val="0"/>
              </a:spcBef>
            </a:pPr>
            <a:endParaRPr lang="en-US" sz="9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endParaRPr>
          </a:p>
          <a:p>
            <a:pPr algn="ctr">
              <a:spcBef>
                <a:spcPts val="0"/>
              </a:spcBef>
            </a:pPr>
            <a:endParaRPr lang="en-US" sz="9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endParaRPr>
          </a:p>
          <a:p>
            <a:pPr algn="ctr">
              <a:spcBef>
                <a:spcPts val="0"/>
              </a:spcBef>
            </a:pPr>
            <a:endParaRPr lang="en-US" sz="2000" dirty="0">
              <a:solidFill>
                <a:schemeClr val="tx1"/>
              </a:solidFill>
              <a:ea typeface="Nanum Pen Script" panose="03040600000000000000" pitchFamily="66" charset="-127"/>
            </a:endParaRPr>
          </a:p>
          <a:p>
            <a:pPr algn="ctr"/>
            <a:endParaRPr lang="en-US" sz="2000" dirty="0">
              <a:solidFill>
                <a:schemeClr val="tx1"/>
              </a:solidFill>
              <a:ea typeface="Nanum Pen Script" panose="03040600000000000000" pitchFamily="66" charset="-127"/>
            </a:endParaRPr>
          </a:p>
        </p:txBody>
      </p:sp>
      <p:grpSp>
        <p:nvGrpSpPr>
          <p:cNvPr id="532" name="Group 531">
            <a:extLst>
              <a:ext uri="{FF2B5EF4-FFF2-40B4-BE49-F238E27FC236}">
                <a16:creationId xmlns:a16="http://schemas.microsoft.com/office/drawing/2014/main" id="{B2BA595D-0A96-DF41-BCC6-B797B28DECAE}"/>
              </a:ext>
            </a:extLst>
          </p:cNvPr>
          <p:cNvGrpSpPr/>
          <p:nvPr/>
        </p:nvGrpSpPr>
        <p:grpSpPr>
          <a:xfrm rot="21011211">
            <a:off x="385059" y="5280755"/>
            <a:ext cx="463310" cy="222926"/>
            <a:chOff x="682633" y="1203599"/>
            <a:chExt cx="477191" cy="290724"/>
          </a:xfrm>
        </p:grpSpPr>
        <p:sp>
          <p:nvSpPr>
            <p:cNvPr id="533" name="Google Shape;431;p39">
              <a:extLst>
                <a:ext uri="{FF2B5EF4-FFF2-40B4-BE49-F238E27FC236}">
                  <a16:creationId xmlns:a16="http://schemas.microsoft.com/office/drawing/2014/main" id="{C83C8BA9-8C35-B444-95C9-5A820B4660DA}"/>
                </a:ext>
              </a:extLst>
            </p:cNvPr>
            <p:cNvSpPr/>
            <p:nvPr/>
          </p:nvSpPr>
          <p:spPr>
            <a:xfrm>
              <a:off x="736556" y="1203599"/>
              <a:ext cx="219241" cy="290724"/>
            </a:xfrm>
            <a:custGeom>
              <a:avLst/>
              <a:gdLst/>
              <a:ahLst/>
              <a:cxnLst/>
              <a:rect l="0" t="0" r="0" b="0"/>
              <a:pathLst>
                <a:path w="67641" h="69056" extrusionOk="0">
                  <a:moveTo>
                    <a:pt x="49622" y="2736"/>
                  </a:moveTo>
                  <a:lnTo>
                    <a:pt x="49622" y="2736"/>
                  </a:lnTo>
                  <a:lnTo>
                    <a:pt x="49622" y="2736"/>
                  </a:lnTo>
                  <a:close/>
                  <a:moveTo>
                    <a:pt x="59622" y="55565"/>
                  </a:moveTo>
                  <a:lnTo>
                    <a:pt x="59622" y="55565"/>
                  </a:lnTo>
                  <a:lnTo>
                    <a:pt x="59622" y="55565"/>
                  </a:lnTo>
                  <a:close/>
                  <a:moveTo>
                    <a:pt x="35471" y="0"/>
                  </a:moveTo>
                  <a:lnTo>
                    <a:pt x="34433" y="95"/>
                  </a:lnTo>
                  <a:lnTo>
                    <a:pt x="33584" y="189"/>
                  </a:lnTo>
                  <a:lnTo>
                    <a:pt x="32735" y="378"/>
                  </a:lnTo>
                  <a:lnTo>
                    <a:pt x="32169" y="566"/>
                  </a:lnTo>
                  <a:lnTo>
                    <a:pt x="31509" y="472"/>
                  </a:lnTo>
                  <a:lnTo>
                    <a:pt x="30754" y="472"/>
                  </a:lnTo>
                  <a:lnTo>
                    <a:pt x="29339" y="566"/>
                  </a:lnTo>
                  <a:lnTo>
                    <a:pt x="27830" y="849"/>
                  </a:lnTo>
                  <a:lnTo>
                    <a:pt x="26320" y="1321"/>
                  </a:lnTo>
                  <a:lnTo>
                    <a:pt x="24811" y="1981"/>
                  </a:lnTo>
                  <a:lnTo>
                    <a:pt x="23207" y="2736"/>
                  </a:lnTo>
                  <a:lnTo>
                    <a:pt x="21698" y="3585"/>
                  </a:lnTo>
                  <a:lnTo>
                    <a:pt x="20188" y="4623"/>
                  </a:lnTo>
                  <a:lnTo>
                    <a:pt x="18679" y="5661"/>
                  </a:lnTo>
                  <a:lnTo>
                    <a:pt x="17170" y="6793"/>
                  </a:lnTo>
                  <a:lnTo>
                    <a:pt x="15754" y="8019"/>
                  </a:lnTo>
                  <a:lnTo>
                    <a:pt x="14434" y="9151"/>
                  </a:lnTo>
                  <a:lnTo>
                    <a:pt x="11981" y="11510"/>
                  </a:lnTo>
                  <a:lnTo>
                    <a:pt x="10000" y="13774"/>
                  </a:lnTo>
                  <a:lnTo>
                    <a:pt x="7736" y="16981"/>
                  </a:lnTo>
                  <a:lnTo>
                    <a:pt x="8019" y="16321"/>
                  </a:lnTo>
                  <a:lnTo>
                    <a:pt x="8302" y="15660"/>
                  </a:lnTo>
                  <a:lnTo>
                    <a:pt x="7736" y="16604"/>
                  </a:lnTo>
                  <a:lnTo>
                    <a:pt x="7075" y="17642"/>
                  </a:lnTo>
                  <a:lnTo>
                    <a:pt x="7170" y="17830"/>
                  </a:lnTo>
                  <a:lnTo>
                    <a:pt x="6509" y="18868"/>
                  </a:lnTo>
                  <a:lnTo>
                    <a:pt x="7075" y="17359"/>
                  </a:lnTo>
                  <a:lnTo>
                    <a:pt x="6132" y="19057"/>
                  </a:lnTo>
                  <a:lnTo>
                    <a:pt x="5189" y="20849"/>
                  </a:lnTo>
                  <a:lnTo>
                    <a:pt x="4434" y="22736"/>
                  </a:lnTo>
                  <a:lnTo>
                    <a:pt x="3679" y="24622"/>
                  </a:lnTo>
                  <a:lnTo>
                    <a:pt x="2453" y="28490"/>
                  </a:lnTo>
                  <a:lnTo>
                    <a:pt x="1321" y="32169"/>
                  </a:lnTo>
                  <a:lnTo>
                    <a:pt x="1509" y="32264"/>
                  </a:lnTo>
                  <a:lnTo>
                    <a:pt x="1604" y="32453"/>
                  </a:lnTo>
                  <a:lnTo>
                    <a:pt x="1604" y="32641"/>
                  </a:lnTo>
                  <a:lnTo>
                    <a:pt x="1509" y="32924"/>
                  </a:lnTo>
                  <a:lnTo>
                    <a:pt x="1226" y="33396"/>
                  </a:lnTo>
                  <a:lnTo>
                    <a:pt x="1038" y="33585"/>
                  </a:lnTo>
                  <a:lnTo>
                    <a:pt x="1038" y="33773"/>
                  </a:lnTo>
                  <a:lnTo>
                    <a:pt x="1038" y="35000"/>
                  </a:lnTo>
                  <a:lnTo>
                    <a:pt x="849" y="36132"/>
                  </a:lnTo>
                  <a:lnTo>
                    <a:pt x="660" y="37358"/>
                  </a:lnTo>
                  <a:lnTo>
                    <a:pt x="472" y="38867"/>
                  </a:lnTo>
                  <a:lnTo>
                    <a:pt x="283" y="38301"/>
                  </a:lnTo>
                  <a:lnTo>
                    <a:pt x="94" y="39811"/>
                  </a:lnTo>
                  <a:lnTo>
                    <a:pt x="0" y="41509"/>
                  </a:lnTo>
                  <a:lnTo>
                    <a:pt x="94" y="43301"/>
                  </a:lnTo>
                  <a:lnTo>
                    <a:pt x="283" y="44056"/>
                  </a:lnTo>
                  <a:lnTo>
                    <a:pt x="472" y="44622"/>
                  </a:lnTo>
                  <a:lnTo>
                    <a:pt x="566" y="45660"/>
                  </a:lnTo>
                  <a:lnTo>
                    <a:pt x="755" y="46792"/>
                  </a:lnTo>
                  <a:lnTo>
                    <a:pt x="1226" y="48962"/>
                  </a:lnTo>
                  <a:lnTo>
                    <a:pt x="1981" y="51037"/>
                  </a:lnTo>
                  <a:lnTo>
                    <a:pt x="2924" y="53112"/>
                  </a:lnTo>
                  <a:lnTo>
                    <a:pt x="4057" y="55094"/>
                  </a:lnTo>
                  <a:lnTo>
                    <a:pt x="5283" y="56980"/>
                  </a:lnTo>
                  <a:lnTo>
                    <a:pt x="6698" y="58678"/>
                  </a:lnTo>
                  <a:lnTo>
                    <a:pt x="8113" y="60282"/>
                  </a:lnTo>
                  <a:lnTo>
                    <a:pt x="9056" y="61131"/>
                  </a:lnTo>
                  <a:lnTo>
                    <a:pt x="10000" y="61980"/>
                  </a:lnTo>
                  <a:lnTo>
                    <a:pt x="11038" y="62829"/>
                  </a:lnTo>
                  <a:lnTo>
                    <a:pt x="12075" y="63584"/>
                  </a:lnTo>
                  <a:lnTo>
                    <a:pt x="14339" y="64905"/>
                  </a:lnTo>
                  <a:lnTo>
                    <a:pt x="16604" y="66131"/>
                  </a:lnTo>
                  <a:lnTo>
                    <a:pt x="19056" y="67169"/>
                  </a:lnTo>
                  <a:lnTo>
                    <a:pt x="21509" y="67923"/>
                  </a:lnTo>
                  <a:lnTo>
                    <a:pt x="24056" y="68584"/>
                  </a:lnTo>
                  <a:lnTo>
                    <a:pt x="26603" y="69055"/>
                  </a:lnTo>
                  <a:lnTo>
                    <a:pt x="27830" y="69055"/>
                  </a:lnTo>
                  <a:lnTo>
                    <a:pt x="30188" y="68867"/>
                  </a:lnTo>
                  <a:lnTo>
                    <a:pt x="33113" y="68678"/>
                  </a:lnTo>
                  <a:lnTo>
                    <a:pt x="36509" y="68301"/>
                  </a:lnTo>
                  <a:lnTo>
                    <a:pt x="39811" y="67923"/>
                  </a:lnTo>
                  <a:lnTo>
                    <a:pt x="42735" y="67452"/>
                  </a:lnTo>
                  <a:lnTo>
                    <a:pt x="44905" y="66980"/>
                  </a:lnTo>
                  <a:lnTo>
                    <a:pt x="45565" y="66791"/>
                  </a:lnTo>
                  <a:lnTo>
                    <a:pt x="45943" y="66508"/>
                  </a:lnTo>
                  <a:lnTo>
                    <a:pt x="47358" y="65942"/>
                  </a:lnTo>
                  <a:lnTo>
                    <a:pt x="48018" y="65565"/>
                  </a:lnTo>
                  <a:lnTo>
                    <a:pt x="48678" y="65188"/>
                  </a:lnTo>
                  <a:lnTo>
                    <a:pt x="47924" y="65471"/>
                  </a:lnTo>
                  <a:lnTo>
                    <a:pt x="51509" y="62924"/>
                  </a:lnTo>
                  <a:lnTo>
                    <a:pt x="53301" y="61508"/>
                  </a:lnTo>
                  <a:lnTo>
                    <a:pt x="55093" y="59905"/>
                  </a:lnTo>
                  <a:lnTo>
                    <a:pt x="55093" y="59905"/>
                  </a:lnTo>
                  <a:lnTo>
                    <a:pt x="54810" y="60376"/>
                  </a:lnTo>
                  <a:lnTo>
                    <a:pt x="54339" y="60754"/>
                  </a:lnTo>
                  <a:lnTo>
                    <a:pt x="55376" y="59999"/>
                  </a:lnTo>
                  <a:lnTo>
                    <a:pt x="56320" y="59056"/>
                  </a:lnTo>
                  <a:lnTo>
                    <a:pt x="57075" y="58395"/>
                  </a:lnTo>
                  <a:lnTo>
                    <a:pt x="57169" y="58207"/>
                  </a:lnTo>
                  <a:lnTo>
                    <a:pt x="57075" y="58207"/>
                  </a:lnTo>
                  <a:lnTo>
                    <a:pt x="57924" y="57546"/>
                  </a:lnTo>
                  <a:lnTo>
                    <a:pt x="58678" y="56697"/>
                  </a:lnTo>
                  <a:lnTo>
                    <a:pt x="59339" y="55754"/>
                  </a:lnTo>
                  <a:lnTo>
                    <a:pt x="59905" y="54905"/>
                  </a:lnTo>
                  <a:lnTo>
                    <a:pt x="59716" y="54999"/>
                  </a:lnTo>
                  <a:lnTo>
                    <a:pt x="59622" y="54999"/>
                  </a:lnTo>
                  <a:lnTo>
                    <a:pt x="59810" y="54622"/>
                  </a:lnTo>
                  <a:lnTo>
                    <a:pt x="59150" y="55565"/>
                  </a:lnTo>
                  <a:lnTo>
                    <a:pt x="59527" y="55094"/>
                  </a:lnTo>
                  <a:lnTo>
                    <a:pt x="59433" y="55377"/>
                  </a:lnTo>
                  <a:lnTo>
                    <a:pt x="58867" y="56037"/>
                  </a:lnTo>
                  <a:lnTo>
                    <a:pt x="59056" y="55660"/>
                  </a:lnTo>
                  <a:lnTo>
                    <a:pt x="59056" y="55660"/>
                  </a:lnTo>
                  <a:lnTo>
                    <a:pt x="58678" y="56037"/>
                  </a:lnTo>
                  <a:lnTo>
                    <a:pt x="59810" y="54339"/>
                  </a:lnTo>
                  <a:lnTo>
                    <a:pt x="60282" y="53490"/>
                  </a:lnTo>
                  <a:lnTo>
                    <a:pt x="60282" y="53301"/>
                  </a:lnTo>
                  <a:lnTo>
                    <a:pt x="60188" y="53395"/>
                  </a:lnTo>
                  <a:lnTo>
                    <a:pt x="60188" y="53395"/>
                  </a:lnTo>
                  <a:lnTo>
                    <a:pt x="60565" y="52924"/>
                  </a:lnTo>
                  <a:lnTo>
                    <a:pt x="61037" y="52452"/>
                  </a:lnTo>
                  <a:lnTo>
                    <a:pt x="61886" y="51509"/>
                  </a:lnTo>
                  <a:lnTo>
                    <a:pt x="61508" y="52452"/>
                  </a:lnTo>
                  <a:lnTo>
                    <a:pt x="60848" y="53584"/>
                  </a:lnTo>
                  <a:lnTo>
                    <a:pt x="59622" y="55565"/>
                  </a:lnTo>
                  <a:lnTo>
                    <a:pt x="60376" y="54528"/>
                  </a:lnTo>
                  <a:lnTo>
                    <a:pt x="60942" y="53678"/>
                  </a:lnTo>
                  <a:lnTo>
                    <a:pt x="61980" y="51792"/>
                  </a:lnTo>
                  <a:lnTo>
                    <a:pt x="61886" y="51886"/>
                  </a:lnTo>
                  <a:lnTo>
                    <a:pt x="61886" y="51697"/>
                  </a:lnTo>
                  <a:lnTo>
                    <a:pt x="62169" y="51037"/>
                  </a:lnTo>
                  <a:lnTo>
                    <a:pt x="62735" y="49999"/>
                  </a:lnTo>
                  <a:lnTo>
                    <a:pt x="61508" y="51603"/>
                  </a:lnTo>
                  <a:lnTo>
                    <a:pt x="61603" y="51037"/>
                  </a:lnTo>
                  <a:lnTo>
                    <a:pt x="61697" y="50377"/>
                  </a:lnTo>
                  <a:lnTo>
                    <a:pt x="62169" y="48962"/>
                  </a:lnTo>
                  <a:lnTo>
                    <a:pt x="62829" y="47358"/>
                  </a:lnTo>
                  <a:lnTo>
                    <a:pt x="63678" y="45565"/>
                  </a:lnTo>
                  <a:lnTo>
                    <a:pt x="65376" y="42169"/>
                  </a:lnTo>
                  <a:lnTo>
                    <a:pt x="66131" y="40660"/>
                  </a:lnTo>
                  <a:lnTo>
                    <a:pt x="66697" y="39339"/>
                  </a:lnTo>
                  <a:lnTo>
                    <a:pt x="66603" y="39528"/>
                  </a:lnTo>
                  <a:lnTo>
                    <a:pt x="66697" y="39056"/>
                  </a:lnTo>
                  <a:lnTo>
                    <a:pt x="66791" y="38962"/>
                  </a:lnTo>
                  <a:lnTo>
                    <a:pt x="66791" y="39056"/>
                  </a:lnTo>
                  <a:lnTo>
                    <a:pt x="66886" y="38584"/>
                  </a:lnTo>
                  <a:lnTo>
                    <a:pt x="66791" y="38867"/>
                  </a:lnTo>
                  <a:lnTo>
                    <a:pt x="66980" y="38207"/>
                  </a:lnTo>
                  <a:lnTo>
                    <a:pt x="67169" y="37264"/>
                  </a:lnTo>
                  <a:lnTo>
                    <a:pt x="67263" y="36415"/>
                  </a:lnTo>
                  <a:lnTo>
                    <a:pt x="67357" y="36509"/>
                  </a:lnTo>
                  <a:lnTo>
                    <a:pt x="67452" y="36509"/>
                  </a:lnTo>
                  <a:lnTo>
                    <a:pt x="67546" y="35943"/>
                  </a:lnTo>
                  <a:lnTo>
                    <a:pt x="67546" y="34811"/>
                  </a:lnTo>
                  <a:lnTo>
                    <a:pt x="67640" y="31037"/>
                  </a:lnTo>
                  <a:lnTo>
                    <a:pt x="67640" y="28490"/>
                  </a:lnTo>
                  <a:lnTo>
                    <a:pt x="67546" y="27736"/>
                  </a:lnTo>
                  <a:lnTo>
                    <a:pt x="67546" y="27547"/>
                  </a:lnTo>
                  <a:lnTo>
                    <a:pt x="67452" y="27547"/>
                  </a:lnTo>
                  <a:lnTo>
                    <a:pt x="67074" y="26792"/>
                  </a:lnTo>
                  <a:lnTo>
                    <a:pt x="66791" y="25660"/>
                  </a:lnTo>
                  <a:lnTo>
                    <a:pt x="66508" y="24528"/>
                  </a:lnTo>
                  <a:lnTo>
                    <a:pt x="66414" y="23585"/>
                  </a:lnTo>
                  <a:lnTo>
                    <a:pt x="66320" y="23679"/>
                  </a:lnTo>
                  <a:lnTo>
                    <a:pt x="66320" y="23490"/>
                  </a:lnTo>
                  <a:lnTo>
                    <a:pt x="65942" y="22924"/>
                  </a:lnTo>
                  <a:lnTo>
                    <a:pt x="65565" y="22358"/>
                  </a:lnTo>
                  <a:lnTo>
                    <a:pt x="64527" y="21132"/>
                  </a:lnTo>
                  <a:lnTo>
                    <a:pt x="63584" y="19906"/>
                  </a:lnTo>
                  <a:lnTo>
                    <a:pt x="63207" y="19340"/>
                  </a:lnTo>
                  <a:lnTo>
                    <a:pt x="63018" y="18774"/>
                  </a:lnTo>
                  <a:lnTo>
                    <a:pt x="63112" y="18962"/>
                  </a:lnTo>
                  <a:lnTo>
                    <a:pt x="63301" y="19057"/>
                  </a:lnTo>
                  <a:lnTo>
                    <a:pt x="63301" y="19057"/>
                  </a:lnTo>
                  <a:lnTo>
                    <a:pt x="63207" y="18868"/>
                  </a:lnTo>
                  <a:lnTo>
                    <a:pt x="62923" y="18491"/>
                  </a:lnTo>
                  <a:lnTo>
                    <a:pt x="61980" y="17453"/>
                  </a:lnTo>
                  <a:lnTo>
                    <a:pt x="61037" y="16509"/>
                  </a:lnTo>
                  <a:lnTo>
                    <a:pt x="61037" y="16698"/>
                  </a:lnTo>
                  <a:lnTo>
                    <a:pt x="61037" y="16887"/>
                  </a:lnTo>
                  <a:lnTo>
                    <a:pt x="60093" y="15943"/>
                  </a:lnTo>
                  <a:lnTo>
                    <a:pt x="60376" y="16321"/>
                  </a:lnTo>
                  <a:lnTo>
                    <a:pt x="59527" y="15377"/>
                  </a:lnTo>
                  <a:lnTo>
                    <a:pt x="59056" y="14906"/>
                  </a:lnTo>
                  <a:lnTo>
                    <a:pt x="59244" y="14906"/>
                  </a:lnTo>
                  <a:lnTo>
                    <a:pt x="59905" y="15472"/>
                  </a:lnTo>
                  <a:lnTo>
                    <a:pt x="59905" y="15472"/>
                  </a:lnTo>
                  <a:lnTo>
                    <a:pt x="57641" y="13396"/>
                  </a:lnTo>
                  <a:lnTo>
                    <a:pt x="58112" y="13868"/>
                  </a:lnTo>
                  <a:lnTo>
                    <a:pt x="56886" y="13019"/>
                  </a:lnTo>
                  <a:lnTo>
                    <a:pt x="55754" y="12453"/>
                  </a:lnTo>
                  <a:lnTo>
                    <a:pt x="56603" y="13113"/>
                  </a:lnTo>
                  <a:lnTo>
                    <a:pt x="57452" y="13774"/>
                  </a:lnTo>
                  <a:lnTo>
                    <a:pt x="58961" y="15283"/>
                  </a:lnTo>
                  <a:lnTo>
                    <a:pt x="60376" y="16604"/>
                  </a:lnTo>
                  <a:lnTo>
                    <a:pt x="61225" y="17264"/>
                  </a:lnTo>
                  <a:lnTo>
                    <a:pt x="62074" y="17925"/>
                  </a:lnTo>
                  <a:lnTo>
                    <a:pt x="62074" y="17925"/>
                  </a:lnTo>
                  <a:lnTo>
                    <a:pt x="61414" y="17547"/>
                  </a:lnTo>
                  <a:lnTo>
                    <a:pt x="60659" y="16981"/>
                  </a:lnTo>
                  <a:lnTo>
                    <a:pt x="60754" y="17264"/>
                  </a:lnTo>
                  <a:lnTo>
                    <a:pt x="60942" y="17642"/>
                  </a:lnTo>
                  <a:lnTo>
                    <a:pt x="61980" y="19151"/>
                  </a:lnTo>
                  <a:lnTo>
                    <a:pt x="63301" y="20943"/>
                  </a:lnTo>
                  <a:lnTo>
                    <a:pt x="63207" y="20943"/>
                  </a:lnTo>
                  <a:lnTo>
                    <a:pt x="63395" y="21038"/>
                  </a:lnTo>
                  <a:lnTo>
                    <a:pt x="63490" y="21321"/>
                  </a:lnTo>
                  <a:lnTo>
                    <a:pt x="63678" y="21604"/>
                  </a:lnTo>
                  <a:lnTo>
                    <a:pt x="63773" y="21698"/>
                  </a:lnTo>
                  <a:lnTo>
                    <a:pt x="63584" y="21321"/>
                  </a:lnTo>
                  <a:lnTo>
                    <a:pt x="63584" y="21321"/>
                  </a:lnTo>
                  <a:lnTo>
                    <a:pt x="64244" y="22170"/>
                  </a:lnTo>
                  <a:lnTo>
                    <a:pt x="64716" y="22641"/>
                  </a:lnTo>
                  <a:lnTo>
                    <a:pt x="64905" y="22830"/>
                  </a:lnTo>
                  <a:lnTo>
                    <a:pt x="64999" y="22830"/>
                  </a:lnTo>
                  <a:lnTo>
                    <a:pt x="64999" y="22641"/>
                  </a:lnTo>
                  <a:lnTo>
                    <a:pt x="64905" y="22358"/>
                  </a:lnTo>
                  <a:lnTo>
                    <a:pt x="65282" y="23207"/>
                  </a:lnTo>
                  <a:lnTo>
                    <a:pt x="65565" y="24056"/>
                  </a:lnTo>
                  <a:lnTo>
                    <a:pt x="66225" y="25943"/>
                  </a:lnTo>
                  <a:lnTo>
                    <a:pt x="66697" y="27830"/>
                  </a:lnTo>
                  <a:lnTo>
                    <a:pt x="66886" y="28490"/>
                  </a:lnTo>
                  <a:lnTo>
                    <a:pt x="66980" y="28868"/>
                  </a:lnTo>
                  <a:lnTo>
                    <a:pt x="66886" y="28962"/>
                  </a:lnTo>
                  <a:lnTo>
                    <a:pt x="66697" y="28679"/>
                  </a:lnTo>
                  <a:lnTo>
                    <a:pt x="66697" y="29245"/>
                  </a:lnTo>
                  <a:lnTo>
                    <a:pt x="66791" y="29905"/>
                  </a:lnTo>
                  <a:lnTo>
                    <a:pt x="66886" y="29905"/>
                  </a:lnTo>
                  <a:lnTo>
                    <a:pt x="66886" y="30094"/>
                  </a:lnTo>
                  <a:lnTo>
                    <a:pt x="66886" y="30566"/>
                  </a:lnTo>
                  <a:lnTo>
                    <a:pt x="66697" y="30377"/>
                  </a:lnTo>
                  <a:lnTo>
                    <a:pt x="66603" y="30188"/>
                  </a:lnTo>
                  <a:lnTo>
                    <a:pt x="66603" y="30094"/>
                  </a:lnTo>
                  <a:lnTo>
                    <a:pt x="66697" y="29905"/>
                  </a:lnTo>
                  <a:lnTo>
                    <a:pt x="66508" y="28679"/>
                  </a:lnTo>
                  <a:lnTo>
                    <a:pt x="66225" y="27358"/>
                  </a:lnTo>
                  <a:lnTo>
                    <a:pt x="66603" y="30283"/>
                  </a:lnTo>
                  <a:lnTo>
                    <a:pt x="66697" y="31792"/>
                  </a:lnTo>
                  <a:lnTo>
                    <a:pt x="66697" y="33302"/>
                  </a:lnTo>
                  <a:lnTo>
                    <a:pt x="66603" y="34717"/>
                  </a:lnTo>
                  <a:lnTo>
                    <a:pt x="66414" y="36226"/>
                  </a:lnTo>
                  <a:lnTo>
                    <a:pt x="66131" y="37547"/>
                  </a:lnTo>
                  <a:lnTo>
                    <a:pt x="65659" y="38962"/>
                  </a:lnTo>
                  <a:lnTo>
                    <a:pt x="65848" y="38584"/>
                  </a:lnTo>
                  <a:lnTo>
                    <a:pt x="65942" y="38584"/>
                  </a:lnTo>
                  <a:lnTo>
                    <a:pt x="65848" y="39245"/>
                  </a:lnTo>
                  <a:lnTo>
                    <a:pt x="65565" y="40188"/>
                  </a:lnTo>
                  <a:lnTo>
                    <a:pt x="65471" y="40471"/>
                  </a:lnTo>
                  <a:lnTo>
                    <a:pt x="65282" y="40660"/>
                  </a:lnTo>
                  <a:lnTo>
                    <a:pt x="65282" y="40566"/>
                  </a:lnTo>
                  <a:lnTo>
                    <a:pt x="65093" y="41132"/>
                  </a:lnTo>
                  <a:lnTo>
                    <a:pt x="64433" y="43018"/>
                  </a:lnTo>
                  <a:lnTo>
                    <a:pt x="63678" y="45282"/>
                  </a:lnTo>
                  <a:lnTo>
                    <a:pt x="62735" y="47264"/>
                  </a:lnTo>
                  <a:lnTo>
                    <a:pt x="61697" y="49056"/>
                  </a:lnTo>
                  <a:lnTo>
                    <a:pt x="60659" y="50943"/>
                  </a:lnTo>
                  <a:lnTo>
                    <a:pt x="59433" y="52735"/>
                  </a:lnTo>
                  <a:lnTo>
                    <a:pt x="58207" y="54433"/>
                  </a:lnTo>
                  <a:lnTo>
                    <a:pt x="56886" y="56037"/>
                  </a:lnTo>
                  <a:lnTo>
                    <a:pt x="55376" y="57641"/>
                  </a:lnTo>
                  <a:lnTo>
                    <a:pt x="53867" y="59150"/>
                  </a:lnTo>
                  <a:lnTo>
                    <a:pt x="52169" y="60376"/>
                  </a:lnTo>
                  <a:lnTo>
                    <a:pt x="48961" y="62452"/>
                  </a:lnTo>
                  <a:lnTo>
                    <a:pt x="44528" y="65282"/>
                  </a:lnTo>
                  <a:lnTo>
                    <a:pt x="44622" y="65188"/>
                  </a:lnTo>
                  <a:lnTo>
                    <a:pt x="44716" y="65093"/>
                  </a:lnTo>
                  <a:lnTo>
                    <a:pt x="45094" y="64810"/>
                  </a:lnTo>
                  <a:lnTo>
                    <a:pt x="45660" y="64527"/>
                  </a:lnTo>
                  <a:lnTo>
                    <a:pt x="43867" y="65376"/>
                  </a:lnTo>
                  <a:lnTo>
                    <a:pt x="43113" y="65754"/>
                  </a:lnTo>
                  <a:lnTo>
                    <a:pt x="42924" y="65754"/>
                  </a:lnTo>
                  <a:lnTo>
                    <a:pt x="43113" y="65659"/>
                  </a:lnTo>
                  <a:lnTo>
                    <a:pt x="41603" y="66037"/>
                  </a:lnTo>
                  <a:lnTo>
                    <a:pt x="39999" y="66320"/>
                  </a:lnTo>
                  <a:lnTo>
                    <a:pt x="38396" y="66508"/>
                  </a:lnTo>
                  <a:lnTo>
                    <a:pt x="36792" y="66697"/>
                  </a:lnTo>
                  <a:lnTo>
                    <a:pt x="33584" y="66980"/>
                  </a:lnTo>
                  <a:lnTo>
                    <a:pt x="32169" y="67169"/>
                  </a:lnTo>
                  <a:lnTo>
                    <a:pt x="30754" y="67357"/>
                  </a:lnTo>
                  <a:lnTo>
                    <a:pt x="30094" y="67357"/>
                  </a:lnTo>
                  <a:lnTo>
                    <a:pt x="29339" y="67263"/>
                  </a:lnTo>
                  <a:lnTo>
                    <a:pt x="27830" y="66886"/>
                  </a:lnTo>
                  <a:lnTo>
                    <a:pt x="26415" y="66508"/>
                  </a:lnTo>
                  <a:lnTo>
                    <a:pt x="25754" y="66414"/>
                  </a:lnTo>
                  <a:lnTo>
                    <a:pt x="25094" y="66414"/>
                  </a:lnTo>
                  <a:lnTo>
                    <a:pt x="25566" y="66980"/>
                  </a:lnTo>
                  <a:lnTo>
                    <a:pt x="25471" y="67074"/>
                  </a:lnTo>
                  <a:lnTo>
                    <a:pt x="25188" y="66980"/>
                  </a:lnTo>
                  <a:lnTo>
                    <a:pt x="24339" y="66791"/>
                  </a:lnTo>
                  <a:lnTo>
                    <a:pt x="23773" y="66508"/>
                  </a:lnTo>
                  <a:lnTo>
                    <a:pt x="24245" y="66414"/>
                  </a:lnTo>
                  <a:lnTo>
                    <a:pt x="24717" y="66603"/>
                  </a:lnTo>
                  <a:lnTo>
                    <a:pt x="24811" y="66414"/>
                  </a:lnTo>
                  <a:lnTo>
                    <a:pt x="24811" y="66320"/>
                  </a:lnTo>
                  <a:lnTo>
                    <a:pt x="24717" y="66225"/>
                  </a:lnTo>
                  <a:lnTo>
                    <a:pt x="24528" y="66131"/>
                  </a:lnTo>
                  <a:lnTo>
                    <a:pt x="24151" y="66225"/>
                  </a:lnTo>
                  <a:lnTo>
                    <a:pt x="23679" y="66320"/>
                  </a:lnTo>
                  <a:lnTo>
                    <a:pt x="23018" y="66414"/>
                  </a:lnTo>
                  <a:lnTo>
                    <a:pt x="23490" y="66225"/>
                  </a:lnTo>
                  <a:lnTo>
                    <a:pt x="22075" y="65942"/>
                  </a:lnTo>
                  <a:lnTo>
                    <a:pt x="20943" y="65659"/>
                  </a:lnTo>
                  <a:lnTo>
                    <a:pt x="20000" y="65282"/>
                  </a:lnTo>
                  <a:lnTo>
                    <a:pt x="19056" y="64810"/>
                  </a:lnTo>
                  <a:lnTo>
                    <a:pt x="19056" y="64810"/>
                  </a:lnTo>
                  <a:lnTo>
                    <a:pt x="19717" y="64999"/>
                  </a:lnTo>
                  <a:lnTo>
                    <a:pt x="19151" y="64716"/>
                  </a:lnTo>
                  <a:lnTo>
                    <a:pt x="18962" y="64810"/>
                  </a:lnTo>
                  <a:lnTo>
                    <a:pt x="19151" y="64905"/>
                  </a:lnTo>
                  <a:lnTo>
                    <a:pt x="18490" y="64905"/>
                  </a:lnTo>
                  <a:lnTo>
                    <a:pt x="17830" y="64716"/>
                  </a:lnTo>
                  <a:lnTo>
                    <a:pt x="17264" y="64527"/>
                  </a:lnTo>
                  <a:lnTo>
                    <a:pt x="16698" y="64150"/>
                  </a:lnTo>
                  <a:lnTo>
                    <a:pt x="16981" y="64056"/>
                  </a:lnTo>
                  <a:lnTo>
                    <a:pt x="17264" y="64150"/>
                  </a:lnTo>
                  <a:lnTo>
                    <a:pt x="17264" y="64150"/>
                  </a:lnTo>
                  <a:lnTo>
                    <a:pt x="15188" y="63207"/>
                  </a:lnTo>
                  <a:lnTo>
                    <a:pt x="14622" y="62829"/>
                  </a:lnTo>
                  <a:lnTo>
                    <a:pt x="14717" y="62924"/>
                  </a:lnTo>
                  <a:lnTo>
                    <a:pt x="13773" y="62546"/>
                  </a:lnTo>
                  <a:lnTo>
                    <a:pt x="12924" y="62075"/>
                  </a:lnTo>
                  <a:lnTo>
                    <a:pt x="12358" y="61697"/>
                  </a:lnTo>
                  <a:lnTo>
                    <a:pt x="12264" y="61508"/>
                  </a:lnTo>
                  <a:lnTo>
                    <a:pt x="12170" y="61320"/>
                  </a:lnTo>
                  <a:lnTo>
                    <a:pt x="11698" y="60942"/>
                  </a:lnTo>
                  <a:lnTo>
                    <a:pt x="11132" y="60471"/>
                  </a:lnTo>
                  <a:lnTo>
                    <a:pt x="9906" y="59244"/>
                  </a:lnTo>
                  <a:lnTo>
                    <a:pt x="9906" y="59244"/>
                  </a:lnTo>
                  <a:lnTo>
                    <a:pt x="10566" y="59527"/>
                  </a:lnTo>
                  <a:lnTo>
                    <a:pt x="9434" y="58584"/>
                  </a:lnTo>
                  <a:lnTo>
                    <a:pt x="8207" y="57546"/>
                  </a:lnTo>
                  <a:lnTo>
                    <a:pt x="7547" y="56886"/>
                  </a:lnTo>
                  <a:lnTo>
                    <a:pt x="6981" y="56131"/>
                  </a:lnTo>
                  <a:lnTo>
                    <a:pt x="6226" y="55094"/>
                  </a:lnTo>
                  <a:lnTo>
                    <a:pt x="6415" y="55377"/>
                  </a:lnTo>
                  <a:lnTo>
                    <a:pt x="6038" y="54905"/>
                  </a:lnTo>
                  <a:lnTo>
                    <a:pt x="5472" y="54244"/>
                  </a:lnTo>
                  <a:lnTo>
                    <a:pt x="5283" y="53961"/>
                  </a:lnTo>
                  <a:lnTo>
                    <a:pt x="5094" y="53867"/>
                  </a:lnTo>
                  <a:lnTo>
                    <a:pt x="5377" y="54622"/>
                  </a:lnTo>
                  <a:lnTo>
                    <a:pt x="5849" y="55282"/>
                  </a:lnTo>
                  <a:lnTo>
                    <a:pt x="6321" y="55943"/>
                  </a:lnTo>
                  <a:lnTo>
                    <a:pt x="6698" y="56603"/>
                  </a:lnTo>
                  <a:lnTo>
                    <a:pt x="6226" y="56226"/>
                  </a:lnTo>
                  <a:lnTo>
                    <a:pt x="5943" y="55848"/>
                  </a:lnTo>
                  <a:lnTo>
                    <a:pt x="6038" y="56037"/>
                  </a:lnTo>
                  <a:lnTo>
                    <a:pt x="5943" y="55943"/>
                  </a:lnTo>
                  <a:lnTo>
                    <a:pt x="5377" y="55188"/>
                  </a:lnTo>
                  <a:lnTo>
                    <a:pt x="5000" y="54716"/>
                  </a:lnTo>
                  <a:lnTo>
                    <a:pt x="4717" y="54150"/>
                  </a:lnTo>
                  <a:lnTo>
                    <a:pt x="4528" y="53678"/>
                  </a:lnTo>
                  <a:lnTo>
                    <a:pt x="4528" y="53584"/>
                  </a:lnTo>
                  <a:lnTo>
                    <a:pt x="4623" y="53395"/>
                  </a:lnTo>
                  <a:lnTo>
                    <a:pt x="5094" y="54244"/>
                  </a:lnTo>
                  <a:lnTo>
                    <a:pt x="4717" y="53301"/>
                  </a:lnTo>
                  <a:lnTo>
                    <a:pt x="4528" y="53018"/>
                  </a:lnTo>
                  <a:lnTo>
                    <a:pt x="4151" y="52263"/>
                  </a:lnTo>
                  <a:lnTo>
                    <a:pt x="4151" y="52169"/>
                  </a:lnTo>
                  <a:lnTo>
                    <a:pt x="3774" y="51509"/>
                  </a:lnTo>
                  <a:lnTo>
                    <a:pt x="3396" y="50660"/>
                  </a:lnTo>
                  <a:lnTo>
                    <a:pt x="3585" y="51603"/>
                  </a:lnTo>
                  <a:lnTo>
                    <a:pt x="3396" y="51226"/>
                  </a:lnTo>
                  <a:lnTo>
                    <a:pt x="3208" y="50848"/>
                  </a:lnTo>
                  <a:lnTo>
                    <a:pt x="3208" y="50471"/>
                  </a:lnTo>
                  <a:lnTo>
                    <a:pt x="3208" y="50094"/>
                  </a:lnTo>
                  <a:lnTo>
                    <a:pt x="3585" y="50754"/>
                  </a:lnTo>
                  <a:lnTo>
                    <a:pt x="3868" y="51509"/>
                  </a:lnTo>
                  <a:lnTo>
                    <a:pt x="3868" y="51509"/>
                  </a:lnTo>
                  <a:lnTo>
                    <a:pt x="3208" y="49528"/>
                  </a:lnTo>
                  <a:lnTo>
                    <a:pt x="3208" y="49528"/>
                  </a:lnTo>
                  <a:lnTo>
                    <a:pt x="3868" y="50754"/>
                  </a:lnTo>
                  <a:lnTo>
                    <a:pt x="3208" y="48962"/>
                  </a:lnTo>
                  <a:lnTo>
                    <a:pt x="3585" y="49339"/>
                  </a:lnTo>
                  <a:lnTo>
                    <a:pt x="3774" y="49433"/>
                  </a:lnTo>
                  <a:lnTo>
                    <a:pt x="3962" y="49528"/>
                  </a:lnTo>
                  <a:lnTo>
                    <a:pt x="4057" y="49905"/>
                  </a:lnTo>
                  <a:lnTo>
                    <a:pt x="3868" y="48962"/>
                  </a:lnTo>
                  <a:lnTo>
                    <a:pt x="3491" y="47924"/>
                  </a:lnTo>
                  <a:lnTo>
                    <a:pt x="2641" y="45565"/>
                  </a:lnTo>
                  <a:lnTo>
                    <a:pt x="2170" y="43867"/>
                  </a:lnTo>
                  <a:lnTo>
                    <a:pt x="1698" y="41886"/>
                  </a:lnTo>
                  <a:lnTo>
                    <a:pt x="1698" y="41886"/>
                  </a:lnTo>
                  <a:lnTo>
                    <a:pt x="1887" y="42075"/>
                  </a:lnTo>
                  <a:lnTo>
                    <a:pt x="1981" y="41981"/>
                  </a:lnTo>
                  <a:lnTo>
                    <a:pt x="2075" y="42075"/>
                  </a:lnTo>
                  <a:lnTo>
                    <a:pt x="2264" y="42169"/>
                  </a:lnTo>
                  <a:lnTo>
                    <a:pt x="2170" y="40283"/>
                  </a:lnTo>
                  <a:lnTo>
                    <a:pt x="2075" y="38301"/>
                  </a:lnTo>
                  <a:lnTo>
                    <a:pt x="2170" y="36415"/>
                  </a:lnTo>
                  <a:lnTo>
                    <a:pt x="2358" y="35566"/>
                  </a:lnTo>
                  <a:lnTo>
                    <a:pt x="2453" y="34811"/>
                  </a:lnTo>
                  <a:lnTo>
                    <a:pt x="2830" y="32830"/>
                  </a:lnTo>
                  <a:lnTo>
                    <a:pt x="2830" y="33207"/>
                  </a:lnTo>
                  <a:lnTo>
                    <a:pt x="2924" y="33490"/>
                  </a:lnTo>
                  <a:lnTo>
                    <a:pt x="2924" y="32453"/>
                  </a:lnTo>
                  <a:lnTo>
                    <a:pt x="3019" y="31415"/>
                  </a:lnTo>
                  <a:lnTo>
                    <a:pt x="3396" y="29245"/>
                  </a:lnTo>
                  <a:lnTo>
                    <a:pt x="3868" y="27075"/>
                  </a:lnTo>
                  <a:lnTo>
                    <a:pt x="4623" y="25000"/>
                  </a:lnTo>
                  <a:lnTo>
                    <a:pt x="5566" y="22830"/>
                  </a:lnTo>
                  <a:lnTo>
                    <a:pt x="6604" y="20849"/>
                  </a:lnTo>
                  <a:lnTo>
                    <a:pt x="7830" y="18868"/>
                  </a:lnTo>
                  <a:lnTo>
                    <a:pt x="9151" y="16887"/>
                  </a:lnTo>
                  <a:lnTo>
                    <a:pt x="10566" y="15094"/>
                  </a:lnTo>
                  <a:lnTo>
                    <a:pt x="12075" y="13302"/>
                  </a:lnTo>
                  <a:lnTo>
                    <a:pt x="13773" y="11698"/>
                  </a:lnTo>
                  <a:lnTo>
                    <a:pt x="15377" y="10095"/>
                  </a:lnTo>
                  <a:lnTo>
                    <a:pt x="17170" y="8679"/>
                  </a:lnTo>
                  <a:lnTo>
                    <a:pt x="18962" y="7453"/>
                  </a:lnTo>
                  <a:lnTo>
                    <a:pt x="20754" y="6321"/>
                  </a:lnTo>
                  <a:lnTo>
                    <a:pt x="22547" y="5378"/>
                  </a:lnTo>
                  <a:lnTo>
                    <a:pt x="21603" y="6227"/>
                  </a:lnTo>
                  <a:lnTo>
                    <a:pt x="22641" y="5472"/>
                  </a:lnTo>
                  <a:lnTo>
                    <a:pt x="23302" y="5095"/>
                  </a:lnTo>
                  <a:lnTo>
                    <a:pt x="25377" y="4151"/>
                  </a:lnTo>
                  <a:lnTo>
                    <a:pt x="24811" y="4151"/>
                  </a:lnTo>
                  <a:lnTo>
                    <a:pt x="25660" y="3774"/>
                  </a:lnTo>
                  <a:lnTo>
                    <a:pt x="26886" y="3208"/>
                  </a:lnTo>
                  <a:lnTo>
                    <a:pt x="26603" y="3585"/>
                  </a:lnTo>
                  <a:lnTo>
                    <a:pt x="26886" y="3585"/>
                  </a:lnTo>
                  <a:lnTo>
                    <a:pt x="26886" y="3680"/>
                  </a:lnTo>
                  <a:lnTo>
                    <a:pt x="26792" y="3774"/>
                  </a:lnTo>
                  <a:lnTo>
                    <a:pt x="28301" y="3302"/>
                  </a:lnTo>
                  <a:lnTo>
                    <a:pt x="29622" y="2736"/>
                  </a:lnTo>
                  <a:lnTo>
                    <a:pt x="31037" y="2264"/>
                  </a:lnTo>
                  <a:lnTo>
                    <a:pt x="31792" y="2076"/>
                  </a:lnTo>
                  <a:lnTo>
                    <a:pt x="32641" y="1981"/>
                  </a:lnTo>
                  <a:lnTo>
                    <a:pt x="32547" y="2076"/>
                  </a:lnTo>
                  <a:lnTo>
                    <a:pt x="32924" y="1981"/>
                  </a:lnTo>
                  <a:lnTo>
                    <a:pt x="34245" y="1793"/>
                  </a:lnTo>
                  <a:lnTo>
                    <a:pt x="35848" y="1415"/>
                  </a:lnTo>
                  <a:lnTo>
                    <a:pt x="36981" y="1132"/>
                  </a:lnTo>
                  <a:lnTo>
                    <a:pt x="36981" y="1415"/>
                  </a:lnTo>
                  <a:lnTo>
                    <a:pt x="40943" y="1227"/>
                  </a:lnTo>
                  <a:lnTo>
                    <a:pt x="41509" y="1038"/>
                  </a:lnTo>
                  <a:lnTo>
                    <a:pt x="41697" y="1132"/>
                  </a:lnTo>
                  <a:lnTo>
                    <a:pt x="41509" y="1227"/>
                  </a:lnTo>
                  <a:lnTo>
                    <a:pt x="41320" y="1321"/>
                  </a:lnTo>
                  <a:lnTo>
                    <a:pt x="42263" y="1321"/>
                  </a:lnTo>
                  <a:lnTo>
                    <a:pt x="43113" y="1227"/>
                  </a:lnTo>
                  <a:lnTo>
                    <a:pt x="43396" y="1415"/>
                  </a:lnTo>
                  <a:lnTo>
                    <a:pt x="44056" y="1604"/>
                  </a:lnTo>
                  <a:lnTo>
                    <a:pt x="45943" y="2076"/>
                  </a:lnTo>
                  <a:lnTo>
                    <a:pt x="48018" y="2359"/>
                  </a:lnTo>
                  <a:lnTo>
                    <a:pt x="49622" y="2736"/>
                  </a:lnTo>
                  <a:lnTo>
                    <a:pt x="47641" y="1981"/>
                  </a:lnTo>
                  <a:lnTo>
                    <a:pt x="45282" y="1321"/>
                  </a:lnTo>
                  <a:lnTo>
                    <a:pt x="42735" y="755"/>
                  </a:lnTo>
                  <a:lnTo>
                    <a:pt x="40188" y="283"/>
                  </a:lnTo>
                  <a:lnTo>
                    <a:pt x="37735" y="95"/>
                  </a:lnTo>
                  <a:lnTo>
                    <a:pt x="35471" y="0"/>
                  </a:lnTo>
                  <a:close/>
                </a:path>
              </a:pathLst>
            </a:custGeom>
            <a:solidFill>
              <a:srgbClr val="FF0000"/>
            </a:solidFill>
            <a:ln>
              <a:noFill/>
            </a:ln>
          </p:spPr>
          <p:txBody>
            <a:bodyPr spcFirstLastPara="1" wrap="square" lIns="91425" tIns="91425" rIns="91425" bIns="91425" anchor="ctr" anchorCtr="0">
              <a:noAutofit/>
            </a:bodyPr>
            <a:lstStyle/>
            <a:p>
              <a:pPr marL="0" lvl="0" indent="0">
                <a:spcBef>
                  <a:spcPts val="0"/>
                </a:spcBef>
                <a:spcAft>
                  <a:spcPts val="0"/>
                </a:spcAft>
                <a:buNone/>
              </a:pPr>
              <a:endParaRPr sz="1100"/>
            </a:p>
          </p:txBody>
        </p:sp>
        <p:sp>
          <p:nvSpPr>
            <p:cNvPr id="534" name="TextBox 533">
              <a:extLst>
                <a:ext uri="{FF2B5EF4-FFF2-40B4-BE49-F238E27FC236}">
                  <a16:creationId xmlns:a16="http://schemas.microsoft.com/office/drawing/2014/main" id="{757910B5-7093-D74F-B173-3FA7AE0FCA73}"/>
                </a:ext>
              </a:extLst>
            </p:cNvPr>
            <p:cNvSpPr txBox="1"/>
            <p:nvPr/>
          </p:nvSpPr>
          <p:spPr>
            <a:xfrm>
              <a:off x="682633" y="1208691"/>
              <a:ext cx="477191" cy="240828"/>
            </a:xfrm>
            <a:prstGeom prst="rect">
              <a:avLst/>
            </a:prstGeom>
            <a:noFill/>
          </p:spPr>
          <p:txBody>
            <a:bodyPr wrap="square" rtlCol="0">
              <a:spAutoFit/>
            </a:bodyPr>
            <a:lstStyle/>
            <a:p>
              <a:r>
                <a:rPr lang="en-US" sz="600" dirty="0">
                  <a:solidFill>
                    <a:srgbClr val="FF0000"/>
                  </a:solidFill>
                </a:rPr>
                <a:t>n…</a:t>
              </a:r>
            </a:p>
          </p:txBody>
        </p:sp>
      </p:grpSp>
      <p:grpSp>
        <p:nvGrpSpPr>
          <p:cNvPr id="535" name="Group 534">
            <a:extLst>
              <a:ext uri="{FF2B5EF4-FFF2-40B4-BE49-F238E27FC236}">
                <a16:creationId xmlns:a16="http://schemas.microsoft.com/office/drawing/2014/main" id="{4721333F-694A-B548-B33A-00A203D05C32}"/>
              </a:ext>
            </a:extLst>
          </p:cNvPr>
          <p:cNvGrpSpPr/>
          <p:nvPr/>
        </p:nvGrpSpPr>
        <p:grpSpPr>
          <a:xfrm rot="21011211">
            <a:off x="426096" y="4730394"/>
            <a:ext cx="292910" cy="222927"/>
            <a:chOff x="702590" y="1203599"/>
            <a:chExt cx="301686" cy="290724"/>
          </a:xfrm>
        </p:grpSpPr>
        <p:sp>
          <p:nvSpPr>
            <p:cNvPr id="536" name="Google Shape;431;p39">
              <a:extLst>
                <a:ext uri="{FF2B5EF4-FFF2-40B4-BE49-F238E27FC236}">
                  <a16:creationId xmlns:a16="http://schemas.microsoft.com/office/drawing/2014/main" id="{5945BDF2-2F37-9447-A122-1F0CA7288712}"/>
                </a:ext>
              </a:extLst>
            </p:cNvPr>
            <p:cNvSpPr/>
            <p:nvPr/>
          </p:nvSpPr>
          <p:spPr>
            <a:xfrm>
              <a:off x="736556" y="1203599"/>
              <a:ext cx="219241" cy="290724"/>
            </a:xfrm>
            <a:custGeom>
              <a:avLst/>
              <a:gdLst/>
              <a:ahLst/>
              <a:cxnLst/>
              <a:rect l="0" t="0" r="0" b="0"/>
              <a:pathLst>
                <a:path w="67641" h="69056" extrusionOk="0">
                  <a:moveTo>
                    <a:pt x="49622" y="2736"/>
                  </a:moveTo>
                  <a:lnTo>
                    <a:pt x="49622" y="2736"/>
                  </a:lnTo>
                  <a:lnTo>
                    <a:pt x="49622" y="2736"/>
                  </a:lnTo>
                  <a:close/>
                  <a:moveTo>
                    <a:pt x="59622" y="55565"/>
                  </a:moveTo>
                  <a:lnTo>
                    <a:pt x="59622" y="55565"/>
                  </a:lnTo>
                  <a:lnTo>
                    <a:pt x="59622" y="55565"/>
                  </a:lnTo>
                  <a:close/>
                  <a:moveTo>
                    <a:pt x="35471" y="0"/>
                  </a:moveTo>
                  <a:lnTo>
                    <a:pt x="34433" y="95"/>
                  </a:lnTo>
                  <a:lnTo>
                    <a:pt x="33584" y="189"/>
                  </a:lnTo>
                  <a:lnTo>
                    <a:pt x="32735" y="378"/>
                  </a:lnTo>
                  <a:lnTo>
                    <a:pt x="32169" y="566"/>
                  </a:lnTo>
                  <a:lnTo>
                    <a:pt x="31509" y="472"/>
                  </a:lnTo>
                  <a:lnTo>
                    <a:pt x="30754" y="472"/>
                  </a:lnTo>
                  <a:lnTo>
                    <a:pt x="29339" y="566"/>
                  </a:lnTo>
                  <a:lnTo>
                    <a:pt x="27830" y="849"/>
                  </a:lnTo>
                  <a:lnTo>
                    <a:pt x="26320" y="1321"/>
                  </a:lnTo>
                  <a:lnTo>
                    <a:pt x="24811" y="1981"/>
                  </a:lnTo>
                  <a:lnTo>
                    <a:pt x="23207" y="2736"/>
                  </a:lnTo>
                  <a:lnTo>
                    <a:pt x="21698" y="3585"/>
                  </a:lnTo>
                  <a:lnTo>
                    <a:pt x="20188" y="4623"/>
                  </a:lnTo>
                  <a:lnTo>
                    <a:pt x="18679" y="5661"/>
                  </a:lnTo>
                  <a:lnTo>
                    <a:pt x="17170" y="6793"/>
                  </a:lnTo>
                  <a:lnTo>
                    <a:pt x="15754" y="8019"/>
                  </a:lnTo>
                  <a:lnTo>
                    <a:pt x="14434" y="9151"/>
                  </a:lnTo>
                  <a:lnTo>
                    <a:pt x="11981" y="11510"/>
                  </a:lnTo>
                  <a:lnTo>
                    <a:pt x="10000" y="13774"/>
                  </a:lnTo>
                  <a:lnTo>
                    <a:pt x="7736" y="16981"/>
                  </a:lnTo>
                  <a:lnTo>
                    <a:pt x="8019" y="16321"/>
                  </a:lnTo>
                  <a:lnTo>
                    <a:pt x="8302" y="15660"/>
                  </a:lnTo>
                  <a:lnTo>
                    <a:pt x="7736" y="16604"/>
                  </a:lnTo>
                  <a:lnTo>
                    <a:pt x="7075" y="17642"/>
                  </a:lnTo>
                  <a:lnTo>
                    <a:pt x="7170" y="17830"/>
                  </a:lnTo>
                  <a:lnTo>
                    <a:pt x="6509" y="18868"/>
                  </a:lnTo>
                  <a:lnTo>
                    <a:pt x="7075" y="17359"/>
                  </a:lnTo>
                  <a:lnTo>
                    <a:pt x="6132" y="19057"/>
                  </a:lnTo>
                  <a:lnTo>
                    <a:pt x="5189" y="20849"/>
                  </a:lnTo>
                  <a:lnTo>
                    <a:pt x="4434" y="22736"/>
                  </a:lnTo>
                  <a:lnTo>
                    <a:pt x="3679" y="24622"/>
                  </a:lnTo>
                  <a:lnTo>
                    <a:pt x="2453" y="28490"/>
                  </a:lnTo>
                  <a:lnTo>
                    <a:pt x="1321" y="32169"/>
                  </a:lnTo>
                  <a:lnTo>
                    <a:pt x="1509" y="32264"/>
                  </a:lnTo>
                  <a:lnTo>
                    <a:pt x="1604" y="32453"/>
                  </a:lnTo>
                  <a:lnTo>
                    <a:pt x="1604" y="32641"/>
                  </a:lnTo>
                  <a:lnTo>
                    <a:pt x="1509" y="32924"/>
                  </a:lnTo>
                  <a:lnTo>
                    <a:pt x="1226" y="33396"/>
                  </a:lnTo>
                  <a:lnTo>
                    <a:pt x="1038" y="33585"/>
                  </a:lnTo>
                  <a:lnTo>
                    <a:pt x="1038" y="33773"/>
                  </a:lnTo>
                  <a:lnTo>
                    <a:pt x="1038" y="35000"/>
                  </a:lnTo>
                  <a:lnTo>
                    <a:pt x="849" y="36132"/>
                  </a:lnTo>
                  <a:lnTo>
                    <a:pt x="660" y="37358"/>
                  </a:lnTo>
                  <a:lnTo>
                    <a:pt x="472" y="38867"/>
                  </a:lnTo>
                  <a:lnTo>
                    <a:pt x="283" y="38301"/>
                  </a:lnTo>
                  <a:lnTo>
                    <a:pt x="94" y="39811"/>
                  </a:lnTo>
                  <a:lnTo>
                    <a:pt x="0" y="41509"/>
                  </a:lnTo>
                  <a:lnTo>
                    <a:pt x="94" y="43301"/>
                  </a:lnTo>
                  <a:lnTo>
                    <a:pt x="283" y="44056"/>
                  </a:lnTo>
                  <a:lnTo>
                    <a:pt x="472" y="44622"/>
                  </a:lnTo>
                  <a:lnTo>
                    <a:pt x="566" y="45660"/>
                  </a:lnTo>
                  <a:lnTo>
                    <a:pt x="755" y="46792"/>
                  </a:lnTo>
                  <a:lnTo>
                    <a:pt x="1226" y="48962"/>
                  </a:lnTo>
                  <a:lnTo>
                    <a:pt x="1981" y="51037"/>
                  </a:lnTo>
                  <a:lnTo>
                    <a:pt x="2924" y="53112"/>
                  </a:lnTo>
                  <a:lnTo>
                    <a:pt x="4057" y="55094"/>
                  </a:lnTo>
                  <a:lnTo>
                    <a:pt x="5283" y="56980"/>
                  </a:lnTo>
                  <a:lnTo>
                    <a:pt x="6698" y="58678"/>
                  </a:lnTo>
                  <a:lnTo>
                    <a:pt x="8113" y="60282"/>
                  </a:lnTo>
                  <a:lnTo>
                    <a:pt x="9056" y="61131"/>
                  </a:lnTo>
                  <a:lnTo>
                    <a:pt x="10000" y="61980"/>
                  </a:lnTo>
                  <a:lnTo>
                    <a:pt x="11038" y="62829"/>
                  </a:lnTo>
                  <a:lnTo>
                    <a:pt x="12075" y="63584"/>
                  </a:lnTo>
                  <a:lnTo>
                    <a:pt x="14339" y="64905"/>
                  </a:lnTo>
                  <a:lnTo>
                    <a:pt x="16604" y="66131"/>
                  </a:lnTo>
                  <a:lnTo>
                    <a:pt x="19056" y="67169"/>
                  </a:lnTo>
                  <a:lnTo>
                    <a:pt x="21509" y="67923"/>
                  </a:lnTo>
                  <a:lnTo>
                    <a:pt x="24056" y="68584"/>
                  </a:lnTo>
                  <a:lnTo>
                    <a:pt x="26603" y="69055"/>
                  </a:lnTo>
                  <a:lnTo>
                    <a:pt x="27830" y="69055"/>
                  </a:lnTo>
                  <a:lnTo>
                    <a:pt x="30188" y="68867"/>
                  </a:lnTo>
                  <a:lnTo>
                    <a:pt x="33113" y="68678"/>
                  </a:lnTo>
                  <a:lnTo>
                    <a:pt x="36509" y="68301"/>
                  </a:lnTo>
                  <a:lnTo>
                    <a:pt x="39811" y="67923"/>
                  </a:lnTo>
                  <a:lnTo>
                    <a:pt x="42735" y="67452"/>
                  </a:lnTo>
                  <a:lnTo>
                    <a:pt x="44905" y="66980"/>
                  </a:lnTo>
                  <a:lnTo>
                    <a:pt x="45565" y="66791"/>
                  </a:lnTo>
                  <a:lnTo>
                    <a:pt x="45943" y="66508"/>
                  </a:lnTo>
                  <a:lnTo>
                    <a:pt x="47358" y="65942"/>
                  </a:lnTo>
                  <a:lnTo>
                    <a:pt x="48018" y="65565"/>
                  </a:lnTo>
                  <a:lnTo>
                    <a:pt x="48678" y="65188"/>
                  </a:lnTo>
                  <a:lnTo>
                    <a:pt x="47924" y="65471"/>
                  </a:lnTo>
                  <a:lnTo>
                    <a:pt x="51509" y="62924"/>
                  </a:lnTo>
                  <a:lnTo>
                    <a:pt x="53301" y="61508"/>
                  </a:lnTo>
                  <a:lnTo>
                    <a:pt x="55093" y="59905"/>
                  </a:lnTo>
                  <a:lnTo>
                    <a:pt x="55093" y="59905"/>
                  </a:lnTo>
                  <a:lnTo>
                    <a:pt x="54810" y="60376"/>
                  </a:lnTo>
                  <a:lnTo>
                    <a:pt x="54339" y="60754"/>
                  </a:lnTo>
                  <a:lnTo>
                    <a:pt x="55376" y="59999"/>
                  </a:lnTo>
                  <a:lnTo>
                    <a:pt x="56320" y="59056"/>
                  </a:lnTo>
                  <a:lnTo>
                    <a:pt x="57075" y="58395"/>
                  </a:lnTo>
                  <a:lnTo>
                    <a:pt x="57169" y="58207"/>
                  </a:lnTo>
                  <a:lnTo>
                    <a:pt x="57075" y="58207"/>
                  </a:lnTo>
                  <a:lnTo>
                    <a:pt x="57924" y="57546"/>
                  </a:lnTo>
                  <a:lnTo>
                    <a:pt x="58678" y="56697"/>
                  </a:lnTo>
                  <a:lnTo>
                    <a:pt x="59339" y="55754"/>
                  </a:lnTo>
                  <a:lnTo>
                    <a:pt x="59905" y="54905"/>
                  </a:lnTo>
                  <a:lnTo>
                    <a:pt x="59716" y="54999"/>
                  </a:lnTo>
                  <a:lnTo>
                    <a:pt x="59622" y="54999"/>
                  </a:lnTo>
                  <a:lnTo>
                    <a:pt x="59810" y="54622"/>
                  </a:lnTo>
                  <a:lnTo>
                    <a:pt x="59150" y="55565"/>
                  </a:lnTo>
                  <a:lnTo>
                    <a:pt x="59527" y="55094"/>
                  </a:lnTo>
                  <a:lnTo>
                    <a:pt x="59433" y="55377"/>
                  </a:lnTo>
                  <a:lnTo>
                    <a:pt x="58867" y="56037"/>
                  </a:lnTo>
                  <a:lnTo>
                    <a:pt x="59056" y="55660"/>
                  </a:lnTo>
                  <a:lnTo>
                    <a:pt x="59056" y="55660"/>
                  </a:lnTo>
                  <a:lnTo>
                    <a:pt x="58678" y="56037"/>
                  </a:lnTo>
                  <a:lnTo>
                    <a:pt x="59810" y="54339"/>
                  </a:lnTo>
                  <a:lnTo>
                    <a:pt x="60282" y="53490"/>
                  </a:lnTo>
                  <a:lnTo>
                    <a:pt x="60282" y="53301"/>
                  </a:lnTo>
                  <a:lnTo>
                    <a:pt x="60188" y="53395"/>
                  </a:lnTo>
                  <a:lnTo>
                    <a:pt x="60188" y="53395"/>
                  </a:lnTo>
                  <a:lnTo>
                    <a:pt x="60565" y="52924"/>
                  </a:lnTo>
                  <a:lnTo>
                    <a:pt x="61037" y="52452"/>
                  </a:lnTo>
                  <a:lnTo>
                    <a:pt x="61886" y="51509"/>
                  </a:lnTo>
                  <a:lnTo>
                    <a:pt x="61508" y="52452"/>
                  </a:lnTo>
                  <a:lnTo>
                    <a:pt x="60848" y="53584"/>
                  </a:lnTo>
                  <a:lnTo>
                    <a:pt x="59622" y="55565"/>
                  </a:lnTo>
                  <a:lnTo>
                    <a:pt x="60376" y="54528"/>
                  </a:lnTo>
                  <a:lnTo>
                    <a:pt x="60942" y="53678"/>
                  </a:lnTo>
                  <a:lnTo>
                    <a:pt x="61980" y="51792"/>
                  </a:lnTo>
                  <a:lnTo>
                    <a:pt x="61886" y="51886"/>
                  </a:lnTo>
                  <a:lnTo>
                    <a:pt x="61886" y="51697"/>
                  </a:lnTo>
                  <a:lnTo>
                    <a:pt x="62169" y="51037"/>
                  </a:lnTo>
                  <a:lnTo>
                    <a:pt x="62735" y="49999"/>
                  </a:lnTo>
                  <a:lnTo>
                    <a:pt x="61508" y="51603"/>
                  </a:lnTo>
                  <a:lnTo>
                    <a:pt x="61603" y="51037"/>
                  </a:lnTo>
                  <a:lnTo>
                    <a:pt x="61697" y="50377"/>
                  </a:lnTo>
                  <a:lnTo>
                    <a:pt x="62169" y="48962"/>
                  </a:lnTo>
                  <a:lnTo>
                    <a:pt x="62829" y="47358"/>
                  </a:lnTo>
                  <a:lnTo>
                    <a:pt x="63678" y="45565"/>
                  </a:lnTo>
                  <a:lnTo>
                    <a:pt x="65376" y="42169"/>
                  </a:lnTo>
                  <a:lnTo>
                    <a:pt x="66131" y="40660"/>
                  </a:lnTo>
                  <a:lnTo>
                    <a:pt x="66697" y="39339"/>
                  </a:lnTo>
                  <a:lnTo>
                    <a:pt x="66603" y="39528"/>
                  </a:lnTo>
                  <a:lnTo>
                    <a:pt x="66697" y="39056"/>
                  </a:lnTo>
                  <a:lnTo>
                    <a:pt x="66791" y="38962"/>
                  </a:lnTo>
                  <a:lnTo>
                    <a:pt x="66791" y="39056"/>
                  </a:lnTo>
                  <a:lnTo>
                    <a:pt x="66886" y="38584"/>
                  </a:lnTo>
                  <a:lnTo>
                    <a:pt x="66791" y="38867"/>
                  </a:lnTo>
                  <a:lnTo>
                    <a:pt x="66980" y="38207"/>
                  </a:lnTo>
                  <a:lnTo>
                    <a:pt x="67169" y="37264"/>
                  </a:lnTo>
                  <a:lnTo>
                    <a:pt x="67263" y="36415"/>
                  </a:lnTo>
                  <a:lnTo>
                    <a:pt x="67357" y="36509"/>
                  </a:lnTo>
                  <a:lnTo>
                    <a:pt x="67452" y="36509"/>
                  </a:lnTo>
                  <a:lnTo>
                    <a:pt x="67546" y="35943"/>
                  </a:lnTo>
                  <a:lnTo>
                    <a:pt x="67546" y="34811"/>
                  </a:lnTo>
                  <a:lnTo>
                    <a:pt x="67640" y="31037"/>
                  </a:lnTo>
                  <a:lnTo>
                    <a:pt x="67640" y="28490"/>
                  </a:lnTo>
                  <a:lnTo>
                    <a:pt x="67546" y="27736"/>
                  </a:lnTo>
                  <a:lnTo>
                    <a:pt x="67546" y="27547"/>
                  </a:lnTo>
                  <a:lnTo>
                    <a:pt x="67452" y="27547"/>
                  </a:lnTo>
                  <a:lnTo>
                    <a:pt x="67074" y="26792"/>
                  </a:lnTo>
                  <a:lnTo>
                    <a:pt x="66791" y="25660"/>
                  </a:lnTo>
                  <a:lnTo>
                    <a:pt x="66508" y="24528"/>
                  </a:lnTo>
                  <a:lnTo>
                    <a:pt x="66414" y="23585"/>
                  </a:lnTo>
                  <a:lnTo>
                    <a:pt x="66320" y="23679"/>
                  </a:lnTo>
                  <a:lnTo>
                    <a:pt x="66320" y="23490"/>
                  </a:lnTo>
                  <a:lnTo>
                    <a:pt x="65942" y="22924"/>
                  </a:lnTo>
                  <a:lnTo>
                    <a:pt x="65565" y="22358"/>
                  </a:lnTo>
                  <a:lnTo>
                    <a:pt x="64527" y="21132"/>
                  </a:lnTo>
                  <a:lnTo>
                    <a:pt x="63584" y="19906"/>
                  </a:lnTo>
                  <a:lnTo>
                    <a:pt x="63207" y="19340"/>
                  </a:lnTo>
                  <a:lnTo>
                    <a:pt x="63018" y="18774"/>
                  </a:lnTo>
                  <a:lnTo>
                    <a:pt x="63112" y="18962"/>
                  </a:lnTo>
                  <a:lnTo>
                    <a:pt x="63301" y="19057"/>
                  </a:lnTo>
                  <a:lnTo>
                    <a:pt x="63301" y="19057"/>
                  </a:lnTo>
                  <a:lnTo>
                    <a:pt x="63207" y="18868"/>
                  </a:lnTo>
                  <a:lnTo>
                    <a:pt x="62923" y="18491"/>
                  </a:lnTo>
                  <a:lnTo>
                    <a:pt x="61980" y="17453"/>
                  </a:lnTo>
                  <a:lnTo>
                    <a:pt x="61037" y="16509"/>
                  </a:lnTo>
                  <a:lnTo>
                    <a:pt x="61037" y="16698"/>
                  </a:lnTo>
                  <a:lnTo>
                    <a:pt x="61037" y="16887"/>
                  </a:lnTo>
                  <a:lnTo>
                    <a:pt x="60093" y="15943"/>
                  </a:lnTo>
                  <a:lnTo>
                    <a:pt x="60376" y="16321"/>
                  </a:lnTo>
                  <a:lnTo>
                    <a:pt x="59527" y="15377"/>
                  </a:lnTo>
                  <a:lnTo>
                    <a:pt x="59056" y="14906"/>
                  </a:lnTo>
                  <a:lnTo>
                    <a:pt x="59244" y="14906"/>
                  </a:lnTo>
                  <a:lnTo>
                    <a:pt x="59905" y="15472"/>
                  </a:lnTo>
                  <a:lnTo>
                    <a:pt x="59905" y="15472"/>
                  </a:lnTo>
                  <a:lnTo>
                    <a:pt x="57641" y="13396"/>
                  </a:lnTo>
                  <a:lnTo>
                    <a:pt x="58112" y="13868"/>
                  </a:lnTo>
                  <a:lnTo>
                    <a:pt x="56886" y="13019"/>
                  </a:lnTo>
                  <a:lnTo>
                    <a:pt x="55754" y="12453"/>
                  </a:lnTo>
                  <a:lnTo>
                    <a:pt x="56603" y="13113"/>
                  </a:lnTo>
                  <a:lnTo>
                    <a:pt x="57452" y="13774"/>
                  </a:lnTo>
                  <a:lnTo>
                    <a:pt x="58961" y="15283"/>
                  </a:lnTo>
                  <a:lnTo>
                    <a:pt x="60376" y="16604"/>
                  </a:lnTo>
                  <a:lnTo>
                    <a:pt x="61225" y="17264"/>
                  </a:lnTo>
                  <a:lnTo>
                    <a:pt x="62074" y="17925"/>
                  </a:lnTo>
                  <a:lnTo>
                    <a:pt x="62074" y="17925"/>
                  </a:lnTo>
                  <a:lnTo>
                    <a:pt x="61414" y="17547"/>
                  </a:lnTo>
                  <a:lnTo>
                    <a:pt x="60659" y="16981"/>
                  </a:lnTo>
                  <a:lnTo>
                    <a:pt x="60754" y="17264"/>
                  </a:lnTo>
                  <a:lnTo>
                    <a:pt x="60942" y="17642"/>
                  </a:lnTo>
                  <a:lnTo>
                    <a:pt x="61980" y="19151"/>
                  </a:lnTo>
                  <a:lnTo>
                    <a:pt x="63301" y="20943"/>
                  </a:lnTo>
                  <a:lnTo>
                    <a:pt x="63207" y="20943"/>
                  </a:lnTo>
                  <a:lnTo>
                    <a:pt x="63395" y="21038"/>
                  </a:lnTo>
                  <a:lnTo>
                    <a:pt x="63490" y="21321"/>
                  </a:lnTo>
                  <a:lnTo>
                    <a:pt x="63678" y="21604"/>
                  </a:lnTo>
                  <a:lnTo>
                    <a:pt x="63773" y="21698"/>
                  </a:lnTo>
                  <a:lnTo>
                    <a:pt x="63584" y="21321"/>
                  </a:lnTo>
                  <a:lnTo>
                    <a:pt x="63584" y="21321"/>
                  </a:lnTo>
                  <a:lnTo>
                    <a:pt x="64244" y="22170"/>
                  </a:lnTo>
                  <a:lnTo>
                    <a:pt x="64716" y="22641"/>
                  </a:lnTo>
                  <a:lnTo>
                    <a:pt x="64905" y="22830"/>
                  </a:lnTo>
                  <a:lnTo>
                    <a:pt x="64999" y="22830"/>
                  </a:lnTo>
                  <a:lnTo>
                    <a:pt x="64999" y="22641"/>
                  </a:lnTo>
                  <a:lnTo>
                    <a:pt x="64905" y="22358"/>
                  </a:lnTo>
                  <a:lnTo>
                    <a:pt x="65282" y="23207"/>
                  </a:lnTo>
                  <a:lnTo>
                    <a:pt x="65565" y="24056"/>
                  </a:lnTo>
                  <a:lnTo>
                    <a:pt x="66225" y="25943"/>
                  </a:lnTo>
                  <a:lnTo>
                    <a:pt x="66697" y="27830"/>
                  </a:lnTo>
                  <a:lnTo>
                    <a:pt x="66886" y="28490"/>
                  </a:lnTo>
                  <a:lnTo>
                    <a:pt x="66980" y="28868"/>
                  </a:lnTo>
                  <a:lnTo>
                    <a:pt x="66886" y="28962"/>
                  </a:lnTo>
                  <a:lnTo>
                    <a:pt x="66697" y="28679"/>
                  </a:lnTo>
                  <a:lnTo>
                    <a:pt x="66697" y="29245"/>
                  </a:lnTo>
                  <a:lnTo>
                    <a:pt x="66791" y="29905"/>
                  </a:lnTo>
                  <a:lnTo>
                    <a:pt x="66886" y="29905"/>
                  </a:lnTo>
                  <a:lnTo>
                    <a:pt x="66886" y="30094"/>
                  </a:lnTo>
                  <a:lnTo>
                    <a:pt x="66886" y="30566"/>
                  </a:lnTo>
                  <a:lnTo>
                    <a:pt x="66697" y="30377"/>
                  </a:lnTo>
                  <a:lnTo>
                    <a:pt x="66603" y="30188"/>
                  </a:lnTo>
                  <a:lnTo>
                    <a:pt x="66603" y="30094"/>
                  </a:lnTo>
                  <a:lnTo>
                    <a:pt x="66697" y="29905"/>
                  </a:lnTo>
                  <a:lnTo>
                    <a:pt x="66508" y="28679"/>
                  </a:lnTo>
                  <a:lnTo>
                    <a:pt x="66225" y="27358"/>
                  </a:lnTo>
                  <a:lnTo>
                    <a:pt x="66603" y="30283"/>
                  </a:lnTo>
                  <a:lnTo>
                    <a:pt x="66697" y="31792"/>
                  </a:lnTo>
                  <a:lnTo>
                    <a:pt x="66697" y="33302"/>
                  </a:lnTo>
                  <a:lnTo>
                    <a:pt x="66603" y="34717"/>
                  </a:lnTo>
                  <a:lnTo>
                    <a:pt x="66414" y="36226"/>
                  </a:lnTo>
                  <a:lnTo>
                    <a:pt x="66131" y="37547"/>
                  </a:lnTo>
                  <a:lnTo>
                    <a:pt x="65659" y="38962"/>
                  </a:lnTo>
                  <a:lnTo>
                    <a:pt x="65848" y="38584"/>
                  </a:lnTo>
                  <a:lnTo>
                    <a:pt x="65942" y="38584"/>
                  </a:lnTo>
                  <a:lnTo>
                    <a:pt x="65848" y="39245"/>
                  </a:lnTo>
                  <a:lnTo>
                    <a:pt x="65565" y="40188"/>
                  </a:lnTo>
                  <a:lnTo>
                    <a:pt x="65471" y="40471"/>
                  </a:lnTo>
                  <a:lnTo>
                    <a:pt x="65282" y="40660"/>
                  </a:lnTo>
                  <a:lnTo>
                    <a:pt x="65282" y="40566"/>
                  </a:lnTo>
                  <a:lnTo>
                    <a:pt x="65093" y="41132"/>
                  </a:lnTo>
                  <a:lnTo>
                    <a:pt x="64433" y="43018"/>
                  </a:lnTo>
                  <a:lnTo>
                    <a:pt x="63678" y="45282"/>
                  </a:lnTo>
                  <a:lnTo>
                    <a:pt x="62735" y="47264"/>
                  </a:lnTo>
                  <a:lnTo>
                    <a:pt x="61697" y="49056"/>
                  </a:lnTo>
                  <a:lnTo>
                    <a:pt x="60659" y="50943"/>
                  </a:lnTo>
                  <a:lnTo>
                    <a:pt x="59433" y="52735"/>
                  </a:lnTo>
                  <a:lnTo>
                    <a:pt x="58207" y="54433"/>
                  </a:lnTo>
                  <a:lnTo>
                    <a:pt x="56886" y="56037"/>
                  </a:lnTo>
                  <a:lnTo>
                    <a:pt x="55376" y="57641"/>
                  </a:lnTo>
                  <a:lnTo>
                    <a:pt x="53867" y="59150"/>
                  </a:lnTo>
                  <a:lnTo>
                    <a:pt x="52169" y="60376"/>
                  </a:lnTo>
                  <a:lnTo>
                    <a:pt x="48961" y="62452"/>
                  </a:lnTo>
                  <a:lnTo>
                    <a:pt x="44528" y="65282"/>
                  </a:lnTo>
                  <a:lnTo>
                    <a:pt x="44622" y="65188"/>
                  </a:lnTo>
                  <a:lnTo>
                    <a:pt x="44716" y="65093"/>
                  </a:lnTo>
                  <a:lnTo>
                    <a:pt x="45094" y="64810"/>
                  </a:lnTo>
                  <a:lnTo>
                    <a:pt x="45660" y="64527"/>
                  </a:lnTo>
                  <a:lnTo>
                    <a:pt x="43867" y="65376"/>
                  </a:lnTo>
                  <a:lnTo>
                    <a:pt x="43113" y="65754"/>
                  </a:lnTo>
                  <a:lnTo>
                    <a:pt x="42924" y="65754"/>
                  </a:lnTo>
                  <a:lnTo>
                    <a:pt x="43113" y="65659"/>
                  </a:lnTo>
                  <a:lnTo>
                    <a:pt x="41603" y="66037"/>
                  </a:lnTo>
                  <a:lnTo>
                    <a:pt x="39999" y="66320"/>
                  </a:lnTo>
                  <a:lnTo>
                    <a:pt x="38396" y="66508"/>
                  </a:lnTo>
                  <a:lnTo>
                    <a:pt x="36792" y="66697"/>
                  </a:lnTo>
                  <a:lnTo>
                    <a:pt x="33584" y="66980"/>
                  </a:lnTo>
                  <a:lnTo>
                    <a:pt x="32169" y="67169"/>
                  </a:lnTo>
                  <a:lnTo>
                    <a:pt x="30754" y="67357"/>
                  </a:lnTo>
                  <a:lnTo>
                    <a:pt x="30094" y="67357"/>
                  </a:lnTo>
                  <a:lnTo>
                    <a:pt x="29339" y="67263"/>
                  </a:lnTo>
                  <a:lnTo>
                    <a:pt x="27830" y="66886"/>
                  </a:lnTo>
                  <a:lnTo>
                    <a:pt x="26415" y="66508"/>
                  </a:lnTo>
                  <a:lnTo>
                    <a:pt x="25754" y="66414"/>
                  </a:lnTo>
                  <a:lnTo>
                    <a:pt x="25094" y="66414"/>
                  </a:lnTo>
                  <a:lnTo>
                    <a:pt x="25566" y="66980"/>
                  </a:lnTo>
                  <a:lnTo>
                    <a:pt x="25471" y="67074"/>
                  </a:lnTo>
                  <a:lnTo>
                    <a:pt x="25188" y="66980"/>
                  </a:lnTo>
                  <a:lnTo>
                    <a:pt x="24339" y="66791"/>
                  </a:lnTo>
                  <a:lnTo>
                    <a:pt x="23773" y="66508"/>
                  </a:lnTo>
                  <a:lnTo>
                    <a:pt x="24245" y="66414"/>
                  </a:lnTo>
                  <a:lnTo>
                    <a:pt x="24717" y="66603"/>
                  </a:lnTo>
                  <a:lnTo>
                    <a:pt x="24811" y="66414"/>
                  </a:lnTo>
                  <a:lnTo>
                    <a:pt x="24811" y="66320"/>
                  </a:lnTo>
                  <a:lnTo>
                    <a:pt x="24717" y="66225"/>
                  </a:lnTo>
                  <a:lnTo>
                    <a:pt x="24528" y="66131"/>
                  </a:lnTo>
                  <a:lnTo>
                    <a:pt x="24151" y="66225"/>
                  </a:lnTo>
                  <a:lnTo>
                    <a:pt x="23679" y="66320"/>
                  </a:lnTo>
                  <a:lnTo>
                    <a:pt x="23018" y="66414"/>
                  </a:lnTo>
                  <a:lnTo>
                    <a:pt x="23490" y="66225"/>
                  </a:lnTo>
                  <a:lnTo>
                    <a:pt x="22075" y="65942"/>
                  </a:lnTo>
                  <a:lnTo>
                    <a:pt x="20943" y="65659"/>
                  </a:lnTo>
                  <a:lnTo>
                    <a:pt x="20000" y="65282"/>
                  </a:lnTo>
                  <a:lnTo>
                    <a:pt x="19056" y="64810"/>
                  </a:lnTo>
                  <a:lnTo>
                    <a:pt x="19056" y="64810"/>
                  </a:lnTo>
                  <a:lnTo>
                    <a:pt x="19717" y="64999"/>
                  </a:lnTo>
                  <a:lnTo>
                    <a:pt x="19151" y="64716"/>
                  </a:lnTo>
                  <a:lnTo>
                    <a:pt x="18962" y="64810"/>
                  </a:lnTo>
                  <a:lnTo>
                    <a:pt x="19151" y="64905"/>
                  </a:lnTo>
                  <a:lnTo>
                    <a:pt x="18490" y="64905"/>
                  </a:lnTo>
                  <a:lnTo>
                    <a:pt x="17830" y="64716"/>
                  </a:lnTo>
                  <a:lnTo>
                    <a:pt x="17264" y="64527"/>
                  </a:lnTo>
                  <a:lnTo>
                    <a:pt x="16698" y="64150"/>
                  </a:lnTo>
                  <a:lnTo>
                    <a:pt x="16981" y="64056"/>
                  </a:lnTo>
                  <a:lnTo>
                    <a:pt x="17264" y="64150"/>
                  </a:lnTo>
                  <a:lnTo>
                    <a:pt x="17264" y="64150"/>
                  </a:lnTo>
                  <a:lnTo>
                    <a:pt x="15188" y="63207"/>
                  </a:lnTo>
                  <a:lnTo>
                    <a:pt x="14622" y="62829"/>
                  </a:lnTo>
                  <a:lnTo>
                    <a:pt x="14717" y="62924"/>
                  </a:lnTo>
                  <a:lnTo>
                    <a:pt x="13773" y="62546"/>
                  </a:lnTo>
                  <a:lnTo>
                    <a:pt x="12924" y="62075"/>
                  </a:lnTo>
                  <a:lnTo>
                    <a:pt x="12358" y="61697"/>
                  </a:lnTo>
                  <a:lnTo>
                    <a:pt x="12264" y="61508"/>
                  </a:lnTo>
                  <a:lnTo>
                    <a:pt x="12170" y="61320"/>
                  </a:lnTo>
                  <a:lnTo>
                    <a:pt x="11698" y="60942"/>
                  </a:lnTo>
                  <a:lnTo>
                    <a:pt x="11132" y="60471"/>
                  </a:lnTo>
                  <a:lnTo>
                    <a:pt x="9906" y="59244"/>
                  </a:lnTo>
                  <a:lnTo>
                    <a:pt x="9906" y="59244"/>
                  </a:lnTo>
                  <a:lnTo>
                    <a:pt x="10566" y="59527"/>
                  </a:lnTo>
                  <a:lnTo>
                    <a:pt x="9434" y="58584"/>
                  </a:lnTo>
                  <a:lnTo>
                    <a:pt x="8207" y="57546"/>
                  </a:lnTo>
                  <a:lnTo>
                    <a:pt x="7547" y="56886"/>
                  </a:lnTo>
                  <a:lnTo>
                    <a:pt x="6981" y="56131"/>
                  </a:lnTo>
                  <a:lnTo>
                    <a:pt x="6226" y="55094"/>
                  </a:lnTo>
                  <a:lnTo>
                    <a:pt x="6415" y="55377"/>
                  </a:lnTo>
                  <a:lnTo>
                    <a:pt x="6038" y="54905"/>
                  </a:lnTo>
                  <a:lnTo>
                    <a:pt x="5472" y="54244"/>
                  </a:lnTo>
                  <a:lnTo>
                    <a:pt x="5283" y="53961"/>
                  </a:lnTo>
                  <a:lnTo>
                    <a:pt x="5094" y="53867"/>
                  </a:lnTo>
                  <a:lnTo>
                    <a:pt x="5377" y="54622"/>
                  </a:lnTo>
                  <a:lnTo>
                    <a:pt x="5849" y="55282"/>
                  </a:lnTo>
                  <a:lnTo>
                    <a:pt x="6321" y="55943"/>
                  </a:lnTo>
                  <a:lnTo>
                    <a:pt x="6698" y="56603"/>
                  </a:lnTo>
                  <a:lnTo>
                    <a:pt x="6226" y="56226"/>
                  </a:lnTo>
                  <a:lnTo>
                    <a:pt x="5943" y="55848"/>
                  </a:lnTo>
                  <a:lnTo>
                    <a:pt x="6038" y="56037"/>
                  </a:lnTo>
                  <a:lnTo>
                    <a:pt x="5943" y="55943"/>
                  </a:lnTo>
                  <a:lnTo>
                    <a:pt x="5377" y="55188"/>
                  </a:lnTo>
                  <a:lnTo>
                    <a:pt x="5000" y="54716"/>
                  </a:lnTo>
                  <a:lnTo>
                    <a:pt x="4717" y="54150"/>
                  </a:lnTo>
                  <a:lnTo>
                    <a:pt x="4528" y="53678"/>
                  </a:lnTo>
                  <a:lnTo>
                    <a:pt x="4528" y="53584"/>
                  </a:lnTo>
                  <a:lnTo>
                    <a:pt x="4623" y="53395"/>
                  </a:lnTo>
                  <a:lnTo>
                    <a:pt x="5094" y="54244"/>
                  </a:lnTo>
                  <a:lnTo>
                    <a:pt x="4717" y="53301"/>
                  </a:lnTo>
                  <a:lnTo>
                    <a:pt x="4528" y="53018"/>
                  </a:lnTo>
                  <a:lnTo>
                    <a:pt x="4151" y="52263"/>
                  </a:lnTo>
                  <a:lnTo>
                    <a:pt x="4151" y="52169"/>
                  </a:lnTo>
                  <a:lnTo>
                    <a:pt x="3774" y="51509"/>
                  </a:lnTo>
                  <a:lnTo>
                    <a:pt x="3396" y="50660"/>
                  </a:lnTo>
                  <a:lnTo>
                    <a:pt x="3585" y="51603"/>
                  </a:lnTo>
                  <a:lnTo>
                    <a:pt x="3396" y="51226"/>
                  </a:lnTo>
                  <a:lnTo>
                    <a:pt x="3208" y="50848"/>
                  </a:lnTo>
                  <a:lnTo>
                    <a:pt x="3208" y="50471"/>
                  </a:lnTo>
                  <a:lnTo>
                    <a:pt x="3208" y="50094"/>
                  </a:lnTo>
                  <a:lnTo>
                    <a:pt x="3585" y="50754"/>
                  </a:lnTo>
                  <a:lnTo>
                    <a:pt x="3868" y="51509"/>
                  </a:lnTo>
                  <a:lnTo>
                    <a:pt x="3868" y="51509"/>
                  </a:lnTo>
                  <a:lnTo>
                    <a:pt x="3208" y="49528"/>
                  </a:lnTo>
                  <a:lnTo>
                    <a:pt x="3208" y="49528"/>
                  </a:lnTo>
                  <a:lnTo>
                    <a:pt x="3868" y="50754"/>
                  </a:lnTo>
                  <a:lnTo>
                    <a:pt x="3208" y="48962"/>
                  </a:lnTo>
                  <a:lnTo>
                    <a:pt x="3585" y="49339"/>
                  </a:lnTo>
                  <a:lnTo>
                    <a:pt x="3774" y="49433"/>
                  </a:lnTo>
                  <a:lnTo>
                    <a:pt x="3962" y="49528"/>
                  </a:lnTo>
                  <a:lnTo>
                    <a:pt x="4057" y="49905"/>
                  </a:lnTo>
                  <a:lnTo>
                    <a:pt x="3868" y="48962"/>
                  </a:lnTo>
                  <a:lnTo>
                    <a:pt x="3491" y="47924"/>
                  </a:lnTo>
                  <a:lnTo>
                    <a:pt x="2641" y="45565"/>
                  </a:lnTo>
                  <a:lnTo>
                    <a:pt x="2170" y="43867"/>
                  </a:lnTo>
                  <a:lnTo>
                    <a:pt x="1698" y="41886"/>
                  </a:lnTo>
                  <a:lnTo>
                    <a:pt x="1698" y="41886"/>
                  </a:lnTo>
                  <a:lnTo>
                    <a:pt x="1887" y="42075"/>
                  </a:lnTo>
                  <a:lnTo>
                    <a:pt x="1981" y="41981"/>
                  </a:lnTo>
                  <a:lnTo>
                    <a:pt x="2075" y="42075"/>
                  </a:lnTo>
                  <a:lnTo>
                    <a:pt x="2264" y="42169"/>
                  </a:lnTo>
                  <a:lnTo>
                    <a:pt x="2170" y="40283"/>
                  </a:lnTo>
                  <a:lnTo>
                    <a:pt x="2075" y="38301"/>
                  </a:lnTo>
                  <a:lnTo>
                    <a:pt x="2170" y="36415"/>
                  </a:lnTo>
                  <a:lnTo>
                    <a:pt x="2358" y="35566"/>
                  </a:lnTo>
                  <a:lnTo>
                    <a:pt x="2453" y="34811"/>
                  </a:lnTo>
                  <a:lnTo>
                    <a:pt x="2830" y="32830"/>
                  </a:lnTo>
                  <a:lnTo>
                    <a:pt x="2830" y="33207"/>
                  </a:lnTo>
                  <a:lnTo>
                    <a:pt x="2924" y="33490"/>
                  </a:lnTo>
                  <a:lnTo>
                    <a:pt x="2924" y="32453"/>
                  </a:lnTo>
                  <a:lnTo>
                    <a:pt x="3019" y="31415"/>
                  </a:lnTo>
                  <a:lnTo>
                    <a:pt x="3396" y="29245"/>
                  </a:lnTo>
                  <a:lnTo>
                    <a:pt x="3868" y="27075"/>
                  </a:lnTo>
                  <a:lnTo>
                    <a:pt x="4623" y="25000"/>
                  </a:lnTo>
                  <a:lnTo>
                    <a:pt x="5566" y="22830"/>
                  </a:lnTo>
                  <a:lnTo>
                    <a:pt x="6604" y="20849"/>
                  </a:lnTo>
                  <a:lnTo>
                    <a:pt x="7830" y="18868"/>
                  </a:lnTo>
                  <a:lnTo>
                    <a:pt x="9151" y="16887"/>
                  </a:lnTo>
                  <a:lnTo>
                    <a:pt x="10566" y="15094"/>
                  </a:lnTo>
                  <a:lnTo>
                    <a:pt x="12075" y="13302"/>
                  </a:lnTo>
                  <a:lnTo>
                    <a:pt x="13773" y="11698"/>
                  </a:lnTo>
                  <a:lnTo>
                    <a:pt x="15377" y="10095"/>
                  </a:lnTo>
                  <a:lnTo>
                    <a:pt x="17170" y="8679"/>
                  </a:lnTo>
                  <a:lnTo>
                    <a:pt x="18962" y="7453"/>
                  </a:lnTo>
                  <a:lnTo>
                    <a:pt x="20754" y="6321"/>
                  </a:lnTo>
                  <a:lnTo>
                    <a:pt x="22547" y="5378"/>
                  </a:lnTo>
                  <a:lnTo>
                    <a:pt x="21603" y="6227"/>
                  </a:lnTo>
                  <a:lnTo>
                    <a:pt x="22641" y="5472"/>
                  </a:lnTo>
                  <a:lnTo>
                    <a:pt x="23302" y="5095"/>
                  </a:lnTo>
                  <a:lnTo>
                    <a:pt x="25377" y="4151"/>
                  </a:lnTo>
                  <a:lnTo>
                    <a:pt x="24811" y="4151"/>
                  </a:lnTo>
                  <a:lnTo>
                    <a:pt x="25660" y="3774"/>
                  </a:lnTo>
                  <a:lnTo>
                    <a:pt x="26886" y="3208"/>
                  </a:lnTo>
                  <a:lnTo>
                    <a:pt x="26603" y="3585"/>
                  </a:lnTo>
                  <a:lnTo>
                    <a:pt x="26886" y="3585"/>
                  </a:lnTo>
                  <a:lnTo>
                    <a:pt x="26886" y="3680"/>
                  </a:lnTo>
                  <a:lnTo>
                    <a:pt x="26792" y="3774"/>
                  </a:lnTo>
                  <a:lnTo>
                    <a:pt x="28301" y="3302"/>
                  </a:lnTo>
                  <a:lnTo>
                    <a:pt x="29622" y="2736"/>
                  </a:lnTo>
                  <a:lnTo>
                    <a:pt x="31037" y="2264"/>
                  </a:lnTo>
                  <a:lnTo>
                    <a:pt x="31792" y="2076"/>
                  </a:lnTo>
                  <a:lnTo>
                    <a:pt x="32641" y="1981"/>
                  </a:lnTo>
                  <a:lnTo>
                    <a:pt x="32547" y="2076"/>
                  </a:lnTo>
                  <a:lnTo>
                    <a:pt x="32924" y="1981"/>
                  </a:lnTo>
                  <a:lnTo>
                    <a:pt x="34245" y="1793"/>
                  </a:lnTo>
                  <a:lnTo>
                    <a:pt x="35848" y="1415"/>
                  </a:lnTo>
                  <a:lnTo>
                    <a:pt x="36981" y="1132"/>
                  </a:lnTo>
                  <a:lnTo>
                    <a:pt x="36981" y="1415"/>
                  </a:lnTo>
                  <a:lnTo>
                    <a:pt x="40943" y="1227"/>
                  </a:lnTo>
                  <a:lnTo>
                    <a:pt x="41509" y="1038"/>
                  </a:lnTo>
                  <a:lnTo>
                    <a:pt x="41697" y="1132"/>
                  </a:lnTo>
                  <a:lnTo>
                    <a:pt x="41509" y="1227"/>
                  </a:lnTo>
                  <a:lnTo>
                    <a:pt x="41320" y="1321"/>
                  </a:lnTo>
                  <a:lnTo>
                    <a:pt x="42263" y="1321"/>
                  </a:lnTo>
                  <a:lnTo>
                    <a:pt x="43113" y="1227"/>
                  </a:lnTo>
                  <a:lnTo>
                    <a:pt x="43396" y="1415"/>
                  </a:lnTo>
                  <a:lnTo>
                    <a:pt x="44056" y="1604"/>
                  </a:lnTo>
                  <a:lnTo>
                    <a:pt x="45943" y="2076"/>
                  </a:lnTo>
                  <a:lnTo>
                    <a:pt x="48018" y="2359"/>
                  </a:lnTo>
                  <a:lnTo>
                    <a:pt x="49622" y="2736"/>
                  </a:lnTo>
                  <a:lnTo>
                    <a:pt x="47641" y="1981"/>
                  </a:lnTo>
                  <a:lnTo>
                    <a:pt x="45282" y="1321"/>
                  </a:lnTo>
                  <a:lnTo>
                    <a:pt x="42735" y="755"/>
                  </a:lnTo>
                  <a:lnTo>
                    <a:pt x="40188" y="283"/>
                  </a:lnTo>
                  <a:lnTo>
                    <a:pt x="37735" y="95"/>
                  </a:lnTo>
                  <a:lnTo>
                    <a:pt x="35471" y="0"/>
                  </a:lnTo>
                  <a:close/>
                </a:path>
              </a:pathLst>
            </a:custGeom>
            <a:solidFill>
              <a:srgbClr val="FF0000"/>
            </a:solidFill>
            <a:ln>
              <a:noFill/>
            </a:ln>
          </p:spPr>
          <p:txBody>
            <a:bodyPr spcFirstLastPara="1" wrap="square" lIns="91425" tIns="91425" rIns="91425" bIns="91425" anchor="ctr" anchorCtr="0">
              <a:noAutofit/>
            </a:bodyPr>
            <a:lstStyle/>
            <a:p>
              <a:pPr marL="0" lvl="0" indent="0">
                <a:spcBef>
                  <a:spcPts val="0"/>
                </a:spcBef>
                <a:spcAft>
                  <a:spcPts val="0"/>
                </a:spcAft>
                <a:buNone/>
              </a:pPr>
              <a:endParaRPr sz="1100"/>
            </a:p>
          </p:txBody>
        </p:sp>
        <p:sp>
          <p:nvSpPr>
            <p:cNvPr id="537" name="TextBox 536">
              <a:extLst>
                <a:ext uri="{FF2B5EF4-FFF2-40B4-BE49-F238E27FC236}">
                  <a16:creationId xmlns:a16="http://schemas.microsoft.com/office/drawing/2014/main" id="{2A907148-81A9-524D-82B3-E4DF85AA1276}"/>
                </a:ext>
              </a:extLst>
            </p:cNvPr>
            <p:cNvSpPr txBox="1"/>
            <p:nvPr/>
          </p:nvSpPr>
          <p:spPr>
            <a:xfrm>
              <a:off x="702590" y="1204757"/>
              <a:ext cx="301686" cy="260896"/>
            </a:xfrm>
            <a:prstGeom prst="rect">
              <a:avLst/>
            </a:prstGeom>
            <a:noFill/>
          </p:spPr>
          <p:txBody>
            <a:bodyPr wrap="square" rtlCol="0">
              <a:spAutoFit/>
            </a:bodyPr>
            <a:lstStyle/>
            <a:p>
              <a:r>
                <a:rPr lang="en-US" sz="700" dirty="0">
                  <a:solidFill>
                    <a:srgbClr val="FF0000"/>
                  </a:solidFill>
                </a:rPr>
                <a:t>7.</a:t>
              </a:r>
            </a:p>
          </p:txBody>
        </p:sp>
      </p:grpSp>
      <p:sp>
        <p:nvSpPr>
          <p:cNvPr id="548" name="Rounded Rectangle 547">
            <a:extLst>
              <a:ext uri="{FF2B5EF4-FFF2-40B4-BE49-F238E27FC236}">
                <a16:creationId xmlns:a16="http://schemas.microsoft.com/office/drawing/2014/main" id="{96F79205-F795-D04E-AAB1-CE4F8AB43F36}"/>
              </a:ext>
            </a:extLst>
          </p:cNvPr>
          <p:cNvSpPr/>
          <p:nvPr/>
        </p:nvSpPr>
        <p:spPr>
          <a:xfrm>
            <a:off x="4879395" y="1963357"/>
            <a:ext cx="2453796" cy="3779481"/>
          </a:xfrm>
          <a:prstGeom prst="roundRect">
            <a:avLst/>
          </a:prstGeom>
          <a:solidFill>
            <a:schemeClr val="bg1">
              <a:lumMod val="85000"/>
            </a:schemeClr>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1200" b="1" dirty="0">
                <a:solidFill>
                  <a:schemeClr val="bg1">
                    <a:lumMod val="50000"/>
                  </a:schemeClr>
                </a:solidFill>
                <a:latin typeface="Nanum Pen Script" panose="03040600000000000000" pitchFamily="66" charset="-127"/>
                <a:ea typeface="Nanum Pen Script" panose="03040600000000000000" pitchFamily="66" charset="-127"/>
              </a:rPr>
              <a:t>Kafka Cluster (Brokers, Zookeeper)</a:t>
            </a:r>
          </a:p>
          <a:p>
            <a:pPr algn="ctr"/>
            <a:endParaRPr lang="en-US" sz="12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2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2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1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1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1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1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3200" dirty="0">
              <a:solidFill>
                <a:schemeClr val="tx1"/>
              </a:solidFill>
              <a:latin typeface="Nanum Pen Script" panose="03040600000000000000" pitchFamily="66" charset="-127"/>
              <a:ea typeface="Nanum Pen Script" panose="03040600000000000000" pitchFamily="66" charset="-127"/>
            </a:endParaRPr>
          </a:p>
          <a:p>
            <a:pPr algn="ctr"/>
            <a:endParaRPr lang="en-US" sz="3200" dirty="0">
              <a:solidFill>
                <a:schemeClr val="tx1"/>
              </a:solidFill>
              <a:latin typeface="Nanum Pen Script" panose="03040600000000000000" pitchFamily="66" charset="-127"/>
              <a:ea typeface="Nanum Pen Script" panose="03040600000000000000" pitchFamily="66" charset="-127"/>
            </a:endParaRPr>
          </a:p>
        </p:txBody>
      </p:sp>
      <p:sp>
        <p:nvSpPr>
          <p:cNvPr id="549" name="Rounded Rectangle 548">
            <a:extLst>
              <a:ext uri="{FF2B5EF4-FFF2-40B4-BE49-F238E27FC236}">
                <a16:creationId xmlns:a16="http://schemas.microsoft.com/office/drawing/2014/main" id="{1D39F0A1-D90B-0045-A218-97F3991E85BC}"/>
              </a:ext>
            </a:extLst>
          </p:cNvPr>
          <p:cNvSpPr/>
          <p:nvPr/>
        </p:nvSpPr>
        <p:spPr>
          <a:xfrm>
            <a:off x="5106099" y="2396950"/>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550" name="Rounded Rectangle 549">
            <a:extLst>
              <a:ext uri="{FF2B5EF4-FFF2-40B4-BE49-F238E27FC236}">
                <a16:creationId xmlns:a16="http://schemas.microsoft.com/office/drawing/2014/main" id="{F4229784-499F-4942-B440-E546993CE843}"/>
              </a:ext>
            </a:extLst>
          </p:cNvPr>
          <p:cNvSpPr/>
          <p:nvPr/>
        </p:nvSpPr>
        <p:spPr>
          <a:xfrm>
            <a:off x="5300262" y="2396949"/>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551" name="Rounded Rectangle 550">
            <a:extLst>
              <a:ext uri="{FF2B5EF4-FFF2-40B4-BE49-F238E27FC236}">
                <a16:creationId xmlns:a16="http://schemas.microsoft.com/office/drawing/2014/main" id="{E4D30208-DA13-C643-8D66-AB0C0F3F0AFF}"/>
              </a:ext>
            </a:extLst>
          </p:cNvPr>
          <p:cNvSpPr/>
          <p:nvPr/>
        </p:nvSpPr>
        <p:spPr>
          <a:xfrm>
            <a:off x="5494425" y="2394391"/>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552" name="Rounded Rectangle 551">
            <a:extLst>
              <a:ext uri="{FF2B5EF4-FFF2-40B4-BE49-F238E27FC236}">
                <a16:creationId xmlns:a16="http://schemas.microsoft.com/office/drawing/2014/main" id="{817AD0CD-488B-4D47-BFD2-3B07188A9B2E}"/>
              </a:ext>
            </a:extLst>
          </p:cNvPr>
          <p:cNvSpPr/>
          <p:nvPr/>
        </p:nvSpPr>
        <p:spPr>
          <a:xfrm>
            <a:off x="5686834" y="2397227"/>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553" name="Rounded Rectangle 552">
            <a:extLst>
              <a:ext uri="{FF2B5EF4-FFF2-40B4-BE49-F238E27FC236}">
                <a16:creationId xmlns:a16="http://schemas.microsoft.com/office/drawing/2014/main" id="{836A25DD-3EB2-C144-9FB6-9E47D437179D}"/>
              </a:ext>
            </a:extLst>
          </p:cNvPr>
          <p:cNvSpPr/>
          <p:nvPr/>
        </p:nvSpPr>
        <p:spPr>
          <a:xfrm>
            <a:off x="5877568" y="2401063"/>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554" name="Rounded Rectangle 553">
            <a:extLst>
              <a:ext uri="{FF2B5EF4-FFF2-40B4-BE49-F238E27FC236}">
                <a16:creationId xmlns:a16="http://schemas.microsoft.com/office/drawing/2014/main" id="{06830B3A-652E-4944-B917-EE25032CCFB1}"/>
              </a:ext>
            </a:extLst>
          </p:cNvPr>
          <p:cNvSpPr/>
          <p:nvPr/>
        </p:nvSpPr>
        <p:spPr>
          <a:xfrm>
            <a:off x="6061457" y="2390788"/>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555" name="Rounded Rectangle 554">
            <a:extLst>
              <a:ext uri="{FF2B5EF4-FFF2-40B4-BE49-F238E27FC236}">
                <a16:creationId xmlns:a16="http://schemas.microsoft.com/office/drawing/2014/main" id="{FB1AD208-A611-FB41-984F-496D7BEB098D}"/>
              </a:ext>
            </a:extLst>
          </p:cNvPr>
          <p:cNvSpPr/>
          <p:nvPr/>
        </p:nvSpPr>
        <p:spPr>
          <a:xfrm>
            <a:off x="6255620" y="2398062"/>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556" name="Rounded Rectangle 555">
            <a:extLst>
              <a:ext uri="{FF2B5EF4-FFF2-40B4-BE49-F238E27FC236}">
                <a16:creationId xmlns:a16="http://schemas.microsoft.com/office/drawing/2014/main" id="{5CDC85C2-EFAD-DA49-925B-0E5D9B87AA66}"/>
              </a:ext>
            </a:extLst>
          </p:cNvPr>
          <p:cNvSpPr/>
          <p:nvPr/>
        </p:nvSpPr>
        <p:spPr>
          <a:xfrm>
            <a:off x="6448029" y="2391066"/>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557" name="TextBox 556">
            <a:extLst>
              <a:ext uri="{FF2B5EF4-FFF2-40B4-BE49-F238E27FC236}">
                <a16:creationId xmlns:a16="http://schemas.microsoft.com/office/drawing/2014/main" id="{B3D27BF8-425D-9747-AC90-40CB1D817798}"/>
              </a:ext>
            </a:extLst>
          </p:cNvPr>
          <p:cNvSpPr txBox="1"/>
          <p:nvPr/>
        </p:nvSpPr>
        <p:spPr>
          <a:xfrm>
            <a:off x="4895316" y="2505233"/>
            <a:ext cx="1289135" cy="366424"/>
          </a:xfrm>
          <a:prstGeom prst="rect">
            <a:avLst/>
          </a:prstGeom>
          <a:noFill/>
        </p:spPr>
        <p:txBody>
          <a:bodyPr wrap="none" tIns="90000" bIns="90000" rtlCol="0" anchor="t">
            <a:spAutoFit/>
          </a:bodyPr>
          <a:lstStyle/>
          <a:p>
            <a:pPr algn="ctr" defTabSz="457200"/>
            <a:r>
              <a:rPr lang="en-US" sz="12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Name Events (Topic)</a:t>
            </a:r>
          </a:p>
        </p:txBody>
      </p:sp>
      <p:sp>
        <p:nvSpPr>
          <p:cNvPr id="558" name="Rounded Rectangle 557">
            <a:extLst>
              <a:ext uri="{FF2B5EF4-FFF2-40B4-BE49-F238E27FC236}">
                <a16:creationId xmlns:a16="http://schemas.microsoft.com/office/drawing/2014/main" id="{B733CBCF-DE9F-D44A-B72F-0DAE480914BF}"/>
              </a:ext>
            </a:extLst>
          </p:cNvPr>
          <p:cNvSpPr/>
          <p:nvPr/>
        </p:nvSpPr>
        <p:spPr>
          <a:xfrm>
            <a:off x="5095371" y="2883372"/>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559" name="Rounded Rectangle 558">
            <a:extLst>
              <a:ext uri="{FF2B5EF4-FFF2-40B4-BE49-F238E27FC236}">
                <a16:creationId xmlns:a16="http://schemas.microsoft.com/office/drawing/2014/main" id="{47D584ED-AA4F-EE49-BB3C-3A39B776E4B4}"/>
              </a:ext>
            </a:extLst>
          </p:cNvPr>
          <p:cNvSpPr/>
          <p:nvPr/>
        </p:nvSpPr>
        <p:spPr>
          <a:xfrm>
            <a:off x="5289534" y="2883371"/>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560" name="Rounded Rectangle 559">
            <a:extLst>
              <a:ext uri="{FF2B5EF4-FFF2-40B4-BE49-F238E27FC236}">
                <a16:creationId xmlns:a16="http://schemas.microsoft.com/office/drawing/2014/main" id="{03B1449C-76E9-7648-9EDC-5211CD25D619}"/>
              </a:ext>
            </a:extLst>
          </p:cNvPr>
          <p:cNvSpPr/>
          <p:nvPr/>
        </p:nvSpPr>
        <p:spPr>
          <a:xfrm>
            <a:off x="5483697" y="2883371"/>
            <a:ext cx="180437"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561" name="Rounded Rectangle 560">
            <a:extLst>
              <a:ext uri="{FF2B5EF4-FFF2-40B4-BE49-F238E27FC236}">
                <a16:creationId xmlns:a16="http://schemas.microsoft.com/office/drawing/2014/main" id="{04D3BBD4-0EC1-E34D-AF21-F2F96E9FB135}"/>
              </a:ext>
            </a:extLst>
          </p:cNvPr>
          <p:cNvSpPr/>
          <p:nvPr/>
        </p:nvSpPr>
        <p:spPr>
          <a:xfrm>
            <a:off x="5676106" y="2883649"/>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562" name="Rounded Rectangle 561">
            <a:extLst>
              <a:ext uri="{FF2B5EF4-FFF2-40B4-BE49-F238E27FC236}">
                <a16:creationId xmlns:a16="http://schemas.microsoft.com/office/drawing/2014/main" id="{4F55DE6B-8CCB-4F42-9CFB-B77099F84D0A}"/>
              </a:ext>
            </a:extLst>
          </p:cNvPr>
          <p:cNvSpPr/>
          <p:nvPr/>
        </p:nvSpPr>
        <p:spPr>
          <a:xfrm>
            <a:off x="5856566" y="2887043"/>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563" name="Rounded Rectangle 562">
            <a:extLst>
              <a:ext uri="{FF2B5EF4-FFF2-40B4-BE49-F238E27FC236}">
                <a16:creationId xmlns:a16="http://schemas.microsoft.com/office/drawing/2014/main" id="{2A4E2965-2A91-D349-8254-34406FF39016}"/>
              </a:ext>
            </a:extLst>
          </p:cNvPr>
          <p:cNvSpPr/>
          <p:nvPr/>
        </p:nvSpPr>
        <p:spPr>
          <a:xfrm>
            <a:off x="6050729" y="2887042"/>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564" name="Rounded Rectangle 563">
            <a:extLst>
              <a:ext uri="{FF2B5EF4-FFF2-40B4-BE49-F238E27FC236}">
                <a16:creationId xmlns:a16="http://schemas.microsoft.com/office/drawing/2014/main" id="{354D7627-E8DB-3B4D-8E6C-943E45390C4E}"/>
              </a:ext>
            </a:extLst>
          </p:cNvPr>
          <p:cNvSpPr/>
          <p:nvPr/>
        </p:nvSpPr>
        <p:spPr>
          <a:xfrm>
            <a:off x="6244892" y="2884484"/>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565" name="Rounded Rectangle 564">
            <a:extLst>
              <a:ext uri="{FF2B5EF4-FFF2-40B4-BE49-F238E27FC236}">
                <a16:creationId xmlns:a16="http://schemas.microsoft.com/office/drawing/2014/main" id="{16A70DF5-35E6-6941-984F-006B890B4577}"/>
              </a:ext>
            </a:extLst>
          </p:cNvPr>
          <p:cNvSpPr/>
          <p:nvPr/>
        </p:nvSpPr>
        <p:spPr>
          <a:xfrm>
            <a:off x="6437301" y="2887320"/>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566" name="TextBox 565">
            <a:extLst>
              <a:ext uri="{FF2B5EF4-FFF2-40B4-BE49-F238E27FC236}">
                <a16:creationId xmlns:a16="http://schemas.microsoft.com/office/drawing/2014/main" id="{0D8B18D7-0553-0F4A-A5EE-05B042E57C93}"/>
              </a:ext>
            </a:extLst>
          </p:cNvPr>
          <p:cNvSpPr txBox="1"/>
          <p:nvPr/>
        </p:nvSpPr>
        <p:spPr>
          <a:xfrm>
            <a:off x="4884588" y="2991655"/>
            <a:ext cx="1289135" cy="366424"/>
          </a:xfrm>
          <a:prstGeom prst="rect">
            <a:avLst/>
          </a:prstGeom>
          <a:noFill/>
        </p:spPr>
        <p:txBody>
          <a:bodyPr wrap="none" tIns="90000" bIns="90000" rtlCol="0" anchor="t">
            <a:spAutoFit/>
          </a:bodyPr>
          <a:lstStyle/>
          <a:p>
            <a:pPr algn="ctr" defTabSz="457200"/>
            <a:r>
              <a:rPr lang="en-US" sz="12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Name Events (Topic)</a:t>
            </a:r>
          </a:p>
        </p:txBody>
      </p:sp>
      <p:sp>
        <p:nvSpPr>
          <p:cNvPr id="567" name="Rounded Rectangle 566">
            <a:extLst>
              <a:ext uri="{FF2B5EF4-FFF2-40B4-BE49-F238E27FC236}">
                <a16:creationId xmlns:a16="http://schemas.microsoft.com/office/drawing/2014/main" id="{435764C9-BED2-214D-BF9E-18FAC22F9796}"/>
              </a:ext>
            </a:extLst>
          </p:cNvPr>
          <p:cNvSpPr/>
          <p:nvPr/>
        </p:nvSpPr>
        <p:spPr>
          <a:xfrm>
            <a:off x="5040842" y="3359967"/>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568" name="Rounded Rectangle 567">
            <a:extLst>
              <a:ext uri="{FF2B5EF4-FFF2-40B4-BE49-F238E27FC236}">
                <a16:creationId xmlns:a16="http://schemas.microsoft.com/office/drawing/2014/main" id="{5640A450-0EC0-424D-A7E1-325AC51077F9}"/>
              </a:ext>
            </a:extLst>
          </p:cNvPr>
          <p:cNvSpPr/>
          <p:nvPr/>
        </p:nvSpPr>
        <p:spPr>
          <a:xfrm>
            <a:off x="5235005" y="3359966"/>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569" name="Rounded Rectangle 568">
            <a:extLst>
              <a:ext uri="{FF2B5EF4-FFF2-40B4-BE49-F238E27FC236}">
                <a16:creationId xmlns:a16="http://schemas.microsoft.com/office/drawing/2014/main" id="{4DDD2CFB-2F9B-F149-A08B-8975EFCFCE28}"/>
              </a:ext>
            </a:extLst>
          </p:cNvPr>
          <p:cNvSpPr/>
          <p:nvPr/>
        </p:nvSpPr>
        <p:spPr>
          <a:xfrm>
            <a:off x="5429168" y="3359966"/>
            <a:ext cx="180437"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570" name="Rounded Rectangle 569">
            <a:extLst>
              <a:ext uri="{FF2B5EF4-FFF2-40B4-BE49-F238E27FC236}">
                <a16:creationId xmlns:a16="http://schemas.microsoft.com/office/drawing/2014/main" id="{62DBCB1B-606C-0247-8DB4-80D53A625C29}"/>
              </a:ext>
            </a:extLst>
          </p:cNvPr>
          <p:cNvSpPr/>
          <p:nvPr/>
        </p:nvSpPr>
        <p:spPr>
          <a:xfrm>
            <a:off x="5621577" y="3360244"/>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571" name="Rounded Rectangle 570">
            <a:extLst>
              <a:ext uri="{FF2B5EF4-FFF2-40B4-BE49-F238E27FC236}">
                <a16:creationId xmlns:a16="http://schemas.microsoft.com/office/drawing/2014/main" id="{E3C6FD84-1AC9-6B4D-B767-F536DAEABCBC}"/>
              </a:ext>
            </a:extLst>
          </p:cNvPr>
          <p:cNvSpPr/>
          <p:nvPr/>
        </p:nvSpPr>
        <p:spPr>
          <a:xfrm>
            <a:off x="5802037" y="3353806"/>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572" name="Rounded Rectangle 571">
            <a:extLst>
              <a:ext uri="{FF2B5EF4-FFF2-40B4-BE49-F238E27FC236}">
                <a16:creationId xmlns:a16="http://schemas.microsoft.com/office/drawing/2014/main" id="{95A6B8EE-B58E-E146-93CA-4C1750F1E713}"/>
              </a:ext>
            </a:extLst>
          </p:cNvPr>
          <p:cNvSpPr/>
          <p:nvPr/>
        </p:nvSpPr>
        <p:spPr>
          <a:xfrm>
            <a:off x="5996200" y="3353805"/>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573" name="Rounded Rectangle 572">
            <a:extLst>
              <a:ext uri="{FF2B5EF4-FFF2-40B4-BE49-F238E27FC236}">
                <a16:creationId xmlns:a16="http://schemas.microsoft.com/office/drawing/2014/main" id="{B134EC4F-4A05-464E-8EEB-68EBAADE6404}"/>
              </a:ext>
            </a:extLst>
          </p:cNvPr>
          <p:cNvSpPr/>
          <p:nvPr/>
        </p:nvSpPr>
        <p:spPr>
          <a:xfrm>
            <a:off x="6190363" y="3361079"/>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574" name="TextBox 573">
            <a:extLst>
              <a:ext uri="{FF2B5EF4-FFF2-40B4-BE49-F238E27FC236}">
                <a16:creationId xmlns:a16="http://schemas.microsoft.com/office/drawing/2014/main" id="{A5520974-C9E4-D140-B848-34E6BE006B60}"/>
              </a:ext>
            </a:extLst>
          </p:cNvPr>
          <p:cNvSpPr txBox="1"/>
          <p:nvPr/>
        </p:nvSpPr>
        <p:spPr>
          <a:xfrm>
            <a:off x="4830059" y="3468250"/>
            <a:ext cx="1289135" cy="366424"/>
          </a:xfrm>
          <a:prstGeom prst="rect">
            <a:avLst/>
          </a:prstGeom>
          <a:noFill/>
        </p:spPr>
        <p:txBody>
          <a:bodyPr wrap="none" tIns="90000" bIns="90000" rtlCol="0" anchor="t">
            <a:spAutoFit/>
          </a:bodyPr>
          <a:lstStyle/>
          <a:p>
            <a:pPr algn="ctr" defTabSz="457200"/>
            <a:r>
              <a:rPr lang="en-US" sz="12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Name Events (Topic)</a:t>
            </a:r>
          </a:p>
        </p:txBody>
      </p:sp>
      <p:sp>
        <p:nvSpPr>
          <p:cNvPr id="575" name="Rounded Rectangle 574">
            <a:extLst>
              <a:ext uri="{FF2B5EF4-FFF2-40B4-BE49-F238E27FC236}">
                <a16:creationId xmlns:a16="http://schemas.microsoft.com/office/drawing/2014/main" id="{E8065763-24C6-9F4B-855A-4E6B0C54E791}"/>
              </a:ext>
            </a:extLst>
          </p:cNvPr>
          <p:cNvSpPr/>
          <p:nvPr/>
        </p:nvSpPr>
        <p:spPr>
          <a:xfrm>
            <a:off x="6634049" y="2887042"/>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576" name="Rounded Rectangle 575">
            <a:extLst>
              <a:ext uri="{FF2B5EF4-FFF2-40B4-BE49-F238E27FC236}">
                <a16:creationId xmlns:a16="http://schemas.microsoft.com/office/drawing/2014/main" id="{B54FE533-152A-8E44-8736-FEA8139828D7}"/>
              </a:ext>
            </a:extLst>
          </p:cNvPr>
          <p:cNvSpPr/>
          <p:nvPr/>
        </p:nvSpPr>
        <p:spPr>
          <a:xfrm>
            <a:off x="6829538" y="2883371"/>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577" name="Rounded Rectangle 576">
            <a:extLst>
              <a:ext uri="{FF2B5EF4-FFF2-40B4-BE49-F238E27FC236}">
                <a16:creationId xmlns:a16="http://schemas.microsoft.com/office/drawing/2014/main" id="{BC2331C1-668E-3646-B0A8-0AABA3E3BE30}"/>
              </a:ext>
            </a:extLst>
          </p:cNvPr>
          <p:cNvSpPr/>
          <p:nvPr/>
        </p:nvSpPr>
        <p:spPr>
          <a:xfrm>
            <a:off x="5056592" y="3845276"/>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578" name="Rounded Rectangle 577">
            <a:extLst>
              <a:ext uri="{FF2B5EF4-FFF2-40B4-BE49-F238E27FC236}">
                <a16:creationId xmlns:a16="http://schemas.microsoft.com/office/drawing/2014/main" id="{452F6444-750E-4541-A1AD-C28EEE03963B}"/>
              </a:ext>
            </a:extLst>
          </p:cNvPr>
          <p:cNvSpPr/>
          <p:nvPr/>
        </p:nvSpPr>
        <p:spPr>
          <a:xfrm>
            <a:off x="5250755" y="3845275"/>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579" name="Rounded Rectangle 578">
            <a:extLst>
              <a:ext uri="{FF2B5EF4-FFF2-40B4-BE49-F238E27FC236}">
                <a16:creationId xmlns:a16="http://schemas.microsoft.com/office/drawing/2014/main" id="{3BB8D26A-C4EB-A541-B165-4F4809D311FF}"/>
              </a:ext>
            </a:extLst>
          </p:cNvPr>
          <p:cNvSpPr/>
          <p:nvPr/>
        </p:nvSpPr>
        <p:spPr>
          <a:xfrm>
            <a:off x="5444918" y="3845275"/>
            <a:ext cx="180437"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580" name="Rounded Rectangle 579">
            <a:extLst>
              <a:ext uri="{FF2B5EF4-FFF2-40B4-BE49-F238E27FC236}">
                <a16:creationId xmlns:a16="http://schemas.microsoft.com/office/drawing/2014/main" id="{299957A2-20EF-3F42-8411-4DA9D3AE6BF8}"/>
              </a:ext>
            </a:extLst>
          </p:cNvPr>
          <p:cNvSpPr/>
          <p:nvPr/>
        </p:nvSpPr>
        <p:spPr>
          <a:xfrm>
            <a:off x="5637327" y="3845553"/>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581" name="Rounded Rectangle 580">
            <a:extLst>
              <a:ext uri="{FF2B5EF4-FFF2-40B4-BE49-F238E27FC236}">
                <a16:creationId xmlns:a16="http://schemas.microsoft.com/office/drawing/2014/main" id="{5C66AF7D-25D3-534A-A76D-5778B5836E5A}"/>
              </a:ext>
            </a:extLst>
          </p:cNvPr>
          <p:cNvSpPr/>
          <p:nvPr/>
        </p:nvSpPr>
        <p:spPr>
          <a:xfrm>
            <a:off x="5817787" y="3848947"/>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582" name="Rounded Rectangle 581">
            <a:extLst>
              <a:ext uri="{FF2B5EF4-FFF2-40B4-BE49-F238E27FC236}">
                <a16:creationId xmlns:a16="http://schemas.microsoft.com/office/drawing/2014/main" id="{2974CC87-6CAA-D942-9EE9-3D39DC3E7406}"/>
              </a:ext>
            </a:extLst>
          </p:cNvPr>
          <p:cNvSpPr/>
          <p:nvPr/>
        </p:nvSpPr>
        <p:spPr>
          <a:xfrm>
            <a:off x="6011950" y="3848946"/>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583" name="Rounded Rectangle 582">
            <a:extLst>
              <a:ext uri="{FF2B5EF4-FFF2-40B4-BE49-F238E27FC236}">
                <a16:creationId xmlns:a16="http://schemas.microsoft.com/office/drawing/2014/main" id="{31DF2989-9AC8-B449-93E1-071A02BD08ED}"/>
              </a:ext>
            </a:extLst>
          </p:cNvPr>
          <p:cNvSpPr/>
          <p:nvPr/>
        </p:nvSpPr>
        <p:spPr>
          <a:xfrm>
            <a:off x="6206113" y="3846388"/>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584" name="TextBox 583">
            <a:extLst>
              <a:ext uri="{FF2B5EF4-FFF2-40B4-BE49-F238E27FC236}">
                <a16:creationId xmlns:a16="http://schemas.microsoft.com/office/drawing/2014/main" id="{F1C2EC71-0E6E-9D49-A44F-7D81A7413F3B}"/>
              </a:ext>
            </a:extLst>
          </p:cNvPr>
          <p:cNvSpPr txBox="1"/>
          <p:nvPr/>
        </p:nvSpPr>
        <p:spPr>
          <a:xfrm>
            <a:off x="4845809" y="3953559"/>
            <a:ext cx="1289135" cy="366424"/>
          </a:xfrm>
          <a:prstGeom prst="rect">
            <a:avLst/>
          </a:prstGeom>
          <a:noFill/>
        </p:spPr>
        <p:txBody>
          <a:bodyPr wrap="none" tIns="90000" bIns="90000" rtlCol="0" anchor="t">
            <a:spAutoFit/>
          </a:bodyPr>
          <a:lstStyle/>
          <a:p>
            <a:pPr algn="ctr" defTabSz="457200"/>
            <a:r>
              <a:rPr lang="en-US" sz="12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Name Events (Topic)</a:t>
            </a:r>
          </a:p>
        </p:txBody>
      </p:sp>
      <p:sp>
        <p:nvSpPr>
          <p:cNvPr id="585" name="Rounded Rectangle 584">
            <a:extLst>
              <a:ext uri="{FF2B5EF4-FFF2-40B4-BE49-F238E27FC236}">
                <a16:creationId xmlns:a16="http://schemas.microsoft.com/office/drawing/2014/main" id="{5D1D1F9B-D813-8742-8F8A-8C670B568A2A}"/>
              </a:ext>
            </a:extLst>
          </p:cNvPr>
          <p:cNvSpPr/>
          <p:nvPr/>
        </p:nvSpPr>
        <p:spPr>
          <a:xfrm>
            <a:off x="5067128" y="4282091"/>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586" name="Rounded Rectangle 585">
            <a:extLst>
              <a:ext uri="{FF2B5EF4-FFF2-40B4-BE49-F238E27FC236}">
                <a16:creationId xmlns:a16="http://schemas.microsoft.com/office/drawing/2014/main" id="{12E04477-4932-6843-BA58-D98075701E45}"/>
              </a:ext>
            </a:extLst>
          </p:cNvPr>
          <p:cNvSpPr/>
          <p:nvPr/>
        </p:nvSpPr>
        <p:spPr>
          <a:xfrm>
            <a:off x="5261291" y="4282090"/>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587" name="Rounded Rectangle 586">
            <a:extLst>
              <a:ext uri="{FF2B5EF4-FFF2-40B4-BE49-F238E27FC236}">
                <a16:creationId xmlns:a16="http://schemas.microsoft.com/office/drawing/2014/main" id="{2EC57B70-1596-B54E-A934-54102630C0E4}"/>
              </a:ext>
            </a:extLst>
          </p:cNvPr>
          <p:cNvSpPr/>
          <p:nvPr/>
        </p:nvSpPr>
        <p:spPr>
          <a:xfrm>
            <a:off x="5455454" y="4279532"/>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588" name="Rounded Rectangle 587">
            <a:extLst>
              <a:ext uri="{FF2B5EF4-FFF2-40B4-BE49-F238E27FC236}">
                <a16:creationId xmlns:a16="http://schemas.microsoft.com/office/drawing/2014/main" id="{78AE7007-64BA-D54A-BCED-D27D257838DC}"/>
              </a:ext>
            </a:extLst>
          </p:cNvPr>
          <p:cNvSpPr/>
          <p:nvPr/>
        </p:nvSpPr>
        <p:spPr>
          <a:xfrm>
            <a:off x="5638031" y="4282368"/>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589" name="Rounded Rectangle 588">
            <a:extLst>
              <a:ext uri="{FF2B5EF4-FFF2-40B4-BE49-F238E27FC236}">
                <a16:creationId xmlns:a16="http://schemas.microsoft.com/office/drawing/2014/main" id="{CCB0425C-7EB9-D44A-AFEC-C0A205E9181E}"/>
              </a:ext>
            </a:extLst>
          </p:cNvPr>
          <p:cNvSpPr/>
          <p:nvPr/>
        </p:nvSpPr>
        <p:spPr>
          <a:xfrm>
            <a:off x="5828323" y="4285762"/>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590" name="Rounded Rectangle 589">
            <a:extLst>
              <a:ext uri="{FF2B5EF4-FFF2-40B4-BE49-F238E27FC236}">
                <a16:creationId xmlns:a16="http://schemas.microsoft.com/office/drawing/2014/main" id="{2B3E0172-E59D-834C-9CE4-B35F09AA8E72}"/>
              </a:ext>
            </a:extLst>
          </p:cNvPr>
          <p:cNvSpPr/>
          <p:nvPr/>
        </p:nvSpPr>
        <p:spPr>
          <a:xfrm>
            <a:off x="6012654" y="4285761"/>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591" name="Rounded Rectangle 590">
            <a:extLst>
              <a:ext uri="{FF2B5EF4-FFF2-40B4-BE49-F238E27FC236}">
                <a16:creationId xmlns:a16="http://schemas.microsoft.com/office/drawing/2014/main" id="{70D29EE6-19DD-8A46-8164-412E3A50D05E}"/>
              </a:ext>
            </a:extLst>
          </p:cNvPr>
          <p:cNvSpPr/>
          <p:nvPr/>
        </p:nvSpPr>
        <p:spPr>
          <a:xfrm>
            <a:off x="6206817" y="4283203"/>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592" name="Rounded Rectangle 591">
            <a:extLst>
              <a:ext uri="{FF2B5EF4-FFF2-40B4-BE49-F238E27FC236}">
                <a16:creationId xmlns:a16="http://schemas.microsoft.com/office/drawing/2014/main" id="{65A83BDE-093D-B349-9498-9A2BC7F59DD7}"/>
              </a:ext>
            </a:extLst>
          </p:cNvPr>
          <p:cNvSpPr/>
          <p:nvPr/>
        </p:nvSpPr>
        <p:spPr>
          <a:xfrm>
            <a:off x="6399226" y="4286039"/>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593" name="TextBox 592">
            <a:extLst>
              <a:ext uri="{FF2B5EF4-FFF2-40B4-BE49-F238E27FC236}">
                <a16:creationId xmlns:a16="http://schemas.microsoft.com/office/drawing/2014/main" id="{F7241BC7-2482-6743-B8C5-155F9ABF125E}"/>
              </a:ext>
            </a:extLst>
          </p:cNvPr>
          <p:cNvSpPr txBox="1"/>
          <p:nvPr/>
        </p:nvSpPr>
        <p:spPr>
          <a:xfrm>
            <a:off x="4856345" y="4390374"/>
            <a:ext cx="1289135" cy="366424"/>
          </a:xfrm>
          <a:prstGeom prst="rect">
            <a:avLst/>
          </a:prstGeom>
          <a:noFill/>
        </p:spPr>
        <p:txBody>
          <a:bodyPr wrap="none" tIns="90000" bIns="90000" rtlCol="0" anchor="t">
            <a:spAutoFit/>
          </a:bodyPr>
          <a:lstStyle/>
          <a:p>
            <a:pPr algn="ctr" defTabSz="457200"/>
            <a:r>
              <a:rPr lang="en-US" sz="12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Name Events (Topic)</a:t>
            </a:r>
          </a:p>
        </p:txBody>
      </p:sp>
      <p:sp>
        <p:nvSpPr>
          <p:cNvPr id="594" name="Rounded Rectangle 593">
            <a:extLst>
              <a:ext uri="{FF2B5EF4-FFF2-40B4-BE49-F238E27FC236}">
                <a16:creationId xmlns:a16="http://schemas.microsoft.com/office/drawing/2014/main" id="{DF725DC6-B064-7941-9EE8-AD0AD2418E69}"/>
              </a:ext>
            </a:extLst>
          </p:cNvPr>
          <p:cNvSpPr/>
          <p:nvPr/>
        </p:nvSpPr>
        <p:spPr>
          <a:xfrm>
            <a:off x="5062256" y="4749754"/>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595" name="Rounded Rectangle 594">
            <a:extLst>
              <a:ext uri="{FF2B5EF4-FFF2-40B4-BE49-F238E27FC236}">
                <a16:creationId xmlns:a16="http://schemas.microsoft.com/office/drawing/2014/main" id="{0452B9A9-1D93-E54A-9BD6-3D6E597BF157}"/>
              </a:ext>
            </a:extLst>
          </p:cNvPr>
          <p:cNvSpPr/>
          <p:nvPr/>
        </p:nvSpPr>
        <p:spPr>
          <a:xfrm>
            <a:off x="5256419" y="4749753"/>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596" name="Rounded Rectangle 595">
            <a:extLst>
              <a:ext uri="{FF2B5EF4-FFF2-40B4-BE49-F238E27FC236}">
                <a16:creationId xmlns:a16="http://schemas.microsoft.com/office/drawing/2014/main" id="{847B5589-A0B3-3E40-899F-1B4632D11E6B}"/>
              </a:ext>
            </a:extLst>
          </p:cNvPr>
          <p:cNvSpPr/>
          <p:nvPr/>
        </p:nvSpPr>
        <p:spPr>
          <a:xfrm>
            <a:off x="5450582" y="4749753"/>
            <a:ext cx="180437"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597" name="Rounded Rectangle 596">
            <a:extLst>
              <a:ext uri="{FF2B5EF4-FFF2-40B4-BE49-F238E27FC236}">
                <a16:creationId xmlns:a16="http://schemas.microsoft.com/office/drawing/2014/main" id="{A615DC39-DCFC-5D46-A3C6-0D7E98338C82}"/>
              </a:ext>
            </a:extLst>
          </p:cNvPr>
          <p:cNvSpPr/>
          <p:nvPr/>
        </p:nvSpPr>
        <p:spPr>
          <a:xfrm>
            <a:off x="5642991" y="4750031"/>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598" name="Rounded Rectangle 597">
            <a:extLst>
              <a:ext uri="{FF2B5EF4-FFF2-40B4-BE49-F238E27FC236}">
                <a16:creationId xmlns:a16="http://schemas.microsoft.com/office/drawing/2014/main" id="{E6E86F9B-E447-C643-BE9B-9B4F10B57A5F}"/>
              </a:ext>
            </a:extLst>
          </p:cNvPr>
          <p:cNvSpPr/>
          <p:nvPr/>
        </p:nvSpPr>
        <p:spPr>
          <a:xfrm>
            <a:off x="5823451" y="4753425"/>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599" name="Rounded Rectangle 598">
            <a:extLst>
              <a:ext uri="{FF2B5EF4-FFF2-40B4-BE49-F238E27FC236}">
                <a16:creationId xmlns:a16="http://schemas.microsoft.com/office/drawing/2014/main" id="{1E921D33-C9F6-AB40-BFE8-AEBFECB3AE15}"/>
              </a:ext>
            </a:extLst>
          </p:cNvPr>
          <p:cNvSpPr/>
          <p:nvPr/>
        </p:nvSpPr>
        <p:spPr>
          <a:xfrm>
            <a:off x="6017614" y="4753424"/>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600" name="Rounded Rectangle 599">
            <a:extLst>
              <a:ext uri="{FF2B5EF4-FFF2-40B4-BE49-F238E27FC236}">
                <a16:creationId xmlns:a16="http://schemas.microsoft.com/office/drawing/2014/main" id="{754BB3D6-F56A-3D4B-A67A-2F5FF3B0241C}"/>
              </a:ext>
            </a:extLst>
          </p:cNvPr>
          <p:cNvSpPr/>
          <p:nvPr/>
        </p:nvSpPr>
        <p:spPr>
          <a:xfrm>
            <a:off x="6211777" y="4750866"/>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601" name="Rounded Rectangle 600">
            <a:extLst>
              <a:ext uri="{FF2B5EF4-FFF2-40B4-BE49-F238E27FC236}">
                <a16:creationId xmlns:a16="http://schemas.microsoft.com/office/drawing/2014/main" id="{77C23E43-1640-4B44-BC0B-CB24A93122C0}"/>
              </a:ext>
            </a:extLst>
          </p:cNvPr>
          <p:cNvSpPr/>
          <p:nvPr/>
        </p:nvSpPr>
        <p:spPr>
          <a:xfrm>
            <a:off x="6404186" y="4753702"/>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602" name="TextBox 601">
            <a:extLst>
              <a:ext uri="{FF2B5EF4-FFF2-40B4-BE49-F238E27FC236}">
                <a16:creationId xmlns:a16="http://schemas.microsoft.com/office/drawing/2014/main" id="{BF5CDACB-2518-734B-B261-595F0A5F5DB3}"/>
              </a:ext>
            </a:extLst>
          </p:cNvPr>
          <p:cNvSpPr txBox="1"/>
          <p:nvPr/>
        </p:nvSpPr>
        <p:spPr>
          <a:xfrm>
            <a:off x="4851473" y="4858037"/>
            <a:ext cx="1289135" cy="366424"/>
          </a:xfrm>
          <a:prstGeom prst="rect">
            <a:avLst/>
          </a:prstGeom>
          <a:noFill/>
        </p:spPr>
        <p:txBody>
          <a:bodyPr wrap="none" tIns="90000" bIns="90000" rtlCol="0" anchor="t">
            <a:spAutoFit/>
          </a:bodyPr>
          <a:lstStyle/>
          <a:p>
            <a:pPr algn="ctr" defTabSz="457200"/>
            <a:r>
              <a:rPr lang="en-US" sz="12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Name Events (Topic)</a:t>
            </a:r>
          </a:p>
        </p:txBody>
      </p:sp>
      <p:sp>
        <p:nvSpPr>
          <p:cNvPr id="603" name="Rounded Rectangle 602">
            <a:extLst>
              <a:ext uri="{FF2B5EF4-FFF2-40B4-BE49-F238E27FC236}">
                <a16:creationId xmlns:a16="http://schemas.microsoft.com/office/drawing/2014/main" id="{178164F5-06A8-1445-AE0C-3794FBBA6B9D}"/>
              </a:ext>
            </a:extLst>
          </p:cNvPr>
          <p:cNvSpPr/>
          <p:nvPr/>
        </p:nvSpPr>
        <p:spPr>
          <a:xfrm>
            <a:off x="6600934" y="4753424"/>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604" name="Rounded Rectangle 603">
            <a:extLst>
              <a:ext uri="{FF2B5EF4-FFF2-40B4-BE49-F238E27FC236}">
                <a16:creationId xmlns:a16="http://schemas.microsoft.com/office/drawing/2014/main" id="{A7F24AFF-9C04-0F4C-AC6F-70C157117DFD}"/>
              </a:ext>
            </a:extLst>
          </p:cNvPr>
          <p:cNvSpPr/>
          <p:nvPr/>
        </p:nvSpPr>
        <p:spPr>
          <a:xfrm>
            <a:off x="6796423" y="4749753"/>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605" name="Rounded Rectangle 604">
            <a:extLst>
              <a:ext uri="{FF2B5EF4-FFF2-40B4-BE49-F238E27FC236}">
                <a16:creationId xmlns:a16="http://schemas.microsoft.com/office/drawing/2014/main" id="{41375BEE-865C-E644-9A93-B82F4793733B}"/>
              </a:ext>
            </a:extLst>
          </p:cNvPr>
          <p:cNvSpPr/>
          <p:nvPr/>
        </p:nvSpPr>
        <p:spPr>
          <a:xfrm>
            <a:off x="5085944" y="5185373"/>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606" name="Rounded Rectangle 605">
            <a:extLst>
              <a:ext uri="{FF2B5EF4-FFF2-40B4-BE49-F238E27FC236}">
                <a16:creationId xmlns:a16="http://schemas.microsoft.com/office/drawing/2014/main" id="{26D79F4B-C273-8443-A69C-0CACA2C4B616}"/>
              </a:ext>
            </a:extLst>
          </p:cNvPr>
          <p:cNvSpPr/>
          <p:nvPr/>
        </p:nvSpPr>
        <p:spPr>
          <a:xfrm>
            <a:off x="5280107" y="5185372"/>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607" name="Rounded Rectangle 606">
            <a:extLst>
              <a:ext uri="{FF2B5EF4-FFF2-40B4-BE49-F238E27FC236}">
                <a16:creationId xmlns:a16="http://schemas.microsoft.com/office/drawing/2014/main" id="{9F153832-202B-7E4D-A83F-D87AB03C2664}"/>
              </a:ext>
            </a:extLst>
          </p:cNvPr>
          <p:cNvSpPr/>
          <p:nvPr/>
        </p:nvSpPr>
        <p:spPr>
          <a:xfrm>
            <a:off x="5474270" y="5185372"/>
            <a:ext cx="180437"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608" name="Rounded Rectangle 607">
            <a:extLst>
              <a:ext uri="{FF2B5EF4-FFF2-40B4-BE49-F238E27FC236}">
                <a16:creationId xmlns:a16="http://schemas.microsoft.com/office/drawing/2014/main" id="{AE14A493-AC34-6E4B-894D-D8CBB7F1830B}"/>
              </a:ext>
            </a:extLst>
          </p:cNvPr>
          <p:cNvSpPr/>
          <p:nvPr/>
        </p:nvSpPr>
        <p:spPr>
          <a:xfrm>
            <a:off x="5666679" y="5185650"/>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609" name="Rounded Rectangle 608">
            <a:extLst>
              <a:ext uri="{FF2B5EF4-FFF2-40B4-BE49-F238E27FC236}">
                <a16:creationId xmlns:a16="http://schemas.microsoft.com/office/drawing/2014/main" id="{A71DDCB3-92E5-1246-BE66-980D9BAC11BE}"/>
              </a:ext>
            </a:extLst>
          </p:cNvPr>
          <p:cNvSpPr/>
          <p:nvPr/>
        </p:nvSpPr>
        <p:spPr>
          <a:xfrm>
            <a:off x="5847139" y="5189044"/>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610" name="Rounded Rectangle 609">
            <a:extLst>
              <a:ext uri="{FF2B5EF4-FFF2-40B4-BE49-F238E27FC236}">
                <a16:creationId xmlns:a16="http://schemas.microsoft.com/office/drawing/2014/main" id="{A7E9126A-0EA5-AE49-8CDE-F10A7C0CFEBB}"/>
              </a:ext>
            </a:extLst>
          </p:cNvPr>
          <p:cNvSpPr/>
          <p:nvPr/>
        </p:nvSpPr>
        <p:spPr>
          <a:xfrm>
            <a:off x="6041302" y="5189043"/>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611" name="Rounded Rectangle 610">
            <a:extLst>
              <a:ext uri="{FF2B5EF4-FFF2-40B4-BE49-F238E27FC236}">
                <a16:creationId xmlns:a16="http://schemas.microsoft.com/office/drawing/2014/main" id="{C2CB3001-3CC9-6C47-8360-15DF2E738B5A}"/>
              </a:ext>
            </a:extLst>
          </p:cNvPr>
          <p:cNvSpPr/>
          <p:nvPr/>
        </p:nvSpPr>
        <p:spPr>
          <a:xfrm>
            <a:off x="6235465" y="5186485"/>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612" name="Rounded Rectangle 611">
            <a:extLst>
              <a:ext uri="{FF2B5EF4-FFF2-40B4-BE49-F238E27FC236}">
                <a16:creationId xmlns:a16="http://schemas.microsoft.com/office/drawing/2014/main" id="{C17CAD02-873D-184B-B4F2-BC1A281A6263}"/>
              </a:ext>
            </a:extLst>
          </p:cNvPr>
          <p:cNvSpPr/>
          <p:nvPr/>
        </p:nvSpPr>
        <p:spPr>
          <a:xfrm>
            <a:off x="6427874" y="5189321"/>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613" name="TextBox 612">
            <a:extLst>
              <a:ext uri="{FF2B5EF4-FFF2-40B4-BE49-F238E27FC236}">
                <a16:creationId xmlns:a16="http://schemas.microsoft.com/office/drawing/2014/main" id="{71F258E9-AFFE-7E47-BF4D-70C0135E3140}"/>
              </a:ext>
            </a:extLst>
          </p:cNvPr>
          <p:cNvSpPr txBox="1"/>
          <p:nvPr/>
        </p:nvSpPr>
        <p:spPr>
          <a:xfrm>
            <a:off x="4875161" y="5293656"/>
            <a:ext cx="1289135" cy="366424"/>
          </a:xfrm>
          <a:prstGeom prst="rect">
            <a:avLst/>
          </a:prstGeom>
          <a:noFill/>
        </p:spPr>
        <p:txBody>
          <a:bodyPr wrap="none" tIns="90000" bIns="90000" rtlCol="0" anchor="t">
            <a:spAutoFit/>
          </a:bodyPr>
          <a:lstStyle/>
          <a:p>
            <a:pPr algn="ctr" defTabSz="457200"/>
            <a:r>
              <a:rPr lang="en-US" sz="12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Name Events (Topic)</a:t>
            </a:r>
          </a:p>
        </p:txBody>
      </p:sp>
      <p:sp>
        <p:nvSpPr>
          <p:cNvPr id="614" name="Rounded Rectangle 613">
            <a:extLst>
              <a:ext uri="{FF2B5EF4-FFF2-40B4-BE49-F238E27FC236}">
                <a16:creationId xmlns:a16="http://schemas.microsoft.com/office/drawing/2014/main" id="{5E5CE889-A88B-674F-B765-D123FC732120}"/>
              </a:ext>
            </a:extLst>
          </p:cNvPr>
          <p:cNvSpPr/>
          <p:nvPr/>
        </p:nvSpPr>
        <p:spPr>
          <a:xfrm>
            <a:off x="6624622" y="5189043"/>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615" name="Rounded Rectangle 614">
            <a:extLst>
              <a:ext uri="{FF2B5EF4-FFF2-40B4-BE49-F238E27FC236}">
                <a16:creationId xmlns:a16="http://schemas.microsoft.com/office/drawing/2014/main" id="{0632EE86-0B9A-F248-BAB1-0F86B3F0B92A}"/>
              </a:ext>
            </a:extLst>
          </p:cNvPr>
          <p:cNvSpPr/>
          <p:nvPr/>
        </p:nvSpPr>
        <p:spPr>
          <a:xfrm>
            <a:off x="4720447" y="2349735"/>
            <a:ext cx="2453796" cy="3779481"/>
          </a:xfrm>
          <a:prstGeom prst="roundRect">
            <a:avLst/>
          </a:prstGeom>
          <a:solidFill>
            <a:schemeClr val="bg1">
              <a:lumMod val="85000"/>
            </a:schemeClr>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1200" b="1" dirty="0">
                <a:solidFill>
                  <a:schemeClr val="bg1">
                    <a:lumMod val="50000"/>
                  </a:schemeClr>
                </a:solidFill>
                <a:latin typeface="Nanum Pen Script" panose="03040600000000000000" pitchFamily="66" charset="-127"/>
                <a:ea typeface="Nanum Pen Script" panose="03040600000000000000" pitchFamily="66" charset="-127"/>
              </a:rPr>
              <a:t>Kafka Cluster (Brokers, Zookeeper)</a:t>
            </a:r>
          </a:p>
          <a:p>
            <a:pPr algn="ctr"/>
            <a:endParaRPr lang="en-US" sz="12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2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2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1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1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1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1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3200" dirty="0">
              <a:solidFill>
                <a:schemeClr val="tx1"/>
              </a:solidFill>
              <a:latin typeface="Nanum Pen Script" panose="03040600000000000000" pitchFamily="66" charset="-127"/>
              <a:ea typeface="Nanum Pen Script" panose="03040600000000000000" pitchFamily="66" charset="-127"/>
            </a:endParaRPr>
          </a:p>
          <a:p>
            <a:pPr algn="ctr"/>
            <a:endParaRPr lang="en-US" sz="3200" dirty="0">
              <a:solidFill>
                <a:schemeClr val="tx1"/>
              </a:solidFill>
              <a:latin typeface="Nanum Pen Script" panose="03040600000000000000" pitchFamily="66" charset="-127"/>
              <a:ea typeface="Nanum Pen Script" panose="03040600000000000000" pitchFamily="66" charset="-127"/>
            </a:endParaRPr>
          </a:p>
        </p:txBody>
      </p:sp>
      <p:sp>
        <p:nvSpPr>
          <p:cNvPr id="616" name="Rounded Rectangle 615">
            <a:extLst>
              <a:ext uri="{FF2B5EF4-FFF2-40B4-BE49-F238E27FC236}">
                <a16:creationId xmlns:a16="http://schemas.microsoft.com/office/drawing/2014/main" id="{93B24D89-7581-9E4D-AC28-28D663DEB73C}"/>
              </a:ext>
            </a:extLst>
          </p:cNvPr>
          <p:cNvSpPr/>
          <p:nvPr/>
        </p:nvSpPr>
        <p:spPr>
          <a:xfrm>
            <a:off x="5014549" y="2783328"/>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617" name="Rounded Rectangle 616">
            <a:extLst>
              <a:ext uri="{FF2B5EF4-FFF2-40B4-BE49-F238E27FC236}">
                <a16:creationId xmlns:a16="http://schemas.microsoft.com/office/drawing/2014/main" id="{0D880661-6C1B-464D-A81A-9B1F84B72B14}"/>
              </a:ext>
            </a:extLst>
          </p:cNvPr>
          <p:cNvSpPr/>
          <p:nvPr/>
        </p:nvSpPr>
        <p:spPr>
          <a:xfrm>
            <a:off x="5208712" y="2783327"/>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618" name="Rounded Rectangle 617">
            <a:extLst>
              <a:ext uri="{FF2B5EF4-FFF2-40B4-BE49-F238E27FC236}">
                <a16:creationId xmlns:a16="http://schemas.microsoft.com/office/drawing/2014/main" id="{5BBB2DCA-B44F-2447-BA8B-4E9FDDA9EA93}"/>
              </a:ext>
            </a:extLst>
          </p:cNvPr>
          <p:cNvSpPr/>
          <p:nvPr/>
        </p:nvSpPr>
        <p:spPr>
          <a:xfrm>
            <a:off x="5402875" y="2780769"/>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619" name="Rounded Rectangle 618">
            <a:extLst>
              <a:ext uri="{FF2B5EF4-FFF2-40B4-BE49-F238E27FC236}">
                <a16:creationId xmlns:a16="http://schemas.microsoft.com/office/drawing/2014/main" id="{500DAD24-3AE0-174E-A6DF-A1EF86CFF18C}"/>
              </a:ext>
            </a:extLst>
          </p:cNvPr>
          <p:cNvSpPr/>
          <p:nvPr/>
        </p:nvSpPr>
        <p:spPr>
          <a:xfrm>
            <a:off x="5595284" y="2783605"/>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620" name="Rounded Rectangle 619">
            <a:extLst>
              <a:ext uri="{FF2B5EF4-FFF2-40B4-BE49-F238E27FC236}">
                <a16:creationId xmlns:a16="http://schemas.microsoft.com/office/drawing/2014/main" id="{55A11FD5-0E1F-7848-9423-7974A8A582B7}"/>
              </a:ext>
            </a:extLst>
          </p:cNvPr>
          <p:cNvSpPr/>
          <p:nvPr/>
        </p:nvSpPr>
        <p:spPr>
          <a:xfrm>
            <a:off x="5786018" y="2778974"/>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621" name="Rounded Rectangle 620">
            <a:extLst>
              <a:ext uri="{FF2B5EF4-FFF2-40B4-BE49-F238E27FC236}">
                <a16:creationId xmlns:a16="http://schemas.microsoft.com/office/drawing/2014/main" id="{BE983849-8A29-3944-866A-9DA4B3702AC2}"/>
              </a:ext>
            </a:extLst>
          </p:cNvPr>
          <p:cNvSpPr/>
          <p:nvPr/>
        </p:nvSpPr>
        <p:spPr>
          <a:xfrm>
            <a:off x="5969907" y="2777166"/>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622" name="Rounded Rectangle 621">
            <a:extLst>
              <a:ext uri="{FF2B5EF4-FFF2-40B4-BE49-F238E27FC236}">
                <a16:creationId xmlns:a16="http://schemas.microsoft.com/office/drawing/2014/main" id="{2728208D-4278-1A4B-A35D-61F06B2209D8}"/>
              </a:ext>
            </a:extLst>
          </p:cNvPr>
          <p:cNvSpPr/>
          <p:nvPr/>
        </p:nvSpPr>
        <p:spPr>
          <a:xfrm>
            <a:off x="6164070" y="2784440"/>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623" name="Rounded Rectangle 622">
            <a:extLst>
              <a:ext uri="{FF2B5EF4-FFF2-40B4-BE49-F238E27FC236}">
                <a16:creationId xmlns:a16="http://schemas.microsoft.com/office/drawing/2014/main" id="{630646FB-11EB-CE46-ABEF-D1308DD035D6}"/>
              </a:ext>
            </a:extLst>
          </p:cNvPr>
          <p:cNvSpPr/>
          <p:nvPr/>
        </p:nvSpPr>
        <p:spPr>
          <a:xfrm>
            <a:off x="6356479" y="2777444"/>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624" name="TextBox 623">
            <a:extLst>
              <a:ext uri="{FF2B5EF4-FFF2-40B4-BE49-F238E27FC236}">
                <a16:creationId xmlns:a16="http://schemas.microsoft.com/office/drawing/2014/main" id="{550D7EAD-5EAB-B445-BD10-4A91AD0B169E}"/>
              </a:ext>
            </a:extLst>
          </p:cNvPr>
          <p:cNvSpPr txBox="1"/>
          <p:nvPr/>
        </p:nvSpPr>
        <p:spPr>
          <a:xfrm>
            <a:off x="4803766" y="2891611"/>
            <a:ext cx="1289135" cy="366424"/>
          </a:xfrm>
          <a:prstGeom prst="rect">
            <a:avLst/>
          </a:prstGeom>
          <a:noFill/>
        </p:spPr>
        <p:txBody>
          <a:bodyPr wrap="none" tIns="90000" bIns="90000" rtlCol="0" anchor="t">
            <a:spAutoFit/>
          </a:bodyPr>
          <a:lstStyle/>
          <a:p>
            <a:pPr algn="ctr" defTabSz="457200"/>
            <a:r>
              <a:rPr lang="en-US" sz="12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Name Events (Topic)</a:t>
            </a:r>
          </a:p>
        </p:txBody>
      </p:sp>
      <p:sp>
        <p:nvSpPr>
          <p:cNvPr id="625" name="Rounded Rectangle 624">
            <a:extLst>
              <a:ext uri="{FF2B5EF4-FFF2-40B4-BE49-F238E27FC236}">
                <a16:creationId xmlns:a16="http://schemas.microsoft.com/office/drawing/2014/main" id="{177CE90B-3272-FF41-A138-150FE7F8C3FA}"/>
              </a:ext>
            </a:extLst>
          </p:cNvPr>
          <p:cNvSpPr/>
          <p:nvPr/>
        </p:nvSpPr>
        <p:spPr>
          <a:xfrm>
            <a:off x="5003821" y="3269750"/>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626" name="Rounded Rectangle 625">
            <a:extLst>
              <a:ext uri="{FF2B5EF4-FFF2-40B4-BE49-F238E27FC236}">
                <a16:creationId xmlns:a16="http://schemas.microsoft.com/office/drawing/2014/main" id="{762FC279-056E-C246-8F39-6C74E74DA3F1}"/>
              </a:ext>
            </a:extLst>
          </p:cNvPr>
          <p:cNvSpPr/>
          <p:nvPr/>
        </p:nvSpPr>
        <p:spPr>
          <a:xfrm>
            <a:off x="5197984" y="3269749"/>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627" name="Rounded Rectangle 626">
            <a:extLst>
              <a:ext uri="{FF2B5EF4-FFF2-40B4-BE49-F238E27FC236}">
                <a16:creationId xmlns:a16="http://schemas.microsoft.com/office/drawing/2014/main" id="{386A1D27-30E9-034E-B32E-B430897F74C4}"/>
              </a:ext>
            </a:extLst>
          </p:cNvPr>
          <p:cNvSpPr/>
          <p:nvPr/>
        </p:nvSpPr>
        <p:spPr>
          <a:xfrm>
            <a:off x="5392147" y="3269749"/>
            <a:ext cx="180437"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628" name="Rounded Rectangle 627">
            <a:extLst>
              <a:ext uri="{FF2B5EF4-FFF2-40B4-BE49-F238E27FC236}">
                <a16:creationId xmlns:a16="http://schemas.microsoft.com/office/drawing/2014/main" id="{55EF0611-69D4-1448-96B9-64721FC446E7}"/>
              </a:ext>
            </a:extLst>
          </p:cNvPr>
          <p:cNvSpPr/>
          <p:nvPr/>
        </p:nvSpPr>
        <p:spPr>
          <a:xfrm>
            <a:off x="5584556" y="3270027"/>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629" name="Rounded Rectangle 628">
            <a:extLst>
              <a:ext uri="{FF2B5EF4-FFF2-40B4-BE49-F238E27FC236}">
                <a16:creationId xmlns:a16="http://schemas.microsoft.com/office/drawing/2014/main" id="{C8368362-81D4-E34F-8F37-97AF1DF07E72}"/>
              </a:ext>
            </a:extLst>
          </p:cNvPr>
          <p:cNvSpPr/>
          <p:nvPr/>
        </p:nvSpPr>
        <p:spPr>
          <a:xfrm>
            <a:off x="5765016" y="3273421"/>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630" name="Rounded Rectangle 629">
            <a:extLst>
              <a:ext uri="{FF2B5EF4-FFF2-40B4-BE49-F238E27FC236}">
                <a16:creationId xmlns:a16="http://schemas.microsoft.com/office/drawing/2014/main" id="{3AE1DFC8-076F-3842-901C-1A38BFA4C69D}"/>
              </a:ext>
            </a:extLst>
          </p:cNvPr>
          <p:cNvSpPr/>
          <p:nvPr/>
        </p:nvSpPr>
        <p:spPr>
          <a:xfrm>
            <a:off x="5959179" y="3273420"/>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631" name="Rounded Rectangle 630">
            <a:extLst>
              <a:ext uri="{FF2B5EF4-FFF2-40B4-BE49-F238E27FC236}">
                <a16:creationId xmlns:a16="http://schemas.microsoft.com/office/drawing/2014/main" id="{BE93567F-8DC1-0345-ACB0-3D7CF26D56CD}"/>
              </a:ext>
            </a:extLst>
          </p:cNvPr>
          <p:cNvSpPr/>
          <p:nvPr/>
        </p:nvSpPr>
        <p:spPr>
          <a:xfrm>
            <a:off x="6153342" y="3270862"/>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632" name="Rounded Rectangle 631">
            <a:extLst>
              <a:ext uri="{FF2B5EF4-FFF2-40B4-BE49-F238E27FC236}">
                <a16:creationId xmlns:a16="http://schemas.microsoft.com/office/drawing/2014/main" id="{D1561338-4A18-FE49-B0D6-AA6CCEF294AA}"/>
              </a:ext>
            </a:extLst>
          </p:cNvPr>
          <p:cNvSpPr/>
          <p:nvPr/>
        </p:nvSpPr>
        <p:spPr>
          <a:xfrm>
            <a:off x="6345751" y="3273698"/>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633" name="TextBox 632">
            <a:extLst>
              <a:ext uri="{FF2B5EF4-FFF2-40B4-BE49-F238E27FC236}">
                <a16:creationId xmlns:a16="http://schemas.microsoft.com/office/drawing/2014/main" id="{A7314B94-DF3C-CF46-9E88-78EDF5BA40BE}"/>
              </a:ext>
            </a:extLst>
          </p:cNvPr>
          <p:cNvSpPr txBox="1"/>
          <p:nvPr/>
        </p:nvSpPr>
        <p:spPr>
          <a:xfrm>
            <a:off x="4793038" y="3378033"/>
            <a:ext cx="1289135" cy="366424"/>
          </a:xfrm>
          <a:prstGeom prst="rect">
            <a:avLst/>
          </a:prstGeom>
          <a:noFill/>
        </p:spPr>
        <p:txBody>
          <a:bodyPr wrap="none" tIns="90000" bIns="90000" rtlCol="0" anchor="t">
            <a:spAutoFit/>
          </a:bodyPr>
          <a:lstStyle/>
          <a:p>
            <a:pPr algn="ctr" defTabSz="457200"/>
            <a:r>
              <a:rPr lang="en-US" sz="12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Name Events (Topic)</a:t>
            </a:r>
          </a:p>
        </p:txBody>
      </p:sp>
      <p:sp>
        <p:nvSpPr>
          <p:cNvPr id="634" name="Rounded Rectangle 633">
            <a:extLst>
              <a:ext uri="{FF2B5EF4-FFF2-40B4-BE49-F238E27FC236}">
                <a16:creationId xmlns:a16="http://schemas.microsoft.com/office/drawing/2014/main" id="{2809066D-16CA-324D-98CE-5A00E29B56F1}"/>
              </a:ext>
            </a:extLst>
          </p:cNvPr>
          <p:cNvSpPr/>
          <p:nvPr/>
        </p:nvSpPr>
        <p:spPr>
          <a:xfrm>
            <a:off x="4949292" y="3746345"/>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635" name="Rounded Rectangle 634">
            <a:extLst>
              <a:ext uri="{FF2B5EF4-FFF2-40B4-BE49-F238E27FC236}">
                <a16:creationId xmlns:a16="http://schemas.microsoft.com/office/drawing/2014/main" id="{9016E924-8E19-BD49-8E5B-5CC9E4F6D33E}"/>
              </a:ext>
            </a:extLst>
          </p:cNvPr>
          <p:cNvSpPr/>
          <p:nvPr/>
        </p:nvSpPr>
        <p:spPr>
          <a:xfrm>
            <a:off x="5143455" y="3746344"/>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636" name="Rounded Rectangle 635">
            <a:extLst>
              <a:ext uri="{FF2B5EF4-FFF2-40B4-BE49-F238E27FC236}">
                <a16:creationId xmlns:a16="http://schemas.microsoft.com/office/drawing/2014/main" id="{CAA52D0E-37E9-A849-BCEE-76CB3F4C0864}"/>
              </a:ext>
            </a:extLst>
          </p:cNvPr>
          <p:cNvSpPr/>
          <p:nvPr/>
        </p:nvSpPr>
        <p:spPr>
          <a:xfrm>
            <a:off x="5337618" y="3746344"/>
            <a:ext cx="180437"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637" name="Rounded Rectangle 636">
            <a:extLst>
              <a:ext uri="{FF2B5EF4-FFF2-40B4-BE49-F238E27FC236}">
                <a16:creationId xmlns:a16="http://schemas.microsoft.com/office/drawing/2014/main" id="{36A40931-3580-FB4D-9E64-E9CBBE48A3BA}"/>
              </a:ext>
            </a:extLst>
          </p:cNvPr>
          <p:cNvSpPr/>
          <p:nvPr/>
        </p:nvSpPr>
        <p:spPr>
          <a:xfrm>
            <a:off x="5530027" y="3746622"/>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638" name="Rounded Rectangle 637">
            <a:extLst>
              <a:ext uri="{FF2B5EF4-FFF2-40B4-BE49-F238E27FC236}">
                <a16:creationId xmlns:a16="http://schemas.microsoft.com/office/drawing/2014/main" id="{E8C011CB-A0A5-3342-B692-3D1E5526600C}"/>
              </a:ext>
            </a:extLst>
          </p:cNvPr>
          <p:cNvSpPr/>
          <p:nvPr/>
        </p:nvSpPr>
        <p:spPr>
          <a:xfrm>
            <a:off x="5710487" y="3740184"/>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639" name="Rounded Rectangle 638">
            <a:extLst>
              <a:ext uri="{FF2B5EF4-FFF2-40B4-BE49-F238E27FC236}">
                <a16:creationId xmlns:a16="http://schemas.microsoft.com/office/drawing/2014/main" id="{60EBA284-C9EF-7449-85E3-4D42EF37D7A6}"/>
              </a:ext>
            </a:extLst>
          </p:cNvPr>
          <p:cNvSpPr/>
          <p:nvPr/>
        </p:nvSpPr>
        <p:spPr>
          <a:xfrm>
            <a:off x="5904650" y="3740183"/>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640" name="Rounded Rectangle 639">
            <a:extLst>
              <a:ext uri="{FF2B5EF4-FFF2-40B4-BE49-F238E27FC236}">
                <a16:creationId xmlns:a16="http://schemas.microsoft.com/office/drawing/2014/main" id="{1D7B6F32-6DB2-8C43-9823-E4C2ECBBD241}"/>
              </a:ext>
            </a:extLst>
          </p:cNvPr>
          <p:cNvSpPr/>
          <p:nvPr/>
        </p:nvSpPr>
        <p:spPr>
          <a:xfrm>
            <a:off x="6098813" y="3747457"/>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641" name="TextBox 640">
            <a:extLst>
              <a:ext uri="{FF2B5EF4-FFF2-40B4-BE49-F238E27FC236}">
                <a16:creationId xmlns:a16="http://schemas.microsoft.com/office/drawing/2014/main" id="{A409A9F7-BC30-2048-8358-0D92110FE95B}"/>
              </a:ext>
            </a:extLst>
          </p:cNvPr>
          <p:cNvSpPr txBox="1"/>
          <p:nvPr/>
        </p:nvSpPr>
        <p:spPr>
          <a:xfrm>
            <a:off x="4738509" y="3854628"/>
            <a:ext cx="1289135" cy="366424"/>
          </a:xfrm>
          <a:prstGeom prst="rect">
            <a:avLst/>
          </a:prstGeom>
          <a:noFill/>
        </p:spPr>
        <p:txBody>
          <a:bodyPr wrap="none" tIns="90000" bIns="90000" rtlCol="0" anchor="t">
            <a:spAutoFit/>
          </a:bodyPr>
          <a:lstStyle/>
          <a:p>
            <a:pPr algn="ctr" defTabSz="457200"/>
            <a:r>
              <a:rPr lang="en-US" sz="12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Name Events (Topic)</a:t>
            </a:r>
          </a:p>
        </p:txBody>
      </p:sp>
      <p:sp>
        <p:nvSpPr>
          <p:cNvPr id="642" name="Rounded Rectangle 641">
            <a:extLst>
              <a:ext uri="{FF2B5EF4-FFF2-40B4-BE49-F238E27FC236}">
                <a16:creationId xmlns:a16="http://schemas.microsoft.com/office/drawing/2014/main" id="{643F93A1-34C3-334A-B988-544A89DBB9EA}"/>
              </a:ext>
            </a:extLst>
          </p:cNvPr>
          <p:cNvSpPr/>
          <p:nvPr/>
        </p:nvSpPr>
        <p:spPr>
          <a:xfrm>
            <a:off x="6542499" y="3273420"/>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643" name="Rounded Rectangle 642">
            <a:extLst>
              <a:ext uri="{FF2B5EF4-FFF2-40B4-BE49-F238E27FC236}">
                <a16:creationId xmlns:a16="http://schemas.microsoft.com/office/drawing/2014/main" id="{2B3A2170-6F83-B640-969A-C82E437E59C2}"/>
              </a:ext>
            </a:extLst>
          </p:cNvPr>
          <p:cNvSpPr/>
          <p:nvPr/>
        </p:nvSpPr>
        <p:spPr>
          <a:xfrm>
            <a:off x="6737988" y="3269749"/>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644" name="Rounded Rectangle 643">
            <a:extLst>
              <a:ext uri="{FF2B5EF4-FFF2-40B4-BE49-F238E27FC236}">
                <a16:creationId xmlns:a16="http://schemas.microsoft.com/office/drawing/2014/main" id="{13D85B00-B205-5D4E-873C-CDB5BFE559CF}"/>
              </a:ext>
            </a:extLst>
          </p:cNvPr>
          <p:cNvSpPr/>
          <p:nvPr/>
        </p:nvSpPr>
        <p:spPr>
          <a:xfrm>
            <a:off x="4965042" y="4231654"/>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645" name="Rounded Rectangle 644">
            <a:extLst>
              <a:ext uri="{FF2B5EF4-FFF2-40B4-BE49-F238E27FC236}">
                <a16:creationId xmlns:a16="http://schemas.microsoft.com/office/drawing/2014/main" id="{AE414417-E41C-5D46-BDE0-3DF10E37B194}"/>
              </a:ext>
            </a:extLst>
          </p:cNvPr>
          <p:cNvSpPr/>
          <p:nvPr/>
        </p:nvSpPr>
        <p:spPr>
          <a:xfrm>
            <a:off x="5159205" y="4231653"/>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646" name="Rounded Rectangle 645">
            <a:extLst>
              <a:ext uri="{FF2B5EF4-FFF2-40B4-BE49-F238E27FC236}">
                <a16:creationId xmlns:a16="http://schemas.microsoft.com/office/drawing/2014/main" id="{0054CFE7-0184-1C45-A9B9-90AC8E533907}"/>
              </a:ext>
            </a:extLst>
          </p:cNvPr>
          <p:cNvSpPr/>
          <p:nvPr/>
        </p:nvSpPr>
        <p:spPr>
          <a:xfrm>
            <a:off x="5353368" y="4231653"/>
            <a:ext cx="180437"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647" name="Rounded Rectangle 646">
            <a:extLst>
              <a:ext uri="{FF2B5EF4-FFF2-40B4-BE49-F238E27FC236}">
                <a16:creationId xmlns:a16="http://schemas.microsoft.com/office/drawing/2014/main" id="{000F46C6-E112-6F4B-8896-3EC7C5560D2C}"/>
              </a:ext>
            </a:extLst>
          </p:cNvPr>
          <p:cNvSpPr/>
          <p:nvPr/>
        </p:nvSpPr>
        <p:spPr>
          <a:xfrm>
            <a:off x="5545777" y="4231931"/>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648" name="Rounded Rectangle 647">
            <a:extLst>
              <a:ext uri="{FF2B5EF4-FFF2-40B4-BE49-F238E27FC236}">
                <a16:creationId xmlns:a16="http://schemas.microsoft.com/office/drawing/2014/main" id="{683EC262-44A2-374A-BF72-CEA522026BC5}"/>
              </a:ext>
            </a:extLst>
          </p:cNvPr>
          <p:cNvSpPr/>
          <p:nvPr/>
        </p:nvSpPr>
        <p:spPr>
          <a:xfrm>
            <a:off x="5726237" y="4235325"/>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649" name="Rounded Rectangle 648">
            <a:extLst>
              <a:ext uri="{FF2B5EF4-FFF2-40B4-BE49-F238E27FC236}">
                <a16:creationId xmlns:a16="http://schemas.microsoft.com/office/drawing/2014/main" id="{BCCAA12D-0CE5-F14F-B4C9-FA01A798AB1B}"/>
              </a:ext>
            </a:extLst>
          </p:cNvPr>
          <p:cNvSpPr/>
          <p:nvPr/>
        </p:nvSpPr>
        <p:spPr>
          <a:xfrm>
            <a:off x="5920400" y="4235324"/>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650" name="Rounded Rectangle 649">
            <a:extLst>
              <a:ext uri="{FF2B5EF4-FFF2-40B4-BE49-F238E27FC236}">
                <a16:creationId xmlns:a16="http://schemas.microsoft.com/office/drawing/2014/main" id="{4B7AB3A3-1A0D-C746-B4FB-FBB772E373A7}"/>
              </a:ext>
            </a:extLst>
          </p:cNvPr>
          <p:cNvSpPr/>
          <p:nvPr/>
        </p:nvSpPr>
        <p:spPr>
          <a:xfrm>
            <a:off x="6114563" y="4232766"/>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651" name="TextBox 650">
            <a:extLst>
              <a:ext uri="{FF2B5EF4-FFF2-40B4-BE49-F238E27FC236}">
                <a16:creationId xmlns:a16="http://schemas.microsoft.com/office/drawing/2014/main" id="{E20F337F-4A62-5542-BE16-C43A3346EDE5}"/>
              </a:ext>
            </a:extLst>
          </p:cNvPr>
          <p:cNvSpPr txBox="1"/>
          <p:nvPr/>
        </p:nvSpPr>
        <p:spPr>
          <a:xfrm>
            <a:off x="4754259" y="4339937"/>
            <a:ext cx="1289135" cy="366424"/>
          </a:xfrm>
          <a:prstGeom prst="rect">
            <a:avLst/>
          </a:prstGeom>
          <a:noFill/>
        </p:spPr>
        <p:txBody>
          <a:bodyPr wrap="none" tIns="90000" bIns="90000" rtlCol="0" anchor="t">
            <a:spAutoFit/>
          </a:bodyPr>
          <a:lstStyle/>
          <a:p>
            <a:pPr algn="ctr" defTabSz="457200"/>
            <a:r>
              <a:rPr lang="en-US" sz="12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Name Events (Topic)</a:t>
            </a:r>
          </a:p>
        </p:txBody>
      </p:sp>
      <p:sp>
        <p:nvSpPr>
          <p:cNvPr id="652" name="Rounded Rectangle 651">
            <a:extLst>
              <a:ext uri="{FF2B5EF4-FFF2-40B4-BE49-F238E27FC236}">
                <a16:creationId xmlns:a16="http://schemas.microsoft.com/office/drawing/2014/main" id="{3A6FE6D5-9CC3-214B-86D1-57203B21D8D0}"/>
              </a:ext>
            </a:extLst>
          </p:cNvPr>
          <p:cNvSpPr/>
          <p:nvPr/>
        </p:nvSpPr>
        <p:spPr>
          <a:xfrm>
            <a:off x="4975578" y="4668469"/>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653" name="Rounded Rectangle 652">
            <a:extLst>
              <a:ext uri="{FF2B5EF4-FFF2-40B4-BE49-F238E27FC236}">
                <a16:creationId xmlns:a16="http://schemas.microsoft.com/office/drawing/2014/main" id="{7FFFE7D4-65ED-1544-9EDA-4EDDC3189F15}"/>
              </a:ext>
            </a:extLst>
          </p:cNvPr>
          <p:cNvSpPr/>
          <p:nvPr/>
        </p:nvSpPr>
        <p:spPr>
          <a:xfrm>
            <a:off x="5169741" y="4668468"/>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654" name="Rounded Rectangle 653">
            <a:extLst>
              <a:ext uri="{FF2B5EF4-FFF2-40B4-BE49-F238E27FC236}">
                <a16:creationId xmlns:a16="http://schemas.microsoft.com/office/drawing/2014/main" id="{DF0F6580-C481-484D-BFCD-003AABDF4A76}"/>
              </a:ext>
            </a:extLst>
          </p:cNvPr>
          <p:cNvSpPr/>
          <p:nvPr/>
        </p:nvSpPr>
        <p:spPr>
          <a:xfrm>
            <a:off x="5363904" y="4665910"/>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655" name="Rounded Rectangle 654">
            <a:extLst>
              <a:ext uri="{FF2B5EF4-FFF2-40B4-BE49-F238E27FC236}">
                <a16:creationId xmlns:a16="http://schemas.microsoft.com/office/drawing/2014/main" id="{6DE3A273-E8CD-6C42-8F91-CD35D3B4FD96}"/>
              </a:ext>
            </a:extLst>
          </p:cNvPr>
          <p:cNvSpPr/>
          <p:nvPr/>
        </p:nvSpPr>
        <p:spPr>
          <a:xfrm>
            <a:off x="5546481" y="4668746"/>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656" name="Rounded Rectangle 655">
            <a:extLst>
              <a:ext uri="{FF2B5EF4-FFF2-40B4-BE49-F238E27FC236}">
                <a16:creationId xmlns:a16="http://schemas.microsoft.com/office/drawing/2014/main" id="{A8C657C9-5D59-1741-8573-01593B0835E0}"/>
              </a:ext>
            </a:extLst>
          </p:cNvPr>
          <p:cNvSpPr/>
          <p:nvPr/>
        </p:nvSpPr>
        <p:spPr>
          <a:xfrm>
            <a:off x="5736773" y="4672140"/>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657" name="Rounded Rectangle 656">
            <a:extLst>
              <a:ext uri="{FF2B5EF4-FFF2-40B4-BE49-F238E27FC236}">
                <a16:creationId xmlns:a16="http://schemas.microsoft.com/office/drawing/2014/main" id="{0761B2E9-ECBF-5A42-A38E-A24B1AC1B707}"/>
              </a:ext>
            </a:extLst>
          </p:cNvPr>
          <p:cNvSpPr/>
          <p:nvPr/>
        </p:nvSpPr>
        <p:spPr>
          <a:xfrm>
            <a:off x="5921104" y="4672139"/>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658" name="Rounded Rectangle 657">
            <a:extLst>
              <a:ext uri="{FF2B5EF4-FFF2-40B4-BE49-F238E27FC236}">
                <a16:creationId xmlns:a16="http://schemas.microsoft.com/office/drawing/2014/main" id="{5758B722-A53C-6944-B893-AD9B253713A1}"/>
              </a:ext>
            </a:extLst>
          </p:cNvPr>
          <p:cNvSpPr/>
          <p:nvPr/>
        </p:nvSpPr>
        <p:spPr>
          <a:xfrm>
            <a:off x="6115267" y="4669581"/>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659" name="Rounded Rectangle 658">
            <a:extLst>
              <a:ext uri="{FF2B5EF4-FFF2-40B4-BE49-F238E27FC236}">
                <a16:creationId xmlns:a16="http://schemas.microsoft.com/office/drawing/2014/main" id="{2409B9A1-979D-4841-B4E9-A51DD38296F5}"/>
              </a:ext>
            </a:extLst>
          </p:cNvPr>
          <p:cNvSpPr/>
          <p:nvPr/>
        </p:nvSpPr>
        <p:spPr>
          <a:xfrm>
            <a:off x="6307676" y="4672417"/>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660" name="TextBox 659">
            <a:extLst>
              <a:ext uri="{FF2B5EF4-FFF2-40B4-BE49-F238E27FC236}">
                <a16:creationId xmlns:a16="http://schemas.microsoft.com/office/drawing/2014/main" id="{8D07EACD-BE9B-924A-A6C6-61D8841BD153}"/>
              </a:ext>
            </a:extLst>
          </p:cNvPr>
          <p:cNvSpPr txBox="1"/>
          <p:nvPr/>
        </p:nvSpPr>
        <p:spPr>
          <a:xfrm>
            <a:off x="4764795" y="4776752"/>
            <a:ext cx="1289135" cy="366424"/>
          </a:xfrm>
          <a:prstGeom prst="rect">
            <a:avLst/>
          </a:prstGeom>
          <a:noFill/>
        </p:spPr>
        <p:txBody>
          <a:bodyPr wrap="none" tIns="90000" bIns="90000" rtlCol="0" anchor="t">
            <a:spAutoFit/>
          </a:bodyPr>
          <a:lstStyle/>
          <a:p>
            <a:pPr algn="ctr" defTabSz="457200"/>
            <a:r>
              <a:rPr lang="en-US" sz="12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Name Events (Topic)</a:t>
            </a:r>
          </a:p>
        </p:txBody>
      </p:sp>
      <p:sp>
        <p:nvSpPr>
          <p:cNvPr id="661" name="Rounded Rectangle 660">
            <a:extLst>
              <a:ext uri="{FF2B5EF4-FFF2-40B4-BE49-F238E27FC236}">
                <a16:creationId xmlns:a16="http://schemas.microsoft.com/office/drawing/2014/main" id="{E7E255E8-8B86-3444-8D34-CCF3BB9EFA08}"/>
              </a:ext>
            </a:extLst>
          </p:cNvPr>
          <p:cNvSpPr/>
          <p:nvPr/>
        </p:nvSpPr>
        <p:spPr>
          <a:xfrm>
            <a:off x="4970706" y="5136132"/>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662" name="Rounded Rectangle 661">
            <a:extLst>
              <a:ext uri="{FF2B5EF4-FFF2-40B4-BE49-F238E27FC236}">
                <a16:creationId xmlns:a16="http://schemas.microsoft.com/office/drawing/2014/main" id="{E9483307-E98E-0C47-AFC1-D5910A7E0AC0}"/>
              </a:ext>
            </a:extLst>
          </p:cNvPr>
          <p:cNvSpPr/>
          <p:nvPr/>
        </p:nvSpPr>
        <p:spPr>
          <a:xfrm>
            <a:off x="5164869" y="5136131"/>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663" name="Rounded Rectangle 662">
            <a:extLst>
              <a:ext uri="{FF2B5EF4-FFF2-40B4-BE49-F238E27FC236}">
                <a16:creationId xmlns:a16="http://schemas.microsoft.com/office/drawing/2014/main" id="{012DDF89-E801-4A4F-9A11-4417F4D4E72D}"/>
              </a:ext>
            </a:extLst>
          </p:cNvPr>
          <p:cNvSpPr/>
          <p:nvPr/>
        </p:nvSpPr>
        <p:spPr>
          <a:xfrm>
            <a:off x="5359032" y="5136131"/>
            <a:ext cx="180437"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664" name="Rounded Rectangle 663">
            <a:extLst>
              <a:ext uri="{FF2B5EF4-FFF2-40B4-BE49-F238E27FC236}">
                <a16:creationId xmlns:a16="http://schemas.microsoft.com/office/drawing/2014/main" id="{D0F7E695-79CA-134B-A7A6-F6E32964C1E4}"/>
              </a:ext>
            </a:extLst>
          </p:cNvPr>
          <p:cNvSpPr/>
          <p:nvPr/>
        </p:nvSpPr>
        <p:spPr>
          <a:xfrm>
            <a:off x="5551441" y="5136409"/>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665" name="Rounded Rectangle 664">
            <a:extLst>
              <a:ext uri="{FF2B5EF4-FFF2-40B4-BE49-F238E27FC236}">
                <a16:creationId xmlns:a16="http://schemas.microsoft.com/office/drawing/2014/main" id="{C2802121-8C44-C647-A904-FF5E6911279C}"/>
              </a:ext>
            </a:extLst>
          </p:cNvPr>
          <p:cNvSpPr/>
          <p:nvPr/>
        </p:nvSpPr>
        <p:spPr>
          <a:xfrm>
            <a:off x="5731901" y="5139803"/>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666" name="Rounded Rectangle 665">
            <a:extLst>
              <a:ext uri="{FF2B5EF4-FFF2-40B4-BE49-F238E27FC236}">
                <a16:creationId xmlns:a16="http://schemas.microsoft.com/office/drawing/2014/main" id="{E58FABFE-7206-BB40-964C-AE6F216F7E3C}"/>
              </a:ext>
            </a:extLst>
          </p:cNvPr>
          <p:cNvSpPr/>
          <p:nvPr/>
        </p:nvSpPr>
        <p:spPr>
          <a:xfrm>
            <a:off x="5926064" y="5139802"/>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667" name="Rounded Rectangle 666">
            <a:extLst>
              <a:ext uri="{FF2B5EF4-FFF2-40B4-BE49-F238E27FC236}">
                <a16:creationId xmlns:a16="http://schemas.microsoft.com/office/drawing/2014/main" id="{AFB51CBA-BF25-CC4C-8068-DEDAC7B60C00}"/>
              </a:ext>
            </a:extLst>
          </p:cNvPr>
          <p:cNvSpPr/>
          <p:nvPr/>
        </p:nvSpPr>
        <p:spPr>
          <a:xfrm>
            <a:off x="6120227" y="5137244"/>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668" name="Rounded Rectangle 667">
            <a:extLst>
              <a:ext uri="{FF2B5EF4-FFF2-40B4-BE49-F238E27FC236}">
                <a16:creationId xmlns:a16="http://schemas.microsoft.com/office/drawing/2014/main" id="{334B9928-4E9A-BF40-B527-18648FFFE452}"/>
              </a:ext>
            </a:extLst>
          </p:cNvPr>
          <p:cNvSpPr/>
          <p:nvPr/>
        </p:nvSpPr>
        <p:spPr>
          <a:xfrm>
            <a:off x="6312636" y="5140080"/>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669" name="TextBox 668">
            <a:extLst>
              <a:ext uri="{FF2B5EF4-FFF2-40B4-BE49-F238E27FC236}">
                <a16:creationId xmlns:a16="http://schemas.microsoft.com/office/drawing/2014/main" id="{95A060D7-8BE4-A84D-8EB9-E46DDE561CD9}"/>
              </a:ext>
            </a:extLst>
          </p:cNvPr>
          <p:cNvSpPr txBox="1"/>
          <p:nvPr/>
        </p:nvSpPr>
        <p:spPr>
          <a:xfrm>
            <a:off x="4759923" y="5244415"/>
            <a:ext cx="1289135" cy="366424"/>
          </a:xfrm>
          <a:prstGeom prst="rect">
            <a:avLst/>
          </a:prstGeom>
          <a:noFill/>
        </p:spPr>
        <p:txBody>
          <a:bodyPr wrap="none" tIns="90000" bIns="90000" rtlCol="0" anchor="t">
            <a:spAutoFit/>
          </a:bodyPr>
          <a:lstStyle/>
          <a:p>
            <a:pPr algn="ctr" defTabSz="457200"/>
            <a:r>
              <a:rPr lang="en-US" sz="12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Name Events (Topic)</a:t>
            </a:r>
          </a:p>
        </p:txBody>
      </p:sp>
      <p:sp>
        <p:nvSpPr>
          <p:cNvPr id="670" name="Rounded Rectangle 669">
            <a:extLst>
              <a:ext uri="{FF2B5EF4-FFF2-40B4-BE49-F238E27FC236}">
                <a16:creationId xmlns:a16="http://schemas.microsoft.com/office/drawing/2014/main" id="{9AF52286-A55B-6D44-84D7-9227ABD26859}"/>
              </a:ext>
            </a:extLst>
          </p:cNvPr>
          <p:cNvSpPr/>
          <p:nvPr/>
        </p:nvSpPr>
        <p:spPr>
          <a:xfrm>
            <a:off x="6509384" y="5139802"/>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671" name="Rounded Rectangle 670">
            <a:extLst>
              <a:ext uri="{FF2B5EF4-FFF2-40B4-BE49-F238E27FC236}">
                <a16:creationId xmlns:a16="http://schemas.microsoft.com/office/drawing/2014/main" id="{87B9106F-B485-334C-8924-B8F83B38FE53}"/>
              </a:ext>
            </a:extLst>
          </p:cNvPr>
          <p:cNvSpPr/>
          <p:nvPr/>
        </p:nvSpPr>
        <p:spPr>
          <a:xfrm>
            <a:off x="6704873" y="5136131"/>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672" name="Rounded Rectangle 671">
            <a:extLst>
              <a:ext uri="{FF2B5EF4-FFF2-40B4-BE49-F238E27FC236}">
                <a16:creationId xmlns:a16="http://schemas.microsoft.com/office/drawing/2014/main" id="{4A638568-A65D-8A47-BE64-9A82670DED81}"/>
              </a:ext>
            </a:extLst>
          </p:cNvPr>
          <p:cNvSpPr/>
          <p:nvPr/>
        </p:nvSpPr>
        <p:spPr>
          <a:xfrm>
            <a:off x="4994394" y="5571751"/>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673" name="Rounded Rectangle 672">
            <a:extLst>
              <a:ext uri="{FF2B5EF4-FFF2-40B4-BE49-F238E27FC236}">
                <a16:creationId xmlns:a16="http://schemas.microsoft.com/office/drawing/2014/main" id="{3A05E1F3-4B99-7C43-9967-02DC17933121}"/>
              </a:ext>
            </a:extLst>
          </p:cNvPr>
          <p:cNvSpPr/>
          <p:nvPr/>
        </p:nvSpPr>
        <p:spPr>
          <a:xfrm>
            <a:off x="5188557" y="5571750"/>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674" name="Rounded Rectangle 673">
            <a:extLst>
              <a:ext uri="{FF2B5EF4-FFF2-40B4-BE49-F238E27FC236}">
                <a16:creationId xmlns:a16="http://schemas.microsoft.com/office/drawing/2014/main" id="{C9040781-4769-A94C-8236-231E05F91C76}"/>
              </a:ext>
            </a:extLst>
          </p:cNvPr>
          <p:cNvSpPr/>
          <p:nvPr/>
        </p:nvSpPr>
        <p:spPr>
          <a:xfrm>
            <a:off x="5382720" y="5571750"/>
            <a:ext cx="180437"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675" name="Rounded Rectangle 674">
            <a:extLst>
              <a:ext uri="{FF2B5EF4-FFF2-40B4-BE49-F238E27FC236}">
                <a16:creationId xmlns:a16="http://schemas.microsoft.com/office/drawing/2014/main" id="{07C8D45A-117C-D04D-B179-0C449A7088F6}"/>
              </a:ext>
            </a:extLst>
          </p:cNvPr>
          <p:cNvSpPr/>
          <p:nvPr/>
        </p:nvSpPr>
        <p:spPr>
          <a:xfrm>
            <a:off x="5575129" y="5572028"/>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676" name="Rounded Rectangle 675">
            <a:extLst>
              <a:ext uri="{FF2B5EF4-FFF2-40B4-BE49-F238E27FC236}">
                <a16:creationId xmlns:a16="http://schemas.microsoft.com/office/drawing/2014/main" id="{7378A6D4-61C3-954C-A680-C9110D402632}"/>
              </a:ext>
            </a:extLst>
          </p:cNvPr>
          <p:cNvSpPr/>
          <p:nvPr/>
        </p:nvSpPr>
        <p:spPr>
          <a:xfrm>
            <a:off x="5755589" y="5575422"/>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677" name="Rounded Rectangle 676">
            <a:extLst>
              <a:ext uri="{FF2B5EF4-FFF2-40B4-BE49-F238E27FC236}">
                <a16:creationId xmlns:a16="http://schemas.microsoft.com/office/drawing/2014/main" id="{57C52DB9-EF59-034D-AE49-94B46E37B1DE}"/>
              </a:ext>
            </a:extLst>
          </p:cNvPr>
          <p:cNvSpPr/>
          <p:nvPr/>
        </p:nvSpPr>
        <p:spPr>
          <a:xfrm>
            <a:off x="5949752" y="5575421"/>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678" name="Rounded Rectangle 677">
            <a:extLst>
              <a:ext uri="{FF2B5EF4-FFF2-40B4-BE49-F238E27FC236}">
                <a16:creationId xmlns:a16="http://schemas.microsoft.com/office/drawing/2014/main" id="{37686644-87FC-AD4D-8F5F-11F891A5EC2A}"/>
              </a:ext>
            </a:extLst>
          </p:cNvPr>
          <p:cNvSpPr/>
          <p:nvPr/>
        </p:nvSpPr>
        <p:spPr>
          <a:xfrm>
            <a:off x="6143915" y="5572863"/>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679" name="Rounded Rectangle 678">
            <a:extLst>
              <a:ext uri="{FF2B5EF4-FFF2-40B4-BE49-F238E27FC236}">
                <a16:creationId xmlns:a16="http://schemas.microsoft.com/office/drawing/2014/main" id="{B26037C6-6536-8542-8763-633C26C1A2E5}"/>
              </a:ext>
            </a:extLst>
          </p:cNvPr>
          <p:cNvSpPr/>
          <p:nvPr/>
        </p:nvSpPr>
        <p:spPr>
          <a:xfrm>
            <a:off x="6336324" y="5575699"/>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680" name="TextBox 679">
            <a:extLst>
              <a:ext uri="{FF2B5EF4-FFF2-40B4-BE49-F238E27FC236}">
                <a16:creationId xmlns:a16="http://schemas.microsoft.com/office/drawing/2014/main" id="{5F0AE28C-A3A7-4740-AE20-913B2B7DCD33}"/>
              </a:ext>
            </a:extLst>
          </p:cNvPr>
          <p:cNvSpPr txBox="1"/>
          <p:nvPr/>
        </p:nvSpPr>
        <p:spPr>
          <a:xfrm>
            <a:off x="4783611" y="5680034"/>
            <a:ext cx="1289135" cy="366424"/>
          </a:xfrm>
          <a:prstGeom prst="rect">
            <a:avLst/>
          </a:prstGeom>
          <a:noFill/>
        </p:spPr>
        <p:txBody>
          <a:bodyPr wrap="none" tIns="90000" bIns="90000" rtlCol="0" anchor="t">
            <a:spAutoFit/>
          </a:bodyPr>
          <a:lstStyle/>
          <a:p>
            <a:pPr algn="ctr" defTabSz="457200"/>
            <a:r>
              <a:rPr lang="en-US" sz="12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Name Events (Topic)</a:t>
            </a:r>
          </a:p>
        </p:txBody>
      </p:sp>
      <p:sp>
        <p:nvSpPr>
          <p:cNvPr id="681" name="Rounded Rectangle 680">
            <a:extLst>
              <a:ext uri="{FF2B5EF4-FFF2-40B4-BE49-F238E27FC236}">
                <a16:creationId xmlns:a16="http://schemas.microsoft.com/office/drawing/2014/main" id="{611A82F8-FBE9-1842-AC22-1F89783975BF}"/>
              </a:ext>
            </a:extLst>
          </p:cNvPr>
          <p:cNvSpPr/>
          <p:nvPr/>
        </p:nvSpPr>
        <p:spPr>
          <a:xfrm>
            <a:off x="6533072" y="5575421"/>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Nanum Pen Script" panose="03040600000000000000" pitchFamily="66" charset="-127"/>
              <a:ea typeface="Nanum Pen Script" panose="03040600000000000000" pitchFamily="66" charset="-127"/>
            </a:endParaRPr>
          </a:p>
        </p:txBody>
      </p:sp>
      <p:sp>
        <p:nvSpPr>
          <p:cNvPr id="691" name="Rounded Rectangle 690">
            <a:extLst>
              <a:ext uri="{FF2B5EF4-FFF2-40B4-BE49-F238E27FC236}">
                <a16:creationId xmlns:a16="http://schemas.microsoft.com/office/drawing/2014/main" id="{AD2003C4-8140-3344-A95A-450333941DE4}"/>
              </a:ext>
            </a:extLst>
          </p:cNvPr>
          <p:cNvSpPr/>
          <p:nvPr/>
        </p:nvSpPr>
        <p:spPr>
          <a:xfrm>
            <a:off x="2226383" y="3323290"/>
            <a:ext cx="1556976" cy="376982"/>
          </a:xfrm>
          <a:prstGeom prst="roundRect">
            <a:avLst/>
          </a:prstGeom>
          <a:solidFill>
            <a:srgbClr val="0067B7">
              <a:alpha val="67000"/>
            </a:srgbClr>
          </a:solidFill>
          <a:ln w="3175">
            <a:solidFill>
              <a:schemeClr val="tx1">
                <a:alpha val="66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b="1" dirty="0">
              <a:solidFill>
                <a:schemeClr val="bg1"/>
              </a:solidFill>
              <a:ea typeface="Nanum Pen Script" panose="03040600000000000000" pitchFamily="66" charset="-127"/>
            </a:endParaRPr>
          </a:p>
          <a:p>
            <a:pPr algn="ctr"/>
            <a:endParaRPr lang="en-US" sz="700" b="1" dirty="0">
              <a:solidFill>
                <a:schemeClr val="bg1"/>
              </a:solidFill>
              <a:ea typeface="Nanum Pen Script" panose="03040600000000000000" pitchFamily="66" charset="-127"/>
            </a:endParaRPr>
          </a:p>
          <a:p>
            <a:pPr algn="ctr"/>
            <a:endParaRPr lang="en-US" sz="700" b="1" dirty="0">
              <a:solidFill>
                <a:schemeClr val="bg1"/>
              </a:solidFill>
              <a:ea typeface="Nanum Pen Script" panose="03040600000000000000" pitchFamily="66" charset="-127"/>
            </a:endParaRPr>
          </a:p>
          <a:p>
            <a:pPr algn="ctr"/>
            <a:endParaRPr lang="en-US" sz="700" b="1" dirty="0">
              <a:solidFill>
                <a:schemeClr val="bg1"/>
              </a:solidFill>
              <a:ea typeface="Nanum Pen Script" panose="03040600000000000000" pitchFamily="66" charset="-127"/>
            </a:endParaRPr>
          </a:p>
          <a:p>
            <a:pPr algn="ctr"/>
            <a:endParaRPr lang="en-US" sz="600" b="1" dirty="0">
              <a:solidFill>
                <a:schemeClr val="bg1"/>
              </a:solidFill>
              <a:ea typeface="Nanum Pen Script" panose="03040600000000000000" pitchFamily="66" charset="-127"/>
            </a:endParaRPr>
          </a:p>
          <a:p>
            <a:pPr algn="ctr"/>
            <a:r>
              <a:rPr lang="en-US" sz="900" b="1" dirty="0" err="1">
                <a:solidFill>
                  <a:schemeClr val="bg1"/>
                </a:solidFill>
                <a:ea typeface="Nanum Pen Script" panose="03040600000000000000" pitchFamily="66" charset="-127"/>
              </a:rPr>
              <a:t>SourceService</a:t>
            </a:r>
            <a:endParaRPr lang="en-US" sz="1600" dirty="0">
              <a:solidFill>
                <a:schemeClr val="tx1">
                  <a:lumMod val="50000"/>
                </a:schemeClr>
              </a:solidFill>
              <a:ea typeface="Nanum Pen Script" panose="03040600000000000000" pitchFamily="66" charset="-127"/>
            </a:endParaRPr>
          </a:p>
          <a:p>
            <a:pPr algn="ctr"/>
            <a:endParaRPr lang="en-US" sz="1400" dirty="0">
              <a:solidFill>
                <a:schemeClr val="bg1"/>
              </a:solidFill>
              <a:ea typeface="Nanum Pen Script" panose="03040600000000000000" pitchFamily="66" charset="-127"/>
            </a:endParaRPr>
          </a:p>
          <a:p>
            <a:pPr algn="ctr"/>
            <a:endParaRPr lang="en-US" sz="1400" dirty="0">
              <a:solidFill>
                <a:schemeClr val="bg1"/>
              </a:solidFill>
              <a:ea typeface="Nanum Pen Script" panose="03040600000000000000" pitchFamily="66" charset="-127"/>
            </a:endParaRPr>
          </a:p>
        </p:txBody>
      </p:sp>
      <p:cxnSp>
        <p:nvCxnSpPr>
          <p:cNvPr id="697" name="Elbow Connector 696">
            <a:extLst>
              <a:ext uri="{FF2B5EF4-FFF2-40B4-BE49-F238E27FC236}">
                <a16:creationId xmlns:a16="http://schemas.microsoft.com/office/drawing/2014/main" id="{6D312821-E309-954A-9E17-267D3B5E4DB4}"/>
              </a:ext>
            </a:extLst>
          </p:cNvPr>
          <p:cNvCxnSpPr>
            <a:cxnSpLocks/>
            <a:stCxn id="691" idx="0"/>
            <a:endCxn id="353" idx="2"/>
          </p:cNvCxnSpPr>
          <p:nvPr/>
        </p:nvCxnSpPr>
        <p:spPr>
          <a:xfrm rot="16200000" flipV="1">
            <a:off x="2856522" y="3174941"/>
            <a:ext cx="290078" cy="6620"/>
          </a:xfrm>
          <a:prstGeom prst="bentConnector3">
            <a:avLst>
              <a:gd name="adj1" fmla="val 50000"/>
            </a:avLst>
          </a:prstGeom>
          <a:ln>
            <a:solidFill>
              <a:srgbClr val="C5277F"/>
            </a:solidFill>
            <a:headEnd type="oval"/>
            <a:tailEnd type="oval"/>
          </a:ln>
        </p:spPr>
        <p:style>
          <a:lnRef idx="1">
            <a:schemeClr val="accent1"/>
          </a:lnRef>
          <a:fillRef idx="0">
            <a:schemeClr val="accent1"/>
          </a:fillRef>
          <a:effectRef idx="0">
            <a:schemeClr val="accent1"/>
          </a:effectRef>
          <a:fontRef idx="minor">
            <a:schemeClr val="tx1"/>
          </a:fontRef>
        </p:style>
      </p:cxnSp>
      <p:cxnSp>
        <p:nvCxnSpPr>
          <p:cNvPr id="717" name="Elbow Connector 716">
            <a:extLst>
              <a:ext uri="{FF2B5EF4-FFF2-40B4-BE49-F238E27FC236}">
                <a16:creationId xmlns:a16="http://schemas.microsoft.com/office/drawing/2014/main" id="{2184A1DA-1662-734E-8DF0-D71A79DE9685}"/>
              </a:ext>
            </a:extLst>
          </p:cNvPr>
          <p:cNvCxnSpPr>
            <a:cxnSpLocks/>
            <a:stCxn id="352" idx="3"/>
            <a:endCxn id="353" idx="1"/>
          </p:cNvCxnSpPr>
          <p:nvPr/>
        </p:nvCxnSpPr>
        <p:spPr>
          <a:xfrm>
            <a:off x="1596386" y="2559770"/>
            <a:ext cx="629997" cy="288778"/>
          </a:xfrm>
          <a:prstGeom prst="bentConnector3">
            <a:avLst>
              <a:gd name="adj1" fmla="val 50000"/>
            </a:avLst>
          </a:prstGeom>
          <a:ln>
            <a:solidFill>
              <a:schemeClr val="bg1">
                <a:lumMod val="50000"/>
              </a:schemeClr>
            </a:solidFill>
            <a:headEnd type="oval"/>
            <a:tailEnd type="triangle"/>
          </a:ln>
        </p:spPr>
        <p:style>
          <a:lnRef idx="1">
            <a:schemeClr val="accent1"/>
          </a:lnRef>
          <a:fillRef idx="0">
            <a:schemeClr val="accent1"/>
          </a:fillRef>
          <a:effectRef idx="0">
            <a:schemeClr val="accent1"/>
          </a:effectRef>
          <a:fontRef idx="minor">
            <a:schemeClr val="tx1"/>
          </a:fontRef>
        </p:style>
      </p:cxnSp>
      <p:cxnSp>
        <p:nvCxnSpPr>
          <p:cNvPr id="720" name="Elbow Connector 719">
            <a:extLst>
              <a:ext uri="{FF2B5EF4-FFF2-40B4-BE49-F238E27FC236}">
                <a16:creationId xmlns:a16="http://schemas.microsoft.com/office/drawing/2014/main" id="{07E86E81-3D8C-8E4D-9A7E-1949BA4A7D5F}"/>
              </a:ext>
            </a:extLst>
          </p:cNvPr>
          <p:cNvCxnSpPr>
            <a:cxnSpLocks/>
            <a:stCxn id="428" idx="3"/>
            <a:endCxn id="353" idx="1"/>
          </p:cNvCxnSpPr>
          <p:nvPr/>
        </p:nvCxnSpPr>
        <p:spPr>
          <a:xfrm flipV="1">
            <a:off x="1606551" y="2848548"/>
            <a:ext cx="619832" cy="2071160"/>
          </a:xfrm>
          <a:prstGeom prst="bentConnector3">
            <a:avLst>
              <a:gd name="adj1" fmla="val 50000"/>
            </a:avLst>
          </a:prstGeom>
          <a:ln>
            <a:solidFill>
              <a:schemeClr val="bg1">
                <a:lumMod val="50000"/>
              </a:schemeClr>
            </a:solidFill>
            <a:headEnd type="oval"/>
            <a:tailEnd type="triangle"/>
          </a:ln>
        </p:spPr>
        <p:style>
          <a:lnRef idx="1">
            <a:schemeClr val="accent1"/>
          </a:lnRef>
          <a:fillRef idx="0">
            <a:schemeClr val="accent1"/>
          </a:fillRef>
          <a:effectRef idx="0">
            <a:schemeClr val="accent1"/>
          </a:effectRef>
          <a:fontRef idx="minor">
            <a:schemeClr val="tx1"/>
          </a:fontRef>
        </p:style>
      </p:cxnSp>
      <p:cxnSp>
        <p:nvCxnSpPr>
          <p:cNvPr id="726" name="Elbow Connector 725">
            <a:extLst>
              <a:ext uri="{FF2B5EF4-FFF2-40B4-BE49-F238E27FC236}">
                <a16:creationId xmlns:a16="http://schemas.microsoft.com/office/drawing/2014/main" id="{93851C58-8FEE-E94D-A728-2A0E15063768}"/>
              </a:ext>
            </a:extLst>
          </p:cNvPr>
          <p:cNvCxnSpPr>
            <a:cxnSpLocks/>
            <a:stCxn id="364" idx="3"/>
            <a:endCxn id="353" idx="1"/>
          </p:cNvCxnSpPr>
          <p:nvPr/>
        </p:nvCxnSpPr>
        <p:spPr>
          <a:xfrm flipV="1">
            <a:off x="1601840" y="2848548"/>
            <a:ext cx="624543" cy="1488132"/>
          </a:xfrm>
          <a:prstGeom prst="bentConnector3">
            <a:avLst>
              <a:gd name="adj1" fmla="val 50000"/>
            </a:avLst>
          </a:prstGeom>
          <a:ln>
            <a:solidFill>
              <a:schemeClr val="bg1">
                <a:lumMod val="50000"/>
              </a:schemeClr>
            </a:solidFill>
            <a:headEnd type="oval"/>
            <a:tailEnd type="triangle"/>
          </a:ln>
        </p:spPr>
        <p:style>
          <a:lnRef idx="1">
            <a:schemeClr val="accent1"/>
          </a:lnRef>
          <a:fillRef idx="0">
            <a:schemeClr val="accent1"/>
          </a:fillRef>
          <a:effectRef idx="0">
            <a:schemeClr val="accent1"/>
          </a:effectRef>
          <a:fontRef idx="minor">
            <a:schemeClr val="tx1"/>
          </a:fontRef>
        </p:style>
      </p:cxnSp>
      <p:cxnSp>
        <p:nvCxnSpPr>
          <p:cNvPr id="729" name="Elbow Connector 728">
            <a:extLst>
              <a:ext uri="{FF2B5EF4-FFF2-40B4-BE49-F238E27FC236}">
                <a16:creationId xmlns:a16="http://schemas.microsoft.com/office/drawing/2014/main" id="{72311BBC-D54E-224D-97DE-A6FC20124BC4}"/>
              </a:ext>
            </a:extLst>
          </p:cNvPr>
          <p:cNvCxnSpPr>
            <a:cxnSpLocks/>
            <a:stCxn id="531" idx="3"/>
            <a:endCxn id="353" idx="1"/>
          </p:cNvCxnSpPr>
          <p:nvPr/>
        </p:nvCxnSpPr>
        <p:spPr>
          <a:xfrm flipV="1">
            <a:off x="1606551" y="2848548"/>
            <a:ext cx="619832" cy="2660974"/>
          </a:xfrm>
          <a:prstGeom prst="bentConnector3">
            <a:avLst>
              <a:gd name="adj1" fmla="val 50000"/>
            </a:avLst>
          </a:prstGeom>
          <a:ln>
            <a:solidFill>
              <a:schemeClr val="bg1">
                <a:lumMod val="50000"/>
              </a:schemeClr>
            </a:solidFill>
            <a:headEnd type="oval"/>
            <a:tailEnd type="triangle"/>
          </a:ln>
        </p:spPr>
        <p:style>
          <a:lnRef idx="1">
            <a:schemeClr val="accent1"/>
          </a:lnRef>
          <a:fillRef idx="0">
            <a:schemeClr val="accent1"/>
          </a:fillRef>
          <a:effectRef idx="0">
            <a:schemeClr val="accent1"/>
          </a:effectRef>
          <a:fontRef idx="minor">
            <a:schemeClr val="tx1"/>
          </a:fontRef>
        </p:style>
      </p:cxnSp>
      <p:sp>
        <p:nvSpPr>
          <p:cNvPr id="735" name="Rounded Rectangle 734">
            <a:extLst>
              <a:ext uri="{FF2B5EF4-FFF2-40B4-BE49-F238E27FC236}">
                <a16:creationId xmlns:a16="http://schemas.microsoft.com/office/drawing/2014/main" id="{E1F11BC2-54F1-FF40-BF4D-496E32668B1B}"/>
              </a:ext>
            </a:extLst>
          </p:cNvPr>
          <p:cNvSpPr/>
          <p:nvPr/>
        </p:nvSpPr>
        <p:spPr>
          <a:xfrm>
            <a:off x="2226383" y="3968123"/>
            <a:ext cx="1555731" cy="369328"/>
          </a:xfrm>
          <a:prstGeom prst="roundRect">
            <a:avLst/>
          </a:prstGeom>
          <a:solidFill>
            <a:srgbClr val="0067B7">
              <a:alpha val="67000"/>
            </a:srgbClr>
          </a:solidFill>
          <a:ln w="3175">
            <a:solidFill>
              <a:schemeClr val="tx1">
                <a:alpha val="66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b="1" dirty="0">
              <a:solidFill>
                <a:schemeClr val="bg1"/>
              </a:solidFill>
              <a:ea typeface="Nanum Pen Script" panose="03040600000000000000" pitchFamily="66" charset="-127"/>
            </a:endParaRPr>
          </a:p>
          <a:p>
            <a:pPr algn="ctr"/>
            <a:endParaRPr lang="en-US" sz="700" b="1" dirty="0">
              <a:solidFill>
                <a:schemeClr val="bg1"/>
              </a:solidFill>
              <a:ea typeface="Nanum Pen Script" panose="03040600000000000000" pitchFamily="66" charset="-127"/>
            </a:endParaRPr>
          </a:p>
          <a:p>
            <a:pPr algn="ctr"/>
            <a:endParaRPr lang="en-US" sz="700" b="1" dirty="0">
              <a:solidFill>
                <a:schemeClr val="bg1"/>
              </a:solidFill>
              <a:ea typeface="Nanum Pen Script" panose="03040600000000000000" pitchFamily="66" charset="-127"/>
            </a:endParaRPr>
          </a:p>
          <a:p>
            <a:pPr algn="ctr"/>
            <a:endParaRPr lang="en-US" sz="700" b="1" dirty="0">
              <a:solidFill>
                <a:schemeClr val="bg1"/>
              </a:solidFill>
              <a:ea typeface="Nanum Pen Script" panose="03040600000000000000" pitchFamily="66" charset="-127"/>
            </a:endParaRPr>
          </a:p>
          <a:p>
            <a:pPr algn="ctr"/>
            <a:endParaRPr lang="en-US" sz="600" b="1" dirty="0">
              <a:solidFill>
                <a:schemeClr val="bg1"/>
              </a:solidFill>
              <a:ea typeface="Nanum Pen Script" panose="03040600000000000000" pitchFamily="66" charset="-127"/>
            </a:endParaRPr>
          </a:p>
          <a:p>
            <a:pPr algn="ctr"/>
            <a:r>
              <a:rPr lang="en-US" sz="800" b="1" dirty="0" err="1">
                <a:solidFill>
                  <a:schemeClr val="bg1"/>
                </a:solidFill>
                <a:ea typeface="Nanum Pen Script" panose="03040600000000000000" pitchFamily="66" charset="-127"/>
              </a:rPr>
              <a:t>ProducerEngine</a:t>
            </a:r>
            <a:endParaRPr lang="en-US" sz="800" b="1" dirty="0">
              <a:solidFill>
                <a:schemeClr val="bg1"/>
              </a:solidFill>
              <a:ea typeface="Nanum Pen Script" panose="03040600000000000000" pitchFamily="66" charset="-127"/>
            </a:endParaRPr>
          </a:p>
          <a:p>
            <a:pPr algn="ctr"/>
            <a:endParaRPr lang="en-US" sz="800" b="1" dirty="0">
              <a:solidFill>
                <a:schemeClr val="bg1"/>
              </a:solidFill>
              <a:ea typeface="Nanum Pen Script" panose="03040600000000000000" pitchFamily="66" charset="-127"/>
            </a:endParaRPr>
          </a:p>
          <a:p>
            <a:pPr algn="ctr"/>
            <a:endParaRPr lang="en-US" sz="1400" dirty="0">
              <a:solidFill>
                <a:schemeClr val="bg1"/>
              </a:solidFill>
              <a:ea typeface="Nanum Pen Script" panose="03040600000000000000" pitchFamily="66" charset="-127"/>
            </a:endParaRPr>
          </a:p>
          <a:p>
            <a:pPr algn="ctr"/>
            <a:endParaRPr lang="en-US" sz="1400" dirty="0">
              <a:solidFill>
                <a:schemeClr val="bg1"/>
              </a:solidFill>
              <a:ea typeface="Nanum Pen Script" panose="03040600000000000000" pitchFamily="66" charset="-127"/>
            </a:endParaRPr>
          </a:p>
        </p:txBody>
      </p:sp>
      <p:cxnSp>
        <p:nvCxnSpPr>
          <p:cNvPr id="745" name="Elbow Connector 744">
            <a:extLst>
              <a:ext uri="{FF2B5EF4-FFF2-40B4-BE49-F238E27FC236}">
                <a16:creationId xmlns:a16="http://schemas.microsoft.com/office/drawing/2014/main" id="{E343B5C2-61C3-F044-97C9-F9C84DE798A5}"/>
              </a:ext>
            </a:extLst>
          </p:cNvPr>
          <p:cNvCxnSpPr>
            <a:cxnSpLocks/>
            <a:stCxn id="691" idx="2"/>
            <a:endCxn id="735" idx="0"/>
          </p:cNvCxnSpPr>
          <p:nvPr/>
        </p:nvCxnSpPr>
        <p:spPr>
          <a:xfrm rot="5400000">
            <a:off x="2870635" y="3833886"/>
            <a:ext cx="267851" cy="622"/>
          </a:xfrm>
          <a:prstGeom prst="bentConnector3">
            <a:avLst>
              <a:gd name="adj1" fmla="val 50000"/>
            </a:avLst>
          </a:prstGeom>
          <a:ln>
            <a:solidFill>
              <a:srgbClr val="C5277F"/>
            </a:solidFill>
            <a:headEnd type="oval"/>
            <a:tailEnd type="oval"/>
          </a:ln>
        </p:spPr>
        <p:style>
          <a:lnRef idx="1">
            <a:schemeClr val="accent1"/>
          </a:lnRef>
          <a:fillRef idx="0">
            <a:schemeClr val="accent1"/>
          </a:fillRef>
          <a:effectRef idx="0">
            <a:schemeClr val="accent1"/>
          </a:effectRef>
          <a:fontRef idx="minor">
            <a:schemeClr val="tx1"/>
          </a:fontRef>
        </p:style>
      </p:cxnSp>
      <p:sp>
        <p:nvSpPr>
          <p:cNvPr id="802" name="Rounded Rectangle 801">
            <a:extLst>
              <a:ext uri="{FF2B5EF4-FFF2-40B4-BE49-F238E27FC236}">
                <a16:creationId xmlns:a16="http://schemas.microsoft.com/office/drawing/2014/main" id="{48E9EBDC-F223-F544-BA04-D00FBB66FA75}"/>
              </a:ext>
            </a:extLst>
          </p:cNvPr>
          <p:cNvSpPr/>
          <p:nvPr/>
        </p:nvSpPr>
        <p:spPr>
          <a:xfrm>
            <a:off x="2226383" y="4664229"/>
            <a:ext cx="1549342" cy="366327"/>
          </a:xfrm>
          <a:prstGeom prst="roundRect">
            <a:avLst/>
          </a:prstGeom>
          <a:solidFill>
            <a:srgbClr val="0067B7">
              <a:alpha val="67000"/>
            </a:srgbClr>
          </a:solidFill>
          <a:ln w="3175">
            <a:solidFill>
              <a:schemeClr val="tx1">
                <a:alpha val="66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b="1" dirty="0">
              <a:solidFill>
                <a:schemeClr val="bg1"/>
              </a:solidFill>
              <a:ea typeface="Nanum Pen Script" panose="03040600000000000000" pitchFamily="66" charset="-127"/>
            </a:endParaRPr>
          </a:p>
          <a:p>
            <a:pPr algn="ctr"/>
            <a:endParaRPr lang="en-US" sz="700" b="1" dirty="0">
              <a:solidFill>
                <a:schemeClr val="bg1"/>
              </a:solidFill>
              <a:ea typeface="Nanum Pen Script" panose="03040600000000000000" pitchFamily="66" charset="-127"/>
            </a:endParaRPr>
          </a:p>
          <a:p>
            <a:pPr algn="ctr"/>
            <a:endParaRPr lang="en-US" sz="700" b="1" dirty="0">
              <a:solidFill>
                <a:schemeClr val="bg1"/>
              </a:solidFill>
              <a:ea typeface="Nanum Pen Script" panose="03040600000000000000" pitchFamily="66" charset="-127"/>
            </a:endParaRPr>
          </a:p>
          <a:p>
            <a:pPr algn="ctr"/>
            <a:endParaRPr lang="en-US" sz="700" b="1" dirty="0">
              <a:solidFill>
                <a:schemeClr val="bg1"/>
              </a:solidFill>
              <a:ea typeface="Nanum Pen Script" panose="03040600000000000000" pitchFamily="66" charset="-127"/>
            </a:endParaRPr>
          </a:p>
          <a:p>
            <a:pPr algn="ctr"/>
            <a:r>
              <a:rPr lang="en-US" sz="800" b="1" dirty="0" err="1">
                <a:solidFill>
                  <a:schemeClr val="bg1"/>
                </a:solidFill>
                <a:ea typeface="Nanum Pen Script" panose="03040600000000000000" pitchFamily="66" charset="-127"/>
              </a:rPr>
              <a:t>ComandKafka</a:t>
            </a:r>
            <a:endParaRPr lang="en-US" sz="800" b="1" dirty="0">
              <a:solidFill>
                <a:schemeClr val="bg1"/>
              </a:solidFill>
              <a:ea typeface="Nanum Pen Script" panose="03040600000000000000" pitchFamily="66" charset="-127"/>
            </a:endParaRPr>
          </a:p>
          <a:p>
            <a:pPr algn="ctr"/>
            <a:endParaRPr lang="en-US" sz="1400" dirty="0">
              <a:solidFill>
                <a:schemeClr val="bg1"/>
              </a:solidFill>
              <a:ea typeface="Nanum Pen Script" panose="03040600000000000000" pitchFamily="66" charset="-127"/>
            </a:endParaRPr>
          </a:p>
          <a:p>
            <a:pPr algn="ctr"/>
            <a:endParaRPr lang="en-US" sz="1400" dirty="0">
              <a:solidFill>
                <a:schemeClr val="bg1"/>
              </a:solidFill>
              <a:ea typeface="Nanum Pen Script" panose="03040600000000000000" pitchFamily="66" charset="-127"/>
            </a:endParaRPr>
          </a:p>
        </p:txBody>
      </p:sp>
      <p:cxnSp>
        <p:nvCxnSpPr>
          <p:cNvPr id="803" name="Elbow Connector 802">
            <a:extLst>
              <a:ext uri="{FF2B5EF4-FFF2-40B4-BE49-F238E27FC236}">
                <a16:creationId xmlns:a16="http://schemas.microsoft.com/office/drawing/2014/main" id="{8835F140-3860-FA4C-B92D-091EA00F06B7}"/>
              </a:ext>
            </a:extLst>
          </p:cNvPr>
          <p:cNvCxnSpPr>
            <a:cxnSpLocks/>
            <a:stCxn id="802" idx="0"/>
            <a:endCxn id="735" idx="2"/>
          </p:cNvCxnSpPr>
          <p:nvPr/>
        </p:nvCxnSpPr>
        <p:spPr>
          <a:xfrm rot="5400000" flipH="1" flipV="1">
            <a:off x="2839262" y="4499243"/>
            <a:ext cx="326778" cy="3195"/>
          </a:xfrm>
          <a:prstGeom prst="bentConnector3">
            <a:avLst>
              <a:gd name="adj1" fmla="val 50000"/>
            </a:avLst>
          </a:prstGeom>
          <a:ln>
            <a:solidFill>
              <a:srgbClr val="C5277F"/>
            </a:solidFill>
            <a:headEnd type="oval"/>
            <a:tailEnd type="oval"/>
          </a:ln>
        </p:spPr>
        <p:style>
          <a:lnRef idx="1">
            <a:schemeClr val="accent1"/>
          </a:lnRef>
          <a:fillRef idx="0">
            <a:schemeClr val="accent1"/>
          </a:fillRef>
          <a:effectRef idx="0">
            <a:schemeClr val="accent1"/>
          </a:effectRef>
          <a:fontRef idx="minor">
            <a:schemeClr val="tx1"/>
          </a:fontRef>
        </p:style>
      </p:cxnSp>
      <p:sp>
        <p:nvSpPr>
          <p:cNvPr id="820" name="Rounded Rectangle 819">
            <a:extLst>
              <a:ext uri="{FF2B5EF4-FFF2-40B4-BE49-F238E27FC236}">
                <a16:creationId xmlns:a16="http://schemas.microsoft.com/office/drawing/2014/main" id="{06757701-1E48-7846-853C-041AD14CF7BA}"/>
              </a:ext>
            </a:extLst>
          </p:cNvPr>
          <p:cNvSpPr/>
          <p:nvPr/>
        </p:nvSpPr>
        <p:spPr>
          <a:xfrm>
            <a:off x="8009814" y="3575318"/>
            <a:ext cx="1673278" cy="355347"/>
          </a:xfrm>
          <a:prstGeom prst="roundRect">
            <a:avLst/>
          </a:prstGeom>
          <a:solidFill>
            <a:srgbClr val="0067B7">
              <a:alpha val="67000"/>
            </a:srgbClr>
          </a:solidFill>
          <a:ln w="3175">
            <a:solidFill>
              <a:schemeClr val="tx1">
                <a:alpha val="66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b="1" dirty="0">
              <a:solidFill>
                <a:schemeClr val="bg1"/>
              </a:solidFill>
              <a:ea typeface="Nanum Pen Script" panose="03040600000000000000" pitchFamily="66" charset="-127"/>
            </a:endParaRPr>
          </a:p>
          <a:p>
            <a:pPr algn="ctr"/>
            <a:endParaRPr lang="en-US" sz="900" b="1" dirty="0">
              <a:solidFill>
                <a:schemeClr val="bg1"/>
              </a:solidFill>
              <a:ea typeface="Nanum Pen Script" panose="03040600000000000000" pitchFamily="66" charset="-127"/>
            </a:endParaRPr>
          </a:p>
          <a:p>
            <a:pPr algn="ctr"/>
            <a:endParaRPr lang="en-US" sz="900" b="1" dirty="0">
              <a:solidFill>
                <a:schemeClr val="bg1"/>
              </a:solidFill>
              <a:ea typeface="Nanum Pen Script" panose="03040600000000000000" pitchFamily="66" charset="-127"/>
            </a:endParaRPr>
          </a:p>
          <a:p>
            <a:pPr algn="ctr"/>
            <a:r>
              <a:rPr lang="en-US" sz="900" b="1" dirty="0" err="1">
                <a:solidFill>
                  <a:schemeClr val="bg1"/>
                </a:solidFill>
                <a:ea typeface="Nanum Pen Script" panose="03040600000000000000" pitchFamily="66" charset="-127"/>
              </a:rPr>
              <a:t>SinkService</a:t>
            </a:r>
            <a:endParaRPr lang="en-US" sz="700" b="1" dirty="0">
              <a:solidFill>
                <a:schemeClr val="tx1">
                  <a:lumMod val="50000"/>
                </a:schemeClr>
              </a:solidFill>
              <a:ea typeface="Nanum Pen Script" panose="03040600000000000000" pitchFamily="66" charset="-127"/>
            </a:endParaRPr>
          </a:p>
          <a:p>
            <a:pPr algn="ctr"/>
            <a:endParaRPr lang="en-US" sz="2800" dirty="0">
              <a:solidFill>
                <a:schemeClr val="tx1">
                  <a:lumMod val="50000"/>
                </a:schemeClr>
              </a:solidFill>
              <a:ea typeface="Nanum Pen Script" panose="03040600000000000000" pitchFamily="66" charset="-127"/>
            </a:endParaRPr>
          </a:p>
        </p:txBody>
      </p:sp>
      <p:cxnSp>
        <p:nvCxnSpPr>
          <p:cNvPr id="840" name="Elbow Connector 839">
            <a:extLst>
              <a:ext uri="{FF2B5EF4-FFF2-40B4-BE49-F238E27FC236}">
                <a16:creationId xmlns:a16="http://schemas.microsoft.com/office/drawing/2014/main" id="{86F9017D-91DB-254D-BFC6-873B48CA148E}"/>
              </a:ext>
            </a:extLst>
          </p:cNvPr>
          <p:cNvCxnSpPr>
            <a:cxnSpLocks/>
            <a:stCxn id="489" idx="2"/>
            <a:endCxn id="820" idx="0"/>
          </p:cNvCxnSpPr>
          <p:nvPr/>
        </p:nvCxnSpPr>
        <p:spPr>
          <a:xfrm rot="16200000" flipH="1">
            <a:off x="8574993" y="3303858"/>
            <a:ext cx="537698" cy="5222"/>
          </a:xfrm>
          <a:prstGeom prst="bentConnector3">
            <a:avLst>
              <a:gd name="adj1" fmla="val 50000"/>
            </a:avLst>
          </a:prstGeom>
          <a:ln>
            <a:solidFill>
              <a:srgbClr val="C5277F"/>
            </a:solidFill>
            <a:headEnd type="oval"/>
            <a:tailEnd type="oval"/>
          </a:ln>
        </p:spPr>
        <p:style>
          <a:lnRef idx="1">
            <a:schemeClr val="accent1"/>
          </a:lnRef>
          <a:fillRef idx="0">
            <a:schemeClr val="accent1"/>
          </a:fillRef>
          <a:effectRef idx="0">
            <a:schemeClr val="accent1"/>
          </a:effectRef>
          <a:fontRef idx="minor">
            <a:schemeClr val="tx1"/>
          </a:fontRef>
        </p:style>
      </p:cxnSp>
      <p:sp>
        <p:nvSpPr>
          <p:cNvPr id="850" name="Rounded Rectangle 849">
            <a:extLst>
              <a:ext uri="{FF2B5EF4-FFF2-40B4-BE49-F238E27FC236}">
                <a16:creationId xmlns:a16="http://schemas.microsoft.com/office/drawing/2014/main" id="{48F9D8D1-1BBB-2A46-B8F4-964C186DFEFF}"/>
              </a:ext>
            </a:extLst>
          </p:cNvPr>
          <p:cNvSpPr/>
          <p:nvPr/>
        </p:nvSpPr>
        <p:spPr>
          <a:xfrm>
            <a:off x="8029460" y="4510663"/>
            <a:ext cx="1627439" cy="369328"/>
          </a:xfrm>
          <a:prstGeom prst="roundRect">
            <a:avLst/>
          </a:prstGeom>
          <a:solidFill>
            <a:srgbClr val="0067B7">
              <a:alpha val="67000"/>
            </a:srgbClr>
          </a:solidFill>
          <a:ln w="3175">
            <a:solidFill>
              <a:schemeClr val="tx1">
                <a:alpha val="66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b="1" dirty="0" err="1">
                <a:solidFill>
                  <a:schemeClr val="bg1"/>
                </a:solidFill>
                <a:ea typeface="Nanum Pen Script" panose="03040600000000000000" pitchFamily="66" charset="-127"/>
              </a:rPr>
              <a:t>ConsumerEngine</a:t>
            </a:r>
            <a:endParaRPr lang="en-US" sz="1200" dirty="0">
              <a:solidFill>
                <a:schemeClr val="tx1">
                  <a:lumMod val="50000"/>
                </a:schemeClr>
              </a:solidFill>
              <a:ea typeface="Nanum Pen Script" panose="03040600000000000000" pitchFamily="66" charset="-127"/>
            </a:endParaRPr>
          </a:p>
        </p:txBody>
      </p:sp>
      <p:cxnSp>
        <p:nvCxnSpPr>
          <p:cNvPr id="851" name="Elbow Connector 850">
            <a:extLst>
              <a:ext uri="{FF2B5EF4-FFF2-40B4-BE49-F238E27FC236}">
                <a16:creationId xmlns:a16="http://schemas.microsoft.com/office/drawing/2014/main" id="{B99EAE69-6969-9041-A307-8E48FEEC7052}"/>
              </a:ext>
            </a:extLst>
          </p:cNvPr>
          <p:cNvCxnSpPr>
            <a:cxnSpLocks/>
            <a:stCxn id="850" idx="0"/>
            <a:endCxn id="820" idx="2"/>
          </p:cNvCxnSpPr>
          <p:nvPr/>
        </p:nvCxnSpPr>
        <p:spPr>
          <a:xfrm rot="5400000" flipH="1" flipV="1">
            <a:off x="8554817" y="4219028"/>
            <a:ext cx="579998" cy="3273"/>
          </a:xfrm>
          <a:prstGeom prst="bentConnector3">
            <a:avLst>
              <a:gd name="adj1" fmla="val 50000"/>
            </a:avLst>
          </a:prstGeom>
          <a:ln>
            <a:solidFill>
              <a:srgbClr val="C5277F"/>
            </a:solidFill>
            <a:headEnd type="oval"/>
            <a:tailEnd type="oval"/>
          </a:ln>
        </p:spPr>
        <p:style>
          <a:lnRef idx="1">
            <a:schemeClr val="accent1"/>
          </a:lnRef>
          <a:fillRef idx="0">
            <a:schemeClr val="accent1"/>
          </a:fillRef>
          <a:effectRef idx="0">
            <a:schemeClr val="accent1"/>
          </a:effectRef>
          <a:fontRef idx="minor">
            <a:schemeClr val="tx1"/>
          </a:fontRef>
        </p:style>
      </p:cxnSp>
      <p:cxnSp>
        <p:nvCxnSpPr>
          <p:cNvPr id="867" name="Elbow Connector 866">
            <a:extLst>
              <a:ext uri="{FF2B5EF4-FFF2-40B4-BE49-F238E27FC236}">
                <a16:creationId xmlns:a16="http://schemas.microsoft.com/office/drawing/2014/main" id="{3FC4FC00-85EB-9A48-AF38-38CE7D08ACD2}"/>
              </a:ext>
            </a:extLst>
          </p:cNvPr>
          <p:cNvCxnSpPr>
            <a:cxnSpLocks/>
            <a:stCxn id="820" idx="3"/>
            <a:endCxn id="486" idx="1"/>
          </p:cNvCxnSpPr>
          <p:nvPr/>
        </p:nvCxnSpPr>
        <p:spPr>
          <a:xfrm flipV="1">
            <a:off x="9683092" y="3037130"/>
            <a:ext cx="933210" cy="715862"/>
          </a:xfrm>
          <a:prstGeom prst="bentConnector3">
            <a:avLst>
              <a:gd name="adj1" fmla="val 50000"/>
            </a:avLst>
          </a:prstGeom>
          <a:ln>
            <a:solidFill>
              <a:schemeClr val="bg1">
                <a:lumMod val="50000"/>
              </a:schemeClr>
            </a:solidFill>
            <a:headEnd type="oval"/>
            <a:tailEnd type="triangle"/>
          </a:ln>
        </p:spPr>
        <p:style>
          <a:lnRef idx="1">
            <a:schemeClr val="accent1"/>
          </a:lnRef>
          <a:fillRef idx="0">
            <a:schemeClr val="accent1"/>
          </a:fillRef>
          <a:effectRef idx="0">
            <a:schemeClr val="accent1"/>
          </a:effectRef>
          <a:fontRef idx="minor">
            <a:schemeClr val="tx1"/>
          </a:fontRef>
        </p:style>
      </p:cxnSp>
      <p:cxnSp>
        <p:nvCxnSpPr>
          <p:cNvPr id="490" name="Elbow Connector 489">
            <a:extLst>
              <a:ext uri="{FF2B5EF4-FFF2-40B4-BE49-F238E27FC236}">
                <a16:creationId xmlns:a16="http://schemas.microsoft.com/office/drawing/2014/main" id="{14E679FD-0D27-014A-8BE6-0E6F2E01D57D}"/>
              </a:ext>
            </a:extLst>
          </p:cNvPr>
          <p:cNvCxnSpPr>
            <a:cxnSpLocks/>
            <a:stCxn id="615" idx="3"/>
            <a:endCxn id="820" idx="1"/>
          </p:cNvCxnSpPr>
          <p:nvPr/>
        </p:nvCxnSpPr>
        <p:spPr>
          <a:xfrm flipV="1">
            <a:off x="7174243" y="3752992"/>
            <a:ext cx="835571" cy="486484"/>
          </a:xfrm>
          <a:prstGeom prst="bentConnector3">
            <a:avLst>
              <a:gd name="adj1" fmla="val 50000"/>
            </a:avLst>
          </a:prstGeom>
          <a:ln>
            <a:solidFill>
              <a:schemeClr val="bg1">
                <a:lumMod val="50000"/>
              </a:schemeClr>
            </a:solidFill>
            <a:headEnd type="oval"/>
            <a:tailEnd type="triangle"/>
          </a:ln>
        </p:spPr>
        <p:style>
          <a:lnRef idx="1">
            <a:schemeClr val="accent1"/>
          </a:lnRef>
          <a:fillRef idx="0">
            <a:schemeClr val="accent1"/>
          </a:fillRef>
          <a:effectRef idx="0">
            <a:schemeClr val="accent1"/>
          </a:effectRef>
          <a:fontRef idx="minor">
            <a:schemeClr val="tx1"/>
          </a:fontRef>
        </p:style>
      </p:cxnSp>
      <p:cxnSp>
        <p:nvCxnSpPr>
          <p:cNvPr id="286" name="Elbow Connector 285">
            <a:extLst>
              <a:ext uri="{FF2B5EF4-FFF2-40B4-BE49-F238E27FC236}">
                <a16:creationId xmlns:a16="http://schemas.microsoft.com/office/drawing/2014/main" id="{24007960-5590-114A-8B0C-ECA58DB2206D}"/>
              </a:ext>
            </a:extLst>
          </p:cNvPr>
          <p:cNvCxnSpPr>
            <a:cxnSpLocks/>
            <a:stCxn id="850" idx="2"/>
            <a:endCxn id="802" idx="3"/>
          </p:cNvCxnSpPr>
          <p:nvPr/>
        </p:nvCxnSpPr>
        <p:spPr>
          <a:xfrm rot="5400000" flipH="1">
            <a:off x="6293154" y="2329965"/>
            <a:ext cx="32598" cy="5067455"/>
          </a:xfrm>
          <a:prstGeom prst="bentConnector4">
            <a:avLst>
              <a:gd name="adj1" fmla="val -4796687"/>
              <a:gd name="adj2" fmla="val 89968"/>
            </a:avLst>
          </a:prstGeom>
          <a:ln>
            <a:solidFill>
              <a:srgbClr val="C5277F"/>
            </a:solidFill>
            <a:headEnd type="oval"/>
            <a:tailEnd type="oval"/>
          </a:ln>
        </p:spPr>
        <p:style>
          <a:lnRef idx="1">
            <a:schemeClr val="accent1"/>
          </a:lnRef>
          <a:fillRef idx="0">
            <a:schemeClr val="accent1"/>
          </a:fillRef>
          <a:effectRef idx="0">
            <a:schemeClr val="accent1"/>
          </a:effectRef>
          <a:fontRef idx="minor">
            <a:schemeClr val="tx1"/>
          </a:fontRef>
        </p:style>
      </p:cxnSp>
      <p:sp>
        <p:nvSpPr>
          <p:cNvPr id="290" name="Google Shape;61;p12">
            <a:extLst>
              <a:ext uri="{FF2B5EF4-FFF2-40B4-BE49-F238E27FC236}">
                <a16:creationId xmlns:a16="http://schemas.microsoft.com/office/drawing/2014/main" id="{A00E6DBF-585B-804B-96CE-79AE1E30AD61}"/>
              </a:ext>
            </a:extLst>
          </p:cNvPr>
          <p:cNvSpPr txBox="1">
            <a:spLocks/>
          </p:cNvSpPr>
          <p:nvPr/>
        </p:nvSpPr>
        <p:spPr>
          <a:xfrm>
            <a:off x="6315894" y="6226817"/>
            <a:ext cx="664851" cy="226959"/>
          </a:xfrm>
          <a:prstGeom prst="rect">
            <a:avLst/>
          </a:prstGeom>
        </p:spPr>
        <p:txBody>
          <a:bodyPr spcFirstLastPara="1" vert="horz" wrap="square" lIns="91425" tIns="91425" rIns="91425" bIns="91425" rtlCol="0" anchor="ctr"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spcBef>
                <a:spcPts val="0"/>
              </a:spcBef>
            </a:pPr>
            <a:r>
              <a:rPr lang="en-US" sz="900" dirty="0">
                <a:solidFill>
                  <a:srgbClr val="C5277F"/>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lt;&lt; uses &gt;&gt;</a:t>
            </a:r>
          </a:p>
        </p:txBody>
      </p:sp>
      <p:sp>
        <p:nvSpPr>
          <p:cNvPr id="291" name="Google Shape;61;p12">
            <a:extLst>
              <a:ext uri="{FF2B5EF4-FFF2-40B4-BE49-F238E27FC236}">
                <a16:creationId xmlns:a16="http://schemas.microsoft.com/office/drawing/2014/main" id="{9D62C4F7-1C80-7C43-AAF3-8B98DF7C8112}"/>
              </a:ext>
            </a:extLst>
          </p:cNvPr>
          <p:cNvSpPr txBox="1">
            <a:spLocks/>
          </p:cNvSpPr>
          <p:nvPr/>
        </p:nvSpPr>
        <p:spPr>
          <a:xfrm>
            <a:off x="3048286" y="4413112"/>
            <a:ext cx="664851" cy="226959"/>
          </a:xfrm>
          <a:prstGeom prst="rect">
            <a:avLst/>
          </a:prstGeom>
        </p:spPr>
        <p:txBody>
          <a:bodyPr spcFirstLastPara="1" vert="horz" wrap="square" lIns="91425" tIns="91425" rIns="91425" bIns="91425" rtlCol="0" anchor="ctr"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spcBef>
                <a:spcPts val="0"/>
              </a:spcBef>
            </a:pPr>
            <a:r>
              <a:rPr lang="en-US" sz="700" dirty="0">
                <a:solidFill>
                  <a:srgbClr val="C5277F"/>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rPr>
              <a:t>&lt;&lt; uses &gt;&gt;</a:t>
            </a:r>
          </a:p>
        </p:txBody>
      </p:sp>
      <p:sp>
        <p:nvSpPr>
          <p:cNvPr id="292" name="Google Shape;61;p12">
            <a:extLst>
              <a:ext uri="{FF2B5EF4-FFF2-40B4-BE49-F238E27FC236}">
                <a16:creationId xmlns:a16="http://schemas.microsoft.com/office/drawing/2014/main" id="{BF193E51-89E5-2846-88D6-F03AE0A2DACE}"/>
              </a:ext>
            </a:extLst>
          </p:cNvPr>
          <p:cNvSpPr txBox="1">
            <a:spLocks/>
          </p:cNvSpPr>
          <p:nvPr/>
        </p:nvSpPr>
        <p:spPr>
          <a:xfrm>
            <a:off x="3030288" y="3061387"/>
            <a:ext cx="664851" cy="226959"/>
          </a:xfrm>
          <a:prstGeom prst="rect">
            <a:avLst/>
          </a:prstGeom>
        </p:spPr>
        <p:txBody>
          <a:bodyPr spcFirstLastPara="1" vert="horz" wrap="square" lIns="91425" tIns="91425" rIns="91425" bIns="91425" rtlCol="0" anchor="ctr"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spcBef>
                <a:spcPts val="0"/>
              </a:spcBef>
            </a:pPr>
            <a:r>
              <a:rPr lang="en-US" sz="700" dirty="0">
                <a:solidFill>
                  <a:srgbClr val="C5277F"/>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rPr>
              <a:t>&lt;&lt; uses &gt;&gt;</a:t>
            </a:r>
          </a:p>
        </p:txBody>
      </p:sp>
      <p:sp>
        <p:nvSpPr>
          <p:cNvPr id="300" name="Google Shape;61;p12">
            <a:extLst>
              <a:ext uri="{FF2B5EF4-FFF2-40B4-BE49-F238E27FC236}">
                <a16:creationId xmlns:a16="http://schemas.microsoft.com/office/drawing/2014/main" id="{EE8EADE5-3902-1E48-B1FA-3060413E1614}"/>
              </a:ext>
            </a:extLst>
          </p:cNvPr>
          <p:cNvSpPr txBox="1">
            <a:spLocks/>
          </p:cNvSpPr>
          <p:nvPr/>
        </p:nvSpPr>
        <p:spPr>
          <a:xfrm>
            <a:off x="8797910" y="4184268"/>
            <a:ext cx="664851" cy="226959"/>
          </a:xfrm>
          <a:prstGeom prst="rect">
            <a:avLst/>
          </a:prstGeom>
        </p:spPr>
        <p:txBody>
          <a:bodyPr spcFirstLastPara="1" vert="horz" wrap="square" lIns="91425" tIns="91425" rIns="91425" bIns="91425" rtlCol="0" anchor="ctr"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spcBef>
                <a:spcPts val="0"/>
              </a:spcBef>
            </a:pPr>
            <a:r>
              <a:rPr lang="en-US" sz="700" dirty="0">
                <a:solidFill>
                  <a:srgbClr val="C5277F"/>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rPr>
              <a:t>&lt;&lt; uses &gt;&gt;</a:t>
            </a:r>
          </a:p>
        </p:txBody>
      </p:sp>
      <p:sp>
        <p:nvSpPr>
          <p:cNvPr id="287" name="Rounded Rectangle 286">
            <a:extLst>
              <a:ext uri="{FF2B5EF4-FFF2-40B4-BE49-F238E27FC236}">
                <a16:creationId xmlns:a16="http://schemas.microsoft.com/office/drawing/2014/main" id="{A62B0E84-F2C7-E343-9B30-6D76CE3180B2}"/>
              </a:ext>
            </a:extLst>
          </p:cNvPr>
          <p:cNvSpPr/>
          <p:nvPr/>
        </p:nvSpPr>
        <p:spPr>
          <a:xfrm>
            <a:off x="5612376" y="799777"/>
            <a:ext cx="1422276" cy="366327"/>
          </a:xfrm>
          <a:prstGeom prst="roundRect">
            <a:avLst/>
          </a:prstGeom>
          <a:solidFill>
            <a:srgbClr val="0067B7">
              <a:alpha val="67000"/>
            </a:srgbClr>
          </a:solidFill>
          <a:ln w="3175">
            <a:solidFill>
              <a:schemeClr val="tx1">
                <a:alpha val="66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b="1" dirty="0">
              <a:solidFill>
                <a:schemeClr val="bg1"/>
              </a:solidFill>
              <a:latin typeface="+mj-lt"/>
              <a:ea typeface="Nanum Pen Script" panose="03040600000000000000" pitchFamily="66" charset="-127"/>
            </a:endParaRPr>
          </a:p>
          <a:p>
            <a:pPr algn="ctr"/>
            <a:endParaRPr lang="en-US" sz="700" b="1" dirty="0">
              <a:solidFill>
                <a:schemeClr val="bg1"/>
              </a:solidFill>
              <a:latin typeface="+mj-lt"/>
              <a:ea typeface="Nanum Pen Script" panose="03040600000000000000" pitchFamily="66" charset="-127"/>
            </a:endParaRPr>
          </a:p>
          <a:p>
            <a:pPr algn="ctr"/>
            <a:endParaRPr lang="en-US" sz="700" b="1" dirty="0">
              <a:solidFill>
                <a:schemeClr val="bg1"/>
              </a:solidFill>
              <a:latin typeface="+mj-lt"/>
              <a:ea typeface="Nanum Pen Script" panose="03040600000000000000" pitchFamily="66" charset="-127"/>
            </a:endParaRPr>
          </a:p>
          <a:p>
            <a:pPr algn="ctr"/>
            <a:endParaRPr lang="en-US" sz="700" b="1" dirty="0">
              <a:solidFill>
                <a:schemeClr val="bg1"/>
              </a:solidFill>
              <a:latin typeface="+mj-lt"/>
              <a:ea typeface="Nanum Pen Script" panose="03040600000000000000" pitchFamily="66" charset="-127"/>
            </a:endParaRPr>
          </a:p>
          <a:p>
            <a:pPr algn="ctr"/>
            <a:r>
              <a:rPr lang="en-US" sz="800" b="1" dirty="0" err="1">
                <a:solidFill>
                  <a:schemeClr val="bg1"/>
                </a:solidFill>
                <a:latin typeface="+mj-lt"/>
                <a:ea typeface="Nanum Pen Script" panose="03040600000000000000" pitchFamily="66" charset="-127"/>
              </a:rPr>
              <a:t>StreamEngine</a:t>
            </a:r>
            <a:endParaRPr lang="en-US" sz="800" b="1" dirty="0">
              <a:solidFill>
                <a:schemeClr val="bg1"/>
              </a:solidFill>
              <a:latin typeface="+mj-lt"/>
              <a:ea typeface="Nanum Pen Script" panose="03040600000000000000" pitchFamily="66" charset="-127"/>
            </a:endParaRPr>
          </a:p>
          <a:p>
            <a:pPr algn="ctr"/>
            <a:endParaRPr lang="en-US" sz="1400" dirty="0">
              <a:solidFill>
                <a:schemeClr val="bg1"/>
              </a:solidFill>
              <a:latin typeface="+mj-lt"/>
              <a:ea typeface="Nanum Pen Script" panose="03040600000000000000" pitchFamily="66" charset="-127"/>
            </a:endParaRPr>
          </a:p>
          <a:p>
            <a:pPr algn="ctr"/>
            <a:endParaRPr lang="en-US" sz="1400" dirty="0">
              <a:solidFill>
                <a:schemeClr val="bg1"/>
              </a:solidFill>
              <a:latin typeface="+mj-lt"/>
              <a:ea typeface="Nanum Pen Script" panose="03040600000000000000" pitchFamily="66" charset="-127"/>
            </a:endParaRPr>
          </a:p>
        </p:txBody>
      </p:sp>
      <p:sp>
        <p:nvSpPr>
          <p:cNvPr id="289" name="Rounded Rectangle 288">
            <a:extLst>
              <a:ext uri="{FF2B5EF4-FFF2-40B4-BE49-F238E27FC236}">
                <a16:creationId xmlns:a16="http://schemas.microsoft.com/office/drawing/2014/main" id="{D61A12B6-6C10-0D44-A5D1-CD71FF195D93}"/>
              </a:ext>
            </a:extLst>
          </p:cNvPr>
          <p:cNvSpPr/>
          <p:nvPr/>
        </p:nvSpPr>
        <p:spPr>
          <a:xfrm>
            <a:off x="2249424" y="2059474"/>
            <a:ext cx="1510527" cy="366327"/>
          </a:xfrm>
          <a:prstGeom prst="roundRect">
            <a:avLst/>
          </a:prstGeom>
          <a:solidFill>
            <a:srgbClr val="C5277F">
              <a:alpha val="67000"/>
            </a:srgbClr>
          </a:solidFill>
          <a:ln w="3175">
            <a:solidFill>
              <a:schemeClr val="tx1">
                <a:alpha val="66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b="1" dirty="0">
              <a:solidFill>
                <a:schemeClr val="bg1"/>
              </a:solidFill>
              <a:latin typeface="+mj-lt"/>
              <a:ea typeface="Nanum Pen Script" panose="03040600000000000000" pitchFamily="66" charset="-127"/>
            </a:endParaRPr>
          </a:p>
          <a:p>
            <a:pPr algn="ctr"/>
            <a:endParaRPr lang="en-US" sz="700" b="1" dirty="0">
              <a:solidFill>
                <a:schemeClr val="bg1"/>
              </a:solidFill>
              <a:latin typeface="+mj-lt"/>
              <a:ea typeface="Nanum Pen Script" panose="03040600000000000000" pitchFamily="66" charset="-127"/>
            </a:endParaRPr>
          </a:p>
          <a:p>
            <a:pPr algn="ctr"/>
            <a:endParaRPr lang="en-US" sz="700" b="1" dirty="0">
              <a:solidFill>
                <a:schemeClr val="bg1"/>
              </a:solidFill>
              <a:latin typeface="+mj-lt"/>
              <a:ea typeface="Nanum Pen Script" panose="03040600000000000000" pitchFamily="66" charset="-127"/>
            </a:endParaRPr>
          </a:p>
          <a:p>
            <a:pPr algn="ctr"/>
            <a:endParaRPr lang="en-US" sz="800" b="1" dirty="0">
              <a:solidFill>
                <a:schemeClr val="bg1"/>
              </a:solidFill>
              <a:latin typeface="+mj-lt"/>
              <a:ea typeface="Nanum Pen Script" panose="03040600000000000000" pitchFamily="66" charset="-127"/>
            </a:endParaRPr>
          </a:p>
          <a:p>
            <a:pPr algn="ctr"/>
            <a:r>
              <a:rPr lang="en-US" sz="900" b="1" dirty="0" err="1">
                <a:solidFill>
                  <a:schemeClr val="bg1"/>
                </a:solidFill>
                <a:latin typeface="+mj-lt"/>
                <a:ea typeface="Nanum Pen Script" panose="03040600000000000000" pitchFamily="66" charset="-127"/>
              </a:rPr>
              <a:t>StreamProgressService</a:t>
            </a:r>
            <a:endParaRPr lang="en-US" sz="900" b="1" dirty="0">
              <a:solidFill>
                <a:schemeClr val="bg1"/>
              </a:solidFill>
              <a:latin typeface="+mj-lt"/>
              <a:ea typeface="Nanum Pen Script" panose="03040600000000000000" pitchFamily="66" charset="-127"/>
            </a:endParaRPr>
          </a:p>
          <a:p>
            <a:pPr algn="ctr"/>
            <a:r>
              <a:rPr lang="en-US" sz="600" b="1" dirty="0">
                <a:solidFill>
                  <a:schemeClr val="tx1">
                    <a:lumMod val="50000"/>
                  </a:schemeClr>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rPr>
              <a:t>Kafka REST Proxy)</a:t>
            </a:r>
          </a:p>
          <a:p>
            <a:pPr algn="ctr"/>
            <a:endParaRPr lang="en-US" sz="600" b="1" dirty="0">
              <a:solidFill>
                <a:schemeClr val="bg1"/>
              </a:solidFill>
              <a:latin typeface="+mj-lt"/>
              <a:ea typeface="Nanum Pen Script" panose="03040600000000000000" pitchFamily="66" charset="-127"/>
            </a:endParaRPr>
          </a:p>
          <a:p>
            <a:pPr algn="ctr"/>
            <a:endParaRPr lang="en-US" sz="600" b="1" dirty="0">
              <a:solidFill>
                <a:schemeClr val="bg1"/>
              </a:solidFill>
              <a:latin typeface="+mj-lt"/>
              <a:ea typeface="Nanum Pen Script" panose="03040600000000000000" pitchFamily="66" charset="-127"/>
            </a:endParaRPr>
          </a:p>
          <a:p>
            <a:pPr algn="ctr"/>
            <a:endParaRPr lang="en-US" sz="700" b="1" dirty="0">
              <a:solidFill>
                <a:schemeClr val="bg1"/>
              </a:solidFill>
              <a:latin typeface="+mj-lt"/>
              <a:ea typeface="Nanum Pen Script" panose="03040600000000000000" pitchFamily="66" charset="-127"/>
            </a:endParaRPr>
          </a:p>
          <a:p>
            <a:pPr algn="ctr"/>
            <a:endParaRPr lang="en-US" sz="700" b="1" dirty="0">
              <a:solidFill>
                <a:schemeClr val="bg1"/>
              </a:solidFill>
              <a:latin typeface="+mj-lt"/>
              <a:ea typeface="Nanum Pen Script" panose="03040600000000000000" pitchFamily="66" charset="-127"/>
            </a:endParaRPr>
          </a:p>
        </p:txBody>
      </p:sp>
      <p:cxnSp>
        <p:nvCxnSpPr>
          <p:cNvPr id="294" name="Elbow Connector 293">
            <a:extLst>
              <a:ext uri="{FF2B5EF4-FFF2-40B4-BE49-F238E27FC236}">
                <a16:creationId xmlns:a16="http://schemas.microsoft.com/office/drawing/2014/main" id="{56CA6185-628D-924A-A973-41687254862F}"/>
              </a:ext>
            </a:extLst>
          </p:cNvPr>
          <p:cNvCxnSpPr>
            <a:cxnSpLocks/>
            <a:stCxn id="287" idx="2"/>
            <a:endCxn id="350" idx="0"/>
          </p:cNvCxnSpPr>
          <p:nvPr/>
        </p:nvCxnSpPr>
        <p:spPr>
          <a:xfrm rot="5400000">
            <a:off x="6084618" y="1335144"/>
            <a:ext cx="407936" cy="69857"/>
          </a:xfrm>
          <a:prstGeom prst="bentConnector3">
            <a:avLst>
              <a:gd name="adj1" fmla="val 50000"/>
            </a:avLst>
          </a:prstGeom>
          <a:ln>
            <a:solidFill>
              <a:schemeClr val="bg1">
                <a:lumMod val="50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18" name="Elbow Connector 317">
            <a:extLst>
              <a:ext uri="{FF2B5EF4-FFF2-40B4-BE49-F238E27FC236}">
                <a16:creationId xmlns:a16="http://schemas.microsoft.com/office/drawing/2014/main" id="{3F2D29CF-7C03-3248-B6F4-D40284C3079B}"/>
              </a:ext>
            </a:extLst>
          </p:cNvPr>
          <p:cNvCxnSpPr>
            <a:cxnSpLocks/>
            <a:stCxn id="287" idx="3"/>
            <a:endCxn id="523" idx="1"/>
          </p:cNvCxnSpPr>
          <p:nvPr/>
        </p:nvCxnSpPr>
        <p:spPr>
          <a:xfrm>
            <a:off x="7034652" y="982941"/>
            <a:ext cx="2035005" cy="508803"/>
          </a:xfrm>
          <a:prstGeom prst="bentConnector3">
            <a:avLst>
              <a:gd name="adj1" fmla="val 50000"/>
            </a:avLst>
          </a:prstGeom>
          <a:ln>
            <a:solidFill>
              <a:schemeClr val="bg1">
                <a:lumMod val="50000"/>
              </a:schemeClr>
            </a:solidFill>
            <a:headEnd type="oval"/>
            <a:tailEnd type="triangle"/>
          </a:ln>
        </p:spPr>
        <p:style>
          <a:lnRef idx="1">
            <a:schemeClr val="accent1"/>
          </a:lnRef>
          <a:fillRef idx="0">
            <a:schemeClr val="accent1"/>
          </a:fillRef>
          <a:effectRef idx="0">
            <a:schemeClr val="accent1"/>
          </a:effectRef>
          <a:fontRef idx="minor">
            <a:schemeClr val="tx1"/>
          </a:fontRef>
        </p:style>
      </p:cxnSp>
      <p:sp>
        <p:nvSpPr>
          <p:cNvPr id="354" name="Google Shape;61;p12">
            <a:extLst>
              <a:ext uri="{FF2B5EF4-FFF2-40B4-BE49-F238E27FC236}">
                <a16:creationId xmlns:a16="http://schemas.microsoft.com/office/drawing/2014/main" id="{3CB09E0A-FC84-154C-98F3-708691411BD2}"/>
              </a:ext>
            </a:extLst>
          </p:cNvPr>
          <p:cNvSpPr txBox="1">
            <a:spLocks/>
          </p:cNvSpPr>
          <p:nvPr/>
        </p:nvSpPr>
        <p:spPr>
          <a:xfrm>
            <a:off x="8841230" y="3148664"/>
            <a:ext cx="664851" cy="226959"/>
          </a:xfrm>
          <a:prstGeom prst="rect">
            <a:avLst/>
          </a:prstGeom>
        </p:spPr>
        <p:txBody>
          <a:bodyPr spcFirstLastPara="1" vert="horz" wrap="square" lIns="91425" tIns="91425" rIns="91425" bIns="91425" rtlCol="0" anchor="ctr"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spcBef>
                <a:spcPts val="0"/>
              </a:spcBef>
            </a:pPr>
            <a:r>
              <a:rPr lang="en-US" sz="700" dirty="0">
                <a:solidFill>
                  <a:srgbClr val="C5277F"/>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rPr>
              <a:t>&lt;&lt; uses &gt;&gt;</a:t>
            </a:r>
          </a:p>
        </p:txBody>
      </p:sp>
      <p:sp>
        <p:nvSpPr>
          <p:cNvPr id="355" name="Rounded Rectangle 354">
            <a:extLst>
              <a:ext uri="{FF2B5EF4-FFF2-40B4-BE49-F238E27FC236}">
                <a16:creationId xmlns:a16="http://schemas.microsoft.com/office/drawing/2014/main" id="{7841941C-BC85-AC42-B360-2EFE925FA9F8}"/>
              </a:ext>
            </a:extLst>
          </p:cNvPr>
          <p:cNvSpPr/>
          <p:nvPr/>
        </p:nvSpPr>
        <p:spPr>
          <a:xfrm>
            <a:off x="2221100" y="1510447"/>
            <a:ext cx="1543735" cy="366327"/>
          </a:xfrm>
          <a:prstGeom prst="roundRect">
            <a:avLst/>
          </a:prstGeom>
          <a:solidFill>
            <a:srgbClr val="C5277F">
              <a:alpha val="67000"/>
            </a:srgbClr>
          </a:solidFill>
          <a:ln w="3175">
            <a:solidFill>
              <a:schemeClr val="tx1">
                <a:alpha val="66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b="1" dirty="0">
              <a:solidFill>
                <a:schemeClr val="bg1"/>
              </a:solidFill>
              <a:latin typeface="+mj-lt"/>
              <a:ea typeface="Nanum Pen Script" panose="03040600000000000000" pitchFamily="66" charset="-127"/>
            </a:endParaRPr>
          </a:p>
          <a:p>
            <a:pPr algn="ctr"/>
            <a:endParaRPr lang="en-US" sz="800" b="1" dirty="0">
              <a:solidFill>
                <a:schemeClr val="bg1"/>
              </a:solidFill>
              <a:latin typeface="+mj-lt"/>
              <a:ea typeface="Nanum Pen Script" panose="03040600000000000000" pitchFamily="66" charset="-127"/>
            </a:endParaRPr>
          </a:p>
          <a:p>
            <a:pPr algn="ctr"/>
            <a:endParaRPr lang="en-US" sz="800" b="1" dirty="0">
              <a:solidFill>
                <a:schemeClr val="bg1"/>
              </a:solidFill>
              <a:latin typeface="+mj-lt"/>
              <a:ea typeface="Nanum Pen Script" panose="03040600000000000000" pitchFamily="66" charset="-127"/>
            </a:endParaRPr>
          </a:p>
          <a:p>
            <a:pPr algn="ctr"/>
            <a:endParaRPr lang="en-US" sz="800" b="1" dirty="0">
              <a:solidFill>
                <a:schemeClr val="bg1"/>
              </a:solidFill>
              <a:latin typeface="+mj-lt"/>
              <a:ea typeface="Nanum Pen Script" panose="03040600000000000000" pitchFamily="66" charset="-127"/>
            </a:endParaRPr>
          </a:p>
          <a:p>
            <a:pPr algn="ctr"/>
            <a:r>
              <a:rPr lang="en-US" sz="900" b="1" dirty="0" err="1">
                <a:solidFill>
                  <a:schemeClr val="bg1"/>
                </a:solidFill>
                <a:latin typeface="+mj-lt"/>
                <a:ea typeface="Nanum Pen Script" panose="03040600000000000000" pitchFamily="66" charset="-127"/>
              </a:rPr>
              <a:t>ProducerService</a:t>
            </a:r>
            <a:endParaRPr lang="en-US" sz="900" b="1" dirty="0">
              <a:solidFill>
                <a:schemeClr val="bg1"/>
              </a:solidFill>
              <a:latin typeface="+mj-lt"/>
              <a:ea typeface="Nanum Pen Script" panose="03040600000000000000" pitchFamily="66" charset="-127"/>
            </a:endParaRPr>
          </a:p>
          <a:p>
            <a:pPr algn="ctr"/>
            <a:r>
              <a:rPr lang="en-US" sz="600" b="1" dirty="0">
                <a:solidFill>
                  <a:schemeClr val="tx1">
                    <a:lumMod val="50000"/>
                  </a:schemeClr>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rPr>
              <a:t>(Kafka REST Proxy)</a:t>
            </a:r>
          </a:p>
          <a:p>
            <a:pPr algn="ctr"/>
            <a:endParaRPr lang="en-US" sz="700" b="1" dirty="0">
              <a:solidFill>
                <a:schemeClr val="bg1"/>
              </a:solidFill>
              <a:latin typeface="+mj-lt"/>
              <a:ea typeface="Nanum Pen Script" panose="03040600000000000000" pitchFamily="66" charset="-127"/>
            </a:endParaRPr>
          </a:p>
          <a:p>
            <a:pPr algn="ctr"/>
            <a:endParaRPr lang="en-US" sz="700" b="1" dirty="0">
              <a:solidFill>
                <a:schemeClr val="bg1"/>
              </a:solidFill>
              <a:latin typeface="+mj-lt"/>
              <a:ea typeface="Nanum Pen Script" panose="03040600000000000000" pitchFamily="66" charset="-127"/>
            </a:endParaRPr>
          </a:p>
          <a:p>
            <a:pPr algn="ctr"/>
            <a:endParaRPr lang="en-US" sz="800" b="1" dirty="0">
              <a:solidFill>
                <a:schemeClr val="bg1"/>
              </a:solidFill>
              <a:latin typeface="+mj-lt"/>
              <a:ea typeface="Nanum Pen Script" panose="03040600000000000000" pitchFamily="66" charset="-127"/>
            </a:endParaRPr>
          </a:p>
          <a:p>
            <a:pPr algn="ctr"/>
            <a:endParaRPr lang="en-US" sz="800" b="1" dirty="0">
              <a:solidFill>
                <a:schemeClr val="bg1"/>
              </a:solidFill>
              <a:latin typeface="+mj-lt"/>
              <a:ea typeface="Nanum Pen Script" panose="03040600000000000000" pitchFamily="66" charset="-127"/>
            </a:endParaRPr>
          </a:p>
        </p:txBody>
      </p:sp>
      <p:cxnSp>
        <p:nvCxnSpPr>
          <p:cNvPr id="429" name="Elbow Connector 428">
            <a:extLst>
              <a:ext uri="{FF2B5EF4-FFF2-40B4-BE49-F238E27FC236}">
                <a16:creationId xmlns:a16="http://schemas.microsoft.com/office/drawing/2014/main" id="{A5A709D1-234A-F74F-9E95-4339150D79EA}"/>
              </a:ext>
            </a:extLst>
          </p:cNvPr>
          <p:cNvCxnSpPr>
            <a:cxnSpLocks/>
            <a:stCxn id="355" idx="3"/>
            <a:endCxn id="641" idx="1"/>
          </p:cNvCxnSpPr>
          <p:nvPr/>
        </p:nvCxnSpPr>
        <p:spPr>
          <a:xfrm>
            <a:off x="3764835" y="1693611"/>
            <a:ext cx="973674" cy="2344229"/>
          </a:xfrm>
          <a:prstGeom prst="bentConnector3">
            <a:avLst>
              <a:gd name="adj1" fmla="val 32156"/>
            </a:avLst>
          </a:prstGeom>
          <a:ln>
            <a:solidFill>
              <a:schemeClr val="bg1">
                <a:lumMod val="50000"/>
              </a:schemeClr>
            </a:solidFill>
            <a:headEnd type="oval"/>
            <a:tailEnd type="triangle"/>
          </a:ln>
        </p:spPr>
        <p:style>
          <a:lnRef idx="1">
            <a:schemeClr val="accent1"/>
          </a:lnRef>
          <a:fillRef idx="0">
            <a:schemeClr val="accent1"/>
          </a:fillRef>
          <a:effectRef idx="0">
            <a:schemeClr val="accent1"/>
          </a:effectRef>
          <a:fontRef idx="minor">
            <a:schemeClr val="tx1"/>
          </a:fontRef>
        </p:style>
      </p:cxnSp>
      <p:sp>
        <p:nvSpPr>
          <p:cNvPr id="440" name="Rounded Rectangle 439">
            <a:extLst>
              <a:ext uri="{FF2B5EF4-FFF2-40B4-BE49-F238E27FC236}">
                <a16:creationId xmlns:a16="http://schemas.microsoft.com/office/drawing/2014/main" id="{F0E7B771-A4BB-8940-9154-512CCE0F6831}"/>
              </a:ext>
            </a:extLst>
          </p:cNvPr>
          <p:cNvSpPr/>
          <p:nvPr/>
        </p:nvSpPr>
        <p:spPr>
          <a:xfrm>
            <a:off x="2225933" y="5285282"/>
            <a:ext cx="1543735" cy="369328"/>
          </a:xfrm>
          <a:prstGeom prst="roundRect">
            <a:avLst/>
          </a:prstGeom>
          <a:solidFill>
            <a:srgbClr val="0067B7">
              <a:alpha val="67000"/>
            </a:srgbClr>
          </a:solidFill>
          <a:ln w="3175">
            <a:solidFill>
              <a:schemeClr val="tx1">
                <a:alpha val="66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b="1" dirty="0" err="1">
                <a:solidFill>
                  <a:schemeClr val="bg1"/>
                </a:solidFill>
                <a:ea typeface="Nanum Pen Script" panose="03040600000000000000" pitchFamily="66" charset="-127"/>
              </a:rPr>
              <a:t>SecurityEngine</a:t>
            </a:r>
            <a:endParaRPr lang="en-US" sz="800" b="1" dirty="0">
              <a:solidFill>
                <a:schemeClr val="bg1"/>
              </a:solidFill>
              <a:ea typeface="Nanum Pen Script" panose="03040600000000000000" pitchFamily="66" charset="-127"/>
            </a:endParaRPr>
          </a:p>
        </p:txBody>
      </p:sp>
      <p:sp>
        <p:nvSpPr>
          <p:cNvPr id="441" name="Rounded Rectangle 440">
            <a:extLst>
              <a:ext uri="{FF2B5EF4-FFF2-40B4-BE49-F238E27FC236}">
                <a16:creationId xmlns:a16="http://schemas.microsoft.com/office/drawing/2014/main" id="{0418A7B2-2A93-5545-ADCF-5DF9F6D8D992}"/>
              </a:ext>
            </a:extLst>
          </p:cNvPr>
          <p:cNvSpPr/>
          <p:nvPr/>
        </p:nvSpPr>
        <p:spPr>
          <a:xfrm>
            <a:off x="2226383" y="1007065"/>
            <a:ext cx="1526241" cy="366327"/>
          </a:xfrm>
          <a:prstGeom prst="roundRect">
            <a:avLst/>
          </a:prstGeom>
          <a:solidFill>
            <a:srgbClr val="C5277F">
              <a:alpha val="67000"/>
            </a:srgbClr>
          </a:solidFill>
          <a:ln w="3175">
            <a:solidFill>
              <a:schemeClr val="tx1">
                <a:alpha val="66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b="1" dirty="0">
              <a:solidFill>
                <a:schemeClr val="bg1"/>
              </a:solidFill>
              <a:latin typeface="+mj-lt"/>
              <a:ea typeface="Nanum Pen Script" panose="03040600000000000000" pitchFamily="66" charset="-127"/>
            </a:endParaRPr>
          </a:p>
          <a:p>
            <a:pPr algn="ctr"/>
            <a:endParaRPr lang="en-US" sz="800" b="1" dirty="0">
              <a:solidFill>
                <a:schemeClr val="bg1"/>
              </a:solidFill>
              <a:latin typeface="+mj-lt"/>
              <a:ea typeface="Nanum Pen Script" panose="03040600000000000000" pitchFamily="66" charset="-127"/>
            </a:endParaRPr>
          </a:p>
          <a:p>
            <a:pPr algn="ctr"/>
            <a:endParaRPr lang="en-US" sz="800" b="1" dirty="0">
              <a:solidFill>
                <a:schemeClr val="bg1"/>
              </a:solidFill>
              <a:latin typeface="+mj-lt"/>
              <a:ea typeface="Nanum Pen Script" panose="03040600000000000000" pitchFamily="66" charset="-127"/>
            </a:endParaRPr>
          </a:p>
          <a:p>
            <a:pPr algn="ctr"/>
            <a:endParaRPr lang="en-US" sz="900" b="1" dirty="0">
              <a:solidFill>
                <a:schemeClr val="bg1"/>
              </a:solidFill>
              <a:latin typeface="+mj-lt"/>
              <a:ea typeface="Nanum Pen Script" panose="03040600000000000000" pitchFamily="66" charset="-127"/>
            </a:endParaRPr>
          </a:p>
          <a:p>
            <a:pPr algn="ctr"/>
            <a:r>
              <a:rPr lang="en-US" sz="900" b="1" dirty="0" err="1">
                <a:solidFill>
                  <a:schemeClr val="bg1"/>
                </a:solidFill>
                <a:latin typeface="+mj-lt"/>
                <a:ea typeface="Nanum Pen Script" panose="03040600000000000000" pitchFamily="66" charset="-127"/>
              </a:rPr>
              <a:t>ConsumerService</a:t>
            </a:r>
            <a:endParaRPr lang="en-US" sz="900" b="1" dirty="0">
              <a:solidFill>
                <a:schemeClr val="bg1"/>
              </a:solidFill>
              <a:latin typeface="+mj-lt"/>
              <a:ea typeface="Nanum Pen Script" panose="03040600000000000000" pitchFamily="66" charset="-127"/>
            </a:endParaRPr>
          </a:p>
          <a:p>
            <a:pPr algn="ctr"/>
            <a:r>
              <a:rPr lang="en-US" sz="600" b="1" dirty="0">
                <a:solidFill>
                  <a:schemeClr val="tx1">
                    <a:lumMod val="50000"/>
                  </a:schemeClr>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rPr>
              <a:t>Kafka REST Proxy)</a:t>
            </a:r>
          </a:p>
          <a:p>
            <a:pPr algn="ctr"/>
            <a:endParaRPr lang="en-US" sz="700" b="1" dirty="0">
              <a:solidFill>
                <a:schemeClr val="bg1"/>
              </a:solidFill>
              <a:latin typeface="+mj-lt"/>
              <a:ea typeface="Nanum Pen Script" panose="03040600000000000000" pitchFamily="66" charset="-127"/>
            </a:endParaRPr>
          </a:p>
          <a:p>
            <a:pPr algn="ctr"/>
            <a:endParaRPr lang="en-US" sz="700" b="1" dirty="0">
              <a:solidFill>
                <a:schemeClr val="bg1"/>
              </a:solidFill>
              <a:latin typeface="+mj-lt"/>
              <a:ea typeface="Nanum Pen Script" panose="03040600000000000000" pitchFamily="66" charset="-127"/>
            </a:endParaRPr>
          </a:p>
          <a:p>
            <a:pPr algn="ctr"/>
            <a:endParaRPr lang="en-US" sz="800" b="1" dirty="0">
              <a:solidFill>
                <a:schemeClr val="bg1"/>
              </a:solidFill>
              <a:latin typeface="+mj-lt"/>
              <a:ea typeface="Nanum Pen Script" panose="03040600000000000000" pitchFamily="66" charset="-127"/>
            </a:endParaRPr>
          </a:p>
          <a:p>
            <a:pPr algn="ctr"/>
            <a:endParaRPr lang="en-US" sz="800" b="1" dirty="0">
              <a:solidFill>
                <a:schemeClr val="bg1"/>
              </a:solidFill>
              <a:latin typeface="+mj-lt"/>
              <a:ea typeface="Nanum Pen Script" panose="03040600000000000000" pitchFamily="66" charset="-127"/>
            </a:endParaRPr>
          </a:p>
        </p:txBody>
      </p:sp>
      <p:cxnSp>
        <p:nvCxnSpPr>
          <p:cNvPr id="442" name="Elbow Connector 441">
            <a:extLst>
              <a:ext uri="{FF2B5EF4-FFF2-40B4-BE49-F238E27FC236}">
                <a16:creationId xmlns:a16="http://schemas.microsoft.com/office/drawing/2014/main" id="{CABEA48A-E973-134E-AC3F-BD47DC61382D}"/>
              </a:ext>
            </a:extLst>
          </p:cNvPr>
          <p:cNvCxnSpPr>
            <a:cxnSpLocks/>
            <a:stCxn id="441" idx="3"/>
            <a:endCxn id="641" idx="1"/>
          </p:cNvCxnSpPr>
          <p:nvPr/>
        </p:nvCxnSpPr>
        <p:spPr>
          <a:xfrm>
            <a:off x="3752624" y="1190229"/>
            <a:ext cx="985885" cy="2847611"/>
          </a:xfrm>
          <a:prstGeom prst="bentConnector3">
            <a:avLst>
              <a:gd name="adj1" fmla="val 33306"/>
            </a:avLst>
          </a:prstGeom>
          <a:ln>
            <a:solidFill>
              <a:schemeClr val="bg1">
                <a:lumMod val="50000"/>
              </a:schemeClr>
            </a:solidFill>
            <a:headEnd type="oval"/>
            <a:tailEnd type="triangle"/>
          </a:ln>
        </p:spPr>
        <p:style>
          <a:lnRef idx="1">
            <a:schemeClr val="accent1"/>
          </a:lnRef>
          <a:fillRef idx="0">
            <a:schemeClr val="accent1"/>
          </a:fillRef>
          <a:effectRef idx="0">
            <a:schemeClr val="accent1"/>
          </a:effectRef>
          <a:fontRef idx="minor">
            <a:schemeClr val="tx1"/>
          </a:fontRef>
        </p:style>
      </p:cxnSp>
      <p:cxnSp>
        <p:nvCxnSpPr>
          <p:cNvPr id="443" name="Elbow Connector 442">
            <a:extLst>
              <a:ext uri="{FF2B5EF4-FFF2-40B4-BE49-F238E27FC236}">
                <a16:creationId xmlns:a16="http://schemas.microsoft.com/office/drawing/2014/main" id="{3495B941-8E55-744E-BC0B-EC4E60C83115}"/>
              </a:ext>
            </a:extLst>
          </p:cNvPr>
          <p:cNvCxnSpPr>
            <a:cxnSpLocks/>
            <a:stCxn id="353" idx="3"/>
            <a:endCxn id="641" idx="1"/>
          </p:cNvCxnSpPr>
          <p:nvPr/>
        </p:nvCxnSpPr>
        <p:spPr>
          <a:xfrm>
            <a:off x="3770118" y="2848548"/>
            <a:ext cx="968391" cy="1189292"/>
          </a:xfrm>
          <a:prstGeom prst="bentConnector3">
            <a:avLst>
              <a:gd name="adj1" fmla="val 32060"/>
            </a:avLst>
          </a:prstGeom>
          <a:ln>
            <a:solidFill>
              <a:schemeClr val="bg1">
                <a:lumMod val="50000"/>
              </a:schemeClr>
            </a:solidFill>
            <a:headEnd type="oval"/>
            <a:tailEnd type="triangle"/>
          </a:ln>
        </p:spPr>
        <p:style>
          <a:lnRef idx="1">
            <a:schemeClr val="accent1"/>
          </a:lnRef>
          <a:fillRef idx="0">
            <a:schemeClr val="accent1"/>
          </a:fillRef>
          <a:effectRef idx="0">
            <a:schemeClr val="accent1"/>
          </a:effectRef>
          <a:fontRef idx="minor">
            <a:schemeClr val="tx1"/>
          </a:fontRef>
        </p:style>
      </p:cxnSp>
      <p:cxnSp>
        <p:nvCxnSpPr>
          <p:cNvPr id="444" name="Elbow Connector 443">
            <a:extLst>
              <a:ext uri="{FF2B5EF4-FFF2-40B4-BE49-F238E27FC236}">
                <a16:creationId xmlns:a16="http://schemas.microsoft.com/office/drawing/2014/main" id="{E368D8C5-A758-144B-AF8A-06EC9B4B1F95}"/>
              </a:ext>
            </a:extLst>
          </p:cNvPr>
          <p:cNvCxnSpPr>
            <a:cxnSpLocks/>
            <a:stCxn id="850" idx="2"/>
            <a:endCxn id="440" idx="2"/>
          </p:cNvCxnSpPr>
          <p:nvPr/>
        </p:nvCxnSpPr>
        <p:spPr>
          <a:xfrm rot="5400000">
            <a:off x="5533182" y="2344611"/>
            <a:ext cx="774619" cy="5845379"/>
          </a:xfrm>
          <a:prstGeom prst="bentConnector3">
            <a:avLst>
              <a:gd name="adj1" fmla="val 201519"/>
            </a:avLst>
          </a:prstGeom>
          <a:ln>
            <a:solidFill>
              <a:srgbClr val="C5277F"/>
            </a:solidFill>
            <a:headEnd type="oval"/>
            <a:tailEnd type="oval"/>
          </a:ln>
        </p:spPr>
        <p:style>
          <a:lnRef idx="1">
            <a:schemeClr val="accent1"/>
          </a:lnRef>
          <a:fillRef idx="0">
            <a:schemeClr val="accent1"/>
          </a:fillRef>
          <a:effectRef idx="0">
            <a:schemeClr val="accent1"/>
          </a:effectRef>
          <a:fontRef idx="minor">
            <a:schemeClr val="tx1"/>
          </a:fontRef>
        </p:style>
      </p:cxnSp>
      <p:sp>
        <p:nvSpPr>
          <p:cNvPr id="73" name="TextBox 72">
            <a:extLst>
              <a:ext uri="{FF2B5EF4-FFF2-40B4-BE49-F238E27FC236}">
                <a16:creationId xmlns:a16="http://schemas.microsoft.com/office/drawing/2014/main" id="{11BF0EF2-A5AB-0642-94EC-1624508BE123}"/>
              </a:ext>
            </a:extLst>
          </p:cNvPr>
          <p:cNvSpPr txBox="1"/>
          <p:nvPr/>
        </p:nvSpPr>
        <p:spPr>
          <a:xfrm>
            <a:off x="9063576" y="1867846"/>
            <a:ext cx="351379" cy="458757"/>
          </a:xfrm>
          <a:prstGeom prst="rect">
            <a:avLst/>
          </a:prstGeom>
          <a:noFill/>
        </p:spPr>
        <p:txBody>
          <a:bodyPr wrap="none" tIns="90000" bIns="90000" rtlCol="0" anchor="t">
            <a:spAutoFit/>
          </a:bodyPr>
          <a:lstStyle/>
          <a:p>
            <a:pPr algn="ctr"/>
            <a:r>
              <a:rPr lang="en-US" b="1" dirty="0">
                <a:solidFill>
                  <a:srgbClr val="002D72"/>
                </a:solidFill>
                <a:latin typeface="Arial" pitchFamily="34" charset="0"/>
                <a:cs typeface="Arial" pitchFamily="34" charset="0"/>
              </a:rPr>
              <a:t>A</a:t>
            </a:r>
          </a:p>
        </p:txBody>
      </p:sp>
      <p:cxnSp>
        <p:nvCxnSpPr>
          <p:cNvPr id="446" name="Elbow Connector 445">
            <a:extLst>
              <a:ext uri="{FF2B5EF4-FFF2-40B4-BE49-F238E27FC236}">
                <a16:creationId xmlns:a16="http://schemas.microsoft.com/office/drawing/2014/main" id="{7B2D0FC3-6C46-2347-B2EB-CDA257D9FCD8}"/>
              </a:ext>
            </a:extLst>
          </p:cNvPr>
          <p:cNvCxnSpPr>
            <a:cxnSpLocks/>
            <a:stCxn id="287" idx="3"/>
            <a:endCxn id="73" idx="1"/>
          </p:cNvCxnSpPr>
          <p:nvPr/>
        </p:nvCxnSpPr>
        <p:spPr>
          <a:xfrm>
            <a:off x="7034652" y="982941"/>
            <a:ext cx="2028924" cy="1114284"/>
          </a:xfrm>
          <a:prstGeom prst="bentConnector3">
            <a:avLst>
              <a:gd name="adj1" fmla="val 50000"/>
            </a:avLst>
          </a:prstGeom>
          <a:ln>
            <a:solidFill>
              <a:schemeClr val="bg1">
                <a:lumMod val="50000"/>
              </a:schemeClr>
            </a:solidFill>
            <a:headEnd type="oval"/>
            <a:tailEnd type="triangle"/>
          </a:ln>
        </p:spPr>
        <p:style>
          <a:lnRef idx="1">
            <a:schemeClr val="accent1"/>
          </a:lnRef>
          <a:fillRef idx="0">
            <a:schemeClr val="accent1"/>
          </a:fillRef>
          <a:effectRef idx="0">
            <a:schemeClr val="accent1"/>
          </a:effectRef>
          <a:fontRef idx="minor">
            <a:schemeClr val="tx1"/>
          </a:fontRef>
        </p:style>
      </p:cxnSp>
      <p:sp>
        <p:nvSpPr>
          <p:cNvPr id="447" name="TextBox 446">
            <a:extLst>
              <a:ext uri="{FF2B5EF4-FFF2-40B4-BE49-F238E27FC236}">
                <a16:creationId xmlns:a16="http://schemas.microsoft.com/office/drawing/2014/main" id="{DBD16271-B831-1349-BD8B-26716873CB0F}"/>
              </a:ext>
            </a:extLst>
          </p:cNvPr>
          <p:cNvSpPr txBox="1"/>
          <p:nvPr/>
        </p:nvSpPr>
        <p:spPr>
          <a:xfrm>
            <a:off x="2409538" y="6130461"/>
            <a:ext cx="351379" cy="458757"/>
          </a:xfrm>
          <a:prstGeom prst="rect">
            <a:avLst/>
          </a:prstGeom>
          <a:noFill/>
        </p:spPr>
        <p:txBody>
          <a:bodyPr wrap="none" tIns="90000" bIns="90000" rtlCol="0" anchor="t">
            <a:spAutoFit/>
          </a:bodyPr>
          <a:lstStyle/>
          <a:p>
            <a:pPr algn="ctr"/>
            <a:r>
              <a:rPr lang="en-US" b="1" dirty="0">
                <a:solidFill>
                  <a:srgbClr val="002D72"/>
                </a:solidFill>
                <a:latin typeface="Arial" pitchFamily="34" charset="0"/>
                <a:cs typeface="Arial" pitchFamily="34" charset="0"/>
              </a:rPr>
              <a:t>A</a:t>
            </a:r>
          </a:p>
        </p:txBody>
      </p:sp>
      <p:cxnSp>
        <p:nvCxnSpPr>
          <p:cNvPr id="516" name="Elbow Connector 515">
            <a:extLst>
              <a:ext uri="{FF2B5EF4-FFF2-40B4-BE49-F238E27FC236}">
                <a16:creationId xmlns:a16="http://schemas.microsoft.com/office/drawing/2014/main" id="{41C59B9C-1F8D-E746-92A4-BB7FF1674678}"/>
              </a:ext>
            </a:extLst>
          </p:cNvPr>
          <p:cNvCxnSpPr>
            <a:cxnSpLocks/>
            <a:stCxn id="447" idx="0"/>
            <a:endCxn id="440" idx="2"/>
          </p:cNvCxnSpPr>
          <p:nvPr/>
        </p:nvCxnSpPr>
        <p:spPr>
          <a:xfrm rot="5400000" flipH="1" flipV="1">
            <a:off x="2553589" y="5686250"/>
            <a:ext cx="475851" cy="412573"/>
          </a:xfrm>
          <a:prstGeom prst="bentConnector3">
            <a:avLst>
              <a:gd name="adj1" fmla="val 50000"/>
            </a:avLst>
          </a:prstGeom>
          <a:ln>
            <a:solidFill>
              <a:srgbClr val="C5277F"/>
            </a:solidFill>
            <a:headEnd type="oval"/>
            <a:tailEnd type="oval"/>
          </a:ln>
        </p:spPr>
        <p:style>
          <a:lnRef idx="1">
            <a:schemeClr val="accent1"/>
          </a:lnRef>
          <a:fillRef idx="0">
            <a:schemeClr val="accent1"/>
          </a:fillRef>
          <a:effectRef idx="0">
            <a:schemeClr val="accent1"/>
          </a:effectRef>
          <a:fontRef idx="minor">
            <a:schemeClr val="tx1"/>
          </a:fontRef>
        </p:style>
      </p:cxnSp>
      <p:sp>
        <p:nvSpPr>
          <p:cNvPr id="517" name="Google Shape;61;p12">
            <a:extLst>
              <a:ext uri="{FF2B5EF4-FFF2-40B4-BE49-F238E27FC236}">
                <a16:creationId xmlns:a16="http://schemas.microsoft.com/office/drawing/2014/main" id="{1941FDF4-E979-6C4B-A40E-D70FEC6EAC82}"/>
              </a:ext>
            </a:extLst>
          </p:cNvPr>
          <p:cNvSpPr txBox="1">
            <a:spLocks/>
          </p:cNvSpPr>
          <p:nvPr/>
        </p:nvSpPr>
        <p:spPr>
          <a:xfrm>
            <a:off x="8353973" y="1262409"/>
            <a:ext cx="664851" cy="226959"/>
          </a:xfrm>
          <a:prstGeom prst="rect">
            <a:avLst/>
          </a:prstGeom>
        </p:spPr>
        <p:txBody>
          <a:bodyPr spcFirstLastPara="1" vert="horz" wrap="square" lIns="91425" tIns="91425" rIns="91425" bIns="91425" rtlCol="0" anchor="ctr"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spcBef>
                <a:spcPts val="0"/>
              </a:spcBef>
            </a:pPr>
            <a:r>
              <a:rPr lang="en-US" sz="700" dirty="0">
                <a:solidFill>
                  <a:srgbClr val="C5277F"/>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rPr>
              <a:t>&lt;&lt; uses &gt;&gt;</a:t>
            </a:r>
          </a:p>
        </p:txBody>
      </p:sp>
      <p:sp>
        <p:nvSpPr>
          <p:cNvPr id="518" name="Google Shape;61;p12">
            <a:extLst>
              <a:ext uri="{FF2B5EF4-FFF2-40B4-BE49-F238E27FC236}">
                <a16:creationId xmlns:a16="http://schemas.microsoft.com/office/drawing/2014/main" id="{658191C4-CE47-5748-95E6-825495E35330}"/>
              </a:ext>
            </a:extLst>
          </p:cNvPr>
          <p:cNvSpPr txBox="1">
            <a:spLocks/>
          </p:cNvSpPr>
          <p:nvPr/>
        </p:nvSpPr>
        <p:spPr>
          <a:xfrm>
            <a:off x="3048658" y="3747453"/>
            <a:ext cx="664851" cy="226959"/>
          </a:xfrm>
          <a:prstGeom prst="rect">
            <a:avLst/>
          </a:prstGeom>
        </p:spPr>
        <p:txBody>
          <a:bodyPr spcFirstLastPara="1" vert="horz" wrap="square" lIns="91425" tIns="91425" rIns="91425" bIns="91425" rtlCol="0" anchor="ctr"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spcBef>
                <a:spcPts val="0"/>
              </a:spcBef>
            </a:pPr>
            <a:r>
              <a:rPr lang="en-US" sz="700" dirty="0">
                <a:solidFill>
                  <a:srgbClr val="C5277F"/>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rPr>
              <a:t>&lt;&lt; uses &gt;&gt;</a:t>
            </a:r>
          </a:p>
        </p:txBody>
      </p:sp>
      <p:cxnSp>
        <p:nvCxnSpPr>
          <p:cNvPr id="519" name="Elbow Connector 518">
            <a:extLst>
              <a:ext uri="{FF2B5EF4-FFF2-40B4-BE49-F238E27FC236}">
                <a16:creationId xmlns:a16="http://schemas.microsoft.com/office/drawing/2014/main" id="{5A7D92A4-1E76-B847-8F3F-FA1A2B4DCB9D}"/>
              </a:ext>
            </a:extLst>
          </p:cNvPr>
          <p:cNvCxnSpPr>
            <a:cxnSpLocks/>
            <a:stCxn id="440" idx="0"/>
            <a:endCxn id="802" idx="2"/>
          </p:cNvCxnSpPr>
          <p:nvPr/>
        </p:nvCxnSpPr>
        <p:spPr>
          <a:xfrm rot="5400000" flipH="1" flipV="1">
            <a:off x="2872064" y="5156293"/>
            <a:ext cx="254726" cy="3253"/>
          </a:xfrm>
          <a:prstGeom prst="bentConnector3">
            <a:avLst>
              <a:gd name="adj1" fmla="val 50000"/>
            </a:avLst>
          </a:prstGeom>
          <a:ln>
            <a:solidFill>
              <a:srgbClr val="C5277F"/>
            </a:solidFill>
            <a:headEnd type="oval"/>
            <a:tailEnd type="oval"/>
          </a:ln>
        </p:spPr>
        <p:style>
          <a:lnRef idx="1">
            <a:schemeClr val="accent1"/>
          </a:lnRef>
          <a:fillRef idx="0">
            <a:schemeClr val="accent1"/>
          </a:fillRef>
          <a:effectRef idx="0">
            <a:schemeClr val="accent1"/>
          </a:effectRef>
          <a:fontRef idx="minor">
            <a:schemeClr val="tx1"/>
          </a:fontRef>
        </p:style>
      </p:cxnSp>
      <p:sp>
        <p:nvSpPr>
          <p:cNvPr id="520" name="Rounded Rectangle 519">
            <a:extLst>
              <a:ext uri="{FF2B5EF4-FFF2-40B4-BE49-F238E27FC236}">
                <a16:creationId xmlns:a16="http://schemas.microsoft.com/office/drawing/2014/main" id="{D7111AE6-E85A-1243-AC94-BEE009A3475D}"/>
              </a:ext>
            </a:extLst>
          </p:cNvPr>
          <p:cNvSpPr/>
          <p:nvPr/>
        </p:nvSpPr>
        <p:spPr>
          <a:xfrm>
            <a:off x="394150" y="1698360"/>
            <a:ext cx="1172463" cy="504056"/>
          </a:xfrm>
          <a:prstGeom prst="roundRect">
            <a:avLst/>
          </a:prstGeom>
          <a:solidFill>
            <a:schemeClr val="bg1">
              <a:lumMod val="85000"/>
            </a:schemeClr>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solidFill>
                <a:schemeClr val="bg1">
                  <a:lumMod val="50000"/>
                </a:schemeClr>
              </a:solidFill>
              <a:ea typeface="Nanum Pen Script" panose="03040600000000000000" pitchFamily="66" charset="-127"/>
            </a:endParaRPr>
          </a:p>
          <a:p>
            <a:pPr algn="ctr"/>
            <a:endParaRPr lang="en-US" sz="1000" dirty="0">
              <a:solidFill>
                <a:schemeClr val="bg1">
                  <a:lumMod val="50000"/>
                </a:schemeClr>
              </a:solidFill>
              <a:ea typeface="Nanum Pen Script" panose="03040600000000000000" pitchFamily="66" charset="-127"/>
            </a:endParaRPr>
          </a:p>
          <a:p>
            <a:pPr algn="ctr"/>
            <a:endParaRPr lang="en-US" sz="1000" dirty="0">
              <a:solidFill>
                <a:schemeClr val="bg1">
                  <a:lumMod val="50000"/>
                </a:schemeClr>
              </a:solidFill>
              <a:ea typeface="Nanum Pen Script" panose="03040600000000000000" pitchFamily="66" charset="-127"/>
            </a:endParaRPr>
          </a:p>
          <a:p>
            <a:pPr algn="ctr"/>
            <a:endParaRPr lang="en-US" sz="1000" dirty="0">
              <a:solidFill>
                <a:schemeClr val="bg1">
                  <a:lumMod val="50000"/>
                </a:schemeClr>
              </a:solidFill>
              <a:ea typeface="Nanum Pen Script" panose="03040600000000000000" pitchFamily="66" charset="-127"/>
            </a:endParaRPr>
          </a:p>
          <a:p>
            <a:pPr algn="ctr"/>
            <a:endParaRPr lang="en-US" sz="900" dirty="0">
              <a:solidFill>
                <a:schemeClr val="bg1">
                  <a:lumMod val="50000"/>
                </a:schemeClr>
              </a:solidFill>
              <a:ea typeface="Nanum Pen Script" panose="03040600000000000000" pitchFamily="66" charset="-127"/>
            </a:endParaRPr>
          </a:p>
          <a:p>
            <a:pPr algn="ctr">
              <a:spcBef>
                <a:spcPts val="0"/>
              </a:spcBef>
            </a:pPr>
            <a:endParaRPr lang="en-US" sz="900" dirty="0">
              <a:solidFill>
                <a:schemeClr val="bg1">
                  <a:lumMod val="50000"/>
                </a:schemeClr>
              </a:solidFill>
              <a:ea typeface="Nanum Pen Script" panose="03040600000000000000" pitchFamily="66" charset="-127"/>
            </a:endParaRPr>
          </a:p>
          <a:p>
            <a:pPr algn="ctr">
              <a:spcBef>
                <a:spcPts val="0"/>
              </a:spcBef>
            </a:pPr>
            <a:r>
              <a:rPr lang="en-US" sz="9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rPr>
              <a:t>Solace</a:t>
            </a:r>
          </a:p>
          <a:p>
            <a:pPr algn="ctr">
              <a:spcBef>
                <a:spcPts val="0"/>
              </a:spcBef>
            </a:pPr>
            <a:endParaRPr lang="en-US" sz="9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endParaRPr>
          </a:p>
          <a:p>
            <a:pPr algn="ctr">
              <a:spcBef>
                <a:spcPts val="0"/>
              </a:spcBef>
            </a:pPr>
            <a:endParaRPr lang="en-US" sz="9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endParaRPr>
          </a:p>
          <a:p>
            <a:pPr algn="ctr">
              <a:spcBef>
                <a:spcPts val="0"/>
              </a:spcBef>
            </a:pPr>
            <a:endParaRPr lang="en-US" sz="2000" dirty="0">
              <a:solidFill>
                <a:schemeClr val="tx1"/>
              </a:solidFill>
              <a:ea typeface="Nanum Pen Script" panose="03040600000000000000" pitchFamily="66" charset="-127"/>
            </a:endParaRPr>
          </a:p>
          <a:p>
            <a:pPr algn="ctr"/>
            <a:endParaRPr lang="en-US" sz="2000" dirty="0">
              <a:solidFill>
                <a:schemeClr val="tx1"/>
              </a:solidFill>
              <a:ea typeface="Nanum Pen Script" panose="03040600000000000000" pitchFamily="66" charset="-127"/>
            </a:endParaRPr>
          </a:p>
        </p:txBody>
      </p:sp>
      <p:sp>
        <p:nvSpPr>
          <p:cNvPr id="521" name="Rounded Rectangle 520">
            <a:extLst>
              <a:ext uri="{FF2B5EF4-FFF2-40B4-BE49-F238E27FC236}">
                <a16:creationId xmlns:a16="http://schemas.microsoft.com/office/drawing/2014/main" id="{1C028A25-4EFB-AC49-A267-10BFAD48B3ED}"/>
              </a:ext>
            </a:extLst>
          </p:cNvPr>
          <p:cNvSpPr/>
          <p:nvPr/>
        </p:nvSpPr>
        <p:spPr>
          <a:xfrm>
            <a:off x="420110" y="1066502"/>
            <a:ext cx="1172463" cy="504056"/>
          </a:xfrm>
          <a:prstGeom prst="roundRect">
            <a:avLst/>
          </a:prstGeom>
          <a:solidFill>
            <a:schemeClr val="bg1">
              <a:lumMod val="85000"/>
            </a:schemeClr>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b="1" dirty="0">
              <a:solidFill>
                <a:schemeClr val="bg1">
                  <a:lumMod val="50000"/>
                </a:schemeClr>
              </a:solidFill>
              <a:ea typeface="Nanum Pen Script" panose="03040600000000000000" pitchFamily="66" charset="-127"/>
            </a:endParaRPr>
          </a:p>
          <a:p>
            <a:pPr algn="ctr"/>
            <a:endParaRPr lang="en-US" sz="1000" b="1" dirty="0">
              <a:solidFill>
                <a:schemeClr val="bg1">
                  <a:lumMod val="50000"/>
                </a:schemeClr>
              </a:solidFill>
              <a:ea typeface="Nanum Pen Script" panose="03040600000000000000" pitchFamily="66" charset="-127"/>
            </a:endParaRPr>
          </a:p>
          <a:p>
            <a:pPr algn="ctr"/>
            <a:endParaRPr lang="en-US" sz="1000" b="1" dirty="0">
              <a:solidFill>
                <a:schemeClr val="bg1">
                  <a:lumMod val="50000"/>
                </a:schemeClr>
              </a:solidFill>
              <a:ea typeface="Nanum Pen Script" panose="03040600000000000000" pitchFamily="66" charset="-127"/>
            </a:endParaRPr>
          </a:p>
          <a:p>
            <a:pPr algn="ctr"/>
            <a:endParaRPr lang="en-US" sz="1000" b="1" dirty="0">
              <a:solidFill>
                <a:schemeClr val="bg1">
                  <a:lumMod val="50000"/>
                </a:schemeClr>
              </a:solidFill>
              <a:ea typeface="Nanum Pen Script" panose="03040600000000000000" pitchFamily="66" charset="-127"/>
            </a:endParaRPr>
          </a:p>
          <a:p>
            <a:pPr algn="ctr"/>
            <a:endParaRPr lang="en-US" sz="900" b="1" dirty="0">
              <a:solidFill>
                <a:schemeClr val="bg1">
                  <a:lumMod val="50000"/>
                </a:schemeClr>
              </a:solidFill>
              <a:ea typeface="Nanum Pen Script" panose="03040600000000000000" pitchFamily="66" charset="-127"/>
            </a:endParaRPr>
          </a:p>
          <a:p>
            <a:pPr algn="ctr"/>
            <a:endParaRPr lang="en-US" sz="900" b="1" dirty="0">
              <a:solidFill>
                <a:schemeClr val="bg1">
                  <a:lumMod val="50000"/>
                </a:schemeClr>
              </a:solidFill>
              <a:ea typeface="Nanum Pen Script" panose="03040600000000000000" pitchFamily="66" charset="-127"/>
            </a:endParaRPr>
          </a:p>
          <a:p>
            <a:pPr algn="ctr">
              <a:spcBef>
                <a:spcPts val="0"/>
              </a:spcBef>
            </a:pPr>
            <a:r>
              <a:rPr lang="en-US" sz="9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rPr>
              <a:t>Tibco</a:t>
            </a:r>
          </a:p>
          <a:p>
            <a:pPr algn="ctr">
              <a:spcBef>
                <a:spcPts val="0"/>
              </a:spcBef>
            </a:pPr>
            <a:endParaRPr lang="en-US" sz="9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endParaRPr>
          </a:p>
          <a:p>
            <a:pPr algn="ctr">
              <a:spcBef>
                <a:spcPts val="0"/>
              </a:spcBef>
            </a:pPr>
            <a:endParaRPr lang="en-US" sz="9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endParaRPr>
          </a:p>
          <a:p>
            <a:pPr algn="ctr">
              <a:spcBef>
                <a:spcPts val="0"/>
              </a:spcBef>
            </a:pPr>
            <a:endParaRPr lang="en-US" sz="2000" dirty="0">
              <a:solidFill>
                <a:schemeClr val="tx1"/>
              </a:solidFill>
              <a:ea typeface="Nanum Pen Script" panose="03040600000000000000" pitchFamily="66" charset="-127"/>
            </a:endParaRPr>
          </a:p>
          <a:p>
            <a:pPr algn="ctr"/>
            <a:endParaRPr lang="en-US" sz="2000" dirty="0">
              <a:solidFill>
                <a:schemeClr val="tx1"/>
              </a:solidFill>
              <a:ea typeface="Nanum Pen Script" panose="03040600000000000000" pitchFamily="66" charset="-127"/>
            </a:endParaRPr>
          </a:p>
        </p:txBody>
      </p:sp>
      <p:sp>
        <p:nvSpPr>
          <p:cNvPr id="522" name="Google Shape;61;p12">
            <a:extLst>
              <a:ext uri="{FF2B5EF4-FFF2-40B4-BE49-F238E27FC236}">
                <a16:creationId xmlns:a16="http://schemas.microsoft.com/office/drawing/2014/main" id="{C9C39B6C-D469-5347-813F-5BDF2E84F824}"/>
              </a:ext>
            </a:extLst>
          </p:cNvPr>
          <p:cNvSpPr txBox="1">
            <a:spLocks/>
          </p:cNvSpPr>
          <p:nvPr/>
        </p:nvSpPr>
        <p:spPr>
          <a:xfrm>
            <a:off x="8335207" y="1864887"/>
            <a:ext cx="664851" cy="226959"/>
          </a:xfrm>
          <a:prstGeom prst="rect">
            <a:avLst/>
          </a:prstGeom>
        </p:spPr>
        <p:txBody>
          <a:bodyPr spcFirstLastPara="1" vert="horz" wrap="square" lIns="91425" tIns="91425" rIns="91425" bIns="91425" rtlCol="0" anchor="ctr"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spcBef>
                <a:spcPts val="0"/>
              </a:spcBef>
            </a:pPr>
            <a:r>
              <a:rPr lang="en-US" sz="700" dirty="0">
                <a:solidFill>
                  <a:srgbClr val="C5277F"/>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rPr>
              <a:t>&lt;&lt; uses &gt;&gt;</a:t>
            </a:r>
          </a:p>
        </p:txBody>
      </p:sp>
      <p:sp>
        <p:nvSpPr>
          <p:cNvPr id="523" name="TextBox 522">
            <a:extLst>
              <a:ext uri="{FF2B5EF4-FFF2-40B4-BE49-F238E27FC236}">
                <a16:creationId xmlns:a16="http://schemas.microsoft.com/office/drawing/2014/main" id="{C919DE07-42EB-014F-BE71-9B0677EA0E6B}"/>
              </a:ext>
            </a:extLst>
          </p:cNvPr>
          <p:cNvSpPr txBox="1"/>
          <p:nvPr/>
        </p:nvSpPr>
        <p:spPr>
          <a:xfrm>
            <a:off x="9069657" y="1262365"/>
            <a:ext cx="351379" cy="458757"/>
          </a:xfrm>
          <a:prstGeom prst="rect">
            <a:avLst/>
          </a:prstGeom>
          <a:noFill/>
        </p:spPr>
        <p:txBody>
          <a:bodyPr wrap="none" tIns="90000" bIns="90000" rtlCol="0" anchor="t">
            <a:spAutoFit/>
          </a:bodyPr>
          <a:lstStyle/>
          <a:p>
            <a:pPr algn="ctr"/>
            <a:r>
              <a:rPr lang="en-US" b="1" dirty="0">
                <a:solidFill>
                  <a:srgbClr val="002D72"/>
                </a:solidFill>
                <a:latin typeface="Arial" pitchFamily="34" charset="0"/>
                <a:cs typeface="Arial" pitchFamily="34" charset="0"/>
              </a:rPr>
              <a:t>B</a:t>
            </a:r>
          </a:p>
        </p:txBody>
      </p:sp>
      <p:sp>
        <p:nvSpPr>
          <p:cNvPr id="524" name="TextBox 523">
            <a:extLst>
              <a:ext uri="{FF2B5EF4-FFF2-40B4-BE49-F238E27FC236}">
                <a16:creationId xmlns:a16="http://schemas.microsoft.com/office/drawing/2014/main" id="{2C078326-5AEE-1941-BED9-D8348471EE58}"/>
              </a:ext>
            </a:extLst>
          </p:cNvPr>
          <p:cNvSpPr txBox="1"/>
          <p:nvPr/>
        </p:nvSpPr>
        <p:spPr>
          <a:xfrm>
            <a:off x="10203699" y="4468719"/>
            <a:ext cx="351379" cy="458757"/>
          </a:xfrm>
          <a:prstGeom prst="rect">
            <a:avLst/>
          </a:prstGeom>
          <a:noFill/>
        </p:spPr>
        <p:txBody>
          <a:bodyPr wrap="none" tIns="90000" bIns="90000" rtlCol="0" anchor="t">
            <a:spAutoFit/>
          </a:bodyPr>
          <a:lstStyle/>
          <a:p>
            <a:pPr algn="ctr"/>
            <a:r>
              <a:rPr lang="en-US" b="1" dirty="0">
                <a:solidFill>
                  <a:srgbClr val="002D72"/>
                </a:solidFill>
                <a:latin typeface="Arial" pitchFamily="34" charset="0"/>
                <a:cs typeface="Arial" pitchFamily="34" charset="0"/>
              </a:rPr>
              <a:t>B</a:t>
            </a:r>
          </a:p>
        </p:txBody>
      </p:sp>
      <p:cxnSp>
        <p:nvCxnSpPr>
          <p:cNvPr id="525" name="Elbow Connector 524">
            <a:extLst>
              <a:ext uri="{FF2B5EF4-FFF2-40B4-BE49-F238E27FC236}">
                <a16:creationId xmlns:a16="http://schemas.microsoft.com/office/drawing/2014/main" id="{628B8CC6-D4D5-7C4E-B002-B07D0A2BC9FC}"/>
              </a:ext>
            </a:extLst>
          </p:cNvPr>
          <p:cNvCxnSpPr>
            <a:cxnSpLocks/>
            <a:stCxn id="850" idx="3"/>
            <a:endCxn id="524" idx="1"/>
          </p:cNvCxnSpPr>
          <p:nvPr/>
        </p:nvCxnSpPr>
        <p:spPr>
          <a:xfrm>
            <a:off x="9656899" y="4695327"/>
            <a:ext cx="546800" cy="2771"/>
          </a:xfrm>
          <a:prstGeom prst="bentConnector3">
            <a:avLst>
              <a:gd name="adj1" fmla="val 50000"/>
            </a:avLst>
          </a:prstGeom>
          <a:ln>
            <a:solidFill>
              <a:srgbClr val="C5277F"/>
            </a:solidFill>
            <a:headEnd type="oval"/>
            <a:tailEnd type="oval"/>
          </a:ln>
        </p:spPr>
        <p:style>
          <a:lnRef idx="1">
            <a:schemeClr val="accent1"/>
          </a:lnRef>
          <a:fillRef idx="0">
            <a:schemeClr val="accent1"/>
          </a:fillRef>
          <a:effectRef idx="0">
            <a:schemeClr val="accent1"/>
          </a:effectRef>
          <a:fontRef idx="minor">
            <a:schemeClr val="tx1"/>
          </a:fontRef>
        </p:style>
      </p:cxnSp>
      <p:cxnSp>
        <p:nvCxnSpPr>
          <p:cNvPr id="744" name="Elbow Connector 743">
            <a:extLst>
              <a:ext uri="{FF2B5EF4-FFF2-40B4-BE49-F238E27FC236}">
                <a16:creationId xmlns:a16="http://schemas.microsoft.com/office/drawing/2014/main" id="{4DE821D9-D848-E448-93A1-89E18D9F1090}"/>
              </a:ext>
            </a:extLst>
          </p:cNvPr>
          <p:cNvCxnSpPr>
            <a:cxnSpLocks/>
            <a:stCxn id="289" idx="3"/>
            <a:endCxn id="641" idx="1"/>
          </p:cNvCxnSpPr>
          <p:nvPr/>
        </p:nvCxnSpPr>
        <p:spPr>
          <a:xfrm>
            <a:off x="3759951" y="2242638"/>
            <a:ext cx="978558" cy="1795202"/>
          </a:xfrm>
          <a:prstGeom prst="bentConnector3">
            <a:avLst>
              <a:gd name="adj1" fmla="val 32246"/>
            </a:avLst>
          </a:prstGeom>
          <a:ln>
            <a:solidFill>
              <a:schemeClr val="bg1">
                <a:lumMod val="50000"/>
              </a:schemeClr>
            </a:solidFill>
            <a:headEnd type="oval"/>
            <a:tailEnd type="triangle"/>
          </a:ln>
        </p:spPr>
        <p:style>
          <a:lnRef idx="1">
            <a:schemeClr val="accent1"/>
          </a:lnRef>
          <a:fillRef idx="0">
            <a:schemeClr val="accent1"/>
          </a:fillRef>
          <a:effectRef idx="0">
            <a:schemeClr val="accent1"/>
          </a:effectRef>
          <a:fontRef idx="minor">
            <a:schemeClr val="tx1"/>
          </a:fontRef>
        </p:style>
      </p:cxnSp>
      <p:cxnSp>
        <p:nvCxnSpPr>
          <p:cNvPr id="752" name="Elbow Connector 751">
            <a:extLst>
              <a:ext uri="{FF2B5EF4-FFF2-40B4-BE49-F238E27FC236}">
                <a16:creationId xmlns:a16="http://schemas.microsoft.com/office/drawing/2014/main" id="{CE3C6C1E-0260-FA4E-8396-EEF7DEAB276B}"/>
              </a:ext>
            </a:extLst>
          </p:cNvPr>
          <p:cNvCxnSpPr>
            <a:cxnSpLocks/>
            <a:stCxn id="355" idx="3"/>
            <a:endCxn id="287" idx="1"/>
          </p:cNvCxnSpPr>
          <p:nvPr/>
        </p:nvCxnSpPr>
        <p:spPr>
          <a:xfrm flipV="1">
            <a:off x="3764835" y="982941"/>
            <a:ext cx="1847541" cy="710670"/>
          </a:xfrm>
          <a:prstGeom prst="bentConnector3">
            <a:avLst>
              <a:gd name="adj1" fmla="val 64353"/>
            </a:avLst>
          </a:prstGeom>
          <a:ln>
            <a:solidFill>
              <a:schemeClr val="bg1">
                <a:lumMod val="50000"/>
              </a:schemeClr>
            </a:solidFill>
            <a:headEnd type="oval"/>
            <a:tailEnd type="triangle"/>
          </a:ln>
        </p:spPr>
        <p:style>
          <a:lnRef idx="1">
            <a:schemeClr val="accent1"/>
          </a:lnRef>
          <a:fillRef idx="0">
            <a:schemeClr val="accent1"/>
          </a:fillRef>
          <a:effectRef idx="0">
            <a:schemeClr val="accent1"/>
          </a:effectRef>
          <a:fontRef idx="minor">
            <a:schemeClr val="tx1"/>
          </a:fontRef>
        </p:style>
      </p:cxnSp>
      <p:sp>
        <p:nvSpPr>
          <p:cNvPr id="757" name="Google Shape;61;p12">
            <a:extLst>
              <a:ext uri="{FF2B5EF4-FFF2-40B4-BE49-F238E27FC236}">
                <a16:creationId xmlns:a16="http://schemas.microsoft.com/office/drawing/2014/main" id="{DD1FDC1E-8E18-1640-8E10-7B9D8279F306}"/>
              </a:ext>
            </a:extLst>
          </p:cNvPr>
          <p:cNvSpPr txBox="1">
            <a:spLocks/>
          </p:cNvSpPr>
          <p:nvPr/>
        </p:nvSpPr>
        <p:spPr>
          <a:xfrm>
            <a:off x="4994132" y="750358"/>
            <a:ext cx="664851" cy="226959"/>
          </a:xfrm>
          <a:prstGeom prst="rect">
            <a:avLst/>
          </a:prstGeom>
        </p:spPr>
        <p:txBody>
          <a:bodyPr spcFirstLastPara="1" vert="horz" wrap="square" lIns="91425" tIns="91425" rIns="91425" bIns="91425" rtlCol="0" anchor="ctr"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spcBef>
                <a:spcPts val="0"/>
              </a:spcBef>
            </a:pPr>
            <a:r>
              <a:rPr lang="en-US" sz="700" dirty="0">
                <a:solidFill>
                  <a:srgbClr val="C5277F"/>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rPr>
              <a:t>&lt;&lt; uses &gt;&gt;</a:t>
            </a:r>
          </a:p>
        </p:txBody>
      </p:sp>
      <p:cxnSp>
        <p:nvCxnSpPr>
          <p:cNvPr id="761" name="Elbow Connector 760">
            <a:extLst>
              <a:ext uri="{FF2B5EF4-FFF2-40B4-BE49-F238E27FC236}">
                <a16:creationId xmlns:a16="http://schemas.microsoft.com/office/drawing/2014/main" id="{FAFCA6DE-B8C8-E94D-B48B-A5FD04E6373B}"/>
              </a:ext>
            </a:extLst>
          </p:cNvPr>
          <p:cNvCxnSpPr>
            <a:cxnSpLocks/>
            <a:stCxn id="521" idx="3"/>
            <a:endCxn id="353" idx="1"/>
          </p:cNvCxnSpPr>
          <p:nvPr/>
        </p:nvCxnSpPr>
        <p:spPr>
          <a:xfrm>
            <a:off x="1592573" y="1318530"/>
            <a:ext cx="633810" cy="1530018"/>
          </a:xfrm>
          <a:prstGeom prst="bentConnector3">
            <a:avLst>
              <a:gd name="adj1" fmla="val 52885"/>
            </a:avLst>
          </a:prstGeom>
          <a:ln>
            <a:solidFill>
              <a:schemeClr val="bg1">
                <a:lumMod val="50000"/>
              </a:schemeClr>
            </a:solidFill>
            <a:headEnd type="oval"/>
            <a:tailEnd type="triangle"/>
          </a:ln>
        </p:spPr>
        <p:style>
          <a:lnRef idx="1">
            <a:schemeClr val="accent1"/>
          </a:lnRef>
          <a:fillRef idx="0">
            <a:schemeClr val="accent1"/>
          </a:fillRef>
          <a:effectRef idx="0">
            <a:schemeClr val="accent1"/>
          </a:effectRef>
          <a:fontRef idx="minor">
            <a:schemeClr val="tx1"/>
          </a:fontRef>
        </p:style>
      </p:cxnSp>
      <p:sp>
        <p:nvSpPr>
          <p:cNvPr id="302" name="Rectangle 3">
            <a:extLst>
              <a:ext uri="{FF2B5EF4-FFF2-40B4-BE49-F238E27FC236}">
                <a16:creationId xmlns:a16="http://schemas.microsoft.com/office/drawing/2014/main" id="{3676CF35-C443-2441-96B1-73D0B58E2F98}"/>
              </a:ext>
            </a:extLst>
          </p:cNvPr>
          <p:cNvSpPr txBox="1"/>
          <p:nvPr/>
        </p:nvSpPr>
        <p:spPr>
          <a:xfrm>
            <a:off x="404806" y="82014"/>
            <a:ext cx="7585857" cy="400105"/>
          </a:xfrm>
          <a:prstGeom prst="rect">
            <a:avLst/>
          </a:prstGeom>
          <a:ln w="12700">
            <a:miter lim="400000"/>
          </a:ln>
          <a:extLst>
            <a:ext uri="{C572A759-6A51-4108-AA02-DFA0A04FC94B}">
              <ma14:wrappingTextBoxFlag xmlns:ma14="http://schemas.microsoft.com/office/mac/drawingml/2011/main" xmlns="" val="1"/>
            </a:ext>
          </a:extLst>
        </p:spPr>
        <p:txBody>
          <a:bodyPr wrap="square" lIns="45718" tIns="45718" rIns="45718" bIns="45718">
            <a:spAutoFit/>
          </a:bodyPr>
          <a:lstStyle>
            <a:lvl1pPr algn="l" defTabSz="914400">
              <a:defRPr sz="2200" b="1">
                <a:solidFill>
                  <a:srgbClr val="FFFFFF"/>
                </a:solidFill>
                <a:latin typeface="Arial"/>
                <a:ea typeface="Arial"/>
                <a:cs typeface="Arial"/>
                <a:sym typeface="Arial"/>
              </a:defRPr>
            </a:lvl1pPr>
          </a:lstStyle>
          <a:p>
            <a:r>
              <a:rPr lang="en-US" sz="2000" dirty="0">
                <a:solidFill>
                  <a:srgbClr val="016AA2"/>
                </a:solidFill>
              </a:rPr>
              <a:t>Needs and Solution Proposal (XXVIII)</a:t>
            </a:r>
          </a:p>
        </p:txBody>
      </p:sp>
      <p:sp>
        <p:nvSpPr>
          <p:cNvPr id="303" name="Rectangle 3">
            <a:extLst>
              <a:ext uri="{FF2B5EF4-FFF2-40B4-BE49-F238E27FC236}">
                <a16:creationId xmlns:a16="http://schemas.microsoft.com/office/drawing/2014/main" id="{CECA26EF-5DA3-7540-81B3-42998215175A}"/>
              </a:ext>
            </a:extLst>
          </p:cNvPr>
          <p:cNvSpPr txBox="1"/>
          <p:nvPr/>
        </p:nvSpPr>
        <p:spPr>
          <a:xfrm>
            <a:off x="413951" y="421813"/>
            <a:ext cx="5695981" cy="369328"/>
          </a:xfrm>
          <a:prstGeom prst="rect">
            <a:avLst/>
          </a:prstGeom>
          <a:ln w="12700">
            <a:miter lim="400000"/>
          </a:ln>
          <a:extLst>
            <a:ext uri="{C572A759-6A51-4108-AA02-DFA0A04FC94B}">
              <ma14:wrappingTextBoxFlag xmlns="" xmlns:ma14="http://schemas.microsoft.com/office/mac/drawingml/2011/main" val="1"/>
            </a:ext>
          </a:extLst>
        </p:spPr>
        <p:txBody>
          <a:bodyPr wrap="square" lIns="45718" tIns="45718" rIns="45718" bIns="45718">
            <a:spAutoFit/>
          </a:bodyPr>
          <a:lstStyle>
            <a:lvl1pPr algn="l" defTabSz="914400">
              <a:defRPr sz="2000">
                <a:solidFill>
                  <a:srgbClr val="104D6A"/>
                </a:solidFill>
                <a:latin typeface="Arial"/>
                <a:ea typeface="Arial"/>
                <a:cs typeface="Arial"/>
                <a:sym typeface="Arial"/>
              </a:defRPr>
            </a:lvl1pPr>
          </a:lstStyle>
          <a:p>
            <a:pPr lvl="0">
              <a:defRPr/>
            </a:pPr>
            <a:r>
              <a:rPr lang="en-US" sz="1800" b="1" dirty="0">
                <a:solidFill>
                  <a:srgbClr val="73C4EF"/>
                </a:solidFill>
              </a:rPr>
              <a:t>Event Hub Architecture – Deploy</a:t>
            </a:r>
          </a:p>
        </p:txBody>
      </p:sp>
      <p:grpSp>
        <p:nvGrpSpPr>
          <p:cNvPr id="304" name="Group 303">
            <a:extLst>
              <a:ext uri="{FF2B5EF4-FFF2-40B4-BE49-F238E27FC236}">
                <a16:creationId xmlns:a16="http://schemas.microsoft.com/office/drawing/2014/main" id="{4A237D0F-A356-6545-991E-25BF3AAF4036}"/>
              </a:ext>
            </a:extLst>
          </p:cNvPr>
          <p:cNvGrpSpPr/>
          <p:nvPr/>
        </p:nvGrpSpPr>
        <p:grpSpPr>
          <a:xfrm rot="21011211">
            <a:off x="440776" y="1121103"/>
            <a:ext cx="292910" cy="222927"/>
            <a:chOff x="702590" y="1203599"/>
            <a:chExt cx="301686" cy="290724"/>
          </a:xfrm>
        </p:grpSpPr>
        <p:sp>
          <p:nvSpPr>
            <p:cNvPr id="305" name="Google Shape;431;p39">
              <a:extLst>
                <a:ext uri="{FF2B5EF4-FFF2-40B4-BE49-F238E27FC236}">
                  <a16:creationId xmlns:a16="http://schemas.microsoft.com/office/drawing/2014/main" id="{C0A19881-F720-504D-9EF5-7C888FC14CF0}"/>
                </a:ext>
              </a:extLst>
            </p:cNvPr>
            <p:cNvSpPr/>
            <p:nvPr/>
          </p:nvSpPr>
          <p:spPr>
            <a:xfrm>
              <a:off x="736556" y="1203599"/>
              <a:ext cx="219241" cy="290724"/>
            </a:xfrm>
            <a:custGeom>
              <a:avLst/>
              <a:gdLst/>
              <a:ahLst/>
              <a:cxnLst/>
              <a:rect l="0" t="0" r="0" b="0"/>
              <a:pathLst>
                <a:path w="67641" h="69056" extrusionOk="0">
                  <a:moveTo>
                    <a:pt x="49622" y="2736"/>
                  </a:moveTo>
                  <a:lnTo>
                    <a:pt x="49622" y="2736"/>
                  </a:lnTo>
                  <a:lnTo>
                    <a:pt x="49622" y="2736"/>
                  </a:lnTo>
                  <a:close/>
                  <a:moveTo>
                    <a:pt x="59622" y="55565"/>
                  </a:moveTo>
                  <a:lnTo>
                    <a:pt x="59622" y="55565"/>
                  </a:lnTo>
                  <a:lnTo>
                    <a:pt x="59622" y="55565"/>
                  </a:lnTo>
                  <a:close/>
                  <a:moveTo>
                    <a:pt x="35471" y="0"/>
                  </a:moveTo>
                  <a:lnTo>
                    <a:pt x="34433" y="95"/>
                  </a:lnTo>
                  <a:lnTo>
                    <a:pt x="33584" y="189"/>
                  </a:lnTo>
                  <a:lnTo>
                    <a:pt x="32735" y="378"/>
                  </a:lnTo>
                  <a:lnTo>
                    <a:pt x="32169" y="566"/>
                  </a:lnTo>
                  <a:lnTo>
                    <a:pt x="31509" y="472"/>
                  </a:lnTo>
                  <a:lnTo>
                    <a:pt x="30754" y="472"/>
                  </a:lnTo>
                  <a:lnTo>
                    <a:pt x="29339" y="566"/>
                  </a:lnTo>
                  <a:lnTo>
                    <a:pt x="27830" y="849"/>
                  </a:lnTo>
                  <a:lnTo>
                    <a:pt x="26320" y="1321"/>
                  </a:lnTo>
                  <a:lnTo>
                    <a:pt x="24811" y="1981"/>
                  </a:lnTo>
                  <a:lnTo>
                    <a:pt x="23207" y="2736"/>
                  </a:lnTo>
                  <a:lnTo>
                    <a:pt x="21698" y="3585"/>
                  </a:lnTo>
                  <a:lnTo>
                    <a:pt x="20188" y="4623"/>
                  </a:lnTo>
                  <a:lnTo>
                    <a:pt x="18679" y="5661"/>
                  </a:lnTo>
                  <a:lnTo>
                    <a:pt x="17170" y="6793"/>
                  </a:lnTo>
                  <a:lnTo>
                    <a:pt x="15754" y="8019"/>
                  </a:lnTo>
                  <a:lnTo>
                    <a:pt x="14434" y="9151"/>
                  </a:lnTo>
                  <a:lnTo>
                    <a:pt x="11981" y="11510"/>
                  </a:lnTo>
                  <a:lnTo>
                    <a:pt x="10000" y="13774"/>
                  </a:lnTo>
                  <a:lnTo>
                    <a:pt x="7736" y="16981"/>
                  </a:lnTo>
                  <a:lnTo>
                    <a:pt x="8019" y="16321"/>
                  </a:lnTo>
                  <a:lnTo>
                    <a:pt x="8302" y="15660"/>
                  </a:lnTo>
                  <a:lnTo>
                    <a:pt x="7736" y="16604"/>
                  </a:lnTo>
                  <a:lnTo>
                    <a:pt x="7075" y="17642"/>
                  </a:lnTo>
                  <a:lnTo>
                    <a:pt x="7170" y="17830"/>
                  </a:lnTo>
                  <a:lnTo>
                    <a:pt x="6509" y="18868"/>
                  </a:lnTo>
                  <a:lnTo>
                    <a:pt x="7075" y="17359"/>
                  </a:lnTo>
                  <a:lnTo>
                    <a:pt x="6132" y="19057"/>
                  </a:lnTo>
                  <a:lnTo>
                    <a:pt x="5189" y="20849"/>
                  </a:lnTo>
                  <a:lnTo>
                    <a:pt x="4434" y="22736"/>
                  </a:lnTo>
                  <a:lnTo>
                    <a:pt x="3679" y="24622"/>
                  </a:lnTo>
                  <a:lnTo>
                    <a:pt x="2453" y="28490"/>
                  </a:lnTo>
                  <a:lnTo>
                    <a:pt x="1321" y="32169"/>
                  </a:lnTo>
                  <a:lnTo>
                    <a:pt x="1509" y="32264"/>
                  </a:lnTo>
                  <a:lnTo>
                    <a:pt x="1604" y="32453"/>
                  </a:lnTo>
                  <a:lnTo>
                    <a:pt x="1604" y="32641"/>
                  </a:lnTo>
                  <a:lnTo>
                    <a:pt x="1509" y="32924"/>
                  </a:lnTo>
                  <a:lnTo>
                    <a:pt x="1226" y="33396"/>
                  </a:lnTo>
                  <a:lnTo>
                    <a:pt x="1038" y="33585"/>
                  </a:lnTo>
                  <a:lnTo>
                    <a:pt x="1038" y="33773"/>
                  </a:lnTo>
                  <a:lnTo>
                    <a:pt x="1038" y="35000"/>
                  </a:lnTo>
                  <a:lnTo>
                    <a:pt x="849" y="36132"/>
                  </a:lnTo>
                  <a:lnTo>
                    <a:pt x="660" y="37358"/>
                  </a:lnTo>
                  <a:lnTo>
                    <a:pt x="472" y="38867"/>
                  </a:lnTo>
                  <a:lnTo>
                    <a:pt x="283" y="38301"/>
                  </a:lnTo>
                  <a:lnTo>
                    <a:pt x="94" y="39811"/>
                  </a:lnTo>
                  <a:lnTo>
                    <a:pt x="0" y="41509"/>
                  </a:lnTo>
                  <a:lnTo>
                    <a:pt x="94" y="43301"/>
                  </a:lnTo>
                  <a:lnTo>
                    <a:pt x="283" y="44056"/>
                  </a:lnTo>
                  <a:lnTo>
                    <a:pt x="472" y="44622"/>
                  </a:lnTo>
                  <a:lnTo>
                    <a:pt x="566" y="45660"/>
                  </a:lnTo>
                  <a:lnTo>
                    <a:pt x="755" y="46792"/>
                  </a:lnTo>
                  <a:lnTo>
                    <a:pt x="1226" y="48962"/>
                  </a:lnTo>
                  <a:lnTo>
                    <a:pt x="1981" y="51037"/>
                  </a:lnTo>
                  <a:lnTo>
                    <a:pt x="2924" y="53112"/>
                  </a:lnTo>
                  <a:lnTo>
                    <a:pt x="4057" y="55094"/>
                  </a:lnTo>
                  <a:lnTo>
                    <a:pt x="5283" y="56980"/>
                  </a:lnTo>
                  <a:lnTo>
                    <a:pt x="6698" y="58678"/>
                  </a:lnTo>
                  <a:lnTo>
                    <a:pt x="8113" y="60282"/>
                  </a:lnTo>
                  <a:lnTo>
                    <a:pt x="9056" y="61131"/>
                  </a:lnTo>
                  <a:lnTo>
                    <a:pt x="10000" y="61980"/>
                  </a:lnTo>
                  <a:lnTo>
                    <a:pt x="11038" y="62829"/>
                  </a:lnTo>
                  <a:lnTo>
                    <a:pt x="12075" y="63584"/>
                  </a:lnTo>
                  <a:lnTo>
                    <a:pt x="14339" y="64905"/>
                  </a:lnTo>
                  <a:lnTo>
                    <a:pt x="16604" y="66131"/>
                  </a:lnTo>
                  <a:lnTo>
                    <a:pt x="19056" y="67169"/>
                  </a:lnTo>
                  <a:lnTo>
                    <a:pt x="21509" y="67923"/>
                  </a:lnTo>
                  <a:lnTo>
                    <a:pt x="24056" y="68584"/>
                  </a:lnTo>
                  <a:lnTo>
                    <a:pt x="26603" y="69055"/>
                  </a:lnTo>
                  <a:lnTo>
                    <a:pt x="27830" y="69055"/>
                  </a:lnTo>
                  <a:lnTo>
                    <a:pt x="30188" y="68867"/>
                  </a:lnTo>
                  <a:lnTo>
                    <a:pt x="33113" y="68678"/>
                  </a:lnTo>
                  <a:lnTo>
                    <a:pt x="36509" y="68301"/>
                  </a:lnTo>
                  <a:lnTo>
                    <a:pt x="39811" y="67923"/>
                  </a:lnTo>
                  <a:lnTo>
                    <a:pt x="42735" y="67452"/>
                  </a:lnTo>
                  <a:lnTo>
                    <a:pt x="44905" y="66980"/>
                  </a:lnTo>
                  <a:lnTo>
                    <a:pt x="45565" y="66791"/>
                  </a:lnTo>
                  <a:lnTo>
                    <a:pt x="45943" y="66508"/>
                  </a:lnTo>
                  <a:lnTo>
                    <a:pt x="47358" y="65942"/>
                  </a:lnTo>
                  <a:lnTo>
                    <a:pt x="48018" y="65565"/>
                  </a:lnTo>
                  <a:lnTo>
                    <a:pt x="48678" y="65188"/>
                  </a:lnTo>
                  <a:lnTo>
                    <a:pt x="47924" y="65471"/>
                  </a:lnTo>
                  <a:lnTo>
                    <a:pt x="51509" y="62924"/>
                  </a:lnTo>
                  <a:lnTo>
                    <a:pt x="53301" y="61508"/>
                  </a:lnTo>
                  <a:lnTo>
                    <a:pt x="55093" y="59905"/>
                  </a:lnTo>
                  <a:lnTo>
                    <a:pt x="55093" y="59905"/>
                  </a:lnTo>
                  <a:lnTo>
                    <a:pt x="54810" y="60376"/>
                  </a:lnTo>
                  <a:lnTo>
                    <a:pt x="54339" y="60754"/>
                  </a:lnTo>
                  <a:lnTo>
                    <a:pt x="55376" y="59999"/>
                  </a:lnTo>
                  <a:lnTo>
                    <a:pt x="56320" y="59056"/>
                  </a:lnTo>
                  <a:lnTo>
                    <a:pt x="57075" y="58395"/>
                  </a:lnTo>
                  <a:lnTo>
                    <a:pt x="57169" y="58207"/>
                  </a:lnTo>
                  <a:lnTo>
                    <a:pt x="57075" y="58207"/>
                  </a:lnTo>
                  <a:lnTo>
                    <a:pt x="57924" y="57546"/>
                  </a:lnTo>
                  <a:lnTo>
                    <a:pt x="58678" y="56697"/>
                  </a:lnTo>
                  <a:lnTo>
                    <a:pt x="59339" y="55754"/>
                  </a:lnTo>
                  <a:lnTo>
                    <a:pt x="59905" y="54905"/>
                  </a:lnTo>
                  <a:lnTo>
                    <a:pt x="59716" y="54999"/>
                  </a:lnTo>
                  <a:lnTo>
                    <a:pt x="59622" y="54999"/>
                  </a:lnTo>
                  <a:lnTo>
                    <a:pt x="59810" y="54622"/>
                  </a:lnTo>
                  <a:lnTo>
                    <a:pt x="59150" y="55565"/>
                  </a:lnTo>
                  <a:lnTo>
                    <a:pt x="59527" y="55094"/>
                  </a:lnTo>
                  <a:lnTo>
                    <a:pt x="59433" y="55377"/>
                  </a:lnTo>
                  <a:lnTo>
                    <a:pt x="58867" y="56037"/>
                  </a:lnTo>
                  <a:lnTo>
                    <a:pt x="59056" y="55660"/>
                  </a:lnTo>
                  <a:lnTo>
                    <a:pt x="59056" y="55660"/>
                  </a:lnTo>
                  <a:lnTo>
                    <a:pt x="58678" y="56037"/>
                  </a:lnTo>
                  <a:lnTo>
                    <a:pt x="59810" y="54339"/>
                  </a:lnTo>
                  <a:lnTo>
                    <a:pt x="60282" y="53490"/>
                  </a:lnTo>
                  <a:lnTo>
                    <a:pt x="60282" y="53301"/>
                  </a:lnTo>
                  <a:lnTo>
                    <a:pt x="60188" y="53395"/>
                  </a:lnTo>
                  <a:lnTo>
                    <a:pt x="60188" y="53395"/>
                  </a:lnTo>
                  <a:lnTo>
                    <a:pt x="60565" y="52924"/>
                  </a:lnTo>
                  <a:lnTo>
                    <a:pt x="61037" y="52452"/>
                  </a:lnTo>
                  <a:lnTo>
                    <a:pt x="61886" y="51509"/>
                  </a:lnTo>
                  <a:lnTo>
                    <a:pt x="61508" y="52452"/>
                  </a:lnTo>
                  <a:lnTo>
                    <a:pt x="60848" y="53584"/>
                  </a:lnTo>
                  <a:lnTo>
                    <a:pt x="59622" y="55565"/>
                  </a:lnTo>
                  <a:lnTo>
                    <a:pt x="60376" y="54528"/>
                  </a:lnTo>
                  <a:lnTo>
                    <a:pt x="60942" y="53678"/>
                  </a:lnTo>
                  <a:lnTo>
                    <a:pt x="61980" y="51792"/>
                  </a:lnTo>
                  <a:lnTo>
                    <a:pt x="61886" y="51886"/>
                  </a:lnTo>
                  <a:lnTo>
                    <a:pt x="61886" y="51697"/>
                  </a:lnTo>
                  <a:lnTo>
                    <a:pt x="62169" y="51037"/>
                  </a:lnTo>
                  <a:lnTo>
                    <a:pt x="62735" y="49999"/>
                  </a:lnTo>
                  <a:lnTo>
                    <a:pt x="61508" y="51603"/>
                  </a:lnTo>
                  <a:lnTo>
                    <a:pt x="61603" y="51037"/>
                  </a:lnTo>
                  <a:lnTo>
                    <a:pt x="61697" y="50377"/>
                  </a:lnTo>
                  <a:lnTo>
                    <a:pt x="62169" y="48962"/>
                  </a:lnTo>
                  <a:lnTo>
                    <a:pt x="62829" y="47358"/>
                  </a:lnTo>
                  <a:lnTo>
                    <a:pt x="63678" y="45565"/>
                  </a:lnTo>
                  <a:lnTo>
                    <a:pt x="65376" y="42169"/>
                  </a:lnTo>
                  <a:lnTo>
                    <a:pt x="66131" y="40660"/>
                  </a:lnTo>
                  <a:lnTo>
                    <a:pt x="66697" y="39339"/>
                  </a:lnTo>
                  <a:lnTo>
                    <a:pt x="66603" y="39528"/>
                  </a:lnTo>
                  <a:lnTo>
                    <a:pt x="66697" y="39056"/>
                  </a:lnTo>
                  <a:lnTo>
                    <a:pt x="66791" y="38962"/>
                  </a:lnTo>
                  <a:lnTo>
                    <a:pt x="66791" y="39056"/>
                  </a:lnTo>
                  <a:lnTo>
                    <a:pt x="66886" y="38584"/>
                  </a:lnTo>
                  <a:lnTo>
                    <a:pt x="66791" y="38867"/>
                  </a:lnTo>
                  <a:lnTo>
                    <a:pt x="66980" y="38207"/>
                  </a:lnTo>
                  <a:lnTo>
                    <a:pt x="67169" y="37264"/>
                  </a:lnTo>
                  <a:lnTo>
                    <a:pt x="67263" y="36415"/>
                  </a:lnTo>
                  <a:lnTo>
                    <a:pt x="67357" y="36509"/>
                  </a:lnTo>
                  <a:lnTo>
                    <a:pt x="67452" y="36509"/>
                  </a:lnTo>
                  <a:lnTo>
                    <a:pt x="67546" y="35943"/>
                  </a:lnTo>
                  <a:lnTo>
                    <a:pt x="67546" y="34811"/>
                  </a:lnTo>
                  <a:lnTo>
                    <a:pt x="67640" y="31037"/>
                  </a:lnTo>
                  <a:lnTo>
                    <a:pt x="67640" y="28490"/>
                  </a:lnTo>
                  <a:lnTo>
                    <a:pt x="67546" y="27736"/>
                  </a:lnTo>
                  <a:lnTo>
                    <a:pt x="67546" y="27547"/>
                  </a:lnTo>
                  <a:lnTo>
                    <a:pt x="67452" y="27547"/>
                  </a:lnTo>
                  <a:lnTo>
                    <a:pt x="67074" y="26792"/>
                  </a:lnTo>
                  <a:lnTo>
                    <a:pt x="66791" y="25660"/>
                  </a:lnTo>
                  <a:lnTo>
                    <a:pt x="66508" y="24528"/>
                  </a:lnTo>
                  <a:lnTo>
                    <a:pt x="66414" y="23585"/>
                  </a:lnTo>
                  <a:lnTo>
                    <a:pt x="66320" y="23679"/>
                  </a:lnTo>
                  <a:lnTo>
                    <a:pt x="66320" y="23490"/>
                  </a:lnTo>
                  <a:lnTo>
                    <a:pt x="65942" y="22924"/>
                  </a:lnTo>
                  <a:lnTo>
                    <a:pt x="65565" y="22358"/>
                  </a:lnTo>
                  <a:lnTo>
                    <a:pt x="64527" y="21132"/>
                  </a:lnTo>
                  <a:lnTo>
                    <a:pt x="63584" y="19906"/>
                  </a:lnTo>
                  <a:lnTo>
                    <a:pt x="63207" y="19340"/>
                  </a:lnTo>
                  <a:lnTo>
                    <a:pt x="63018" y="18774"/>
                  </a:lnTo>
                  <a:lnTo>
                    <a:pt x="63112" y="18962"/>
                  </a:lnTo>
                  <a:lnTo>
                    <a:pt x="63301" y="19057"/>
                  </a:lnTo>
                  <a:lnTo>
                    <a:pt x="63301" y="19057"/>
                  </a:lnTo>
                  <a:lnTo>
                    <a:pt x="63207" y="18868"/>
                  </a:lnTo>
                  <a:lnTo>
                    <a:pt x="62923" y="18491"/>
                  </a:lnTo>
                  <a:lnTo>
                    <a:pt x="61980" y="17453"/>
                  </a:lnTo>
                  <a:lnTo>
                    <a:pt x="61037" y="16509"/>
                  </a:lnTo>
                  <a:lnTo>
                    <a:pt x="61037" y="16698"/>
                  </a:lnTo>
                  <a:lnTo>
                    <a:pt x="61037" y="16887"/>
                  </a:lnTo>
                  <a:lnTo>
                    <a:pt x="60093" y="15943"/>
                  </a:lnTo>
                  <a:lnTo>
                    <a:pt x="60376" y="16321"/>
                  </a:lnTo>
                  <a:lnTo>
                    <a:pt x="59527" y="15377"/>
                  </a:lnTo>
                  <a:lnTo>
                    <a:pt x="59056" y="14906"/>
                  </a:lnTo>
                  <a:lnTo>
                    <a:pt x="59244" y="14906"/>
                  </a:lnTo>
                  <a:lnTo>
                    <a:pt x="59905" y="15472"/>
                  </a:lnTo>
                  <a:lnTo>
                    <a:pt x="59905" y="15472"/>
                  </a:lnTo>
                  <a:lnTo>
                    <a:pt x="57641" y="13396"/>
                  </a:lnTo>
                  <a:lnTo>
                    <a:pt x="58112" y="13868"/>
                  </a:lnTo>
                  <a:lnTo>
                    <a:pt x="56886" y="13019"/>
                  </a:lnTo>
                  <a:lnTo>
                    <a:pt x="55754" y="12453"/>
                  </a:lnTo>
                  <a:lnTo>
                    <a:pt x="56603" y="13113"/>
                  </a:lnTo>
                  <a:lnTo>
                    <a:pt x="57452" y="13774"/>
                  </a:lnTo>
                  <a:lnTo>
                    <a:pt x="58961" y="15283"/>
                  </a:lnTo>
                  <a:lnTo>
                    <a:pt x="60376" y="16604"/>
                  </a:lnTo>
                  <a:lnTo>
                    <a:pt x="61225" y="17264"/>
                  </a:lnTo>
                  <a:lnTo>
                    <a:pt x="62074" y="17925"/>
                  </a:lnTo>
                  <a:lnTo>
                    <a:pt x="62074" y="17925"/>
                  </a:lnTo>
                  <a:lnTo>
                    <a:pt x="61414" y="17547"/>
                  </a:lnTo>
                  <a:lnTo>
                    <a:pt x="60659" y="16981"/>
                  </a:lnTo>
                  <a:lnTo>
                    <a:pt x="60754" y="17264"/>
                  </a:lnTo>
                  <a:lnTo>
                    <a:pt x="60942" y="17642"/>
                  </a:lnTo>
                  <a:lnTo>
                    <a:pt x="61980" y="19151"/>
                  </a:lnTo>
                  <a:lnTo>
                    <a:pt x="63301" y="20943"/>
                  </a:lnTo>
                  <a:lnTo>
                    <a:pt x="63207" y="20943"/>
                  </a:lnTo>
                  <a:lnTo>
                    <a:pt x="63395" y="21038"/>
                  </a:lnTo>
                  <a:lnTo>
                    <a:pt x="63490" y="21321"/>
                  </a:lnTo>
                  <a:lnTo>
                    <a:pt x="63678" y="21604"/>
                  </a:lnTo>
                  <a:lnTo>
                    <a:pt x="63773" y="21698"/>
                  </a:lnTo>
                  <a:lnTo>
                    <a:pt x="63584" y="21321"/>
                  </a:lnTo>
                  <a:lnTo>
                    <a:pt x="63584" y="21321"/>
                  </a:lnTo>
                  <a:lnTo>
                    <a:pt x="64244" y="22170"/>
                  </a:lnTo>
                  <a:lnTo>
                    <a:pt x="64716" y="22641"/>
                  </a:lnTo>
                  <a:lnTo>
                    <a:pt x="64905" y="22830"/>
                  </a:lnTo>
                  <a:lnTo>
                    <a:pt x="64999" y="22830"/>
                  </a:lnTo>
                  <a:lnTo>
                    <a:pt x="64999" y="22641"/>
                  </a:lnTo>
                  <a:lnTo>
                    <a:pt x="64905" y="22358"/>
                  </a:lnTo>
                  <a:lnTo>
                    <a:pt x="65282" y="23207"/>
                  </a:lnTo>
                  <a:lnTo>
                    <a:pt x="65565" y="24056"/>
                  </a:lnTo>
                  <a:lnTo>
                    <a:pt x="66225" y="25943"/>
                  </a:lnTo>
                  <a:lnTo>
                    <a:pt x="66697" y="27830"/>
                  </a:lnTo>
                  <a:lnTo>
                    <a:pt x="66886" y="28490"/>
                  </a:lnTo>
                  <a:lnTo>
                    <a:pt x="66980" y="28868"/>
                  </a:lnTo>
                  <a:lnTo>
                    <a:pt x="66886" y="28962"/>
                  </a:lnTo>
                  <a:lnTo>
                    <a:pt x="66697" y="28679"/>
                  </a:lnTo>
                  <a:lnTo>
                    <a:pt x="66697" y="29245"/>
                  </a:lnTo>
                  <a:lnTo>
                    <a:pt x="66791" y="29905"/>
                  </a:lnTo>
                  <a:lnTo>
                    <a:pt x="66886" y="29905"/>
                  </a:lnTo>
                  <a:lnTo>
                    <a:pt x="66886" y="30094"/>
                  </a:lnTo>
                  <a:lnTo>
                    <a:pt x="66886" y="30566"/>
                  </a:lnTo>
                  <a:lnTo>
                    <a:pt x="66697" y="30377"/>
                  </a:lnTo>
                  <a:lnTo>
                    <a:pt x="66603" y="30188"/>
                  </a:lnTo>
                  <a:lnTo>
                    <a:pt x="66603" y="30094"/>
                  </a:lnTo>
                  <a:lnTo>
                    <a:pt x="66697" y="29905"/>
                  </a:lnTo>
                  <a:lnTo>
                    <a:pt x="66508" y="28679"/>
                  </a:lnTo>
                  <a:lnTo>
                    <a:pt x="66225" y="27358"/>
                  </a:lnTo>
                  <a:lnTo>
                    <a:pt x="66603" y="30283"/>
                  </a:lnTo>
                  <a:lnTo>
                    <a:pt x="66697" y="31792"/>
                  </a:lnTo>
                  <a:lnTo>
                    <a:pt x="66697" y="33302"/>
                  </a:lnTo>
                  <a:lnTo>
                    <a:pt x="66603" y="34717"/>
                  </a:lnTo>
                  <a:lnTo>
                    <a:pt x="66414" y="36226"/>
                  </a:lnTo>
                  <a:lnTo>
                    <a:pt x="66131" y="37547"/>
                  </a:lnTo>
                  <a:lnTo>
                    <a:pt x="65659" y="38962"/>
                  </a:lnTo>
                  <a:lnTo>
                    <a:pt x="65848" y="38584"/>
                  </a:lnTo>
                  <a:lnTo>
                    <a:pt x="65942" y="38584"/>
                  </a:lnTo>
                  <a:lnTo>
                    <a:pt x="65848" y="39245"/>
                  </a:lnTo>
                  <a:lnTo>
                    <a:pt x="65565" y="40188"/>
                  </a:lnTo>
                  <a:lnTo>
                    <a:pt x="65471" y="40471"/>
                  </a:lnTo>
                  <a:lnTo>
                    <a:pt x="65282" y="40660"/>
                  </a:lnTo>
                  <a:lnTo>
                    <a:pt x="65282" y="40566"/>
                  </a:lnTo>
                  <a:lnTo>
                    <a:pt x="65093" y="41132"/>
                  </a:lnTo>
                  <a:lnTo>
                    <a:pt x="64433" y="43018"/>
                  </a:lnTo>
                  <a:lnTo>
                    <a:pt x="63678" y="45282"/>
                  </a:lnTo>
                  <a:lnTo>
                    <a:pt x="62735" y="47264"/>
                  </a:lnTo>
                  <a:lnTo>
                    <a:pt x="61697" y="49056"/>
                  </a:lnTo>
                  <a:lnTo>
                    <a:pt x="60659" y="50943"/>
                  </a:lnTo>
                  <a:lnTo>
                    <a:pt x="59433" y="52735"/>
                  </a:lnTo>
                  <a:lnTo>
                    <a:pt x="58207" y="54433"/>
                  </a:lnTo>
                  <a:lnTo>
                    <a:pt x="56886" y="56037"/>
                  </a:lnTo>
                  <a:lnTo>
                    <a:pt x="55376" y="57641"/>
                  </a:lnTo>
                  <a:lnTo>
                    <a:pt x="53867" y="59150"/>
                  </a:lnTo>
                  <a:lnTo>
                    <a:pt x="52169" y="60376"/>
                  </a:lnTo>
                  <a:lnTo>
                    <a:pt x="48961" y="62452"/>
                  </a:lnTo>
                  <a:lnTo>
                    <a:pt x="44528" y="65282"/>
                  </a:lnTo>
                  <a:lnTo>
                    <a:pt x="44622" y="65188"/>
                  </a:lnTo>
                  <a:lnTo>
                    <a:pt x="44716" y="65093"/>
                  </a:lnTo>
                  <a:lnTo>
                    <a:pt x="45094" y="64810"/>
                  </a:lnTo>
                  <a:lnTo>
                    <a:pt x="45660" y="64527"/>
                  </a:lnTo>
                  <a:lnTo>
                    <a:pt x="43867" y="65376"/>
                  </a:lnTo>
                  <a:lnTo>
                    <a:pt x="43113" y="65754"/>
                  </a:lnTo>
                  <a:lnTo>
                    <a:pt x="42924" y="65754"/>
                  </a:lnTo>
                  <a:lnTo>
                    <a:pt x="43113" y="65659"/>
                  </a:lnTo>
                  <a:lnTo>
                    <a:pt x="41603" y="66037"/>
                  </a:lnTo>
                  <a:lnTo>
                    <a:pt x="39999" y="66320"/>
                  </a:lnTo>
                  <a:lnTo>
                    <a:pt x="38396" y="66508"/>
                  </a:lnTo>
                  <a:lnTo>
                    <a:pt x="36792" y="66697"/>
                  </a:lnTo>
                  <a:lnTo>
                    <a:pt x="33584" y="66980"/>
                  </a:lnTo>
                  <a:lnTo>
                    <a:pt x="32169" y="67169"/>
                  </a:lnTo>
                  <a:lnTo>
                    <a:pt x="30754" y="67357"/>
                  </a:lnTo>
                  <a:lnTo>
                    <a:pt x="30094" y="67357"/>
                  </a:lnTo>
                  <a:lnTo>
                    <a:pt x="29339" y="67263"/>
                  </a:lnTo>
                  <a:lnTo>
                    <a:pt x="27830" y="66886"/>
                  </a:lnTo>
                  <a:lnTo>
                    <a:pt x="26415" y="66508"/>
                  </a:lnTo>
                  <a:lnTo>
                    <a:pt x="25754" y="66414"/>
                  </a:lnTo>
                  <a:lnTo>
                    <a:pt x="25094" y="66414"/>
                  </a:lnTo>
                  <a:lnTo>
                    <a:pt x="25566" y="66980"/>
                  </a:lnTo>
                  <a:lnTo>
                    <a:pt x="25471" y="67074"/>
                  </a:lnTo>
                  <a:lnTo>
                    <a:pt x="25188" y="66980"/>
                  </a:lnTo>
                  <a:lnTo>
                    <a:pt x="24339" y="66791"/>
                  </a:lnTo>
                  <a:lnTo>
                    <a:pt x="23773" y="66508"/>
                  </a:lnTo>
                  <a:lnTo>
                    <a:pt x="24245" y="66414"/>
                  </a:lnTo>
                  <a:lnTo>
                    <a:pt x="24717" y="66603"/>
                  </a:lnTo>
                  <a:lnTo>
                    <a:pt x="24811" y="66414"/>
                  </a:lnTo>
                  <a:lnTo>
                    <a:pt x="24811" y="66320"/>
                  </a:lnTo>
                  <a:lnTo>
                    <a:pt x="24717" y="66225"/>
                  </a:lnTo>
                  <a:lnTo>
                    <a:pt x="24528" y="66131"/>
                  </a:lnTo>
                  <a:lnTo>
                    <a:pt x="24151" y="66225"/>
                  </a:lnTo>
                  <a:lnTo>
                    <a:pt x="23679" y="66320"/>
                  </a:lnTo>
                  <a:lnTo>
                    <a:pt x="23018" y="66414"/>
                  </a:lnTo>
                  <a:lnTo>
                    <a:pt x="23490" y="66225"/>
                  </a:lnTo>
                  <a:lnTo>
                    <a:pt x="22075" y="65942"/>
                  </a:lnTo>
                  <a:lnTo>
                    <a:pt x="20943" y="65659"/>
                  </a:lnTo>
                  <a:lnTo>
                    <a:pt x="20000" y="65282"/>
                  </a:lnTo>
                  <a:lnTo>
                    <a:pt x="19056" y="64810"/>
                  </a:lnTo>
                  <a:lnTo>
                    <a:pt x="19056" y="64810"/>
                  </a:lnTo>
                  <a:lnTo>
                    <a:pt x="19717" y="64999"/>
                  </a:lnTo>
                  <a:lnTo>
                    <a:pt x="19151" y="64716"/>
                  </a:lnTo>
                  <a:lnTo>
                    <a:pt x="18962" y="64810"/>
                  </a:lnTo>
                  <a:lnTo>
                    <a:pt x="19151" y="64905"/>
                  </a:lnTo>
                  <a:lnTo>
                    <a:pt x="18490" y="64905"/>
                  </a:lnTo>
                  <a:lnTo>
                    <a:pt x="17830" y="64716"/>
                  </a:lnTo>
                  <a:lnTo>
                    <a:pt x="17264" y="64527"/>
                  </a:lnTo>
                  <a:lnTo>
                    <a:pt x="16698" y="64150"/>
                  </a:lnTo>
                  <a:lnTo>
                    <a:pt x="16981" y="64056"/>
                  </a:lnTo>
                  <a:lnTo>
                    <a:pt x="17264" y="64150"/>
                  </a:lnTo>
                  <a:lnTo>
                    <a:pt x="17264" y="64150"/>
                  </a:lnTo>
                  <a:lnTo>
                    <a:pt x="15188" y="63207"/>
                  </a:lnTo>
                  <a:lnTo>
                    <a:pt x="14622" y="62829"/>
                  </a:lnTo>
                  <a:lnTo>
                    <a:pt x="14717" y="62924"/>
                  </a:lnTo>
                  <a:lnTo>
                    <a:pt x="13773" y="62546"/>
                  </a:lnTo>
                  <a:lnTo>
                    <a:pt x="12924" y="62075"/>
                  </a:lnTo>
                  <a:lnTo>
                    <a:pt x="12358" y="61697"/>
                  </a:lnTo>
                  <a:lnTo>
                    <a:pt x="12264" y="61508"/>
                  </a:lnTo>
                  <a:lnTo>
                    <a:pt x="12170" y="61320"/>
                  </a:lnTo>
                  <a:lnTo>
                    <a:pt x="11698" y="60942"/>
                  </a:lnTo>
                  <a:lnTo>
                    <a:pt x="11132" y="60471"/>
                  </a:lnTo>
                  <a:lnTo>
                    <a:pt x="9906" y="59244"/>
                  </a:lnTo>
                  <a:lnTo>
                    <a:pt x="9906" y="59244"/>
                  </a:lnTo>
                  <a:lnTo>
                    <a:pt x="10566" y="59527"/>
                  </a:lnTo>
                  <a:lnTo>
                    <a:pt x="9434" y="58584"/>
                  </a:lnTo>
                  <a:lnTo>
                    <a:pt x="8207" y="57546"/>
                  </a:lnTo>
                  <a:lnTo>
                    <a:pt x="7547" y="56886"/>
                  </a:lnTo>
                  <a:lnTo>
                    <a:pt x="6981" y="56131"/>
                  </a:lnTo>
                  <a:lnTo>
                    <a:pt x="6226" y="55094"/>
                  </a:lnTo>
                  <a:lnTo>
                    <a:pt x="6415" y="55377"/>
                  </a:lnTo>
                  <a:lnTo>
                    <a:pt x="6038" y="54905"/>
                  </a:lnTo>
                  <a:lnTo>
                    <a:pt x="5472" y="54244"/>
                  </a:lnTo>
                  <a:lnTo>
                    <a:pt x="5283" y="53961"/>
                  </a:lnTo>
                  <a:lnTo>
                    <a:pt x="5094" y="53867"/>
                  </a:lnTo>
                  <a:lnTo>
                    <a:pt x="5377" y="54622"/>
                  </a:lnTo>
                  <a:lnTo>
                    <a:pt x="5849" y="55282"/>
                  </a:lnTo>
                  <a:lnTo>
                    <a:pt x="6321" y="55943"/>
                  </a:lnTo>
                  <a:lnTo>
                    <a:pt x="6698" y="56603"/>
                  </a:lnTo>
                  <a:lnTo>
                    <a:pt x="6226" y="56226"/>
                  </a:lnTo>
                  <a:lnTo>
                    <a:pt x="5943" y="55848"/>
                  </a:lnTo>
                  <a:lnTo>
                    <a:pt x="6038" y="56037"/>
                  </a:lnTo>
                  <a:lnTo>
                    <a:pt x="5943" y="55943"/>
                  </a:lnTo>
                  <a:lnTo>
                    <a:pt x="5377" y="55188"/>
                  </a:lnTo>
                  <a:lnTo>
                    <a:pt x="5000" y="54716"/>
                  </a:lnTo>
                  <a:lnTo>
                    <a:pt x="4717" y="54150"/>
                  </a:lnTo>
                  <a:lnTo>
                    <a:pt x="4528" y="53678"/>
                  </a:lnTo>
                  <a:lnTo>
                    <a:pt x="4528" y="53584"/>
                  </a:lnTo>
                  <a:lnTo>
                    <a:pt x="4623" y="53395"/>
                  </a:lnTo>
                  <a:lnTo>
                    <a:pt x="5094" y="54244"/>
                  </a:lnTo>
                  <a:lnTo>
                    <a:pt x="4717" y="53301"/>
                  </a:lnTo>
                  <a:lnTo>
                    <a:pt x="4528" y="53018"/>
                  </a:lnTo>
                  <a:lnTo>
                    <a:pt x="4151" y="52263"/>
                  </a:lnTo>
                  <a:lnTo>
                    <a:pt x="4151" y="52169"/>
                  </a:lnTo>
                  <a:lnTo>
                    <a:pt x="3774" y="51509"/>
                  </a:lnTo>
                  <a:lnTo>
                    <a:pt x="3396" y="50660"/>
                  </a:lnTo>
                  <a:lnTo>
                    <a:pt x="3585" y="51603"/>
                  </a:lnTo>
                  <a:lnTo>
                    <a:pt x="3396" y="51226"/>
                  </a:lnTo>
                  <a:lnTo>
                    <a:pt x="3208" y="50848"/>
                  </a:lnTo>
                  <a:lnTo>
                    <a:pt x="3208" y="50471"/>
                  </a:lnTo>
                  <a:lnTo>
                    <a:pt x="3208" y="50094"/>
                  </a:lnTo>
                  <a:lnTo>
                    <a:pt x="3585" y="50754"/>
                  </a:lnTo>
                  <a:lnTo>
                    <a:pt x="3868" y="51509"/>
                  </a:lnTo>
                  <a:lnTo>
                    <a:pt x="3868" y="51509"/>
                  </a:lnTo>
                  <a:lnTo>
                    <a:pt x="3208" y="49528"/>
                  </a:lnTo>
                  <a:lnTo>
                    <a:pt x="3208" y="49528"/>
                  </a:lnTo>
                  <a:lnTo>
                    <a:pt x="3868" y="50754"/>
                  </a:lnTo>
                  <a:lnTo>
                    <a:pt x="3208" y="48962"/>
                  </a:lnTo>
                  <a:lnTo>
                    <a:pt x="3585" y="49339"/>
                  </a:lnTo>
                  <a:lnTo>
                    <a:pt x="3774" y="49433"/>
                  </a:lnTo>
                  <a:lnTo>
                    <a:pt x="3962" y="49528"/>
                  </a:lnTo>
                  <a:lnTo>
                    <a:pt x="4057" y="49905"/>
                  </a:lnTo>
                  <a:lnTo>
                    <a:pt x="3868" y="48962"/>
                  </a:lnTo>
                  <a:lnTo>
                    <a:pt x="3491" y="47924"/>
                  </a:lnTo>
                  <a:lnTo>
                    <a:pt x="2641" y="45565"/>
                  </a:lnTo>
                  <a:lnTo>
                    <a:pt x="2170" y="43867"/>
                  </a:lnTo>
                  <a:lnTo>
                    <a:pt x="1698" y="41886"/>
                  </a:lnTo>
                  <a:lnTo>
                    <a:pt x="1698" y="41886"/>
                  </a:lnTo>
                  <a:lnTo>
                    <a:pt x="1887" y="42075"/>
                  </a:lnTo>
                  <a:lnTo>
                    <a:pt x="1981" y="41981"/>
                  </a:lnTo>
                  <a:lnTo>
                    <a:pt x="2075" y="42075"/>
                  </a:lnTo>
                  <a:lnTo>
                    <a:pt x="2264" y="42169"/>
                  </a:lnTo>
                  <a:lnTo>
                    <a:pt x="2170" y="40283"/>
                  </a:lnTo>
                  <a:lnTo>
                    <a:pt x="2075" y="38301"/>
                  </a:lnTo>
                  <a:lnTo>
                    <a:pt x="2170" y="36415"/>
                  </a:lnTo>
                  <a:lnTo>
                    <a:pt x="2358" y="35566"/>
                  </a:lnTo>
                  <a:lnTo>
                    <a:pt x="2453" y="34811"/>
                  </a:lnTo>
                  <a:lnTo>
                    <a:pt x="2830" y="32830"/>
                  </a:lnTo>
                  <a:lnTo>
                    <a:pt x="2830" y="33207"/>
                  </a:lnTo>
                  <a:lnTo>
                    <a:pt x="2924" y="33490"/>
                  </a:lnTo>
                  <a:lnTo>
                    <a:pt x="2924" y="32453"/>
                  </a:lnTo>
                  <a:lnTo>
                    <a:pt x="3019" y="31415"/>
                  </a:lnTo>
                  <a:lnTo>
                    <a:pt x="3396" y="29245"/>
                  </a:lnTo>
                  <a:lnTo>
                    <a:pt x="3868" y="27075"/>
                  </a:lnTo>
                  <a:lnTo>
                    <a:pt x="4623" y="25000"/>
                  </a:lnTo>
                  <a:lnTo>
                    <a:pt x="5566" y="22830"/>
                  </a:lnTo>
                  <a:lnTo>
                    <a:pt x="6604" y="20849"/>
                  </a:lnTo>
                  <a:lnTo>
                    <a:pt x="7830" y="18868"/>
                  </a:lnTo>
                  <a:lnTo>
                    <a:pt x="9151" y="16887"/>
                  </a:lnTo>
                  <a:lnTo>
                    <a:pt x="10566" y="15094"/>
                  </a:lnTo>
                  <a:lnTo>
                    <a:pt x="12075" y="13302"/>
                  </a:lnTo>
                  <a:lnTo>
                    <a:pt x="13773" y="11698"/>
                  </a:lnTo>
                  <a:lnTo>
                    <a:pt x="15377" y="10095"/>
                  </a:lnTo>
                  <a:lnTo>
                    <a:pt x="17170" y="8679"/>
                  </a:lnTo>
                  <a:lnTo>
                    <a:pt x="18962" y="7453"/>
                  </a:lnTo>
                  <a:lnTo>
                    <a:pt x="20754" y="6321"/>
                  </a:lnTo>
                  <a:lnTo>
                    <a:pt x="22547" y="5378"/>
                  </a:lnTo>
                  <a:lnTo>
                    <a:pt x="21603" y="6227"/>
                  </a:lnTo>
                  <a:lnTo>
                    <a:pt x="22641" y="5472"/>
                  </a:lnTo>
                  <a:lnTo>
                    <a:pt x="23302" y="5095"/>
                  </a:lnTo>
                  <a:lnTo>
                    <a:pt x="25377" y="4151"/>
                  </a:lnTo>
                  <a:lnTo>
                    <a:pt x="24811" y="4151"/>
                  </a:lnTo>
                  <a:lnTo>
                    <a:pt x="25660" y="3774"/>
                  </a:lnTo>
                  <a:lnTo>
                    <a:pt x="26886" y="3208"/>
                  </a:lnTo>
                  <a:lnTo>
                    <a:pt x="26603" y="3585"/>
                  </a:lnTo>
                  <a:lnTo>
                    <a:pt x="26886" y="3585"/>
                  </a:lnTo>
                  <a:lnTo>
                    <a:pt x="26886" y="3680"/>
                  </a:lnTo>
                  <a:lnTo>
                    <a:pt x="26792" y="3774"/>
                  </a:lnTo>
                  <a:lnTo>
                    <a:pt x="28301" y="3302"/>
                  </a:lnTo>
                  <a:lnTo>
                    <a:pt x="29622" y="2736"/>
                  </a:lnTo>
                  <a:lnTo>
                    <a:pt x="31037" y="2264"/>
                  </a:lnTo>
                  <a:lnTo>
                    <a:pt x="31792" y="2076"/>
                  </a:lnTo>
                  <a:lnTo>
                    <a:pt x="32641" y="1981"/>
                  </a:lnTo>
                  <a:lnTo>
                    <a:pt x="32547" y="2076"/>
                  </a:lnTo>
                  <a:lnTo>
                    <a:pt x="32924" y="1981"/>
                  </a:lnTo>
                  <a:lnTo>
                    <a:pt x="34245" y="1793"/>
                  </a:lnTo>
                  <a:lnTo>
                    <a:pt x="35848" y="1415"/>
                  </a:lnTo>
                  <a:lnTo>
                    <a:pt x="36981" y="1132"/>
                  </a:lnTo>
                  <a:lnTo>
                    <a:pt x="36981" y="1415"/>
                  </a:lnTo>
                  <a:lnTo>
                    <a:pt x="40943" y="1227"/>
                  </a:lnTo>
                  <a:lnTo>
                    <a:pt x="41509" y="1038"/>
                  </a:lnTo>
                  <a:lnTo>
                    <a:pt x="41697" y="1132"/>
                  </a:lnTo>
                  <a:lnTo>
                    <a:pt x="41509" y="1227"/>
                  </a:lnTo>
                  <a:lnTo>
                    <a:pt x="41320" y="1321"/>
                  </a:lnTo>
                  <a:lnTo>
                    <a:pt x="42263" y="1321"/>
                  </a:lnTo>
                  <a:lnTo>
                    <a:pt x="43113" y="1227"/>
                  </a:lnTo>
                  <a:lnTo>
                    <a:pt x="43396" y="1415"/>
                  </a:lnTo>
                  <a:lnTo>
                    <a:pt x="44056" y="1604"/>
                  </a:lnTo>
                  <a:lnTo>
                    <a:pt x="45943" y="2076"/>
                  </a:lnTo>
                  <a:lnTo>
                    <a:pt x="48018" y="2359"/>
                  </a:lnTo>
                  <a:lnTo>
                    <a:pt x="49622" y="2736"/>
                  </a:lnTo>
                  <a:lnTo>
                    <a:pt x="47641" y="1981"/>
                  </a:lnTo>
                  <a:lnTo>
                    <a:pt x="45282" y="1321"/>
                  </a:lnTo>
                  <a:lnTo>
                    <a:pt x="42735" y="755"/>
                  </a:lnTo>
                  <a:lnTo>
                    <a:pt x="40188" y="283"/>
                  </a:lnTo>
                  <a:lnTo>
                    <a:pt x="37735" y="95"/>
                  </a:lnTo>
                  <a:lnTo>
                    <a:pt x="35471" y="0"/>
                  </a:lnTo>
                  <a:close/>
                </a:path>
              </a:pathLst>
            </a:custGeom>
            <a:solidFill>
              <a:srgbClr val="FF0000"/>
            </a:solidFill>
            <a:ln>
              <a:noFill/>
            </a:ln>
          </p:spPr>
          <p:txBody>
            <a:bodyPr spcFirstLastPara="1" wrap="square" lIns="91425" tIns="91425" rIns="91425" bIns="91425" anchor="ctr" anchorCtr="0">
              <a:noAutofit/>
            </a:bodyPr>
            <a:lstStyle/>
            <a:p>
              <a:pPr marL="0" lvl="0" indent="0">
                <a:spcBef>
                  <a:spcPts val="0"/>
                </a:spcBef>
                <a:spcAft>
                  <a:spcPts val="0"/>
                </a:spcAft>
                <a:buNone/>
              </a:pPr>
              <a:endParaRPr sz="1100"/>
            </a:p>
          </p:txBody>
        </p:sp>
        <p:sp>
          <p:nvSpPr>
            <p:cNvPr id="306" name="TextBox 305">
              <a:extLst>
                <a:ext uri="{FF2B5EF4-FFF2-40B4-BE49-F238E27FC236}">
                  <a16:creationId xmlns:a16="http://schemas.microsoft.com/office/drawing/2014/main" id="{071D594A-037C-BE40-B64F-796E38E51216}"/>
                </a:ext>
              </a:extLst>
            </p:cNvPr>
            <p:cNvSpPr txBox="1"/>
            <p:nvPr/>
          </p:nvSpPr>
          <p:spPr>
            <a:xfrm>
              <a:off x="702590" y="1204757"/>
              <a:ext cx="301686" cy="260896"/>
            </a:xfrm>
            <a:prstGeom prst="rect">
              <a:avLst/>
            </a:prstGeom>
            <a:noFill/>
          </p:spPr>
          <p:txBody>
            <a:bodyPr wrap="square" rtlCol="0">
              <a:spAutoFit/>
            </a:bodyPr>
            <a:lstStyle/>
            <a:p>
              <a:r>
                <a:rPr lang="en-US" sz="700" dirty="0">
                  <a:solidFill>
                    <a:srgbClr val="FF0000"/>
                  </a:solidFill>
                </a:rPr>
                <a:t>1.</a:t>
              </a:r>
            </a:p>
          </p:txBody>
        </p:sp>
      </p:grpSp>
      <p:grpSp>
        <p:nvGrpSpPr>
          <p:cNvPr id="307" name="Group 306">
            <a:extLst>
              <a:ext uri="{FF2B5EF4-FFF2-40B4-BE49-F238E27FC236}">
                <a16:creationId xmlns:a16="http://schemas.microsoft.com/office/drawing/2014/main" id="{A7BA8CFC-C746-FA48-A9BC-BE8D6DE16844}"/>
              </a:ext>
            </a:extLst>
          </p:cNvPr>
          <p:cNvGrpSpPr/>
          <p:nvPr/>
        </p:nvGrpSpPr>
        <p:grpSpPr>
          <a:xfrm rot="21011211">
            <a:off x="415579" y="1760524"/>
            <a:ext cx="292910" cy="222927"/>
            <a:chOff x="702590" y="1203599"/>
            <a:chExt cx="301686" cy="290724"/>
          </a:xfrm>
        </p:grpSpPr>
        <p:sp>
          <p:nvSpPr>
            <p:cNvPr id="308" name="Google Shape;431;p39">
              <a:extLst>
                <a:ext uri="{FF2B5EF4-FFF2-40B4-BE49-F238E27FC236}">
                  <a16:creationId xmlns:a16="http://schemas.microsoft.com/office/drawing/2014/main" id="{B16CC9C7-8670-4D48-8816-3E0D06AE8655}"/>
                </a:ext>
              </a:extLst>
            </p:cNvPr>
            <p:cNvSpPr/>
            <p:nvPr/>
          </p:nvSpPr>
          <p:spPr>
            <a:xfrm>
              <a:off x="736556" y="1203599"/>
              <a:ext cx="219241" cy="290724"/>
            </a:xfrm>
            <a:custGeom>
              <a:avLst/>
              <a:gdLst/>
              <a:ahLst/>
              <a:cxnLst/>
              <a:rect l="0" t="0" r="0" b="0"/>
              <a:pathLst>
                <a:path w="67641" h="69056" extrusionOk="0">
                  <a:moveTo>
                    <a:pt x="49622" y="2736"/>
                  </a:moveTo>
                  <a:lnTo>
                    <a:pt x="49622" y="2736"/>
                  </a:lnTo>
                  <a:lnTo>
                    <a:pt x="49622" y="2736"/>
                  </a:lnTo>
                  <a:close/>
                  <a:moveTo>
                    <a:pt x="59622" y="55565"/>
                  </a:moveTo>
                  <a:lnTo>
                    <a:pt x="59622" y="55565"/>
                  </a:lnTo>
                  <a:lnTo>
                    <a:pt x="59622" y="55565"/>
                  </a:lnTo>
                  <a:close/>
                  <a:moveTo>
                    <a:pt x="35471" y="0"/>
                  </a:moveTo>
                  <a:lnTo>
                    <a:pt x="34433" y="95"/>
                  </a:lnTo>
                  <a:lnTo>
                    <a:pt x="33584" y="189"/>
                  </a:lnTo>
                  <a:lnTo>
                    <a:pt x="32735" y="378"/>
                  </a:lnTo>
                  <a:lnTo>
                    <a:pt x="32169" y="566"/>
                  </a:lnTo>
                  <a:lnTo>
                    <a:pt x="31509" y="472"/>
                  </a:lnTo>
                  <a:lnTo>
                    <a:pt x="30754" y="472"/>
                  </a:lnTo>
                  <a:lnTo>
                    <a:pt x="29339" y="566"/>
                  </a:lnTo>
                  <a:lnTo>
                    <a:pt x="27830" y="849"/>
                  </a:lnTo>
                  <a:lnTo>
                    <a:pt x="26320" y="1321"/>
                  </a:lnTo>
                  <a:lnTo>
                    <a:pt x="24811" y="1981"/>
                  </a:lnTo>
                  <a:lnTo>
                    <a:pt x="23207" y="2736"/>
                  </a:lnTo>
                  <a:lnTo>
                    <a:pt x="21698" y="3585"/>
                  </a:lnTo>
                  <a:lnTo>
                    <a:pt x="20188" y="4623"/>
                  </a:lnTo>
                  <a:lnTo>
                    <a:pt x="18679" y="5661"/>
                  </a:lnTo>
                  <a:lnTo>
                    <a:pt x="17170" y="6793"/>
                  </a:lnTo>
                  <a:lnTo>
                    <a:pt x="15754" y="8019"/>
                  </a:lnTo>
                  <a:lnTo>
                    <a:pt x="14434" y="9151"/>
                  </a:lnTo>
                  <a:lnTo>
                    <a:pt x="11981" y="11510"/>
                  </a:lnTo>
                  <a:lnTo>
                    <a:pt x="10000" y="13774"/>
                  </a:lnTo>
                  <a:lnTo>
                    <a:pt x="7736" y="16981"/>
                  </a:lnTo>
                  <a:lnTo>
                    <a:pt x="8019" y="16321"/>
                  </a:lnTo>
                  <a:lnTo>
                    <a:pt x="8302" y="15660"/>
                  </a:lnTo>
                  <a:lnTo>
                    <a:pt x="7736" y="16604"/>
                  </a:lnTo>
                  <a:lnTo>
                    <a:pt x="7075" y="17642"/>
                  </a:lnTo>
                  <a:lnTo>
                    <a:pt x="7170" y="17830"/>
                  </a:lnTo>
                  <a:lnTo>
                    <a:pt x="6509" y="18868"/>
                  </a:lnTo>
                  <a:lnTo>
                    <a:pt x="7075" y="17359"/>
                  </a:lnTo>
                  <a:lnTo>
                    <a:pt x="6132" y="19057"/>
                  </a:lnTo>
                  <a:lnTo>
                    <a:pt x="5189" y="20849"/>
                  </a:lnTo>
                  <a:lnTo>
                    <a:pt x="4434" y="22736"/>
                  </a:lnTo>
                  <a:lnTo>
                    <a:pt x="3679" y="24622"/>
                  </a:lnTo>
                  <a:lnTo>
                    <a:pt x="2453" y="28490"/>
                  </a:lnTo>
                  <a:lnTo>
                    <a:pt x="1321" y="32169"/>
                  </a:lnTo>
                  <a:lnTo>
                    <a:pt x="1509" y="32264"/>
                  </a:lnTo>
                  <a:lnTo>
                    <a:pt x="1604" y="32453"/>
                  </a:lnTo>
                  <a:lnTo>
                    <a:pt x="1604" y="32641"/>
                  </a:lnTo>
                  <a:lnTo>
                    <a:pt x="1509" y="32924"/>
                  </a:lnTo>
                  <a:lnTo>
                    <a:pt x="1226" y="33396"/>
                  </a:lnTo>
                  <a:lnTo>
                    <a:pt x="1038" y="33585"/>
                  </a:lnTo>
                  <a:lnTo>
                    <a:pt x="1038" y="33773"/>
                  </a:lnTo>
                  <a:lnTo>
                    <a:pt x="1038" y="35000"/>
                  </a:lnTo>
                  <a:lnTo>
                    <a:pt x="849" y="36132"/>
                  </a:lnTo>
                  <a:lnTo>
                    <a:pt x="660" y="37358"/>
                  </a:lnTo>
                  <a:lnTo>
                    <a:pt x="472" y="38867"/>
                  </a:lnTo>
                  <a:lnTo>
                    <a:pt x="283" y="38301"/>
                  </a:lnTo>
                  <a:lnTo>
                    <a:pt x="94" y="39811"/>
                  </a:lnTo>
                  <a:lnTo>
                    <a:pt x="0" y="41509"/>
                  </a:lnTo>
                  <a:lnTo>
                    <a:pt x="94" y="43301"/>
                  </a:lnTo>
                  <a:lnTo>
                    <a:pt x="283" y="44056"/>
                  </a:lnTo>
                  <a:lnTo>
                    <a:pt x="472" y="44622"/>
                  </a:lnTo>
                  <a:lnTo>
                    <a:pt x="566" y="45660"/>
                  </a:lnTo>
                  <a:lnTo>
                    <a:pt x="755" y="46792"/>
                  </a:lnTo>
                  <a:lnTo>
                    <a:pt x="1226" y="48962"/>
                  </a:lnTo>
                  <a:lnTo>
                    <a:pt x="1981" y="51037"/>
                  </a:lnTo>
                  <a:lnTo>
                    <a:pt x="2924" y="53112"/>
                  </a:lnTo>
                  <a:lnTo>
                    <a:pt x="4057" y="55094"/>
                  </a:lnTo>
                  <a:lnTo>
                    <a:pt x="5283" y="56980"/>
                  </a:lnTo>
                  <a:lnTo>
                    <a:pt x="6698" y="58678"/>
                  </a:lnTo>
                  <a:lnTo>
                    <a:pt x="8113" y="60282"/>
                  </a:lnTo>
                  <a:lnTo>
                    <a:pt x="9056" y="61131"/>
                  </a:lnTo>
                  <a:lnTo>
                    <a:pt x="10000" y="61980"/>
                  </a:lnTo>
                  <a:lnTo>
                    <a:pt x="11038" y="62829"/>
                  </a:lnTo>
                  <a:lnTo>
                    <a:pt x="12075" y="63584"/>
                  </a:lnTo>
                  <a:lnTo>
                    <a:pt x="14339" y="64905"/>
                  </a:lnTo>
                  <a:lnTo>
                    <a:pt x="16604" y="66131"/>
                  </a:lnTo>
                  <a:lnTo>
                    <a:pt x="19056" y="67169"/>
                  </a:lnTo>
                  <a:lnTo>
                    <a:pt x="21509" y="67923"/>
                  </a:lnTo>
                  <a:lnTo>
                    <a:pt x="24056" y="68584"/>
                  </a:lnTo>
                  <a:lnTo>
                    <a:pt x="26603" y="69055"/>
                  </a:lnTo>
                  <a:lnTo>
                    <a:pt x="27830" y="69055"/>
                  </a:lnTo>
                  <a:lnTo>
                    <a:pt x="30188" y="68867"/>
                  </a:lnTo>
                  <a:lnTo>
                    <a:pt x="33113" y="68678"/>
                  </a:lnTo>
                  <a:lnTo>
                    <a:pt x="36509" y="68301"/>
                  </a:lnTo>
                  <a:lnTo>
                    <a:pt x="39811" y="67923"/>
                  </a:lnTo>
                  <a:lnTo>
                    <a:pt x="42735" y="67452"/>
                  </a:lnTo>
                  <a:lnTo>
                    <a:pt x="44905" y="66980"/>
                  </a:lnTo>
                  <a:lnTo>
                    <a:pt x="45565" y="66791"/>
                  </a:lnTo>
                  <a:lnTo>
                    <a:pt x="45943" y="66508"/>
                  </a:lnTo>
                  <a:lnTo>
                    <a:pt x="47358" y="65942"/>
                  </a:lnTo>
                  <a:lnTo>
                    <a:pt x="48018" y="65565"/>
                  </a:lnTo>
                  <a:lnTo>
                    <a:pt x="48678" y="65188"/>
                  </a:lnTo>
                  <a:lnTo>
                    <a:pt x="47924" y="65471"/>
                  </a:lnTo>
                  <a:lnTo>
                    <a:pt x="51509" y="62924"/>
                  </a:lnTo>
                  <a:lnTo>
                    <a:pt x="53301" y="61508"/>
                  </a:lnTo>
                  <a:lnTo>
                    <a:pt x="55093" y="59905"/>
                  </a:lnTo>
                  <a:lnTo>
                    <a:pt x="55093" y="59905"/>
                  </a:lnTo>
                  <a:lnTo>
                    <a:pt x="54810" y="60376"/>
                  </a:lnTo>
                  <a:lnTo>
                    <a:pt x="54339" y="60754"/>
                  </a:lnTo>
                  <a:lnTo>
                    <a:pt x="55376" y="59999"/>
                  </a:lnTo>
                  <a:lnTo>
                    <a:pt x="56320" y="59056"/>
                  </a:lnTo>
                  <a:lnTo>
                    <a:pt x="57075" y="58395"/>
                  </a:lnTo>
                  <a:lnTo>
                    <a:pt x="57169" y="58207"/>
                  </a:lnTo>
                  <a:lnTo>
                    <a:pt x="57075" y="58207"/>
                  </a:lnTo>
                  <a:lnTo>
                    <a:pt x="57924" y="57546"/>
                  </a:lnTo>
                  <a:lnTo>
                    <a:pt x="58678" y="56697"/>
                  </a:lnTo>
                  <a:lnTo>
                    <a:pt x="59339" y="55754"/>
                  </a:lnTo>
                  <a:lnTo>
                    <a:pt x="59905" y="54905"/>
                  </a:lnTo>
                  <a:lnTo>
                    <a:pt x="59716" y="54999"/>
                  </a:lnTo>
                  <a:lnTo>
                    <a:pt x="59622" y="54999"/>
                  </a:lnTo>
                  <a:lnTo>
                    <a:pt x="59810" y="54622"/>
                  </a:lnTo>
                  <a:lnTo>
                    <a:pt x="59150" y="55565"/>
                  </a:lnTo>
                  <a:lnTo>
                    <a:pt x="59527" y="55094"/>
                  </a:lnTo>
                  <a:lnTo>
                    <a:pt x="59433" y="55377"/>
                  </a:lnTo>
                  <a:lnTo>
                    <a:pt x="58867" y="56037"/>
                  </a:lnTo>
                  <a:lnTo>
                    <a:pt x="59056" y="55660"/>
                  </a:lnTo>
                  <a:lnTo>
                    <a:pt x="59056" y="55660"/>
                  </a:lnTo>
                  <a:lnTo>
                    <a:pt x="58678" y="56037"/>
                  </a:lnTo>
                  <a:lnTo>
                    <a:pt x="59810" y="54339"/>
                  </a:lnTo>
                  <a:lnTo>
                    <a:pt x="60282" y="53490"/>
                  </a:lnTo>
                  <a:lnTo>
                    <a:pt x="60282" y="53301"/>
                  </a:lnTo>
                  <a:lnTo>
                    <a:pt x="60188" y="53395"/>
                  </a:lnTo>
                  <a:lnTo>
                    <a:pt x="60188" y="53395"/>
                  </a:lnTo>
                  <a:lnTo>
                    <a:pt x="60565" y="52924"/>
                  </a:lnTo>
                  <a:lnTo>
                    <a:pt x="61037" y="52452"/>
                  </a:lnTo>
                  <a:lnTo>
                    <a:pt x="61886" y="51509"/>
                  </a:lnTo>
                  <a:lnTo>
                    <a:pt x="61508" y="52452"/>
                  </a:lnTo>
                  <a:lnTo>
                    <a:pt x="60848" y="53584"/>
                  </a:lnTo>
                  <a:lnTo>
                    <a:pt x="59622" y="55565"/>
                  </a:lnTo>
                  <a:lnTo>
                    <a:pt x="60376" y="54528"/>
                  </a:lnTo>
                  <a:lnTo>
                    <a:pt x="60942" y="53678"/>
                  </a:lnTo>
                  <a:lnTo>
                    <a:pt x="61980" y="51792"/>
                  </a:lnTo>
                  <a:lnTo>
                    <a:pt x="61886" y="51886"/>
                  </a:lnTo>
                  <a:lnTo>
                    <a:pt x="61886" y="51697"/>
                  </a:lnTo>
                  <a:lnTo>
                    <a:pt x="62169" y="51037"/>
                  </a:lnTo>
                  <a:lnTo>
                    <a:pt x="62735" y="49999"/>
                  </a:lnTo>
                  <a:lnTo>
                    <a:pt x="61508" y="51603"/>
                  </a:lnTo>
                  <a:lnTo>
                    <a:pt x="61603" y="51037"/>
                  </a:lnTo>
                  <a:lnTo>
                    <a:pt x="61697" y="50377"/>
                  </a:lnTo>
                  <a:lnTo>
                    <a:pt x="62169" y="48962"/>
                  </a:lnTo>
                  <a:lnTo>
                    <a:pt x="62829" y="47358"/>
                  </a:lnTo>
                  <a:lnTo>
                    <a:pt x="63678" y="45565"/>
                  </a:lnTo>
                  <a:lnTo>
                    <a:pt x="65376" y="42169"/>
                  </a:lnTo>
                  <a:lnTo>
                    <a:pt x="66131" y="40660"/>
                  </a:lnTo>
                  <a:lnTo>
                    <a:pt x="66697" y="39339"/>
                  </a:lnTo>
                  <a:lnTo>
                    <a:pt x="66603" y="39528"/>
                  </a:lnTo>
                  <a:lnTo>
                    <a:pt x="66697" y="39056"/>
                  </a:lnTo>
                  <a:lnTo>
                    <a:pt x="66791" y="38962"/>
                  </a:lnTo>
                  <a:lnTo>
                    <a:pt x="66791" y="39056"/>
                  </a:lnTo>
                  <a:lnTo>
                    <a:pt x="66886" y="38584"/>
                  </a:lnTo>
                  <a:lnTo>
                    <a:pt x="66791" y="38867"/>
                  </a:lnTo>
                  <a:lnTo>
                    <a:pt x="66980" y="38207"/>
                  </a:lnTo>
                  <a:lnTo>
                    <a:pt x="67169" y="37264"/>
                  </a:lnTo>
                  <a:lnTo>
                    <a:pt x="67263" y="36415"/>
                  </a:lnTo>
                  <a:lnTo>
                    <a:pt x="67357" y="36509"/>
                  </a:lnTo>
                  <a:lnTo>
                    <a:pt x="67452" y="36509"/>
                  </a:lnTo>
                  <a:lnTo>
                    <a:pt x="67546" y="35943"/>
                  </a:lnTo>
                  <a:lnTo>
                    <a:pt x="67546" y="34811"/>
                  </a:lnTo>
                  <a:lnTo>
                    <a:pt x="67640" y="31037"/>
                  </a:lnTo>
                  <a:lnTo>
                    <a:pt x="67640" y="28490"/>
                  </a:lnTo>
                  <a:lnTo>
                    <a:pt x="67546" y="27736"/>
                  </a:lnTo>
                  <a:lnTo>
                    <a:pt x="67546" y="27547"/>
                  </a:lnTo>
                  <a:lnTo>
                    <a:pt x="67452" y="27547"/>
                  </a:lnTo>
                  <a:lnTo>
                    <a:pt x="67074" y="26792"/>
                  </a:lnTo>
                  <a:lnTo>
                    <a:pt x="66791" y="25660"/>
                  </a:lnTo>
                  <a:lnTo>
                    <a:pt x="66508" y="24528"/>
                  </a:lnTo>
                  <a:lnTo>
                    <a:pt x="66414" y="23585"/>
                  </a:lnTo>
                  <a:lnTo>
                    <a:pt x="66320" y="23679"/>
                  </a:lnTo>
                  <a:lnTo>
                    <a:pt x="66320" y="23490"/>
                  </a:lnTo>
                  <a:lnTo>
                    <a:pt x="65942" y="22924"/>
                  </a:lnTo>
                  <a:lnTo>
                    <a:pt x="65565" y="22358"/>
                  </a:lnTo>
                  <a:lnTo>
                    <a:pt x="64527" y="21132"/>
                  </a:lnTo>
                  <a:lnTo>
                    <a:pt x="63584" y="19906"/>
                  </a:lnTo>
                  <a:lnTo>
                    <a:pt x="63207" y="19340"/>
                  </a:lnTo>
                  <a:lnTo>
                    <a:pt x="63018" y="18774"/>
                  </a:lnTo>
                  <a:lnTo>
                    <a:pt x="63112" y="18962"/>
                  </a:lnTo>
                  <a:lnTo>
                    <a:pt x="63301" y="19057"/>
                  </a:lnTo>
                  <a:lnTo>
                    <a:pt x="63301" y="19057"/>
                  </a:lnTo>
                  <a:lnTo>
                    <a:pt x="63207" y="18868"/>
                  </a:lnTo>
                  <a:lnTo>
                    <a:pt x="62923" y="18491"/>
                  </a:lnTo>
                  <a:lnTo>
                    <a:pt x="61980" y="17453"/>
                  </a:lnTo>
                  <a:lnTo>
                    <a:pt x="61037" y="16509"/>
                  </a:lnTo>
                  <a:lnTo>
                    <a:pt x="61037" y="16698"/>
                  </a:lnTo>
                  <a:lnTo>
                    <a:pt x="61037" y="16887"/>
                  </a:lnTo>
                  <a:lnTo>
                    <a:pt x="60093" y="15943"/>
                  </a:lnTo>
                  <a:lnTo>
                    <a:pt x="60376" y="16321"/>
                  </a:lnTo>
                  <a:lnTo>
                    <a:pt x="59527" y="15377"/>
                  </a:lnTo>
                  <a:lnTo>
                    <a:pt x="59056" y="14906"/>
                  </a:lnTo>
                  <a:lnTo>
                    <a:pt x="59244" y="14906"/>
                  </a:lnTo>
                  <a:lnTo>
                    <a:pt x="59905" y="15472"/>
                  </a:lnTo>
                  <a:lnTo>
                    <a:pt x="59905" y="15472"/>
                  </a:lnTo>
                  <a:lnTo>
                    <a:pt x="57641" y="13396"/>
                  </a:lnTo>
                  <a:lnTo>
                    <a:pt x="58112" y="13868"/>
                  </a:lnTo>
                  <a:lnTo>
                    <a:pt x="56886" y="13019"/>
                  </a:lnTo>
                  <a:lnTo>
                    <a:pt x="55754" y="12453"/>
                  </a:lnTo>
                  <a:lnTo>
                    <a:pt x="56603" y="13113"/>
                  </a:lnTo>
                  <a:lnTo>
                    <a:pt x="57452" y="13774"/>
                  </a:lnTo>
                  <a:lnTo>
                    <a:pt x="58961" y="15283"/>
                  </a:lnTo>
                  <a:lnTo>
                    <a:pt x="60376" y="16604"/>
                  </a:lnTo>
                  <a:lnTo>
                    <a:pt x="61225" y="17264"/>
                  </a:lnTo>
                  <a:lnTo>
                    <a:pt x="62074" y="17925"/>
                  </a:lnTo>
                  <a:lnTo>
                    <a:pt x="62074" y="17925"/>
                  </a:lnTo>
                  <a:lnTo>
                    <a:pt x="61414" y="17547"/>
                  </a:lnTo>
                  <a:lnTo>
                    <a:pt x="60659" y="16981"/>
                  </a:lnTo>
                  <a:lnTo>
                    <a:pt x="60754" y="17264"/>
                  </a:lnTo>
                  <a:lnTo>
                    <a:pt x="60942" y="17642"/>
                  </a:lnTo>
                  <a:lnTo>
                    <a:pt x="61980" y="19151"/>
                  </a:lnTo>
                  <a:lnTo>
                    <a:pt x="63301" y="20943"/>
                  </a:lnTo>
                  <a:lnTo>
                    <a:pt x="63207" y="20943"/>
                  </a:lnTo>
                  <a:lnTo>
                    <a:pt x="63395" y="21038"/>
                  </a:lnTo>
                  <a:lnTo>
                    <a:pt x="63490" y="21321"/>
                  </a:lnTo>
                  <a:lnTo>
                    <a:pt x="63678" y="21604"/>
                  </a:lnTo>
                  <a:lnTo>
                    <a:pt x="63773" y="21698"/>
                  </a:lnTo>
                  <a:lnTo>
                    <a:pt x="63584" y="21321"/>
                  </a:lnTo>
                  <a:lnTo>
                    <a:pt x="63584" y="21321"/>
                  </a:lnTo>
                  <a:lnTo>
                    <a:pt x="64244" y="22170"/>
                  </a:lnTo>
                  <a:lnTo>
                    <a:pt x="64716" y="22641"/>
                  </a:lnTo>
                  <a:lnTo>
                    <a:pt x="64905" y="22830"/>
                  </a:lnTo>
                  <a:lnTo>
                    <a:pt x="64999" y="22830"/>
                  </a:lnTo>
                  <a:lnTo>
                    <a:pt x="64999" y="22641"/>
                  </a:lnTo>
                  <a:lnTo>
                    <a:pt x="64905" y="22358"/>
                  </a:lnTo>
                  <a:lnTo>
                    <a:pt x="65282" y="23207"/>
                  </a:lnTo>
                  <a:lnTo>
                    <a:pt x="65565" y="24056"/>
                  </a:lnTo>
                  <a:lnTo>
                    <a:pt x="66225" y="25943"/>
                  </a:lnTo>
                  <a:lnTo>
                    <a:pt x="66697" y="27830"/>
                  </a:lnTo>
                  <a:lnTo>
                    <a:pt x="66886" y="28490"/>
                  </a:lnTo>
                  <a:lnTo>
                    <a:pt x="66980" y="28868"/>
                  </a:lnTo>
                  <a:lnTo>
                    <a:pt x="66886" y="28962"/>
                  </a:lnTo>
                  <a:lnTo>
                    <a:pt x="66697" y="28679"/>
                  </a:lnTo>
                  <a:lnTo>
                    <a:pt x="66697" y="29245"/>
                  </a:lnTo>
                  <a:lnTo>
                    <a:pt x="66791" y="29905"/>
                  </a:lnTo>
                  <a:lnTo>
                    <a:pt x="66886" y="29905"/>
                  </a:lnTo>
                  <a:lnTo>
                    <a:pt x="66886" y="30094"/>
                  </a:lnTo>
                  <a:lnTo>
                    <a:pt x="66886" y="30566"/>
                  </a:lnTo>
                  <a:lnTo>
                    <a:pt x="66697" y="30377"/>
                  </a:lnTo>
                  <a:lnTo>
                    <a:pt x="66603" y="30188"/>
                  </a:lnTo>
                  <a:lnTo>
                    <a:pt x="66603" y="30094"/>
                  </a:lnTo>
                  <a:lnTo>
                    <a:pt x="66697" y="29905"/>
                  </a:lnTo>
                  <a:lnTo>
                    <a:pt x="66508" y="28679"/>
                  </a:lnTo>
                  <a:lnTo>
                    <a:pt x="66225" y="27358"/>
                  </a:lnTo>
                  <a:lnTo>
                    <a:pt x="66603" y="30283"/>
                  </a:lnTo>
                  <a:lnTo>
                    <a:pt x="66697" y="31792"/>
                  </a:lnTo>
                  <a:lnTo>
                    <a:pt x="66697" y="33302"/>
                  </a:lnTo>
                  <a:lnTo>
                    <a:pt x="66603" y="34717"/>
                  </a:lnTo>
                  <a:lnTo>
                    <a:pt x="66414" y="36226"/>
                  </a:lnTo>
                  <a:lnTo>
                    <a:pt x="66131" y="37547"/>
                  </a:lnTo>
                  <a:lnTo>
                    <a:pt x="65659" y="38962"/>
                  </a:lnTo>
                  <a:lnTo>
                    <a:pt x="65848" y="38584"/>
                  </a:lnTo>
                  <a:lnTo>
                    <a:pt x="65942" y="38584"/>
                  </a:lnTo>
                  <a:lnTo>
                    <a:pt x="65848" y="39245"/>
                  </a:lnTo>
                  <a:lnTo>
                    <a:pt x="65565" y="40188"/>
                  </a:lnTo>
                  <a:lnTo>
                    <a:pt x="65471" y="40471"/>
                  </a:lnTo>
                  <a:lnTo>
                    <a:pt x="65282" y="40660"/>
                  </a:lnTo>
                  <a:lnTo>
                    <a:pt x="65282" y="40566"/>
                  </a:lnTo>
                  <a:lnTo>
                    <a:pt x="65093" y="41132"/>
                  </a:lnTo>
                  <a:lnTo>
                    <a:pt x="64433" y="43018"/>
                  </a:lnTo>
                  <a:lnTo>
                    <a:pt x="63678" y="45282"/>
                  </a:lnTo>
                  <a:lnTo>
                    <a:pt x="62735" y="47264"/>
                  </a:lnTo>
                  <a:lnTo>
                    <a:pt x="61697" y="49056"/>
                  </a:lnTo>
                  <a:lnTo>
                    <a:pt x="60659" y="50943"/>
                  </a:lnTo>
                  <a:lnTo>
                    <a:pt x="59433" y="52735"/>
                  </a:lnTo>
                  <a:lnTo>
                    <a:pt x="58207" y="54433"/>
                  </a:lnTo>
                  <a:lnTo>
                    <a:pt x="56886" y="56037"/>
                  </a:lnTo>
                  <a:lnTo>
                    <a:pt x="55376" y="57641"/>
                  </a:lnTo>
                  <a:lnTo>
                    <a:pt x="53867" y="59150"/>
                  </a:lnTo>
                  <a:lnTo>
                    <a:pt x="52169" y="60376"/>
                  </a:lnTo>
                  <a:lnTo>
                    <a:pt x="48961" y="62452"/>
                  </a:lnTo>
                  <a:lnTo>
                    <a:pt x="44528" y="65282"/>
                  </a:lnTo>
                  <a:lnTo>
                    <a:pt x="44622" y="65188"/>
                  </a:lnTo>
                  <a:lnTo>
                    <a:pt x="44716" y="65093"/>
                  </a:lnTo>
                  <a:lnTo>
                    <a:pt x="45094" y="64810"/>
                  </a:lnTo>
                  <a:lnTo>
                    <a:pt x="45660" y="64527"/>
                  </a:lnTo>
                  <a:lnTo>
                    <a:pt x="43867" y="65376"/>
                  </a:lnTo>
                  <a:lnTo>
                    <a:pt x="43113" y="65754"/>
                  </a:lnTo>
                  <a:lnTo>
                    <a:pt x="42924" y="65754"/>
                  </a:lnTo>
                  <a:lnTo>
                    <a:pt x="43113" y="65659"/>
                  </a:lnTo>
                  <a:lnTo>
                    <a:pt x="41603" y="66037"/>
                  </a:lnTo>
                  <a:lnTo>
                    <a:pt x="39999" y="66320"/>
                  </a:lnTo>
                  <a:lnTo>
                    <a:pt x="38396" y="66508"/>
                  </a:lnTo>
                  <a:lnTo>
                    <a:pt x="36792" y="66697"/>
                  </a:lnTo>
                  <a:lnTo>
                    <a:pt x="33584" y="66980"/>
                  </a:lnTo>
                  <a:lnTo>
                    <a:pt x="32169" y="67169"/>
                  </a:lnTo>
                  <a:lnTo>
                    <a:pt x="30754" y="67357"/>
                  </a:lnTo>
                  <a:lnTo>
                    <a:pt x="30094" y="67357"/>
                  </a:lnTo>
                  <a:lnTo>
                    <a:pt x="29339" y="67263"/>
                  </a:lnTo>
                  <a:lnTo>
                    <a:pt x="27830" y="66886"/>
                  </a:lnTo>
                  <a:lnTo>
                    <a:pt x="26415" y="66508"/>
                  </a:lnTo>
                  <a:lnTo>
                    <a:pt x="25754" y="66414"/>
                  </a:lnTo>
                  <a:lnTo>
                    <a:pt x="25094" y="66414"/>
                  </a:lnTo>
                  <a:lnTo>
                    <a:pt x="25566" y="66980"/>
                  </a:lnTo>
                  <a:lnTo>
                    <a:pt x="25471" y="67074"/>
                  </a:lnTo>
                  <a:lnTo>
                    <a:pt x="25188" y="66980"/>
                  </a:lnTo>
                  <a:lnTo>
                    <a:pt x="24339" y="66791"/>
                  </a:lnTo>
                  <a:lnTo>
                    <a:pt x="23773" y="66508"/>
                  </a:lnTo>
                  <a:lnTo>
                    <a:pt x="24245" y="66414"/>
                  </a:lnTo>
                  <a:lnTo>
                    <a:pt x="24717" y="66603"/>
                  </a:lnTo>
                  <a:lnTo>
                    <a:pt x="24811" y="66414"/>
                  </a:lnTo>
                  <a:lnTo>
                    <a:pt x="24811" y="66320"/>
                  </a:lnTo>
                  <a:lnTo>
                    <a:pt x="24717" y="66225"/>
                  </a:lnTo>
                  <a:lnTo>
                    <a:pt x="24528" y="66131"/>
                  </a:lnTo>
                  <a:lnTo>
                    <a:pt x="24151" y="66225"/>
                  </a:lnTo>
                  <a:lnTo>
                    <a:pt x="23679" y="66320"/>
                  </a:lnTo>
                  <a:lnTo>
                    <a:pt x="23018" y="66414"/>
                  </a:lnTo>
                  <a:lnTo>
                    <a:pt x="23490" y="66225"/>
                  </a:lnTo>
                  <a:lnTo>
                    <a:pt x="22075" y="65942"/>
                  </a:lnTo>
                  <a:lnTo>
                    <a:pt x="20943" y="65659"/>
                  </a:lnTo>
                  <a:lnTo>
                    <a:pt x="20000" y="65282"/>
                  </a:lnTo>
                  <a:lnTo>
                    <a:pt x="19056" y="64810"/>
                  </a:lnTo>
                  <a:lnTo>
                    <a:pt x="19056" y="64810"/>
                  </a:lnTo>
                  <a:lnTo>
                    <a:pt x="19717" y="64999"/>
                  </a:lnTo>
                  <a:lnTo>
                    <a:pt x="19151" y="64716"/>
                  </a:lnTo>
                  <a:lnTo>
                    <a:pt x="18962" y="64810"/>
                  </a:lnTo>
                  <a:lnTo>
                    <a:pt x="19151" y="64905"/>
                  </a:lnTo>
                  <a:lnTo>
                    <a:pt x="18490" y="64905"/>
                  </a:lnTo>
                  <a:lnTo>
                    <a:pt x="17830" y="64716"/>
                  </a:lnTo>
                  <a:lnTo>
                    <a:pt x="17264" y="64527"/>
                  </a:lnTo>
                  <a:lnTo>
                    <a:pt x="16698" y="64150"/>
                  </a:lnTo>
                  <a:lnTo>
                    <a:pt x="16981" y="64056"/>
                  </a:lnTo>
                  <a:lnTo>
                    <a:pt x="17264" y="64150"/>
                  </a:lnTo>
                  <a:lnTo>
                    <a:pt x="17264" y="64150"/>
                  </a:lnTo>
                  <a:lnTo>
                    <a:pt x="15188" y="63207"/>
                  </a:lnTo>
                  <a:lnTo>
                    <a:pt x="14622" y="62829"/>
                  </a:lnTo>
                  <a:lnTo>
                    <a:pt x="14717" y="62924"/>
                  </a:lnTo>
                  <a:lnTo>
                    <a:pt x="13773" y="62546"/>
                  </a:lnTo>
                  <a:lnTo>
                    <a:pt x="12924" y="62075"/>
                  </a:lnTo>
                  <a:lnTo>
                    <a:pt x="12358" y="61697"/>
                  </a:lnTo>
                  <a:lnTo>
                    <a:pt x="12264" y="61508"/>
                  </a:lnTo>
                  <a:lnTo>
                    <a:pt x="12170" y="61320"/>
                  </a:lnTo>
                  <a:lnTo>
                    <a:pt x="11698" y="60942"/>
                  </a:lnTo>
                  <a:lnTo>
                    <a:pt x="11132" y="60471"/>
                  </a:lnTo>
                  <a:lnTo>
                    <a:pt x="9906" y="59244"/>
                  </a:lnTo>
                  <a:lnTo>
                    <a:pt x="9906" y="59244"/>
                  </a:lnTo>
                  <a:lnTo>
                    <a:pt x="10566" y="59527"/>
                  </a:lnTo>
                  <a:lnTo>
                    <a:pt x="9434" y="58584"/>
                  </a:lnTo>
                  <a:lnTo>
                    <a:pt x="8207" y="57546"/>
                  </a:lnTo>
                  <a:lnTo>
                    <a:pt x="7547" y="56886"/>
                  </a:lnTo>
                  <a:lnTo>
                    <a:pt x="6981" y="56131"/>
                  </a:lnTo>
                  <a:lnTo>
                    <a:pt x="6226" y="55094"/>
                  </a:lnTo>
                  <a:lnTo>
                    <a:pt x="6415" y="55377"/>
                  </a:lnTo>
                  <a:lnTo>
                    <a:pt x="6038" y="54905"/>
                  </a:lnTo>
                  <a:lnTo>
                    <a:pt x="5472" y="54244"/>
                  </a:lnTo>
                  <a:lnTo>
                    <a:pt x="5283" y="53961"/>
                  </a:lnTo>
                  <a:lnTo>
                    <a:pt x="5094" y="53867"/>
                  </a:lnTo>
                  <a:lnTo>
                    <a:pt x="5377" y="54622"/>
                  </a:lnTo>
                  <a:lnTo>
                    <a:pt x="5849" y="55282"/>
                  </a:lnTo>
                  <a:lnTo>
                    <a:pt x="6321" y="55943"/>
                  </a:lnTo>
                  <a:lnTo>
                    <a:pt x="6698" y="56603"/>
                  </a:lnTo>
                  <a:lnTo>
                    <a:pt x="6226" y="56226"/>
                  </a:lnTo>
                  <a:lnTo>
                    <a:pt x="5943" y="55848"/>
                  </a:lnTo>
                  <a:lnTo>
                    <a:pt x="6038" y="56037"/>
                  </a:lnTo>
                  <a:lnTo>
                    <a:pt x="5943" y="55943"/>
                  </a:lnTo>
                  <a:lnTo>
                    <a:pt x="5377" y="55188"/>
                  </a:lnTo>
                  <a:lnTo>
                    <a:pt x="5000" y="54716"/>
                  </a:lnTo>
                  <a:lnTo>
                    <a:pt x="4717" y="54150"/>
                  </a:lnTo>
                  <a:lnTo>
                    <a:pt x="4528" y="53678"/>
                  </a:lnTo>
                  <a:lnTo>
                    <a:pt x="4528" y="53584"/>
                  </a:lnTo>
                  <a:lnTo>
                    <a:pt x="4623" y="53395"/>
                  </a:lnTo>
                  <a:lnTo>
                    <a:pt x="5094" y="54244"/>
                  </a:lnTo>
                  <a:lnTo>
                    <a:pt x="4717" y="53301"/>
                  </a:lnTo>
                  <a:lnTo>
                    <a:pt x="4528" y="53018"/>
                  </a:lnTo>
                  <a:lnTo>
                    <a:pt x="4151" y="52263"/>
                  </a:lnTo>
                  <a:lnTo>
                    <a:pt x="4151" y="52169"/>
                  </a:lnTo>
                  <a:lnTo>
                    <a:pt x="3774" y="51509"/>
                  </a:lnTo>
                  <a:lnTo>
                    <a:pt x="3396" y="50660"/>
                  </a:lnTo>
                  <a:lnTo>
                    <a:pt x="3585" y="51603"/>
                  </a:lnTo>
                  <a:lnTo>
                    <a:pt x="3396" y="51226"/>
                  </a:lnTo>
                  <a:lnTo>
                    <a:pt x="3208" y="50848"/>
                  </a:lnTo>
                  <a:lnTo>
                    <a:pt x="3208" y="50471"/>
                  </a:lnTo>
                  <a:lnTo>
                    <a:pt x="3208" y="50094"/>
                  </a:lnTo>
                  <a:lnTo>
                    <a:pt x="3585" y="50754"/>
                  </a:lnTo>
                  <a:lnTo>
                    <a:pt x="3868" y="51509"/>
                  </a:lnTo>
                  <a:lnTo>
                    <a:pt x="3868" y="51509"/>
                  </a:lnTo>
                  <a:lnTo>
                    <a:pt x="3208" y="49528"/>
                  </a:lnTo>
                  <a:lnTo>
                    <a:pt x="3208" y="49528"/>
                  </a:lnTo>
                  <a:lnTo>
                    <a:pt x="3868" y="50754"/>
                  </a:lnTo>
                  <a:lnTo>
                    <a:pt x="3208" y="48962"/>
                  </a:lnTo>
                  <a:lnTo>
                    <a:pt x="3585" y="49339"/>
                  </a:lnTo>
                  <a:lnTo>
                    <a:pt x="3774" y="49433"/>
                  </a:lnTo>
                  <a:lnTo>
                    <a:pt x="3962" y="49528"/>
                  </a:lnTo>
                  <a:lnTo>
                    <a:pt x="4057" y="49905"/>
                  </a:lnTo>
                  <a:lnTo>
                    <a:pt x="3868" y="48962"/>
                  </a:lnTo>
                  <a:lnTo>
                    <a:pt x="3491" y="47924"/>
                  </a:lnTo>
                  <a:lnTo>
                    <a:pt x="2641" y="45565"/>
                  </a:lnTo>
                  <a:lnTo>
                    <a:pt x="2170" y="43867"/>
                  </a:lnTo>
                  <a:lnTo>
                    <a:pt x="1698" y="41886"/>
                  </a:lnTo>
                  <a:lnTo>
                    <a:pt x="1698" y="41886"/>
                  </a:lnTo>
                  <a:lnTo>
                    <a:pt x="1887" y="42075"/>
                  </a:lnTo>
                  <a:lnTo>
                    <a:pt x="1981" y="41981"/>
                  </a:lnTo>
                  <a:lnTo>
                    <a:pt x="2075" y="42075"/>
                  </a:lnTo>
                  <a:lnTo>
                    <a:pt x="2264" y="42169"/>
                  </a:lnTo>
                  <a:lnTo>
                    <a:pt x="2170" y="40283"/>
                  </a:lnTo>
                  <a:lnTo>
                    <a:pt x="2075" y="38301"/>
                  </a:lnTo>
                  <a:lnTo>
                    <a:pt x="2170" y="36415"/>
                  </a:lnTo>
                  <a:lnTo>
                    <a:pt x="2358" y="35566"/>
                  </a:lnTo>
                  <a:lnTo>
                    <a:pt x="2453" y="34811"/>
                  </a:lnTo>
                  <a:lnTo>
                    <a:pt x="2830" y="32830"/>
                  </a:lnTo>
                  <a:lnTo>
                    <a:pt x="2830" y="33207"/>
                  </a:lnTo>
                  <a:lnTo>
                    <a:pt x="2924" y="33490"/>
                  </a:lnTo>
                  <a:lnTo>
                    <a:pt x="2924" y="32453"/>
                  </a:lnTo>
                  <a:lnTo>
                    <a:pt x="3019" y="31415"/>
                  </a:lnTo>
                  <a:lnTo>
                    <a:pt x="3396" y="29245"/>
                  </a:lnTo>
                  <a:lnTo>
                    <a:pt x="3868" y="27075"/>
                  </a:lnTo>
                  <a:lnTo>
                    <a:pt x="4623" y="25000"/>
                  </a:lnTo>
                  <a:lnTo>
                    <a:pt x="5566" y="22830"/>
                  </a:lnTo>
                  <a:lnTo>
                    <a:pt x="6604" y="20849"/>
                  </a:lnTo>
                  <a:lnTo>
                    <a:pt x="7830" y="18868"/>
                  </a:lnTo>
                  <a:lnTo>
                    <a:pt x="9151" y="16887"/>
                  </a:lnTo>
                  <a:lnTo>
                    <a:pt x="10566" y="15094"/>
                  </a:lnTo>
                  <a:lnTo>
                    <a:pt x="12075" y="13302"/>
                  </a:lnTo>
                  <a:lnTo>
                    <a:pt x="13773" y="11698"/>
                  </a:lnTo>
                  <a:lnTo>
                    <a:pt x="15377" y="10095"/>
                  </a:lnTo>
                  <a:lnTo>
                    <a:pt x="17170" y="8679"/>
                  </a:lnTo>
                  <a:lnTo>
                    <a:pt x="18962" y="7453"/>
                  </a:lnTo>
                  <a:lnTo>
                    <a:pt x="20754" y="6321"/>
                  </a:lnTo>
                  <a:lnTo>
                    <a:pt x="22547" y="5378"/>
                  </a:lnTo>
                  <a:lnTo>
                    <a:pt x="21603" y="6227"/>
                  </a:lnTo>
                  <a:lnTo>
                    <a:pt x="22641" y="5472"/>
                  </a:lnTo>
                  <a:lnTo>
                    <a:pt x="23302" y="5095"/>
                  </a:lnTo>
                  <a:lnTo>
                    <a:pt x="25377" y="4151"/>
                  </a:lnTo>
                  <a:lnTo>
                    <a:pt x="24811" y="4151"/>
                  </a:lnTo>
                  <a:lnTo>
                    <a:pt x="25660" y="3774"/>
                  </a:lnTo>
                  <a:lnTo>
                    <a:pt x="26886" y="3208"/>
                  </a:lnTo>
                  <a:lnTo>
                    <a:pt x="26603" y="3585"/>
                  </a:lnTo>
                  <a:lnTo>
                    <a:pt x="26886" y="3585"/>
                  </a:lnTo>
                  <a:lnTo>
                    <a:pt x="26886" y="3680"/>
                  </a:lnTo>
                  <a:lnTo>
                    <a:pt x="26792" y="3774"/>
                  </a:lnTo>
                  <a:lnTo>
                    <a:pt x="28301" y="3302"/>
                  </a:lnTo>
                  <a:lnTo>
                    <a:pt x="29622" y="2736"/>
                  </a:lnTo>
                  <a:lnTo>
                    <a:pt x="31037" y="2264"/>
                  </a:lnTo>
                  <a:lnTo>
                    <a:pt x="31792" y="2076"/>
                  </a:lnTo>
                  <a:lnTo>
                    <a:pt x="32641" y="1981"/>
                  </a:lnTo>
                  <a:lnTo>
                    <a:pt x="32547" y="2076"/>
                  </a:lnTo>
                  <a:lnTo>
                    <a:pt x="32924" y="1981"/>
                  </a:lnTo>
                  <a:lnTo>
                    <a:pt x="34245" y="1793"/>
                  </a:lnTo>
                  <a:lnTo>
                    <a:pt x="35848" y="1415"/>
                  </a:lnTo>
                  <a:lnTo>
                    <a:pt x="36981" y="1132"/>
                  </a:lnTo>
                  <a:lnTo>
                    <a:pt x="36981" y="1415"/>
                  </a:lnTo>
                  <a:lnTo>
                    <a:pt x="40943" y="1227"/>
                  </a:lnTo>
                  <a:lnTo>
                    <a:pt x="41509" y="1038"/>
                  </a:lnTo>
                  <a:lnTo>
                    <a:pt x="41697" y="1132"/>
                  </a:lnTo>
                  <a:lnTo>
                    <a:pt x="41509" y="1227"/>
                  </a:lnTo>
                  <a:lnTo>
                    <a:pt x="41320" y="1321"/>
                  </a:lnTo>
                  <a:lnTo>
                    <a:pt x="42263" y="1321"/>
                  </a:lnTo>
                  <a:lnTo>
                    <a:pt x="43113" y="1227"/>
                  </a:lnTo>
                  <a:lnTo>
                    <a:pt x="43396" y="1415"/>
                  </a:lnTo>
                  <a:lnTo>
                    <a:pt x="44056" y="1604"/>
                  </a:lnTo>
                  <a:lnTo>
                    <a:pt x="45943" y="2076"/>
                  </a:lnTo>
                  <a:lnTo>
                    <a:pt x="48018" y="2359"/>
                  </a:lnTo>
                  <a:lnTo>
                    <a:pt x="49622" y="2736"/>
                  </a:lnTo>
                  <a:lnTo>
                    <a:pt x="47641" y="1981"/>
                  </a:lnTo>
                  <a:lnTo>
                    <a:pt x="45282" y="1321"/>
                  </a:lnTo>
                  <a:lnTo>
                    <a:pt x="42735" y="755"/>
                  </a:lnTo>
                  <a:lnTo>
                    <a:pt x="40188" y="283"/>
                  </a:lnTo>
                  <a:lnTo>
                    <a:pt x="37735" y="95"/>
                  </a:lnTo>
                  <a:lnTo>
                    <a:pt x="35471" y="0"/>
                  </a:lnTo>
                  <a:close/>
                </a:path>
              </a:pathLst>
            </a:custGeom>
            <a:solidFill>
              <a:srgbClr val="FF0000"/>
            </a:solidFill>
            <a:ln>
              <a:noFill/>
            </a:ln>
          </p:spPr>
          <p:txBody>
            <a:bodyPr spcFirstLastPara="1" wrap="square" lIns="91425" tIns="91425" rIns="91425" bIns="91425" anchor="ctr" anchorCtr="0">
              <a:noAutofit/>
            </a:bodyPr>
            <a:lstStyle/>
            <a:p>
              <a:pPr marL="0" lvl="0" indent="0">
                <a:spcBef>
                  <a:spcPts val="0"/>
                </a:spcBef>
                <a:spcAft>
                  <a:spcPts val="0"/>
                </a:spcAft>
                <a:buNone/>
              </a:pPr>
              <a:endParaRPr sz="1100"/>
            </a:p>
          </p:txBody>
        </p:sp>
        <p:sp>
          <p:nvSpPr>
            <p:cNvPr id="309" name="TextBox 308">
              <a:extLst>
                <a:ext uri="{FF2B5EF4-FFF2-40B4-BE49-F238E27FC236}">
                  <a16:creationId xmlns:a16="http://schemas.microsoft.com/office/drawing/2014/main" id="{1477351C-299F-A847-9908-4CF158896319}"/>
                </a:ext>
              </a:extLst>
            </p:cNvPr>
            <p:cNvSpPr txBox="1"/>
            <p:nvPr/>
          </p:nvSpPr>
          <p:spPr>
            <a:xfrm>
              <a:off x="702590" y="1204757"/>
              <a:ext cx="301686" cy="260896"/>
            </a:xfrm>
            <a:prstGeom prst="rect">
              <a:avLst/>
            </a:prstGeom>
            <a:noFill/>
          </p:spPr>
          <p:txBody>
            <a:bodyPr wrap="square" rtlCol="0">
              <a:spAutoFit/>
            </a:bodyPr>
            <a:lstStyle/>
            <a:p>
              <a:r>
                <a:rPr lang="en-US" sz="700" dirty="0">
                  <a:solidFill>
                    <a:srgbClr val="FF0000"/>
                  </a:solidFill>
                </a:rPr>
                <a:t>2.</a:t>
              </a:r>
            </a:p>
          </p:txBody>
        </p:sp>
      </p:grpSp>
      <p:sp>
        <p:nvSpPr>
          <p:cNvPr id="320" name="Google Shape;61;p12">
            <a:extLst>
              <a:ext uri="{FF2B5EF4-FFF2-40B4-BE49-F238E27FC236}">
                <a16:creationId xmlns:a16="http://schemas.microsoft.com/office/drawing/2014/main" id="{B5E00658-85F9-C84F-8259-FF6449B89CE3}"/>
              </a:ext>
            </a:extLst>
          </p:cNvPr>
          <p:cNvSpPr txBox="1">
            <a:spLocks/>
          </p:cNvSpPr>
          <p:nvPr/>
        </p:nvSpPr>
        <p:spPr>
          <a:xfrm>
            <a:off x="2423220" y="5694043"/>
            <a:ext cx="664851" cy="226959"/>
          </a:xfrm>
          <a:prstGeom prst="rect">
            <a:avLst/>
          </a:prstGeom>
        </p:spPr>
        <p:txBody>
          <a:bodyPr spcFirstLastPara="1" vert="horz" wrap="square" lIns="91425" tIns="91425" rIns="91425" bIns="91425" rtlCol="0" anchor="ctr"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spcBef>
                <a:spcPts val="0"/>
              </a:spcBef>
            </a:pPr>
            <a:r>
              <a:rPr lang="en-US" sz="700" dirty="0">
                <a:solidFill>
                  <a:srgbClr val="C5277F"/>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rPr>
              <a:t>&lt;&lt; uses &gt;&gt;</a:t>
            </a:r>
          </a:p>
        </p:txBody>
      </p:sp>
      <p:cxnSp>
        <p:nvCxnSpPr>
          <p:cNvPr id="714" name="Elbow Connector 713">
            <a:extLst>
              <a:ext uri="{FF2B5EF4-FFF2-40B4-BE49-F238E27FC236}">
                <a16:creationId xmlns:a16="http://schemas.microsoft.com/office/drawing/2014/main" id="{94AE550F-063D-CA40-A514-8D73E1E73D9E}"/>
              </a:ext>
            </a:extLst>
          </p:cNvPr>
          <p:cNvCxnSpPr>
            <a:cxnSpLocks/>
            <a:stCxn id="520" idx="3"/>
            <a:endCxn id="353" idx="1"/>
          </p:cNvCxnSpPr>
          <p:nvPr/>
        </p:nvCxnSpPr>
        <p:spPr>
          <a:xfrm>
            <a:off x="1566613" y="1950388"/>
            <a:ext cx="659770" cy="898160"/>
          </a:xfrm>
          <a:prstGeom prst="bentConnector3">
            <a:avLst>
              <a:gd name="adj1" fmla="val 54158"/>
            </a:avLst>
          </a:prstGeom>
          <a:ln>
            <a:solidFill>
              <a:schemeClr val="bg1">
                <a:lumMod val="50000"/>
              </a:schemeClr>
            </a:solidFill>
            <a:headEnd type="oval"/>
            <a:tailEnd type="triangle"/>
          </a:ln>
        </p:spPr>
        <p:style>
          <a:lnRef idx="1">
            <a:schemeClr val="accent1"/>
          </a:lnRef>
          <a:fillRef idx="0">
            <a:schemeClr val="accent1"/>
          </a:fillRef>
          <a:effectRef idx="0">
            <a:schemeClr val="accent1"/>
          </a:effectRef>
          <a:fontRef idx="minor">
            <a:schemeClr val="tx1"/>
          </a:fontRef>
        </p:style>
      </p:cxnSp>
      <p:cxnSp>
        <p:nvCxnSpPr>
          <p:cNvPr id="445" name="Elbow Connector 444">
            <a:extLst>
              <a:ext uri="{FF2B5EF4-FFF2-40B4-BE49-F238E27FC236}">
                <a16:creationId xmlns:a16="http://schemas.microsoft.com/office/drawing/2014/main" id="{3DF21B72-8FC9-674A-BAB3-6A5853C8A410}"/>
              </a:ext>
            </a:extLst>
          </p:cNvPr>
          <p:cNvCxnSpPr>
            <a:cxnSpLocks/>
            <a:stCxn id="357" idx="3"/>
            <a:endCxn id="353" idx="1"/>
          </p:cNvCxnSpPr>
          <p:nvPr/>
        </p:nvCxnSpPr>
        <p:spPr>
          <a:xfrm flipV="1">
            <a:off x="1596386" y="2848548"/>
            <a:ext cx="629997" cy="891926"/>
          </a:xfrm>
          <a:prstGeom prst="bentConnector3">
            <a:avLst>
              <a:gd name="adj1" fmla="val 50000"/>
            </a:avLst>
          </a:prstGeom>
          <a:ln>
            <a:solidFill>
              <a:schemeClr val="bg1">
                <a:lumMod val="50000"/>
              </a:schemeClr>
            </a:solidFill>
            <a:headEnd type="oval"/>
            <a:tailEnd type="triangle"/>
          </a:ln>
        </p:spPr>
        <p:style>
          <a:lnRef idx="1">
            <a:schemeClr val="accent1"/>
          </a:lnRef>
          <a:fillRef idx="0">
            <a:schemeClr val="accent1"/>
          </a:fillRef>
          <a:effectRef idx="0">
            <a:schemeClr val="accent1"/>
          </a:effectRef>
          <a:fontRef idx="minor">
            <a:schemeClr val="tx1"/>
          </a:fontRef>
        </p:style>
      </p:cxnSp>
      <p:sp>
        <p:nvSpPr>
          <p:cNvPr id="469" name="TextBox 468">
            <a:extLst>
              <a:ext uri="{FF2B5EF4-FFF2-40B4-BE49-F238E27FC236}">
                <a16:creationId xmlns:a16="http://schemas.microsoft.com/office/drawing/2014/main" id="{FB13B1CD-1394-8F47-AE4C-DFCA2D870BA2}"/>
              </a:ext>
            </a:extLst>
          </p:cNvPr>
          <p:cNvSpPr txBox="1"/>
          <p:nvPr/>
        </p:nvSpPr>
        <p:spPr>
          <a:xfrm>
            <a:off x="4504966" y="750566"/>
            <a:ext cx="351379" cy="458757"/>
          </a:xfrm>
          <a:prstGeom prst="rect">
            <a:avLst/>
          </a:prstGeom>
          <a:noFill/>
        </p:spPr>
        <p:txBody>
          <a:bodyPr wrap="none" tIns="90000" bIns="90000" rtlCol="0" anchor="t">
            <a:spAutoFit/>
          </a:bodyPr>
          <a:lstStyle/>
          <a:p>
            <a:pPr algn="ctr"/>
            <a:r>
              <a:rPr lang="en-US" b="1" dirty="0">
                <a:solidFill>
                  <a:srgbClr val="002D72"/>
                </a:solidFill>
                <a:latin typeface="Arial" pitchFamily="34" charset="0"/>
                <a:cs typeface="Arial" pitchFamily="34" charset="0"/>
              </a:rPr>
              <a:t>B</a:t>
            </a:r>
          </a:p>
        </p:txBody>
      </p:sp>
      <p:cxnSp>
        <p:nvCxnSpPr>
          <p:cNvPr id="470" name="Elbow Connector 469">
            <a:extLst>
              <a:ext uri="{FF2B5EF4-FFF2-40B4-BE49-F238E27FC236}">
                <a16:creationId xmlns:a16="http://schemas.microsoft.com/office/drawing/2014/main" id="{8C1D477E-6334-8344-A7D0-030529AB1430}"/>
              </a:ext>
            </a:extLst>
          </p:cNvPr>
          <p:cNvCxnSpPr>
            <a:cxnSpLocks/>
            <a:stCxn id="441" idx="3"/>
            <a:endCxn id="469" idx="1"/>
          </p:cNvCxnSpPr>
          <p:nvPr/>
        </p:nvCxnSpPr>
        <p:spPr>
          <a:xfrm flipV="1">
            <a:off x="3752624" y="979945"/>
            <a:ext cx="752342" cy="210284"/>
          </a:xfrm>
          <a:prstGeom prst="bentConnector3">
            <a:avLst>
              <a:gd name="adj1" fmla="val 43923"/>
            </a:avLst>
          </a:prstGeom>
          <a:ln>
            <a:solidFill>
              <a:schemeClr val="bg1">
                <a:lumMod val="50000"/>
              </a:schemeClr>
            </a:solidFill>
            <a:headEnd type="oval"/>
            <a:tailEnd type="triangle"/>
          </a:ln>
        </p:spPr>
        <p:style>
          <a:lnRef idx="1">
            <a:schemeClr val="accent1"/>
          </a:lnRef>
          <a:fillRef idx="0">
            <a:schemeClr val="accent1"/>
          </a:fillRef>
          <a:effectRef idx="0">
            <a:schemeClr val="accent1"/>
          </a:effectRef>
          <a:fontRef idx="minor">
            <a:schemeClr val="tx1"/>
          </a:fontRef>
        </p:style>
      </p:cxnSp>
      <p:sp>
        <p:nvSpPr>
          <p:cNvPr id="682" name="Google Shape;61;p12">
            <a:extLst>
              <a:ext uri="{FF2B5EF4-FFF2-40B4-BE49-F238E27FC236}">
                <a16:creationId xmlns:a16="http://schemas.microsoft.com/office/drawing/2014/main" id="{629FB043-A370-3B4C-8A53-AB5C01B6F510}"/>
              </a:ext>
            </a:extLst>
          </p:cNvPr>
          <p:cNvSpPr txBox="1">
            <a:spLocks/>
          </p:cNvSpPr>
          <p:nvPr/>
        </p:nvSpPr>
        <p:spPr>
          <a:xfrm>
            <a:off x="3770118" y="767277"/>
            <a:ext cx="664851" cy="226959"/>
          </a:xfrm>
          <a:prstGeom prst="rect">
            <a:avLst/>
          </a:prstGeom>
        </p:spPr>
        <p:txBody>
          <a:bodyPr spcFirstLastPara="1" vert="horz" wrap="square" lIns="91425" tIns="91425" rIns="91425" bIns="91425" rtlCol="0" anchor="ctr"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spcBef>
                <a:spcPts val="0"/>
              </a:spcBef>
            </a:pPr>
            <a:r>
              <a:rPr lang="en-US" sz="700" dirty="0">
                <a:solidFill>
                  <a:srgbClr val="C5277F"/>
                </a:solidFill>
                <a:effectLst>
                  <a:outerShdw blurRad="50800" dist="50800" dir="5400000" algn="ctr" rotWithShape="0">
                    <a:srgbClr val="000000">
                      <a:alpha val="0"/>
                    </a:srgbClr>
                  </a:outerShdw>
                  <a:reflection endPos="0" dist="50800" dir="5400000" sy="-100000" algn="bl" rotWithShape="0"/>
                </a:effectLst>
                <a:ea typeface="Nanum Pen Script" panose="03040600000000000000" pitchFamily="66" charset="-127"/>
                <a:cs typeface="Arial" panose="020B0604020202020204" pitchFamily="34" charset="0"/>
              </a:rPr>
              <a:t>&lt;&lt; uses &gt;&gt;</a:t>
            </a:r>
          </a:p>
        </p:txBody>
      </p:sp>
      <p:grpSp>
        <p:nvGrpSpPr>
          <p:cNvPr id="2" name="Group 1">
            <a:extLst>
              <a:ext uri="{FF2B5EF4-FFF2-40B4-BE49-F238E27FC236}">
                <a16:creationId xmlns:a16="http://schemas.microsoft.com/office/drawing/2014/main" id="{8337BF53-0B1B-CC48-A940-62A4013FFA3F}"/>
              </a:ext>
            </a:extLst>
          </p:cNvPr>
          <p:cNvGrpSpPr/>
          <p:nvPr/>
        </p:nvGrpSpPr>
        <p:grpSpPr>
          <a:xfrm>
            <a:off x="3534322" y="997306"/>
            <a:ext cx="204300" cy="184666"/>
            <a:chOff x="2219869" y="1028158"/>
            <a:chExt cx="229951" cy="254124"/>
          </a:xfrm>
        </p:grpSpPr>
        <p:sp>
          <p:nvSpPr>
            <p:cNvPr id="313" name="Google Shape;431;p39">
              <a:extLst>
                <a:ext uri="{FF2B5EF4-FFF2-40B4-BE49-F238E27FC236}">
                  <a16:creationId xmlns:a16="http://schemas.microsoft.com/office/drawing/2014/main" id="{88DF6B14-D3B1-1946-AF6E-7CCA6E095330}"/>
                </a:ext>
              </a:extLst>
            </p:cNvPr>
            <p:cNvSpPr/>
            <p:nvPr/>
          </p:nvSpPr>
          <p:spPr>
            <a:xfrm>
              <a:off x="2259435" y="1076105"/>
              <a:ext cx="179407" cy="167874"/>
            </a:xfrm>
            <a:custGeom>
              <a:avLst/>
              <a:gdLst/>
              <a:ahLst/>
              <a:cxnLst/>
              <a:rect l="0" t="0" r="0" b="0"/>
              <a:pathLst>
                <a:path w="67641" h="69056" extrusionOk="0">
                  <a:moveTo>
                    <a:pt x="49622" y="2736"/>
                  </a:moveTo>
                  <a:lnTo>
                    <a:pt x="49622" y="2736"/>
                  </a:lnTo>
                  <a:lnTo>
                    <a:pt x="49622" y="2736"/>
                  </a:lnTo>
                  <a:close/>
                  <a:moveTo>
                    <a:pt x="59622" y="55565"/>
                  </a:moveTo>
                  <a:lnTo>
                    <a:pt x="59622" y="55565"/>
                  </a:lnTo>
                  <a:lnTo>
                    <a:pt x="59622" y="55565"/>
                  </a:lnTo>
                  <a:close/>
                  <a:moveTo>
                    <a:pt x="35471" y="0"/>
                  </a:moveTo>
                  <a:lnTo>
                    <a:pt x="34433" y="95"/>
                  </a:lnTo>
                  <a:lnTo>
                    <a:pt x="33584" y="189"/>
                  </a:lnTo>
                  <a:lnTo>
                    <a:pt x="32735" y="378"/>
                  </a:lnTo>
                  <a:lnTo>
                    <a:pt x="32169" y="566"/>
                  </a:lnTo>
                  <a:lnTo>
                    <a:pt x="31509" y="472"/>
                  </a:lnTo>
                  <a:lnTo>
                    <a:pt x="30754" y="472"/>
                  </a:lnTo>
                  <a:lnTo>
                    <a:pt x="29339" y="566"/>
                  </a:lnTo>
                  <a:lnTo>
                    <a:pt x="27830" y="849"/>
                  </a:lnTo>
                  <a:lnTo>
                    <a:pt x="26320" y="1321"/>
                  </a:lnTo>
                  <a:lnTo>
                    <a:pt x="24811" y="1981"/>
                  </a:lnTo>
                  <a:lnTo>
                    <a:pt x="23207" y="2736"/>
                  </a:lnTo>
                  <a:lnTo>
                    <a:pt x="21698" y="3585"/>
                  </a:lnTo>
                  <a:lnTo>
                    <a:pt x="20188" y="4623"/>
                  </a:lnTo>
                  <a:lnTo>
                    <a:pt x="18679" y="5661"/>
                  </a:lnTo>
                  <a:lnTo>
                    <a:pt x="17170" y="6793"/>
                  </a:lnTo>
                  <a:lnTo>
                    <a:pt x="15754" y="8019"/>
                  </a:lnTo>
                  <a:lnTo>
                    <a:pt x="14434" y="9151"/>
                  </a:lnTo>
                  <a:lnTo>
                    <a:pt x="11981" y="11510"/>
                  </a:lnTo>
                  <a:lnTo>
                    <a:pt x="10000" y="13774"/>
                  </a:lnTo>
                  <a:lnTo>
                    <a:pt x="7736" y="16981"/>
                  </a:lnTo>
                  <a:lnTo>
                    <a:pt x="8019" y="16321"/>
                  </a:lnTo>
                  <a:lnTo>
                    <a:pt x="8302" y="15660"/>
                  </a:lnTo>
                  <a:lnTo>
                    <a:pt x="7736" y="16604"/>
                  </a:lnTo>
                  <a:lnTo>
                    <a:pt x="7075" y="17642"/>
                  </a:lnTo>
                  <a:lnTo>
                    <a:pt x="7170" y="17830"/>
                  </a:lnTo>
                  <a:lnTo>
                    <a:pt x="6509" y="18868"/>
                  </a:lnTo>
                  <a:lnTo>
                    <a:pt x="7075" y="17359"/>
                  </a:lnTo>
                  <a:lnTo>
                    <a:pt x="6132" y="19057"/>
                  </a:lnTo>
                  <a:lnTo>
                    <a:pt x="5189" y="20849"/>
                  </a:lnTo>
                  <a:lnTo>
                    <a:pt x="4434" y="22736"/>
                  </a:lnTo>
                  <a:lnTo>
                    <a:pt x="3679" y="24622"/>
                  </a:lnTo>
                  <a:lnTo>
                    <a:pt x="2453" y="28490"/>
                  </a:lnTo>
                  <a:lnTo>
                    <a:pt x="1321" y="32169"/>
                  </a:lnTo>
                  <a:lnTo>
                    <a:pt x="1509" y="32264"/>
                  </a:lnTo>
                  <a:lnTo>
                    <a:pt x="1604" y="32453"/>
                  </a:lnTo>
                  <a:lnTo>
                    <a:pt x="1604" y="32641"/>
                  </a:lnTo>
                  <a:lnTo>
                    <a:pt x="1509" y="32924"/>
                  </a:lnTo>
                  <a:lnTo>
                    <a:pt x="1226" y="33396"/>
                  </a:lnTo>
                  <a:lnTo>
                    <a:pt x="1038" y="33585"/>
                  </a:lnTo>
                  <a:lnTo>
                    <a:pt x="1038" y="33773"/>
                  </a:lnTo>
                  <a:lnTo>
                    <a:pt x="1038" y="35000"/>
                  </a:lnTo>
                  <a:lnTo>
                    <a:pt x="849" y="36132"/>
                  </a:lnTo>
                  <a:lnTo>
                    <a:pt x="660" y="37358"/>
                  </a:lnTo>
                  <a:lnTo>
                    <a:pt x="472" y="38867"/>
                  </a:lnTo>
                  <a:lnTo>
                    <a:pt x="283" y="38301"/>
                  </a:lnTo>
                  <a:lnTo>
                    <a:pt x="94" y="39811"/>
                  </a:lnTo>
                  <a:lnTo>
                    <a:pt x="0" y="41509"/>
                  </a:lnTo>
                  <a:lnTo>
                    <a:pt x="94" y="43301"/>
                  </a:lnTo>
                  <a:lnTo>
                    <a:pt x="283" y="44056"/>
                  </a:lnTo>
                  <a:lnTo>
                    <a:pt x="472" y="44622"/>
                  </a:lnTo>
                  <a:lnTo>
                    <a:pt x="566" y="45660"/>
                  </a:lnTo>
                  <a:lnTo>
                    <a:pt x="755" y="46792"/>
                  </a:lnTo>
                  <a:lnTo>
                    <a:pt x="1226" y="48962"/>
                  </a:lnTo>
                  <a:lnTo>
                    <a:pt x="1981" y="51037"/>
                  </a:lnTo>
                  <a:lnTo>
                    <a:pt x="2924" y="53112"/>
                  </a:lnTo>
                  <a:lnTo>
                    <a:pt x="4057" y="55094"/>
                  </a:lnTo>
                  <a:lnTo>
                    <a:pt x="5283" y="56980"/>
                  </a:lnTo>
                  <a:lnTo>
                    <a:pt x="6698" y="58678"/>
                  </a:lnTo>
                  <a:lnTo>
                    <a:pt x="8113" y="60282"/>
                  </a:lnTo>
                  <a:lnTo>
                    <a:pt x="9056" y="61131"/>
                  </a:lnTo>
                  <a:lnTo>
                    <a:pt x="10000" y="61980"/>
                  </a:lnTo>
                  <a:lnTo>
                    <a:pt x="11038" y="62829"/>
                  </a:lnTo>
                  <a:lnTo>
                    <a:pt x="12075" y="63584"/>
                  </a:lnTo>
                  <a:lnTo>
                    <a:pt x="14339" y="64905"/>
                  </a:lnTo>
                  <a:lnTo>
                    <a:pt x="16604" y="66131"/>
                  </a:lnTo>
                  <a:lnTo>
                    <a:pt x="19056" y="67169"/>
                  </a:lnTo>
                  <a:lnTo>
                    <a:pt x="21509" y="67923"/>
                  </a:lnTo>
                  <a:lnTo>
                    <a:pt x="24056" y="68584"/>
                  </a:lnTo>
                  <a:lnTo>
                    <a:pt x="26603" y="69055"/>
                  </a:lnTo>
                  <a:lnTo>
                    <a:pt x="27830" y="69055"/>
                  </a:lnTo>
                  <a:lnTo>
                    <a:pt x="30188" y="68867"/>
                  </a:lnTo>
                  <a:lnTo>
                    <a:pt x="33113" y="68678"/>
                  </a:lnTo>
                  <a:lnTo>
                    <a:pt x="36509" y="68301"/>
                  </a:lnTo>
                  <a:lnTo>
                    <a:pt x="39811" y="67923"/>
                  </a:lnTo>
                  <a:lnTo>
                    <a:pt x="42735" y="67452"/>
                  </a:lnTo>
                  <a:lnTo>
                    <a:pt x="44905" y="66980"/>
                  </a:lnTo>
                  <a:lnTo>
                    <a:pt x="45565" y="66791"/>
                  </a:lnTo>
                  <a:lnTo>
                    <a:pt x="45943" y="66508"/>
                  </a:lnTo>
                  <a:lnTo>
                    <a:pt x="47358" y="65942"/>
                  </a:lnTo>
                  <a:lnTo>
                    <a:pt x="48018" y="65565"/>
                  </a:lnTo>
                  <a:lnTo>
                    <a:pt x="48678" y="65188"/>
                  </a:lnTo>
                  <a:lnTo>
                    <a:pt x="47924" y="65471"/>
                  </a:lnTo>
                  <a:lnTo>
                    <a:pt x="51509" y="62924"/>
                  </a:lnTo>
                  <a:lnTo>
                    <a:pt x="53301" y="61508"/>
                  </a:lnTo>
                  <a:lnTo>
                    <a:pt x="55093" y="59905"/>
                  </a:lnTo>
                  <a:lnTo>
                    <a:pt x="55093" y="59905"/>
                  </a:lnTo>
                  <a:lnTo>
                    <a:pt x="54810" y="60376"/>
                  </a:lnTo>
                  <a:lnTo>
                    <a:pt x="54339" y="60754"/>
                  </a:lnTo>
                  <a:lnTo>
                    <a:pt x="55376" y="59999"/>
                  </a:lnTo>
                  <a:lnTo>
                    <a:pt x="56320" y="59056"/>
                  </a:lnTo>
                  <a:lnTo>
                    <a:pt x="57075" y="58395"/>
                  </a:lnTo>
                  <a:lnTo>
                    <a:pt x="57169" y="58207"/>
                  </a:lnTo>
                  <a:lnTo>
                    <a:pt x="57075" y="58207"/>
                  </a:lnTo>
                  <a:lnTo>
                    <a:pt x="57924" y="57546"/>
                  </a:lnTo>
                  <a:lnTo>
                    <a:pt x="58678" y="56697"/>
                  </a:lnTo>
                  <a:lnTo>
                    <a:pt x="59339" y="55754"/>
                  </a:lnTo>
                  <a:lnTo>
                    <a:pt x="59905" y="54905"/>
                  </a:lnTo>
                  <a:lnTo>
                    <a:pt x="59716" y="54999"/>
                  </a:lnTo>
                  <a:lnTo>
                    <a:pt x="59622" y="54999"/>
                  </a:lnTo>
                  <a:lnTo>
                    <a:pt x="59810" y="54622"/>
                  </a:lnTo>
                  <a:lnTo>
                    <a:pt x="59150" y="55565"/>
                  </a:lnTo>
                  <a:lnTo>
                    <a:pt x="59527" y="55094"/>
                  </a:lnTo>
                  <a:lnTo>
                    <a:pt x="59433" y="55377"/>
                  </a:lnTo>
                  <a:lnTo>
                    <a:pt x="58867" y="56037"/>
                  </a:lnTo>
                  <a:lnTo>
                    <a:pt x="59056" y="55660"/>
                  </a:lnTo>
                  <a:lnTo>
                    <a:pt x="59056" y="55660"/>
                  </a:lnTo>
                  <a:lnTo>
                    <a:pt x="58678" y="56037"/>
                  </a:lnTo>
                  <a:lnTo>
                    <a:pt x="59810" y="54339"/>
                  </a:lnTo>
                  <a:lnTo>
                    <a:pt x="60282" y="53490"/>
                  </a:lnTo>
                  <a:lnTo>
                    <a:pt x="60282" y="53301"/>
                  </a:lnTo>
                  <a:lnTo>
                    <a:pt x="60188" y="53395"/>
                  </a:lnTo>
                  <a:lnTo>
                    <a:pt x="60188" y="53395"/>
                  </a:lnTo>
                  <a:lnTo>
                    <a:pt x="60565" y="52924"/>
                  </a:lnTo>
                  <a:lnTo>
                    <a:pt x="61037" y="52452"/>
                  </a:lnTo>
                  <a:lnTo>
                    <a:pt x="61886" y="51509"/>
                  </a:lnTo>
                  <a:lnTo>
                    <a:pt x="61508" y="52452"/>
                  </a:lnTo>
                  <a:lnTo>
                    <a:pt x="60848" y="53584"/>
                  </a:lnTo>
                  <a:lnTo>
                    <a:pt x="59622" y="55565"/>
                  </a:lnTo>
                  <a:lnTo>
                    <a:pt x="60376" y="54528"/>
                  </a:lnTo>
                  <a:lnTo>
                    <a:pt x="60942" y="53678"/>
                  </a:lnTo>
                  <a:lnTo>
                    <a:pt x="61980" y="51792"/>
                  </a:lnTo>
                  <a:lnTo>
                    <a:pt x="61886" y="51886"/>
                  </a:lnTo>
                  <a:lnTo>
                    <a:pt x="61886" y="51697"/>
                  </a:lnTo>
                  <a:lnTo>
                    <a:pt x="62169" y="51037"/>
                  </a:lnTo>
                  <a:lnTo>
                    <a:pt x="62735" y="49999"/>
                  </a:lnTo>
                  <a:lnTo>
                    <a:pt x="61508" y="51603"/>
                  </a:lnTo>
                  <a:lnTo>
                    <a:pt x="61603" y="51037"/>
                  </a:lnTo>
                  <a:lnTo>
                    <a:pt x="61697" y="50377"/>
                  </a:lnTo>
                  <a:lnTo>
                    <a:pt x="62169" y="48962"/>
                  </a:lnTo>
                  <a:lnTo>
                    <a:pt x="62829" y="47358"/>
                  </a:lnTo>
                  <a:lnTo>
                    <a:pt x="63678" y="45565"/>
                  </a:lnTo>
                  <a:lnTo>
                    <a:pt x="65376" y="42169"/>
                  </a:lnTo>
                  <a:lnTo>
                    <a:pt x="66131" y="40660"/>
                  </a:lnTo>
                  <a:lnTo>
                    <a:pt x="66697" y="39339"/>
                  </a:lnTo>
                  <a:lnTo>
                    <a:pt x="66603" y="39528"/>
                  </a:lnTo>
                  <a:lnTo>
                    <a:pt x="66697" y="39056"/>
                  </a:lnTo>
                  <a:lnTo>
                    <a:pt x="66791" y="38962"/>
                  </a:lnTo>
                  <a:lnTo>
                    <a:pt x="66791" y="39056"/>
                  </a:lnTo>
                  <a:lnTo>
                    <a:pt x="66886" y="38584"/>
                  </a:lnTo>
                  <a:lnTo>
                    <a:pt x="66791" y="38867"/>
                  </a:lnTo>
                  <a:lnTo>
                    <a:pt x="66980" y="38207"/>
                  </a:lnTo>
                  <a:lnTo>
                    <a:pt x="67169" y="37264"/>
                  </a:lnTo>
                  <a:lnTo>
                    <a:pt x="67263" y="36415"/>
                  </a:lnTo>
                  <a:lnTo>
                    <a:pt x="67357" y="36509"/>
                  </a:lnTo>
                  <a:lnTo>
                    <a:pt x="67452" y="36509"/>
                  </a:lnTo>
                  <a:lnTo>
                    <a:pt x="67546" y="35943"/>
                  </a:lnTo>
                  <a:lnTo>
                    <a:pt x="67546" y="34811"/>
                  </a:lnTo>
                  <a:lnTo>
                    <a:pt x="67640" y="31037"/>
                  </a:lnTo>
                  <a:lnTo>
                    <a:pt x="67640" y="28490"/>
                  </a:lnTo>
                  <a:lnTo>
                    <a:pt x="67546" y="27736"/>
                  </a:lnTo>
                  <a:lnTo>
                    <a:pt x="67546" y="27547"/>
                  </a:lnTo>
                  <a:lnTo>
                    <a:pt x="67452" y="27547"/>
                  </a:lnTo>
                  <a:lnTo>
                    <a:pt x="67074" y="26792"/>
                  </a:lnTo>
                  <a:lnTo>
                    <a:pt x="66791" y="25660"/>
                  </a:lnTo>
                  <a:lnTo>
                    <a:pt x="66508" y="24528"/>
                  </a:lnTo>
                  <a:lnTo>
                    <a:pt x="66414" y="23585"/>
                  </a:lnTo>
                  <a:lnTo>
                    <a:pt x="66320" y="23679"/>
                  </a:lnTo>
                  <a:lnTo>
                    <a:pt x="66320" y="23490"/>
                  </a:lnTo>
                  <a:lnTo>
                    <a:pt x="65942" y="22924"/>
                  </a:lnTo>
                  <a:lnTo>
                    <a:pt x="65565" y="22358"/>
                  </a:lnTo>
                  <a:lnTo>
                    <a:pt x="64527" y="21132"/>
                  </a:lnTo>
                  <a:lnTo>
                    <a:pt x="63584" y="19906"/>
                  </a:lnTo>
                  <a:lnTo>
                    <a:pt x="63207" y="19340"/>
                  </a:lnTo>
                  <a:lnTo>
                    <a:pt x="63018" y="18774"/>
                  </a:lnTo>
                  <a:lnTo>
                    <a:pt x="63112" y="18962"/>
                  </a:lnTo>
                  <a:lnTo>
                    <a:pt x="63301" y="19057"/>
                  </a:lnTo>
                  <a:lnTo>
                    <a:pt x="63301" y="19057"/>
                  </a:lnTo>
                  <a:lnTo>
                    <a:pt x="63207" y="18868"/>
                  </a:lnTo>
                  <a:lnTo>
                    <a:pt x="62923" y="18491"/>
                  </a:lnTo>
                  <a:lnTo>
                    <a:pt x="61980" y="17453"/>
                  </a:lnTo>
                  <a:lnTo>
                    <a:pt x="61037" y="16509"/>
                  </a:lnTo>
                  <a:lnTo>
                    <a:pt x="61037" y="16698"/>
                  </a:lnTo>
                  <a:lnTo>
                    <a:pt x="61037" y="16887"/>
                  </a:lnTo>
                  <a:lnTo>
                    <a:pt x="60093" y="15943"/>
                  </a:lnTo>
                  <a:lnTo>
                    <a:pt x="60376" y="16321"/>
                  </a:lnTo>
                  <a:lnTo>
                    <a:pt x="59527" y="15377"/>
                  </a:lnTo>
                  <a:lnTo>
                    <a:pt x="59056" y="14906"/>
                  </a:lnTo>
                  <a:lnTo>
                    <a:pt x="59244" y="14906"/>
                  </a:lnTo>
                  <a:lnTo>
                    <a:pt x="59905" y="15472"/>
                  </a:lnTo>
                  <a:lnTo>
                    <a:pt x="59905" y="15472"/>
                  </a:lnTo>
                  <a:lnTo>
                    <a:pt x="57641" y="13396"/>
                  </a:lnTo>
                  <a:lnTo>
                    <a:pt x="58112" y="13868"/>
                  </a:lnTo>
                  <a:lnTo>
                    <a:pt x="56886" y="13019"/>
                  </a:lnTo>
                  <a:lnTo>
                    <a:pt x="55754" y="12453"/>
                  </a:lnTo>
                  <a:lnTo>
                    <a:pt x="56603" y="13113"/>
                  </a:lnTo>
                  <a:lnTo>
                    <a:pt x="57452" y="13774"/>
                  </a:lnTo>
                  <a:lnTo>
                    <a:pt x="58961" y="15283"/>
                  </a:lnTo>
                  <a:lnTo>
                    <a:pt x="60376" y="16604"/>
                  </a:lnTo>
                  <a:lnTo>
                    <a:pt x="61225" y="17264"/>
                  </a:lnTo>
                  <a:lnTo>
                    <a:pt x="62074" y="17925"/>
                  </a:lnTo>
                  <a:lnTo>
                    <a:pt x="62074" y="17925"/>
                  </a:lnTo>
                  <a:lnTo>
                    <a:pt x="61414" y="17547"/>
                  </a:lnTo>
                  <a:lnTo>
                    <a:pt x="60659" y="16981"/>
                  </a:lnTo>
                  <a:lnTo>
                    <a:pt x="60754" y="17264"/>
                  </a:lnTo>
                  <a:lnTo>
                    <a:pt x="60942" y="17642"/>
                  </a:lnTo>
                  <a:lnTo>
                    <a:pt x="61980" y="19151"/>
                  </a:lnTo>
                  <a:lnTo>
                    <a:pt x="63301" y="20943"/>
                  </a:lnTo>
                  <a:lnTo>
                    <a:pt x="63207" y="20943"/>
                  </a:lnTo>
                  <a:lnTo>
                    <a:pt x="63395" y="21038"/>
                  </a:lnTo>
                  <a:lnTo>
                    <a:pt x="63490" y="21321"/>
                  </a:lnTo>
                  <a:lnTo>
                    <a:pt x="63678" y="21604"/>
                  </a:lnTo>
                  <a:lnTo>
                    <a:pt x="63773" y="21698"/>
                  </a:lnTo>
                  <a:lnTo>
                    <a:pt x="63584" y="21321"/>
                  </a:lnTo>
                  <a:lnTo>
                    <a:pt x="63584" y="21321"/>
                  </a:lnTo>
                  <a:lnTo>
                    <a:pt x="64244" y="22170"/>
                  </a:lnTo>
                  <a:lnTo>
                    <a:pt x="64716" y="22641"/>
                  </a:lnTo>
                  <a:lnTo>
                    <a:pt x="64905" y="22830"/>
                  </a:lnTo>
                  <a:lnTo>
                    <a:pt x="64999" y="22830"/>
                  </a:lnTo>
                  <a:lnTo>
                    <a:pt x="64999" y="22641"/>
                  </a:lnTo>
                  <a:lnTo>
                    <a:pt x="64905" y="22358"/>
                  </a:lnTo>
                  <a:lnTo>
                    <a:pt x="65282" y="23207"/>
                  </a:lnTo>
                  <a:lnTo>
                    <a:pt x="65565" y="24056"/>
                  </a:lnTo>
                  <a:lnTo>
                    <a:pt x="66225" y="25943"/>
                  </a:lnTo>
                  <a:lnTo>
                    <a:pt x="66697" y="27830"/>
                  </a:lnTo>
                  <a:lnTo>
                    <a:pt x="66886" y="28490"/>
                  </a:lnTo>
                  <a:lnTo>
                    <a:pt x="66980" y="28868"/>
                  </a:lnTo>
                  <a:lnTo>
                    <a:pt x="66886" y="28962"/>
                  </a:lnTo>
                  <a:lnTo>
                    <a:pt x="66697" y="28679"/>
                  </a:lnTo>
                  <a:lnTo>
                    <a:pt x="66697" y="29245"/>
                  </a:lnTo>
                  <a:lnTo>
                    <a:pt x="66791" y="29905"/>
                  </a:lnTo>
                  <a:lnTo>
                    <a:pt x="66886" y="29905"/>
                  </a:lnTo>
                  <a:lnTo>
                    <a:pt x="66886" y="30094"/>
                  </a:lnTo>
                  <a:lnTo>
                    <a:pt x="66886" y="30566"/>
                  </a:lnTo>
                  <a:lnTo>
                    <a:pt x="66697" y="30377"/>
                  </a:lnTo>
                  <a:lnTo>
                    <a:pt x="66603" y="30188"/>
                  </a:lnTo>
                  <a:lnTo>
                    <a:pt x="66603" y="30094"/>
                  </a:lnTo>
                  <a:lnTo>
                    <a:pt x="66697" y="29905"/>
                  </a:lnTo>
                  <a:lnTo>
                    <a:pt x="66508" y="28679"/>
                  </a:lnTo>
                  <a:lnTo>
                    <a:pt x="66225" y="27358"/>
                  </a:lnTo>
                  <a:lnTo>
                    <a:pt x="66603" y="30283"/>
                  </a:lnTo>
                  <a:lnTo>
                    <a:pt x="66697" y="31792"/>
                  </a:lnTo>
                  <a:lnTo>
                    <a:pt x="66697" y="33302"/>
                  </a:lnTo>
                  <a:lnTo>
                    <a:pt x="66603" y="34717"/>
                  </a:lnTo>
                  <a:lnTo>
                    <a:pt x="66414" y="36226"/>
                  </a:lnTo>
                  <a:lnTo>
                    <a:pt x="66131" y="37547"/>
                  </a:lnTo>
                  <a:lnTo>
                    <a:pt x="65659" y="38962"/>
                  </a:lnTo>
                  <a:lnTo>
                    <a:pt x="65848" y="38584"/>
                  </a:lnTo>
                  <a:lnTo>
                    <a:pt x="65942" y="38584"/>
                  </a:lnTo>
                  <a:lnTo>
                    <a:pt x="65848" y="39245"/>
                  </a:lnTo>
                  <a:lnTo>
                    <a:pt x="65565" y="40188"/>
                  </a:lnTo>
                  <a:lnTo>
                    <a:pt x="65471" y="40471"/>
                  </a:lnTo>
                  <a:lnTo>
                    <a:pt x="65282" y="40660"/>
                  </a:lnTo>
                  <a:lnTo>
                    <a:pt x="65282" y="40566"/>
                  </a:lnTo>
                  <a:lnTo>
                    <a:pt x="65093" y="41132"/>
                  </a:lnTo>
                  <a:lnTo>
                    <a:pt x="64433" y="43018"/>
                  </a:lnTo>
                  <a:lnTo>
                    <a:pt x="63678" y="45282"/>
                  </a:lnTo>
                  <a:lnTo>
                    <a:pt x="62735" y="47264"/>
                  </a:lnTo>
                  <a:lnTo>
                    <a:pt x="61697" y="49056"/>
                  </a:lnTo>
                  <a:lnTo>
                    <a:pt x="60659" y="50943"/>
                  </a:lnTo>
                  <a:lnTo>
                    <a:pt x="59433" y="52735"/>
                  </a:lnTo>
                  <a:lnTo>
                    <a:pt x="58207" y="54433"/>
                  </a:lnTo>
                  <a:lnTo>
                    <a:pt x="56886" y="56037"/>
                  </a:lnTo>
                  <a:lnTo>
                    <a:pt x="55376" y="57641"/>
                  </a:lnTo>
                  <a:lnTo>
                    <a:pt x="53867" y="59150"/>
                  </a:lnTo>
                  <a:lnTo>
                    <a:pt x="52169" y="60376"/>
                  </a:lnTo>
                  <a:lnTo>
                    <a:pt x="48961" y="62452"/>
                  </a:lnTo>
                  <a:lnTo>
                    <a:pt x="44528" y="65282"/>
                  </a:lnTo>
                  <a:lnTo>
                    <a:pt x="44622" y="65188"/>
                  </a:lnTo>
                  <a:lnTo>
                    <a:pt x="44716" y="65093"/>
                  </a:lnTo>
                  <a:lnTo>
                    <a:pt x="45094" y="64810"/>
                  </a:lnTo>
                  <a:lnTo>
                    <a:pt x="45660" y="64527"/>
                  </a:lnTo>
                  <a:lnTo>
                    <a:pt x="43867" y="65376"/>
                  </a:lnTo>
                  <a:lnTo>
                    <a:pt x="43113" y="65754"/>
                  </a:lnTo>
                  <a:lnTo>
                    <a:pt x="42924" y="65754"/>
                  </a:lnTo>
                  <a:lnTo>
                    <a:pt x="43113" y="65659"/>
                  </a:lnTo>
                  <a:lnTo>
                    <a:pt x="41603" y="66037"/>
                  </a:lnTo>
                  <a:lnTo>
                    <a:pt x="39999" y="66320"/>
                  </a:lnTo>
                  <a:lnTo>
                    <a:pt x="38396" y="66508"/>
                  </a:lnTo>
                  <a:lnTo>
                    <a:pt x="36792" y="66697"/>
                  </a:lnTo>
                  <a:lnTo>
                    <a:pt x="33584" y="66980"/>
                  </a:lnTo>
                  <a:lnTo>
                    <a:pt x="32169" y="67169"/>
                  </a:lnTo>
                  <a:lnTo>
                    <a:pt x="30754" y="67357"/>
                  </a:lnTo>
                  <a:lnTo>
                    <a:pt x="30094" y="67357"/>
                  </a:lnTo>
                  <a:lnTo>
                    <a:pt x="29339" y="67263"/>
                  </a:lnTo>
                  <a:lnTo>
                    <a:pt x="27830" y="66886"/>
                  </a:lnTo>
                  <a:lnTo>
                    <a:pt x="26415" y="66508"/>
                  </a:lnTo>
                  <a:lnTo>
                    <a:pt x="25754" y="66414"/>
                  </a:lnTo>
                  <a:lnTo>
                    <a:pt x="25094" y="66414"/>
                  </a:lnTo>
                  <a:lnTo>
                    <a:pt x="25566" y="66980"/>
                  </a:lnTo>
                  <a:lnTo>
                    <a:pt x="25471" y="67074"/>
                  </a:lnTo>
                  <a:lnTo>
                    <a:pt x="25188" y="66980"/>
                  </a:lnTo>
                  <a:lnTo>
                    <a:pt x="24339" y="66791"/>
                  </a:lnTo>
                  <a:lnTo>
                    <a:pt x="23773" y="66508"/>
                  </a:lnTo>
                  <a:lnTo>
                    <a:pt x="24245" y="66414"/>
                  </a:lnTo>
                  <a:lnTo>
                    <a:pt x="24717" y="66603"/>
                  </a:lnTo>
                  <a:lnTo>
                    <a:pt x="24811" y="66414"/>
                  </a:lnTo>
                  <a:lnTo>
                    <a:pt x="24811" y="66320"/>
                  </a:lnTo>
                  <a:lnTo>
                    <a:pt x="24717" y="66225"/>
                  </a:lnTo>
                  <a:lnTo>
                    <a:pt x="24528" y="66131"/>
                  </a:lnTo>
                  <a:lnTo>
                    <a:pt x="24151" y="66225"/>
                  </a:lnTo>
                  <a:lnTo>
                    <a:pt x="23679" y="66320"/>
                  </a:lnTo>
                  <a:lnTo>
                    <a:pt x="23018" y="66414"/>
                  </a:lnTo>
                  <a:lnTo>
                    <a:pt x="23490" y="66225"/>
                  </a:lnTo>
                  <a:lnTo>
                    <a:pt x="22075" y="65942"/>
                  </a:lnTo>
                  <a:lnTo>
                    <a:pt x="20943" y="65659"/>
                  </a:lnTo>
                  <a:lnTo>
                    <a:pt x="20000" y="65282"/>
                  </a:lnTo>
                  <a:lnTo>
                    <a:pt x="19056" y="64810"/>
                  </a:lnTo>
                  <a:lnTo>
                    <a:pt x="19056" y="64810"/>
                  </a:lnTo>
                  <a:lnTo>
                    <a:pt x="19717" y="64999"/>
                  </a:lnTo>
                  <a:lnTo>
                    <a:pt x="19151" y="64716"/>
                  </a:lnTo>
                  <a:lnTo>
                    <a:pt x="18962" y="64810"/>
                  </a:lnTo>
                  <a:lnTo>
                    <a:pt x="19151" y="64905"/>
                  </a:lnTo>
                  <a:lnTo>
                    <a:pt x="18490" y="64905"/>
                  </a:lnTo>
                  <a:lnTo>
                    <a:pt x="17830" y="64716"/>
                  </a:lnTo>
                  <a:lnTo>
                    <a:pt x="17264" y="64527"/>
                  </a:lnTo>
                  <a:lnTo>
                    <a:pt x="16698" y="64150"/>
                  </a:lnTo>
                  <a:lnTo>
                    <a:pt x="16981" y="64056"/>
                  </a:lnTo>
                  <a:lnTo>
                    <a:pt x="17264" y="64150"/>
                  </a:lnTo>
                  <a:lnTo>
                    <a:pt x="17264" y="64150"/>
                  </a:lnTo>
                  <a:lnTo>
                    <a:pt x="15188" y="63207"/>
                  </a:lnTo>
                  <a:lnTo>
                    <a:pt x="14622" y="62829"/>
                  </a:lnTo>
                  <a:lnTo>
                    <a:pt x="14717" y="62924"/>
                  </a:lnTo>
                  <a:lnTo>
                    <a:pt x="13773" y="62546"/>
                  </a:lnTo>
                  <a:lnTo>
                    <a:pt x="12924" y="62075"/>
                  </a:lnTo>
                  <a:lnTo>
                    <a:pt x="12358" y="61697"/>
                  </a:lnTo>
                  <a:lnTo>
                    <a:pt x="12264" y="61508"/>
                  </a:lnTo>
                  <a:lnTo>
                    <a:pt x="12170" y="61320"/>
                  </a:lnTo>
                  <a:lnTo>
                    <a:pt x="11698" y="60942"/>
                  </a:lnTo>
                  <a:lnTo>
                    <a:pt x="11132" y="60471"/>
                  </a:lnTo>
                  <a:lnTo>
                    <a:pt x="9906" y="59244"/>
                  </a:lnTo>
                  <a:lnTo>
                    <a:pt x="9906" y="59244"/>
                  </a:lnTo>
                  <a:lnTo>
                    <a:pt x="10566" y="59527"/>
                  </a:lnTo>
                  <a:lnTo>
                    <a:pt x="9434" y="58584"/>
                  </a:lnTo>
                  <a:lnTo>
                    <a:pt x="8207" y="57546"/>
                  </a:lnTo>
                  <a:lnTo>
                    <a:pt x="7547" y="56886"/>
                  </a:lnTo>
                  <a:lnTo>
                    <a:pt x="6981" y="56131"/>
                  </a:lnTo>
                  <a:lnTo>
                    <a:pt x="6226" y="55094"/>
                  </a:lnTo>
                  <a:lnTo>
                    <a:pt x="6415" y="55377"/>
                  </a:lnTo>
                  <a:lnTo>
                    <a:pt x="6038" y="54905"/>
                  </a:lnTo>
                  <a:lnTo>
                    <a:pt x="5472" y="54244"/>
                  </a:lnTo>
                  <a:lnTo>
                    <a:pt x="5283" y="53961"/>
                  </a:lnTo>
                  <a:lnTo>
                    <a:pt x="5094" y="53867"/>
                  </a:lnTo>
                  <a:lnTo>
                    <a:pt x="5377" y="54622"/>
                  </a:lnTo>
                  <a:lnTo>
                    <a:pt x="5849" y="55282"/>
                  </a:lnTo>
                  <a:lnTo>
                    <a:pt x="6321" y="55943"/>
                  </a:lnTo>
                  <a:lnTo>
                    <a:pt x="6698" y="56603"/>
                  </a:lnTo>
                  <a:lnTo>
                    <a:pt x="6226" y="56226"/>
                  </a:lnTo>
                  <a:lnTo>
                    <a:pt x="5943" y="55848"/>
                  </a:lnTo>
                  <a:lnTo>
                    <a:pt x="6038" y="56037"/>
                  </a:lnTo>
                  <a:lnTo>
                    <a:pt x="5943" y="55943"/>
                  </a:lnTo>
                  <a:lnTo>
                    <a:pt x="5377" y="55188"/>
                  </a:lnTo>
                  <a:lnTo>
                    <a:pt x="5000" y="54716"/>
                  </a:lnTo>
                  <a:lnTo>
                    <a:pt x="4717" y="54150"/>
                  </a:lnTo>
                  <a:lnTo>
                    <a:pt x="4528" y="53678"/>
                  </a:lnTo>
                  <a:lnTo>
                    <a:pt x="4528" y="53584"/>
                  </a:lnTo>
                  <a:lnTo>
                    <a:pt x="4623" y="53395"/>
                  </a:lnTo>
                  <a:lnTo>
                    <a:pt x="5094" y="54244"/>
                  </a:lnTo>
                  <a:lnTo>
                    <a:pt x="4717" y="53301"/>
                  </a:lnTo>
                  <a:lnTo>
                    <a:pt x="4528" y="53018"/>
                  </a:lnTo>
                  <a:lnTo>
                    <a:pt x="4151" y="52263"/>
                  </a:lnTo>
                  <a:lnTo>
                    <a:pt x="4151" y="52169"/>
                  </a:lnTo>
                  <a:lnTo>
                    <a:pt x="3774" y="51509"/>
                  </a:lnTo>
                  <a:lnTo>
                    <a:pt x="3396" y="50660"/>
                  </a:lnTo>
                  <a:lnTo>
                    <a:pt x="3585" y="51603"/>
                  </a:lnTo>
                  <a:lnTo>
                    <a:pt x="3396" y="51226"/>
                  </a:lnTo>
                  <a:lnTo>
                    <a:pt x="3208" y="50848"/>
                  </a:lnTo>
                  <a:lnTo>
                    <a:pt x="3208" y="50471"/>
                  </a:lnTo>
                  <a:lnTo>
                    <a:pt x="3208" y="50094"/>
                  </a:lnTo>
                  <a:lnTo>
                    <a:pt x="3585" y="50754"/>
                  </a:lnTo>
                  <a:lnTo>
                    <a:pt x="3868" y="51509"/>
                  </a:lnTo>
                  <a:lnTo>
                    <a:pt x="3868" y="51509"/>
                  </a:lnTo>
                  <a:lnTo>
                    <a:pt x="3208" y="49528"/>
                  </a:lnTo>
                  <a:lnTo>
                    <a:pt x="3208" y="49528"/>
                  </a:lnTo>
                  <a:lnTo>
                    <a:pt x="3868" y="50754"/>
                  </a:lnTo>
                  <a:lnTo>
                    <a:pt x="3208" y="48962"/>
                  </a:lnTo>
                  <a:lnTo>
                    <a:pt x="3585" y="49339"/>
                  </a:lnTo>
                  <a:lnTo>
                    <a:pt x="3774" y="49433"/>
                  </a:lnTo>
                  <a:lnTo>
                    <a:pt x="3962" y="49528"/>
                  </a:lnTo>
                  <a:lnTo>
                    <a:pt x="4057" y="49905"/>
                  </a:lnTo>
                  <a:lnTo>
                    <a:pt x="3868" y="48962"/>
                  </a:lnTo>
                  <a:lnTo>
                    <a:pt x="3491" y="47924"/>
                  </a:lnTo>
                  <a:lnTo>
                    <a:pt x="2641" y="45565"/>
                  </a:lnTo>
                  <a:lnTo>
                    <a:pt x="2170" y="43867"/>
                  </a:lnTo>
                  <a:lnTo>
                    <a:pt x="1698" y="41886"/>
                  </a:lnTo>
                  <a:lnTo>
                    <a:pt x="1698" y="41886"/>
                  </a:lnTo>
                  <a:lnTo>
                    <a:pt x="1887" y="42075"/>
                  </a:lnTo>
                  <a:lnTo>
                    <a:pt x="1981" y="41981"/>
                  </a:lnTo>
                  <a:lnTo>
                    <a:pt x="2075" y="42075"/>
                  </a:lnTo>
                  <a:lnTo>
                    <a:pt x="2264" y="42169"/>
                  </a:lnTo>
                  <a:lnTo>
                    <a:pt x="2170" y="40283"/>
                  </a:lnTo>
                  <a:lnTo>
                    <a:pt x="2075" y="38301"/>
                  </a:lnTo>
                  <a:lnTo>
                    <a:pt x="2170" y="36415"/>
                  </a:lnTo>
                  <a:lnTo>
                    <a:pt x="2358" y="35566"/>
                  </a:lnTo>
                  <a:lnTo>
                    <a:pt x="2453" y="34811"/>
                  </a:lnTo>
                  <a:lnTo>
                    <a:pt x="2830" y="32830"/>
                  </a:lnTo>
                  <a:lnTo>
                    <a:pt x="2830" y="33207"/>
                  </a:lnTo>
                  <a:lnTo>
                    <a:pt x="2924" y="33490"/>
                  </a:lnTo>
                  <a:lnTo>
                    <a:pt x="2924" y="32453"/>
                  </a:lnTo>
                  <a:lnTo>
                    <a:pt x="3019" y="31415"/>
                  </a:lnTo>
                  <a:lnTo>
                    <a:pt x="3396" y="29245"/>
                  </a:lnTo>
                  <a:lnTo>
                    <a:pt x="3868" y="27075"/>
                  </a:lnTo>
                  <a:lnTo>
                    <a:pt x="4623" y="25000"/>
                  </a:lnTo>
                  <a:lnTo>
                    <a:pt x="5566" y="22830"/>
                  </a:lnTo>
                  <a:lnTo>
                    <a:pt x="6604" y="20849"/>
                  </a:lnTo>
                  <a:lnTo>
                    <a:pt x="7830" y="18868"/>
                  </a:lnTo>
                  <a:lnTo>
                    <a:pt x="9151" y="16887"/>
                  </a:lnTo>
                  <a:lnTo>
                    <a:pt x="10566" y="15094"/>
                  </a:lnTo>
                  <a:lnTo>
                    <a:pt x="12075" y="13302"/>
                  </a:lnTo>
                  <a:lnTo>
                    <a:pt x="13773" y="11698"/>
                  </a:lnTo>
                  <a:lnTo>
                    <a:pt x="15377" y="10095"/>
                  </a:lnTo>
                  <a:lnTo>
                    <a:pt x="17170" y="8679"/>
                  </a:lnTo>
                  <a:lnTo>
                    <a:pt x="18962" y="7453"/>
                  </a:lnTo>
                  <a:lnTo>
                    <a:pt x="20754" y="6321"/>
                  </a:lnTo>
                  <a:lnTo>
                    <a:pt x="22547" y="5378"/>
                  </a:lnTo>
                  <a:lnTo>
                    <a:pt x="21603" y="6227"/>
                  </a:lnTo>
                  <a:lnTo>
                    <a:pt x="22641" y="5472"/>
                  </a:lnTo>
                  <a:lnTo>
                    <a:pt x="23302" y="5095"/>
                  </a:lnTo>
                  <a:lnTo>
                    <a:pt x="25377" y="4151"/>
                  </a:lnTo>
                  <a:lnTo>
                    <a:pt x="24811" y="4151"/>
                  </a:lnTo>
                  <a:lnTo>
                    <a:pt x="25660" y="3774"/>
                  </a:lnTo>
                  <a:lnTo>
                    <a:pt x="26886" y="3208"/>
                  </a:lnTo>
                  <a:lnTo>
                    <a:pt x="26603" y="3585"/>
                  </a:lnTo>
                  <a:lnTo>
                    <a:pt x="26886" y="3585"/>
                  </a:lnTo>
                  <a:lnTo>
                    <a:pt x="26886" y="3680"/>
                  </a:lnTo>
                  <a:lnTo>
                    <a:pt x="26792" y="3774"/>
                  </a:lnTo>
                  <a:lnTo>
                    <a:pt x="28301" y="3302"/>
                  </a:lnTo>
                  <a:lnTo>
                    <a:pt x="29622" y="2736"/>
                  </a:lnTo>
                  <a:lnTo>
                    <a:pt x="31037" y="2264"/>
                  </a:lnTo>
                  <a:lnTo>
                    <a:pt x="31792" y="2076"/>
                  </a:lnTo>
                  <a:lnTo>
                    <a:pt x="32641" y="1981"/>
                  </a:lnTo>
                  <a:lnTo>
                    <a:pt x="32547" y="2076"/>
                  </a:lnTo>
                  <a:lnTo>
                    <a:pt x="32924" y="1981"/>
                  </a:lnTo>
                  <a:lnTo>
                    <a:pt x="34245" y="1793"/>
                  </a:lnTo>
                  <a:lnTo>
                    <a:pt x="35848" y="1415"/>
                  </a:lnTo>
                  <a:lnTo>
                    <a:pt x="36981" y="1132"/>
                  </a:lnTo>
                  <a:lnTo>
                    <a:pt x="36981" y="1415"/>
                  </a:lnTo>
                  <a:lnTo>
                    <a:pt x="40943" y="1227"/>
                  </a:lnTo>
                  <a:lnTo>
                    <a:pt x="41509" y="1038"/>
                  </a:lnTo>
                  <a:lnTo>
                    <a:pt x="41697" y="1132"/>
                  </a:lnTo>
                  <a:lnTo>
                    <a:pt x="41509" y="1227"/>
                  </a:lnTo>
                  <a:lnTo>
                    <a:pt x="41320" y="1321"/>
                  </a:lnTo>
                  <a:lnTo>
                    <a:pt x="42263" y="1321"/>
                  </a:lnTo>
                  <a:lnTo>
                    <a:pt x="43113" y="1227"/>
                  </a:lnTo>
                  <a:lnTo>
                    <a:pt x="43396" y="1415"/>
                  </a:lnTo>
                  <a:lnTo>
                    <a:pt x="44056" y="1604"/>
                  </a:lnTo>
                  <a:lnTo>
                    <a:pt x="45943" y="2076"/>
                  </a:lnTo>
                  <a:lnTo>
                    <a:pt x="48018" y="2359"/>
                  </a:lnTo>
                  <a:lnTo>
                    <a:pt x="49622" y="2736"/>
                  </a:lnTo>
                  <a:lnTo>
                    <a:pt x="47641" y="1981"/>
                  </a:lnTo>
                  <a:lnTo>
                    <a:pt x="45282" y="1321"/>
                  </a:lnTo>
                  <a:lnTo>
                    <a:pt x="42735" y="755"/>
                  </a:lnTo>
                  <a:lnTo>
                    <a:pt x="40188" y="283"/>
                  </a:lnTo>
                  <a:lnTo>
                    <a:pt x="37735" y="95"/>
                  </a:lnTo>
                  <a:lnTo>
                    <a:pt x="35471" y="0"/>
                  </a:lnTo>
                  <a:close/>
                </a:path>
              </a:pathLst>
            </a:custGeom>
            <a:solidFill>
              <a:schemeClr val="bg1">
                <a:lumMod val="95000"/>
              </a:schemeClr>
            </a:solidFill>
            <a:ln w="0">
              <a:solidFill>
                <a:schemeClr val="bg1"/>
              </a:solidFill>
            </a:ln>
          </p:spPr>
          <p:txBody>
            <a:bodyPr spcFirstLastPara="1" wrap="square" lIns="91425" tIns="91425" rIns="91425" bIns="91425" anchor="ctr" anchorCtr="0">
              <a:noAutofit/>
            </a:bodyPr>
            <a:lstStyle/>
            <a:p>
              <a:pPr marL="0" lvl="0" indent="0">
                <a:spcBef>
                  <a:spcPts val="0"/>
                </a:spcBef>
                <a:spcAft>
                  <a:spcPts val="0"/>
                </a:spcAft>
                <a:buNone/>
              </a:pPr>
              <a:endParaRPr sz="1200">
                <a:latin typeface="+mj-lt"/>
              </a:endParaRPr>
            </a:p>
          </p:txBody>
        </p:sp>
        <p:sp>
          <p:nvSpPr>
            <p:cNvPr id="315" name="TextBox 314">
              <a:extLst>
                <a:ext uri="{FF2B5EF4-FFF2-40B4-BE49-F238E27FC236}">
                  <a16:creationId xmlns:a16="http://schemas.microsoft.com/office/drawing/2014/main" id="{E24AF083-F241-AE49-B8EA-DCEF3E686529}"/>
                </a:ext>
              </a:extLst>
            </p:cNvPr>
            <p:cNvSpPr txBox="1"/>
            <p:nvPr/>
          </p:nvSpPr>
          <p:spPr>
            <a:xfrm>
              <a:off x="2219869" y="1028158"/>
              <a:ext cx="229951" cy="254124"/>
            </a:xfrm>
            <a:prstGeom prst="rect">
              <a:avLst/>
            </a:prstGeom>
            <a:noFill/>
          </p:spPr>
          <p:txBody>
            <a:bodyPr wrap="square" rtlCol="0">
              <a:spAutoFit/>
            </a:bodyPr>
            <a:lstStyle/>
            <a:p>
              <a:r>
                <a:rPr lang="en-US" sz="600" b="1" dirty="0">
                  <a:solidFill>
                    <a:schemeClr val="bg1">
                      <a:lumMod val="95000"/>
                    </a:schemeClr>
                  </a:solidFill>
                  <a:latin typeface="+mj-lt"/>
                </a:rPr>
                <a:t>1</a:t>
              </a:r>
            </a:p>
          </p:txBody>
        </p:sp>
      </p:grpSp>
      <p:grpSp>
        <p:nvGrpSpPr>
          <p:cNvPr id="325" name="Group 324">
            <a:extLst>
              <a:ext uri="{FF2B5EF4-FFF2-40B4-BE49-F238E27FC236}">
                <a16:creationId xmlns:a16="http://schemas.microsoft.com/office/drawing/2014/main" id="{3640A357-181B-3046-9211-5170D1CEE87B}"/>
              </a:ext>
            </a:extLst>
          </p:cNvPr>
          <p:cNvGrpSpPr/>
          <p:nvPr/>
        </p:nvGrpSpPr>
        <p:grpSpPr>
          <a:xfrm>
            <a:off x="3551683" y="1499068"/>
            <a:ext cx="204300" cy="184666"/>
            <a:chOff x="2219869" y="1028158"/>
            <a:chExt cx="229951" cy="254124"/>
          </a:xfrm>
        </p:grpSpPr>
        <p:sp>
          <p:nvSpPr>
            <p:cNvPr id="326" name="Google Shape;431;p39">
              <a:extLst>
                <a:ext uri="{FF2B5EF4-FFF2-40B4-BE49-F238E27FC236}">
                  <a16:creationId xmlns:a16="http://schemas.microsoft.com/office/drawing/2014/main" id="{57489660-41E5-084E-A00E-BE8330EF30B9}"/>
                </a:ext>
              </a:extLst>
            </p:cNvPr>
            <p:cNvSpPr/>
            <p:nvPr/>
          </p:nvSpPr>
          <p:spPr>
            <a:xfrm>
              <a:off x="2259435" y="1076105"/>
              <a:ext cx="179407" cy="167874"/>
            </a:xfrm>
            <a:custGeom>
              <a:avLst/>
              <a:gdLst/>
              <a:ahLst/>
              <a:cxnLst/>
              <a:rect l="0" t="0" r="0" b="0"/>
              <a:pathLst>
                <a:path w="67641" h="69056" extrusionOk="0">
                  <a:moveTo>
                    <a:pt x="49622" y="2736"/>
                  </a:moveTo>
                  <a:lnTo>
                    <a:pt x="49622" y="2736"/>
                  </a:lnTo>
                  <a:lnTo>
                    <a:pt x="49622" y="2736"/>
                  </a:lnTo>
                  <a:close/>
                  <a:moveTo>
                    <a:pt x="59622" y="55565"/>
                  </a:moveTo>
                  <a:lnTo>
                    <a:pt x="59622" y="55565"/>
                  </a:lnTo>
                  <a:lnTo>
                    <a:pt x="59622" y="55565"/>
                  </a:lnTo>
                  <a:close/>
                  <a:moveTo>
                    <a:pt x="35471" y="0"/>
                  </a:moveTo>
                  <a:lnTo>
                    <a:pt x="34433" y="95"/>
                  </a:lnTo>
                  <a:lnTo>
                    <a:pt x="33584" y="189"/>
                  </a:lnTo>
                  <a:lnTo>
                    <a:pt x="32735" y="378"/>
                  </a:lnTo>
                  <a:lnTo>
                    <a:pt x="32169" y="566"/>
                  </a:lnTo>
                  <a:lnTo>
                    <a:pt x="31509" y="472"/>
                  </a:lnTo>
                  <a:lnTo>
                    <a:pt x="30754" y="472"/>
                  </a:lnTo>
                  <a:lnTo>
                    <a:pt x="29339" y="566"/>
                  </a:lnTo>
                  <a:lnTo>
                    <a:pt x="27830" y="849"/>
                  </a:lnTo>
                  <a:lnTo>
                    <a:pt x="26320" y="1321"/>
                  </a:lnTo>
                  <a:lnTo>
                    <a:pt x="24811" y="1981"/>
                  </a:lnTo>
                  <a:lnTo>
                    <a:pt x="23207" y="2736"/>
                  </a:lnTo>
                  <a:lnTo>
                    <a:pt x="21698" y="3585"/>
                  </a:lnTo>
                  <a:lnTo>
                    <a:pt x="20188" y="4623"/>
                  </a:lnTo>
                  <a:lnTo>
                    <a:pt x="18679" y="5661"/>
                  </a:lnTo>
                  <a:lnTo>
                    <a:pt x="17170" y="6793"/>
                  </a:lnTo>
                  <a:lnTo>
                    <a:pt x="15754" y="8019"/>
                  </a:lnTo>
                  <a:lnTo>
                    <a:pt x="14434" y="9151"/>
                  </a:lnTo>
                  <a:lnTo>
                    <a:pt x="11981" y="11510"/>
                  </a:lnTo>
                  <a:lnTo>
                    <a:pt x="10000" y="13774"/>
                  </a:lnTo>
                  <a:lnTo>
                    <a:pt x="7736" y="16981"/>
                  </a:lnTo>
                  <a:lnTo>
                    <a:pt x="8019" y="16321"/>
                  </a:lnTo>
                  <a:lnTo>
                    <a:pt x="8302" y="15660"/>
                  </a:lnTo>
                  <a:lnTo>
                    <a:pt x="7736" y="16604"/>
                  </a:lnTo>
                  <a:lnTo>
                    <a:pt x="7075" y="17642"/>
                  </a:lnTo>
                  <a:lnTo>
                    <a:pt x="7170" y="17830"/>
                  </a:lnTo>
                  <a:lnTo>
                    <a:pt x="6509" y="18868"/>
                  </a:lnTo>
                  <a:lnTo>
                    <a:pt x="7075" y="17359"/>
                  </a:lnTo>
                  <a:lnTo>
                    <a:pt x="6132" y="19057"/>
                  </a:lnTo>
                  <a:lnTo>
                    <a:pt x="5189" y="20849"/>
                  </a:lnTo>
                  <a:lnTo>
                    <a:pt x="4434" y="22736"/>
                  </a:lnTo>
                  <a:lnTo>
                    <a:pt x="3679" y="24622"/>
                  </a:lnTo>
                  <a:lnTo>
                    <a:pt x="2453" y="28490"/>
                  </a:lnTo>
                  <a:lnTo>
                    <a:pt x="1321" y="32169"/>
                  </a:lnTo>
                  <a:lnTo>
                    <a:pt x="1509" y="32264"/>
                  </a:lnTo>
                  <a:lnTo>
                    <a:pt x="1604" y="32453"/>
                  </a:lnTo>
                  <a:lnTo>
                    <a:pt x="1604" y="32641"/>
                  </a:lnTo>
                  <a:lnTo>
                    <a:pt x="1509" y="32924"/>
                  </a:lnTo>
                  <a:lnTo>
                    <a:pt x="1226" y="33396"/>
                  </a:lnTo>
                  <a:lnTo>
                    <a:pt x="1038" y="33585"/>
                  </a:lnTo>
                  <a:lnTo>
                    <a:pt x="1038" y="33773"/>
                  </a:lnTo>
                  <a:lnTo>
                    <a:pt x="1038" y="35000"/>
                  </a:lnTo>
                  <a:lnTo>
                    <a:pt x="849" y="36132"/>
                  </a:lnTo>
                  <a:lnTo>
                    <a:pt x="660" y="37358"/>
                  </a:lnTo>
                  <a:lnTo>
                    <a:pt x="472" y="38867"/>
                  </a:lnTo>
                  <a:lnTo>
                    <a:pt x="283" y="38301"/>
                  </a:lnTo>
                  <a:lnTo>
                    <a:pt x="94" y="39811"/>
                  </a:lnTo>
                  <a:lnTo>
                    <a:pt x="0" y="41509"/>
                  </a:lnTo>
                  <a:lnTo>
                    <a:pt x="94" y="43301"/>
                  </a:lnTo>
                  <a:lnTo>
                    <a:pt x="283" y="44056"/>
                  </a:lnTo>
                  <a:lnTo>
                    <a:pt x="472" y="44622"/>
                  </a:lnTo>
                  <a:lnTo>
                    <a:pt x="566" y="45660"/>
                  </a:lnTo>
                  <a:lnTo>
                    <a:pt x="755" y="46792"/>
                  </a:lnTo>
                  <a:lnTo>
                    <a:pt x="1226" y="48962"/>
                  </a:lnTo>
                  <a:lnTo>
                    <a:pt x="1981" y="51037"/>
                  </a:lnTo>
                  <a:lnTo>
                    <a:pt x="2924" y="53112"/>
                  </a:lnTo>
                  <a:lnTo>
                    <a:pt x="4057" y="55094"/>
                  </a:lnTo>
                  <a:lnTo>
                    <a:pt x="5283" y="56980"/>
                  </a:lnTo>
                  <a:lnTo>
                    <a:pt x="6698" y="58678"/>
                  </a:lnTo>
                  <a:lnTo>
                    <a:pt x="8113" y="60282"/>
                  </a:lnTo>
                  <a:lnTo>
                    <a:pt x="9056" y="61131"/>
                  </a:lnTo>
                  <a:lnTo>
                    <a:pt x="10000" y="61980"/>
                  </a:lnTo>
                  <a:lnTo>
                    <a:pt x="11038" y="62829"/>
                  </a:lnTo>
                  <a:lnTo>
                    <a:pt x="12075" y="63584"/>
                  </a:lnTo>
                  <a:lnTo>
                    <a:pt x="14339" y="64905"/>
                  </a:lnTo>
                  <a:lnTo>
                    <a:pt x="16604" y="66131"/>
                  </a:lnTo>
                  <a:lnTo>
                    <a:pt x="19056" y="67169"/>
                  </a:lnTo>
                  <a:lnTo>
                    <a:pt x="21509" y="67923"/>
                  </a:lnTo>
                  <a:lnTo>
                    <a:pt x="24056" y="68584"/>
                  </a:lnTo>
                  <a:lnTo>
                    <a:pt x="26603" y="69055"/>
                  </a:lnTo>
                  <a:lnTo>
                    <a:pt x="27830" y="69055"/>
                  </a:lnTo>
                  <a:lnTo>
                    <a:pt x="30188" y="68867"/>
                  </a:lnTo>
                  <a:lnTo>
                    <a:pt x="33113" y="68678"/>
                  </a:lnTo>
                  <a:lnTo>
                    <a:pt x="36509" y="68301"/>
                  </a:lnTo>
                  <a:lnTo>
                    <a:pt x="39811" y="67923"/>
                  </a:lnTo>
                  <a:lnTo>
                    <a:pt x="42735" y="67452"/>
                  </a:lnTo>
                  <a:lnTo>
                    <a:pt x="44905" y="66980"/>
                  </a:lnTo>
                  <a:lnTo>
                    <a:pt x="45565" y="66791"/>
                  </a:lnTo>
                  <a:lnTo>
                    <a:pt x="45943" y="66508"/>
                  </a:lnTo>
                  <a:lnTo>
                    <a:pt x="47358" y="65942"/>
                  </a:lnTo>
                  <a:lnTo>
                    <a:pt x="48018" y="65565"/>
                  </a:lnTo>
                  <a:lnTo>
                    <a:pt x="48678" y="65188"/>
                  </a:lnTo>
                  <a:lnTo>
                    <a:pt x="47924" y="65471"/>
                  </a:lnTo>
                  <a:lnTo>
                    <a:pt x="51509" y="62924"/>
                  </a:lnTo>
                  <a:lnTo>
                    <a:pt x="53301" y="61508"/>
                  </a:lnTo>
                  <a:lnTo>
                    <a:pt x="55093" y="59905"/>
                  </a:lnTo>
                  <a:lnTo>
                    <a:pt x="55093" y="59905"/>
                  </a:lnTo>
                  <a:lnTo>
                    <a:pt x="54810" y="60376"/>
                  </a:lnTo>
                  <a:lnTo>
                    <a:pt x="54339" y="60754"/>
                  </a:lnTo>
                  <a:lnTo>
                    <a:pt x="55376" y="59999"/>
                  </a:lnTo>
                  <a:lnTo>
                    <a:pt x="56320" y="59056"/>
                  </a:lnTo>
                  <a:lnTo>
                    <a:pt x="57075" y="58395"/>
                  </a:lnTo>
                  <a:lnTo>
                    <a:pt x="57169" y="58207"/>
                  </a:lnTo>
                  <a:lnTo>
                    <a:pt x="57075" y="58207"/>
                  </a:lnTo>
                  <a:lnTo>
                    <a:pt x="57924" y="57546"/>
                  </a:lnTo>
                  <a:lnTo>
                    <a:pt x="58678" y="56697"/>
                  </a:lnTo>
                  <a:lnTo>
                    <a:pt x="59339" y="55754"/>
                  </a:lnTo>
                  <a:lnTo>
                    <a:pt x="59905" y="54905"/>
                  </a:lnTo>
                  <a:lnTo>
                    <a:pt x="59716" y="54999"/>
                  </a:lnTo>
                  <a:lnTo>
                    <a:pt x="59622" y="54999"/>
                  </a:lnTo>
                  <a:lnTo>
                    <a:pt x="59810" y="54622"/>
                  </a:lnTo>
                  <a:lnTo>
                    <a:pt x="59150" y="55565"/>
                  </a:lnTo>
                  <a:lnTo>
                    <a:pt x="59527" y="55094"/>
                  </a:lnTo>
                  <a:lnTo>
                    <a:pt x="59433" y="55377"/>
                  </a:lnTo>
                  <a:lnTo>
                    <a:pt x="58867" y="56037"/>
                  </a:lnTo>
                  <a:lnTo>
                    <a:pt x="59056" y="55660"/>
                  </a:lnTo>
                  <a:lnTo>
                    <a:pt x="59056" y="55660"/>
                  </a:lnTo>
                  <a:lnTo>
                    <a:pt x="58678" y="56037"/>
                  </a:lnTo>
                  <a:lnTo>
                    <a:pt x="59810" y="54339"/>
                  </a:lnTo>
                  <a:lnTo>
                    <a:pt x="60282" y="53490"/>
                  </a:lnTo>
                  <a:lnTo>
                    <a:pt x="60282" y="53301"/>
                  </a:lnTo>
                  <a:lnTo>
                    <a:pt x="60188" y="53395"/>
                  </a:lnTo>
                  <a:lnTo>
                    <a:pt x="60188" y="53395"/>
                  </a:lnTo>
                  <a:lnTo>
                    <a:pt x="60565" y="52924"/>
                  </a:lnTo>
                  <a:lnTo>
                    <a:pt x="61037" y="52452"/>
                  </a:lnTo>
                  <a:lnTo>
                    <a:pt x="61886" y="51509"/>
                  </a:lnTo>
                  <a:lnTo>
                    <a:pt x="61508" y="52452"/>
                  </a:lnTo>
                  <a:lnTo>
                    <a:pt x="60848" y="53584"/>
                  </a:lnTo>
                  <a:lnTo>
                    <a:pt x="59622" y="55565"/>
                  </a:lnTo>
                  <a:lnTo>
                    <a:pt x="60376" y="54528"/>
                  </a:lnTo>
                  <a:lnTo>
                    <a:pt x="60942" y="53678"/>
                  </a:lnTo>
                  <a:lnTo>
                    <a:pt x="61980" y="51792"/>
                  </a:lnTo>
                  <a:lnTo>
                    <a:pt x="61886" y="51886"/>
                  </a:lnTo>
                  <a:lnTo>
                    <a:pt x="61886" y="51697"/>
                  </a:lnTo>
                  <a:lnTo>
                    <a:pt x="62169" y="51037"/>
                  </a:lnTo>
                  <a:lnTo>
                    <a:pt x="62735" y="49999"/>
                  </a:lnTo>
                  <a:lnTo>
                    <a:pt x="61508" y="51603"/>
                  </a:lnTo>
                  <a:lnTo>
                    <a:pt x="61603" y="51037"/>
                  </a:lnTo>
                  <a:lnTo>
                    <a:pt x="61697" y="50377"/>
                  </a:lnTo>
                  <a:lnTo>
                    <a:pt x="62169" y="48962"/>
                  </a:lnTo>
                  <a:lnTo>
                    <a:pt x="62829" y="47358"/>
                  </a:lnTo>
                  <a:lnTo>
                    <a:pt x="63678" y="45565"/>
                  </a:lnTo>
                  <a:lnTo>
                    <a:pt x="65376" y="42169"/>
                  </a:lnTo>
                  <a:lnTo>
                    <a:pt x="66131" y="40660"/>
                  </a:lnTo>
                  <a:lnTo>
                    <a:pt x="66697" y="39339"/>
                  </a:lnTo>
                  <a:lnTo>
                    <a:pt x="66603" y="39528"/>
                  </a:lnTo>
                  <a:lnTo>
                    <a:pt x="66697" y="39056"/>
                  </a:lnTo>
                  <a:lnTo>
                    <a:pt x="66791" y="38962"/>
                  </a:lnTo>
                  <a:lnTo>
                    <a:pt x="66791" y="39056"/>
                  </a:lnTo>
                  <a:lnTo>
                    <a:pt x="66886" y="38584"/>
                  </a:lnTo>
                  <a:lnTo>
                    <a:pt x="66791" y="38867"/>
                  </a:lnTo>
                  <a:lnTo>
                    <a:pt x="66980" y="38207"/>
                  </a:lnTo>
                  <a:lnTo>
                    <a:pt x="67169" y="37264"/>
                  </a:lnTo>
                  <a:lnTo>
                    <a:pt x="67263" y="36415"/>
                  </a:lnTo>
                  <a:lnTo>
                    <a:pt x="67357" y="36509"/>
                  </a:lnTo>
                  <a:lnTo>
                    <a:pt x="67452" y="36509"/>
                  </a:lnTo>
                  <a:lnTo>
                    <a:pt x="67546" y="35943"/>
                  </a:lnTo>
                  <a:lnTo>
                    <a:pt x="67546" y="34811"/>
                  </a:lnTo>
                  <a:lnTo>
                    <a:pt x="67640" y="31037"/>
                  </a:lnTo>
                  <a:lnTo>
                    <a:pt x="67640" y="28490"/>
                  </a:lnTo>
                  <a:lnTo>
                    <a:pt x="67546" y="27736"/>
                  </a:lnTo>
                  <a:lnTo>
                    <a:pt x="67546" y="27547"/>
                  </a:lnTo>
                  <a:lnTo>
                    <a:pt x="67452" y="27547"/>
                  </a:lnTo>
                  <a:lnTo>
                    <a:pt x="67074" y="26792"/>
                  </a:lnTo>
                  <a:lnTo>
                    <a:pt x="66791" y="25660"/>
                  </a:lnTo>
                  <a:lnTo>
                    <a:pt x="66508" y="24528"/>
                  </a:lnTo>
                  <a:lnTo>
                    <a:pt x="66414" y="23585"/>
                  </a:lnTo>
                  <a:lnTo>
                    <a:pt x="66320" y="23679"/>
                  </a:lnTo>
                  <a:lnTo>
                    <a:pt x="66320" y="23490"/>
                  </a:lnTo>
                  <a:lnTo>
                    <a:pt x="65942" y="22924"/>
                  </a:lnTo>
                  <a:lnTo>
                    <a:pt x="65565" y="22358"/>
                  </a:lnTo>
                  <a:lnTo>
                    <a:pt x="64527" y="21132"/>
                  </a:lnTo>
                  <a:lnTo>
                    <a:pt x="63584" y="19906"/>
                  </a:lnTo>
                  <a:lnTo>
                    <a:pt x="63207" y="19340"/>
                  </a:lnTo>
                  <a:lnTo>
                    <a:pt x="63018" y="18774"/>
                  </a:lnTo>
                  <a:lnTo>
                    <a:pt x="63112" y="18962"/>
                  </a:lnTo>
                  <a:lnTo>
                    <a:pt x="63301" y="19057"/>
                  </a:lnTo>
                  <a:lnTo>
                    <a:pt x="63301" y="19057"/>
                  </a:lnTo>
                  <a:lnTo>
                    <a:pt x="63207" y="18868"/>
                  </a:lnTo>
                  <a:lnTo>
                    <a:pt x="62923" y="18491"/>
                  </a:lnTo>
                  <a:lnTo>
                    <a:pt x="61980" y="17453"/>
                  </a:lnTo>
                  <a:lnTo>
                    <a:pt x="61037" y="16509"/>
                  </a:lnTo>
                  <a:lnTo>
                    <a:pt x="61037" y="16698"/>
                  </a:lnTo>
                  <a:lnTo>
                    <a:pt x="61037" y="16887"/>
                  </a:lnTo>
                  <a:lnTo>
                    <a:pt x="60093" y="15943"/>
                  </a:lnTo>
                  <a:lnTo>
                    <a:pt x="60376" y="16321"/>
                  </a:lnTo>
                  <a:lnTo>
                    <a:pt x="59527" y="15377"/>
                  </a:lnTo>
                  <a:lnTo>
                    <a:pt x="59056" y="14906"/>
                  </a:lnTo>
                  <a:lnTo>
                    <a:pt x="59244" y="14906"/>
                  </a:lnTo>
                  <a:lnTo>
                    <a:pt x="59905" y="15472"/>
                  </a:lnTo>
                  <a:lnTo>
                    <a:pt x="59905" y="15472"/>
                  </a:lnTo>
                  <a:lnTo>
                    <a:pt x="57641" y="13396"/>
                  </a:lnTo>
                  <a:lnTo>
                    <a:pt x="58112" y="13868"/>
                  </a:lnTo>
                  <a:lnTo>
                    <a:pt x="56886" y="13019"/>
                  </a:lnTo>
                  <a:lnTo>
                    <a:pt x="55754" y="12453"/>
                  </a:lnTo>
                  <a:lnTo>
                    <a:pt x="56603" y="13113"/>
                  </a:lnTo>
                  <a:lnTo>
                    <a:pt x="57452" y="13774"/>
                  </a:lnTo>
                  <a:lnTo>
                    <a:pt x="58961" y="15283"/>
                  </a:lnTo>
                  <a:lnTo>
                    <a:pt x="60376" y="16604"/>
                  </a:lnTo>
                  <a:lnTo>
                    <a:pt x="61225" y="17264"/>
                  </a:lnTo>
                  <a:lnTo>
                    <a:pt x="62074" y="17925"/>
                  </a:lnTo>
                  <a:lnTo>
                    <a:pt x="62074" y="17925"/>
                  </a:lnTo>
                  <a:lnTo>
                    <a:pt x="61414" y="17547"/>
                  </a:lnTo>
                  <a:lnTo>
                    <a:pt x="60659" y="16981"/>
                  </a:lnTo>
                  <a:lnTo>
                    <a:pt x="60754" y="17264"/>
                  </a:lnTo>
                  <a:lnTo>
                    <a:pt x="60942" y="17642"/>
                  </a:lnTo>
                  <a:lnTo>
                    <a:pt x="61980" y="19151"/>
                  </a:lnTo>
                  <a:lnTo>
                    <a:pt x="63301" y="20943"/>
                  </a:lnTo>
                  <a:lnTo>
                    <a:pt x="63207" y="20943"/>
                  </a:lnTo>
                  <a:lnTo>
                    <a:pt x="63395" y="21038"/>
                  </a:lnTo>
                  <a:lnTo>
                    <a:pt x="63490" y="21321"/>
                  </a:lnTo>
                  <a:lnTo>
                    <a:pt x="63678" y="21604"/>
                  </a:lnTo>
                  <a:lnTo>
                    <a:pt x="63773" y="21698"/>
                  </a:lnTo>
                  <a:lnTo>
                    <a:pt x="63584" y="21321"/>
                  </a:lnTo>
                  <a:lnTo>
                    <a:pt x="63584" y="21321"/>
                  </a:lnTo>
                  <a:lnTo>
                    <a:pt x="64244" y="22170"/>
                  </a:lnTo>
                  <a:lnTo>
                    <a:pt x="64716" y="22641"/>
                  </a:lnTo>
                  <a:lnTo>
                    <a:pt x="64905" y="22830"/>
                  </a:lnTo>
                  <a:lnTo>
                    <a:pt x="64999" y="22830"/>
                  </a:lnTo>
                  <a:lnTo>
                    <a:pt x="64999" y="22641"/>
                  </a:lnTo>
                  <a:lnTo>
                    <a:pt x="64905" y="22358"/>
                  </a:lnTo>
                  <a:lnTo>
                    <a:pt x="65282" y="23207"/>
                  </a:lnTo>
                  <a:lnTo>
                    <a:pt x="65565" y="24056"/>
                  </a:lnTo>
                  <a:lnTo>
                    <a:pt x="66225" y="25943"/>
                  </a:lnTo>
                  <a:lnTo>
                    <a:pt x="66697" y="27830"/>
                  </a:lnTo>
                  <a:lnTo>
                    <a:pt x="66886" y="28490"/>
                  </a:lnTo>
                  <a:lnTo>
                    <a:pt x="66980" y="28868"/>
                  </a:lnTo>
                  <a:lnTo>
                    <a:pt x="66886" y="28962"/>
                  </a:lnTo>
                  <a:lnTo>
                    <a:pt x="66697" y="28679"/>
                  </a:lnTo>
                  <a:lnTo>
                    <a:pt x="66697" y="29245"/>
                  </a:lnTo>
                  <a:lnTo>
                    <a:pt x="66791" y="29905"/>
                  </a:lnTo>
                  <a:lnTo>
                    <a:pt x="66886" y="29905"/>
                  </a:lnTo>
                  <a:lnTo>
                    <a:pt x="66886" y="30094"/>
                  </a:lnTo>
                  <a:lnTo>
                    <a:pt x="66886" y="30566"/>
                  </a:lnTo>
                  <a:lnTo>
                    <a:pt x="66697" y="30377"/>
                  </a:lnTo>
                  <a:lnTo>
                    <a:pt x="66603" y="30188"/>
                  </a:lnTo>
                  <a:lnTo>
                    <a:pt x="66603" y="30094"/>
                  </a:lnTo>
                  <a:lnTo>
                    <a:pt x="66697" y="29905"/>
                  </a:lnTo>
                  <a:lnTo>
                    <a:pt x="66508" y="28679"/>
                  </a:lnTo>
                  <a:lnTo>
                    <a:pt x="66225" y="27358"/>
                  </a:lnTo>
                  <a:lnTo>
                    <a:pt x="66603" y="30283"/>
                  </a:lnTo>
                  <a:lnTo>
                    <a:pt x="66697" y="31792"/>
                  </a:lnTo>
                  <a:lnTo>
                    <a:pt x="66697" y="33302"/>
                  </a:lnTo>
                  <a:lnTo>
                    <a:pt x="66603" y="34717"/>
                  </a:lnTo>
                  <a:lnTo>
                    <a:pt x="66414" y="36226"/>
                  </a:lnTo>
                  <a:lnTo>
                    <a:pt x="66131" y="37547"/>
                  </a:lnTo>
                  <a:lnTo>
                    <a:pt x="65659" y="38962"/>
                  </a:lnTo>
                  <a:lnTo>
                    <a:pt x="65848" y="38584"/>
                  </a:lnTo>
                  <a:lnTo>
                    <a:pt x="65942" y="38584"/>
                  </a:lnTo>
                  <a:lnTo>
                    <a:pt x="65848" y="39245"/>
                  </a:lnTo>
                  <a:lnTo>
                    <a:pt x="65565" y="40188"/>
                  </a:lnTo>
                  <a:lnTo>
                    <a:pt x="65471" y="40471"/>
                  </a:lnTo>
                  <a:lnTo>
                    <a:pt x="65282" y="40660"/>
                  </a:lnTo>
                  <a:lnTo>
                    <a:pt x="65282" y="40566"/>
                  </a:lnTo>
                  <a:lnTo>
                    <a:pt x="65093" y="41132"/>
                  </a:lnTo>
                  <a:lnTo>
                    <a:pt x="64433" y="43018"/>
                  </a:lnTo>
                  <a:lnTo>
                    <a:pt x="63678" y="45282"/>
                  </a:lnTo>
                  <a:lnTo>
                    <a:pt x="62735" y="47264"/>
                  </a:lnTo>
                  <a:lnTo>
                    <a:pt x="61697" y="49056"/>
                  </a:lnTo>
                  <a:lnTo>
                    <a:pt x="60659" y="50943"/>
                  </a:lnTo>
                  <a:lnTo>
                    <a:pt x="59433" y="52735"/>
                  </a:lnTo>
                  <a:lnTo>
                    <a:pt x="58207" y="54433"/>
                  </a:lnTo>
                  <a:lnTo>
                    <a:pt x="56886" y="56037"/>
                  </a:lnTo>
                  <a:lnTo>
                    <a:pt x="55376" y="57641"/>
                  </a:lnTo>
                  <a:lnTo>
                    <a:pt x="53867" y="59150"/>
                  </a:lnTo>
                  <a:lnTo>
                    <a:pt x="52169" y="60376"/>
                  </a:lnTo>
                  <a:lnTo>
                    <a:pt x="48961" y="62452"/>
                  </a:lnTo>
                  <a:lnTo>
                    <a:pt x="44528" y="65282"/>
                  </a:lnTo>
                  <a:lnTo>
                    <a:pt x="44622" y="65188"/>
                  </a:lnTo>
                  <a:lnTo>
                    <a:pt x="44716" y="65093"/>
                  </a:lnTo>
                  <a:lnTo>
                    <a:pt x="45094" y="64810"/>
                  </a:lnTo>
                  <a:lnTo>
                    <a:pt x="45660" y="64527"/>
                  </a:lnTo>
                  <a:lnTo>
                    <a:pt x="43867" y="65376"/>
                  </a:lnTo>
                  <a:lnTo>
                    <a:pt x="43113" y="65754"/>
                  </a:lnTo>
                  <a:lnTo>
                    <a:pt x="42924" y="65754"/>
                  </a:lnTo>
                  <a:lnTo>
                    <a:pt x="43113" y="65659"/>
                  </a:lnTo>
                  <a:lnTo>
                    <a:pt x="41603" y="66037"/>
                  </a:lnTo>
                  <a:lnTo>
                    <a:pt x="39999" y="66320"/>
                  </a:lnTo>
                  <a:lnTo>
                    <a:pt x="38396" y="66508"/>
                  </a:lnTo>
                  <a:lnTo>
                    <a:pt x="36792" y="66697"/>
                  </a:lnTo>
                  <a:lnTo>
                    <a:pt x="33584" y="66980"/>
                  </a:lnTo>
                  <a:lnTo>
                    <a:pt x="32169" y="67169"/>
                  </a:lnTo>
                  <a:lnTo>
                    <a:pt x="30754" y="67357"/>
                  </a:lnTo>
                  <a:lnTo>
                    <a:pt x="30094" y="67357"/>
                  </a:lnTo>
                  <a:lnTo>
                    <a:pt x="29339" y="67263"/>
                  </a:lnTo>
                  <a:lnTo>
                    <a:pt x="27830" y="66886"/>
                  </a:lnTo>
                  <a:lnTo>
                    <a:pt x="26415" y="66508"/>
                  </a:lnTo>
                  <a:lnTo>
                    <a:pt x="25754" y="66414"/>
                  </a:lnTo>
                  <a:lnTo>
                    <a:pt x="25094" y="66414"/>
                  </a:lnTo>
                  <a:lnTo>
                    <a:pt x="25566" y="66980"/>
                  </a:lnTo>
                  <a:lnTo>
                    <a:pt x="25471" y="67074"/>
                  </a:lnTo>
                  <a:lnTo>
                    <a:pt x="25188" y="66980"/>
                  </a:lnTo>
                  <a:lnTo>
                    <a:pt x="24339" y="66791"/>
                  </a:lnTo>
                  <a:lnTo>
                    <a:pt x="23773" y="66508"/>
                  </a:lnTo>
                  <a:lnTo>
                    <a:pt x="24245" y="66414"/>
                  </a:lnTo>
                  <a:lnTo>
                    <a:pt x="24717" y="66603"/>
                  </a:lnTo>
                  <a:lnTo>
                    <a:pt x="24811" y="66414"/>
                  </a:lnTo>
                  <a:lnTo>
                    <a:pt x="24811" y="66320"/>
                  </a:lnTo>
                  <a:lnTo>
                    <a:pt x="24717" y="66225"/>
                  </a:lnTo>
                  <a:lnTo>
                    <a:pt x="24528" y="66131"/>
                  </a:lnTo>
                  <a:lnTo>
                    <a:pt x="24151" y="66225"/>
                  </a:lnTo>
                  <a:lnTo>
                    <a:pt x="23679" y="66320"/>
                  </a:lnTo>
                  <a:lnTo>
                    <a:pt x="23018" y="66414"/>
                  </a:lnTo>
                  <a:lnTo>
                    <a:pt x="23490" y="66225"/>
                  </a:lnTo>
                  <a:lnTo>
                    <a:pt x="22075" y="65942"/>
                  </a:lnTo>
                  <a:lnTo>
                    <a:pt x="20943" y="65659"/>
                  </a:lnTo>
                  <a:lnTo>
                    <a:pt x="20000" y="65282"/>
                  </a:lnTo>
                  <a:lnTo>
                    <a:pt x="19056" y="64810"/>
                  </a:lnTo>
                  <a:lnTo>
                    <a:pt x="19056" y="64810"/>
                  </a:lnTo>
                  <a:lnTo>
                    <a:pt x="19717" y="64999"/>
                  </a:lnTo>
                  <a:lnTo>
                    <a:pt x="19151" y="64716"/>
                  </a:lnTo>
                  <a:lnTo>
                    <a:pt x="18962" y="64810"/>
                  </a:lnTo>
                  <a:lnTo>
                    <a:pt x="19151" y="64905"/>
                  </a:lnTo>
                  <a:lnTo>
                    <a:pt x="18490" y="64905"/>
                  </a:lnTo>
                  <a:lnTo>
                    <a:pt x="17830" y="64716"/>
                  </a:lnTo>
                  <a:lnTo>
                    <a:pt x="17264" y="64527"/>
                  </a:lnTo>
                  <a:lnTo>
                    <a:pt x="16698" y="64150"/>
                  </a:lnTo>
                  <a:lnTo>
                    <a:pt x="16981" y="64056"/>
                  </a:lnTo>
                  <a:lnTo>
                    <a:pt x="17264" y="64150"/>
                  </a:lnTo>
                  <a:lnTo>
                    <a:pt x="17264" y="64150"/>
                  </a:lnTo>
                  <a:lnTo>
                    <a:pt x="15188" y="63207"/>
                  </a:lnTo>
                  <a:lnTo>
                    <a:pt x="14622" y="62829"/>
                  </a:lnTo>
                  <a:lnTo>
                    <a:pt x="14717" y="62924"/>
                  </a:lnTo>
                  <a:lnTo>
                    <a:pt x="13773" y="62546"/>
                  </a:lnTo>
                  <a:lnTo>
                    <a:pt x="12924" y="62075"/>
                  </a:lnTo>
                  <a:lnTo>
                    <a:pt x="12358" y="61697"/>
                  </a:lnTo>
                  <a:lnTo>
                    <a:pt x="12264" y="61508"/>
                  </a:lnTo>
                  <a:lnTo>
                    <a:pt x="12170" y="61320"/>
                  </a:lnTo>
                  <a:lnTo>
                    <a:pt x="11698" y="60942"/>
                  </a:lnTo>
                  <a:lnTo>
                    <a:pt x="11132" y="60471"/>
                  </a:lnTo>
                  <a:lnTo>
                    <a:pt x="9906" y="59244"/>
                  </a:lnTo>
                  <a:lnTo>
                    <a:pt x="9906" y="59244"/>
                  </a:lnTo>
                  <a:lnTo>
                    <a:pt x="10566" y="59527"/>
                  </a:lnTo>
                  <a:lnTo>
                    <a:pt x="9434" y="58584"/>
                  </a:lnTo>
                  <a:lnTo>
                    <a:pt x="8207" y="57546"/>
                  </a:lnTo>
                  <a:lnTo>
                    <a:pt x="7547" y="56886"/>
                  </a:lnTo>
                  <a:lnTo>
                    <a:pt x="6981" y="56131"/>
                  </a:lnTo>
                  <a:lnTo>
                    <a:pt x="6226" y="55094"/>
                  </a:lnTo>
                  <a:lnTo>
                    <a:pt x="6415" y="55377"/>
                  </a:lnTo>
                  <a:lnTo>
                    <a:pt x="6038" y="54905"/>
                  </a:lnTo>
                  <a:lnTo>
                    <a:pt x="5472" y="54244"/>
                  </a:lnTo>
                  <a:lnTo>
                    <a:pt x="5283" y="53961"/>
                  </a:lnTo>
                  <a:lnTo>
                    <a:pt x="5094" y="53867"/>
                  </a:lnTo>
                  <a:lnTo>
                    <a:pt x="5377" y="54622"/>
                  </a:lnTo>
                  <a:lnTo>
                    <a:pt x="5849" y="55282"/>
                  </a:lnTo>
                  <a:lnTo>
                    <a:pt x="6321" y="55943"/>
                  </a:lnTo>
                  <a:lnTo>
                    <a:pt x="6698" y="56603"/>
                  </a:lnTo>
                  <a:lnTo>
                    <a:pt x="6226" y="56226"/>
                  </a:lnTo>
                  <a:lnTo>
                    <a:pt x="5943" y="55848"/>
                  </a:lnTo>
                  <a:lnTo>
                    <a:pt x="6038" y="56037"/>
                  </a:lnTo>
                  <a:lnTo>
                    <a:pt x="5943" y="55943"/>
                  </a:lnTo>
                  <a:lnTo>
                    <a:pt x="5377" y="55188"/>
                  </a:lnTo>
                  <a:lnTo>
                    <a:pt x="5000" y="54716"/>
                  </a:lnTo>
                  <a:lnTo>
                    <a:pt x="4717" y="54150"/>
                  </a:lnTo>
                  <a:lnTo>
                    <a:pt x="4528" y="53678"/>
                  </a:lnTo>
                  <a:lnTo>
                    <a:pt x="4528" y="53584"/>
                  </a:lnTo>
                  <a:lnTo>
                    <a:pt x="4623" y="53395"/>
                  </a:lnTo>
                  <a:lnTo>
                    <a:pt x="5094" y="54244"/>
                  </a:lnTo>
                  <a:lnTo>
                    <a:pt x="4717" y="53301"/>
                  </a:lnTo>
                  <a:lnTo>
                    <a:pt x="4528" y="53018"/>
                  </a:lnTo>
                  <a:lnTo>
                    <a:pt x="4151" y="52263"/>
                  </a:lnTo>
                  <a:lnTo>
                    <a:pt x="4151" y="52169"/>
                  </a:lnTo>
                  <a:lnTo>
                    <a:pt x="3774" y="51509"/>
                  </a:lnTo>
                  <a:lnTo>
                    <a:pt x="3396" y="50660"/>
                  </a:lnTo>
                  <a:lnTo>
                    <a:pt x="3585" y="51603"/>
                  </a:lnTo>
                  <a:lnTo>
                    <a:pt x="3396" y="51226"/>
                  </a:lnTo>
                  <a:lnTo>
                    <a:pt x="3208" y="50848"/>
                  </a:lnTo>
                  <a:lnTo>
                    <a:pt x="3208" y="50471"/>
                  </a:lnTo>
                  <a:lnTo>
                    <a:pt x="3208" y="50094"/>
                  </a:lnTo>
                  <a:lnTo>
                    <a:pt x="3585" y="50754"/>
                  </a:lnTo>
                  <a:lnTo>
                    <a:pt x="3868" y="51509"/>
                  </a:lnTo>
                  <a:lnTo>
                    <a:pt x="3868" y="51509"/>
                  </a:lnTo>
                  <a:lnTo>
                    <a:pt x="3208" y="49528"/>
                  </a:lnTo>
                  <a:lnTo>
                    <a:pt x="3208" y="49528"/>
                  </a:lnTo>
                  <a:lnTo>
                    <a:pt x="3868" y="50754"/>
                  </a:lnTo>
                  <a:lnTo>
                    <a:pt x="3208" y="48962"/>
                  </a:lnTo>
                  <a:lnTo>
                    <a:pt x="3585" y="49339"/>
                  </a:lnTo>
                  <a:lnTo>
                    <a:pt x="3774" y="49433"/>
                  </a:lnTo>
                  <a:lnTo>
                    <a:pt x="3962" y="49528"/>
                  </a:lnTo>
                  <a:lnTo>
                    <a:pt x="4057" y="49905"/>
                  </a:lnTo>
                  <a:lnTo>
                    <a:pt x="3868" y="48962"/>
                  </a:lnTo>
                  <a:lnTo>
                    <a:pt x="3491" y="47924"/>
                  </a:lnTo>
                  <a:lnTo>
                    <a:pt x="2641" y="45565"/>
                  </a:lnTo>
                  <a:lnTo>
                    <a:pt x="2170" y="43867"/>
                  </a:lnTo>
                  <a:lnTo>
                    <a:pt x="1698" y="41886"/>
                  </a:lnTo>
                  <a:lnTo>
                    <a:pt x="1698" y="41886"/>
                  </a:lnTo>
                  <a:lnTo>
                    <a:pt x="1887" y="42075"/>
                  </a:lnTo>
                  <a:lnTo>
                    <a:pt x="1981" y="41981"/>
                  </a:lnTo>
                  <a:lnTo>
                    <a:pt x="2075" y="42075"/>
                  </a:lnTo>
                  <a:lnTo>
                    <a:pt x="2264" y="42169"/>
                  </a:lnTo>
                  <a:lnTo>
                    <a:pt x="2170" y="40283"/>
                  </a:lnTo>
                  <a:lnTo>
                    <a:pt x="2075" y="38301"/>
                  </a:lnTo>
                  <a:lnTo>
                    <a:pt x="2170" y="36415"/>
                  </a:lnTo>
                  <a:lnTo>
                    <a:pt x="2358" y="35566"/>
                  </a:lnTo>
                  <a:lnTo>
                    <a:pt x="2453" y="34811"/>
                  </a:lnTo>
                  <a:lnTo>
                    <a:pt x="2830" y="32830"/>
                  </a:lnTo>
                  <a:lnTo>
                    <a:pt x="2830" y="33207"/>
                  </a:lnTo>
                  <a:lnTo>
                    <a:pt x="2924" y="33490"/>
                  </a:lnTo>
                  <a:lnTo>
                    <a:pt x="2924" y="32453"/>
                  </a:lnTo>
                  <a:lnTo>
                    <a:pt x="3019" y="31415"/>
                  </a:lnTo>
                  <a:lnTo>
                    <a:pt x="3396" y="29245"/>
                  </a:lnTo>
                  <a:lnTo>
                    <a:pt x="3868" y="27075"/>
                  </a:lnTo>
                  <a:lnTo>
                    <a:pt x="4623" y="25000"/>
                  </a:lnTo>
                  <a:lnTo>
                    <a:pt x="5566" y="22830"/>
                  </a:lnTo>
                  <a:lnTo>
                    <a:pt x="6604" y="20849"/>
                  </a:lnTo>
                  <a:lnTo>
                    <a:pt x="7830" y="18868"/>
                  </a:lnTo>
                  <a:lnTo>
                    <a:pt x="9151" y="16887"/>
                  </a:lnTo>
                  <a:lnTo>
                    <a:pt x="10566" y="15094"/>
                  </a:lnTo>
                  <a:lnTo>
                    <a:pt x="12075" y="13302"/>
                  </a:lnTo>
                  <a:lnTo>
                    <a:pt x="13773" y="11698"/>
                  </a:lnTo>
                  <a:lnTo>
                    <a:pt x="15377" y="10095"/>
                  </a:lnTo>
                  <a:lnTo>
                    <a:pt x="17170" y="8679"/>
                  </a:lnTo>
                  <a:lnTo>
                    <a:pt x="18962" y="7453"/>
                  </a:lnTo>
                  <a:lnTo>
                    <a:pt x="20754" y="6321"/>
                  </a:lnTo>
                  <a:lnTo>
                    <a:pt x="22547" y="5378"/>
                  </a:lnTo>
                  <a:lnTo>
                    <a:pt x="21603" y="6227"/>
                  </a:lnTo>
                  <a:lnTo>
                    <a:pt x="22641" y="5472"/>
                  </a:lnTo>
                  <a:lnTo>
                    <a:pt x="23302" y="5095"/>
                  </a:lnTo>
                  <a:lnTo>
                    <a:pt x="25377" y="4151"/>
                  </a:lnTo>
                  <a:lnTo>
                    <a:pt x="24811" y="4151"/>
                  </a:lnTo>
                  <a:lnTo>
                    <a:pt x="25660" y="3774"/>
                  </a:lnTo>
                  <a:lnTo>
                    <a:pt x="26886" y="3208"/>
                  </a:lnTo>
                  <a:lnTo>
                    <a:pt x="26603" y="3585"/>
                  </a:lnTo>
                  <a:lnTo>
                    <a:pt x="26886" y="3585"/>
                  </a:lnTo>
                  <a:lnTo>
                    <a:pt x="26886" y="3680"/>
                  </a:lnTo>
                  <a:lnTo>
                    <a:pt x="26792" y="3774"/>
                  </a:lnTo>
                  <a:lnTo>
                    <a:pt x="28301" y="3302"/>
                  </a:lnTo>
                  <a:lnTo>
                    <a:pt x="29622" y="2736"/>
                  </a:lnTo>
                  <a:lnTo>
                    <a:pt x="31037" y="2264"/>
                  </a:lnTo>
                  <a:lnTo>
                    <a:pt x="31792" y="2076"/>
                  </a:lnTo>
                  <a:lnTo>
                    <a:pt x="32641" y="1981"/>
                  </a:lnTo>
                  <a:lnTo>
                    <a:pt x="32547" y="2076"/>
                  </a:lnTo>
                  <a:lnTo>
                    <a:pt x="32924" y="1981"/>
                  </a:lnTo>
                  <a:lnTo>
                    <a:pt x="34245" y="1793"/>
                  </a:lnTo>
                  <a:lnTo>
                    <a:pt x="35848" y="1415"/>
                  </a:lnTo>
                  <a:lnTo>
                    <a:pt x="36981" y="1132"/>
                  </a:lnTo>
                  <a:lnTo>
                    <a:pt x="36981" y="1415"/>
                  </a:lnTo>
                  <a:lnTo>
                    <a:pt x="40943" y="1227"/>
                  </a:lnTo>
                  <a:lnTo>
                    <a:pt x="41509" y="1038"/>
                  </a:lnTo>
                  <a:lnTo>
                    <a:pt x="41697" y="1132"/>
                  </a:lnTo>
                  <a:lnTo>
                    <a:pt x="41509" y="1227"/>
                  </a:lnTo>
                  <a:lnTo>
                    <a:pt x="41320" y="1321"/>
                  </a:lnTo>
                  <a:lnTo>
                    <a:pt x="42263" y="1321"/>
                  </a:lnTo>
                  <a:lnTo>
                    <a:pt x="43113" y="1227"/>
                  </a:lnTo>
                  <a:lnTo>
                    <a:pt x="43396" y="1415"/>
                  </a:lnTo>
                  <a:lnTo>
                    <a:pt x="44056" y="1604"/>
                  </a:lnTo>
                  <a:lnTo>
                    <a:pt x="45943" y="2076"/>
                  </a:lnTo>
                  <a:lnTo>
                    <a:pt x="48018" y="2359"/>
                  </a:lnTo>
                  <a:lnTo>
                    <a:pt x="49622" y="2736"/>
                  </a:lnTo>
                  <a:lnTo>
                    <a:pt x="47641" y="1981"/>
                  </a:lnTo>
                  <a:lnTo>
                    <a:pt x="45282" y="1321"/>
                  </a:lnTo>
                  <a:lnTo>
                    <a:pt x="42735" y="755"/>
                  </a:lnTo>
                  <a:lnTo>
                    <a:pt x="40188" y="283"/>
                  </a:lnTo>
                  <a:lnTo>
                    <a:pt x="37735" y="95"/>
                  </a:lnTo>
                  <a:lnTo>
                    <a:pt x="35471" y="0"/>
                  </a:lnTo>
                  <a:close/>
                </a:path>
              </a:pathLst>
            </a:custGeom>
            <a:solidFill>
              <a:schemeClr val="bg1">
                <a:lumMod val="95000"/>
              </a:schemeClr>
            </a:solidFill>
            <a:ln w="0">
              <a:solidFill>
                <a:schemeClr val="bg1"/>
              </a:solidFill>
            </a:ln>
          </p:spPr>
          <p:txBody>
            <a:bodyPr spcFirstLastPara="1" wrap="square" lIns="91425" tIns="91425" rIns="91425" bIns="91425" anchor="ctr" anchorCtr="0">
              <a:noAutofit/>
            </a:bodyPr>
            <a:lstStyle/>
            <a:p>
              <a:pPr marL="0" lvl="0" indent="0">
                <a:spcBef>
                  <a:spcPts val="0"/>
                </a:spcBef>
                <a:spcAft>
                  <a:spcPts val="0"/>
                </a:spcAft>
                <a:buNone/>
              </a:pPr>
              <a:endParaRPr sz="1200">
                <a:latin typeface="+mj-lt"/>
              </a:endParaRPr>
            </a:p>
          </p:txBody>
        </p:sp>
        <p:sp>
          <p:nvSpPr>
            <p:cNvPr id="327" name="TextBox 326">
              <a:extLst>
                <a:ext uri="{FF2B5EF4-FFF2-40B4-BE49-F238E27FC236}">
                  <a16:creationId xmlns:a16="http://schemas.microsoft.com/office/drawing/2014/main" id="{7CB27734-81FB-5D4D-B1AF-458C6946CED1}"/>
                </a:ext>
              </a:extLst>
            </p:cNvPr>
            <p:cNvSpPr txBox="1"/>
            <p:nvPr/>
          </p:nvSpPr>
          <p:spPr>
            <a:xfrm>
              <a:off x="2219869" y="1028158"/>
              <a:ext cx="229951" cy="254124"/>
            </a:xfrm>
            <a:prstGeom prst="rect">
              <a:avLst/>
            </a:prstGeom>
            <a:noFill/>
          </p:spPr>
          <p:txBody>
            <a:bodyPr wrap="square" rtlCol="0">
              <a:spAutoFit/>
            </a:bodyPr>
            <a:lstStyle/>
            <a:p>
              <a:r>
                <a:rPr lang="en-US" sz="600" b="1" dirty="0">
                  <a:solidFill>
                    <a:schemeClr val="bg1">
                      <a:lumMod val="95000"/>
                    </a:schemeClr>
                  </a:solidFill>
                  <a:latin typeface="+mj-lt"/>
                </a:rPr>
                <a:t>2</a:t>
              </a:r>
            </a:p>
          </p:txBody>
        </p:sp>
      </p:grpSp>
      <p:grpSp>
        <p:nvGrpSpPr>
          <p:cNvPr id="331" name="Group 330">
            <a:extLst>
              <a:ext uri="{FF2B5EF4-FFF2-40B4-BE49-F238E27FC236}">
                <a16:creationId xmlns:a16="http://schemas.microsoft.com/office/drawing/2014/main" id="{00E953FE-4BAD-F442-81B8-920B5097E8B4}"/>
              </a:ext>
            </a:extLst>
          </p:cNvPr>
          <p:cNvGrpSpPr/>
          <p:nvPr/>
        </p:nvGrpSpPr>
        <p:grpSpPr>
          <a:xfrm>
            <a:off x="3554244" y="2038294"/>
            <a:ext cx="204300" cy="184666"/>
            <a:chOff x="2219869" y="1028158"/>
            <a:chExt cx="229951" cy="254124"/>
          </a:xfrm>
        </p:grpSpPr>
        <p:sp>
          <p:nvSpPr>
            <p:cNvPr id="332" name="Google Shape;431;p39">
              <a:extLst>
                <a:ext uri="{FF2B5EF4-FFF2-40B4-BE49-F238E27FC236}">
                  <a16:creationId xmlns:a16="http://schemas.microsoft.com/office/drawing/2014/main" id="{A59B558A-A9CB-0047-A877-25AEFB5CB289}"/>
                </a:ext>
              </a:extLst>
            </p:cNvPr>
            <p:cNvSpPr/>
            <p:nvPr/>
          </p:nvSpPr>
          <p:spPr>
            <a:xfrm>
              <a:off x="2259435" y="1076105"/>
              <a:ext cx="179407" cy="167874"/>
            </a:xfrm>
            <a:custGeom>
              <a:avLst/>
              <a:gdLst/>
              <a:ahLst/>
              <a:cxnLst/>
              <a:rect l="0" t="0" r="0" b="0"/>
              <a:pathLst>
                <a:path w="67641" h="69056" extrusionOk="0">
                  <a:moveTo>
                    <a:pt x="49622" y="2736"/>
                  </a:moveTo>
                  <a:lnTo>
                    <a:pt x="49622" y="2736"/>
                  </a:lnTo>
                  <a:lnTo>
                    <a:pt x="49622" y="2736"/>
                  </a:lnTo>
                  <a:close/>
                  <a:moveTo>
                    <a:pt x="59622" y="55565"/>
                  </a:moveTo>
                  <a:lnTo>
                    <a:pt x="59622" y="55565"/>
                  </a:lnTo>
                  <a:lnTo>
                    <a:pt x="59622" y="55565"/>
                  </a:lnTo>
                  <a:close/>
                  <a:moveTo>
                    <a:pt x="35471" y="0"/>
                  </a:moveTo>
                  <a:lnTo>
                    <a:pt x="34433" y="95"/>
                  </a:lnTo>
                  <a:lnTo>
                    <a:pt x="33584" y="189"/>
                  </a:lnTo>
                  <a:lnTo>
                    <a:pt x="32735" y="378"/>
                  </a:lnTo>
                  <a:lnTo>
                    <a:pt x="32169" y="566"/>
                  </a:lnTo>
                  <a:lnTo>
                    <a:pt x="31509" y="472"/>
                  </a:lnTo>
                  <a:lnTo>
                    <a:pt x="30754" y="472"/>
                  </a:lnTo>
                  <a:lnTo>
                    <a:pt x="29339" y="566"/>
                  </a:lnTo>
                  <a:lnTo>
                    <a:pt x="27830" y="849"/>
                  </a:lnTo>
                  <a:lnTo>
                    <a:pt x="26320" y="1321"/>
                  </a:lnTo>
                  <a:lnTo>
                    <a:pt x="24811" y="1981"/>
                  </a:lnTo>
                  <a:lnTo>
                    <a:pt x="23207" y="2736"/>
                  </a:lnTo>
                  <a:lnTo>
                    <a:pt x="21698" y="3585"/>
                  </a:lnTo>
                  <a:lnTo>
                    <a:pt x="20188" y="4623"/>
                  </a:lnTo>
                  <a:lnTo>
                    <a:pt x="18679" y="5661"/>
                  </a:lnTo>
                  <a:lnTo>
                    <a:pt x="17170" y="6793"/>
                  </a:lnTo>
                  <a:lnTo>
                    <a:pt x="15754" y="8019"/>
                  </a:lnTo>
                  <a:lnTo>
                    <a:pt x="14434" y="9151"/>
                  </a:lnTo>
                  <a:lnTo>
                    <a:pt x="11981" y="11510"/>
                  </a:lnTo>
                  <a:lnTo>
                    <a:pt x="10000" y="13774"/>
                  </a:lnTo>
                  <a:lnTo>
                    <a:pt x="7736" y="16981"/>
                  </a:lnTo>
                  <a:lnTo>
                    <a:pt x="8019" y="16321"/>
                  </a:lnTo>
                  <a:lnTo>
                    <a:pt x="8302" y="15660"/>
                  </a:lnTo>
                  <a:lnTo>
                    <a:pt x="7736" y="16604"/>
                  </a:lnTo>
                  <a:lnTo>
                    <a:pt x="7075" y="17642"/>
                  </a:lnTo>
                  <a:lnTo>
                    <a:pt x="7170" y="17830"/>
                  </a:lnTo>
                  <a:lnTo>
                    <a:pt x="6509" y="18868"/>
                  </a:lnTo>
                  <a:lnTo>
                    <a:pt x="7075" y="17359"/>
                  </a:lnTo>
                  <a:lnTo>
                    <a:pt x="6132" y="19057"/>
                  </a:lnTo>
                  <a:lnTo>
                    <a:pt x="5189" y="20849"/>
                  </a:lnTo>
                  <a:lnTo>
                    <a:pt x="4434" y="22736"/>
                  </a:lnTo>
                  <a:lnTo>
                    <a:pt x="3679" y="24622"/>
                  </a:lnTo>
                  <a:lnTo>
                    <a:pt x="2453" y="28490"/>
                  </a:lnTo>
                  <a:lnTo>
                    <a:pt x="1321" y="32169"/>
                  </a:lnTo>
                  <a:lnTo>
                    <a:pt x="1509" y="32264"/>
                  </a:lnTo>
                  <a:lnTo>
                    <a:pt x="1604" y="32453"/>
                  </a:lnTo>
                  <a:lnTo>
                    <a:pt x="1604" y="32641"/>
                  </a:lnTo>
                  <a:lnTo>
                    <a:pt x="1509" y="32924"/>
                  </a:lnTo>
                  <a:lnTo>
                    <a:pt x="1226" y="33396"/>
                  </a:lnTo>
                  <a:lnTo>
                    <a:pt x="1038" y="33585"/>
                  </a:lnTo>
                  <a:lnTo>
                    <a:pt x="1038" y="33773"/>
                  </a:lnTo>
                  <a:lnTo>
                    <a:pt x="1038" y="35000"/>
                  </a:lnTo>
                  <a:lnTo>
                    <a:pt x="849" y="36132"/>
                  </a:lnTo>
                  <a:lnTo>
                    <a:pt x="660" y="37358"/>
                  </a:lnTo>
                  <a:lnTo>
                    <a:pt x="472" y="38867"/>
                  </a:lnTo>
                  <a:lnTo>
                    <a:pt x="283" y="38301"/>
                  </a:lnTo>
                  <a:lnTo>
                    <a:pt x="94" y="39811"/>
                  </a:lnTo>
                  <a:lnTo>
                    <a:pt x="0" y="41509"/>
                  </a:lnTo>
                  <a:lnTo>
                    <a:pt x="94" y="43301"/>
                  </a:lnTo>
                  <a:lnTo>
                    <a:pt x="283" y="44056"/>
                  </a:lnTo>
                  <a:lnTo>
                    <a:pt x="472" y="44622"/>
                  </a:lnTo>
                  <a:lnTo>
                    <a:pt x="566" y="45660"/>
                  </a:lnTo>
                  <a:lnTo>
                    <a:pt x="755" y="46792"/>
                  </a:lnTo>
                  <a:lnTo>
                    <a:pt x="1226" y="48962"/>
                  </a:lnTo>
                  <a:lnTo>
                    <a:pt x="1981" y="51037"/>
                  </a:lnTo>
                  <a:lnTo>
                    <a:pt x="2924" y="53112"/>
                  </a:lnTo>
                  <a:lnTo>
                    <a:pt x="4057" y="55094"/>
                  </a:lnTo>
                  <a:lnTo>
                    <a:pt x="5283" y="56980"/>
                  </a:lnTo>
                  <a:lnTo>
                    <a:pt x="6698" y="58678"/>
                  </a:lnTo>
                  <a:lnTo>
                    <a:pt x="8113" y="60282"/>
                  </a:lnTo>
                  <a:lnTo>
                    <a:pt x="9056" y="61131"/>
                  </a:lnTo>
                  <a:lnTo>
                    <a:pt x="10000" y="61980"/>
                  </a:lnTo>
                  <a:lnTo>
                    <a:pt x="11038" y="62829"/>
                  </a:lnTo>
                  <a:lnTo>
                    <a:pt x="12075" y="63584"/>
                  </a:lnTo>
                  <a:lnTo>
                    <a:pt x="14339" y="64905"/>
                  </a:lnTo>
                  <a:lnTo>
                    <a:pt x="16604" y="66131"/>
                  </a:lnTo>
                  <a:lnTo>
                    <a:pt x="19056" y="67169"/>
                  </a:lnTo>
                  <a:lnTo>
                    <a:pt x="21509" y="67923"/>
                  </a:lnTo>
                  <a:lnTo>
                    <a:pt x="24056" y="68584"/>
                  </a:lnTo>
                  <a:lnTo>
                    <a:pt x="26603" y="69055"/>
                  </a:lnTo>
                  <a:lnTo>
                    <a:pt x="27830" y="69055"/>
                  </a:lnTo>
                  <a:lnTo>
                    <a:pt x="30188" y="68867"/>
                  </a:lnTo>
                  <a:lnTo>
                    <a:pt x="33113" y="68678"/>
                  </a:lnTo>
                  <a:lnTo>
                    <a:pt x="36509" y="68301"/>
                  </a:lnTo>
                  <a:lnTo>
                    <a:pt x="39811" y="67923"/>
                  </a:lnTo>
                  <a:lnTo>
                    <a:pt x="42735" y="67452"/>
                  </a:lnTo>
                  <a:lnTo>
                    <a:pt x="44905" y="66980"/>
                  </a:lnTo>
                  <a:lnTo>
                    <a:pt x="45565" y="66791"/>
                  </a:lnTo>
                  <a:lnTo>
                    <a:pt x="45943" y="66508"/>
                  </a:lnTo>
                  <a:lnTo>
                    <a:pt x="47358" y="65942"/>
                  </a:lnTo>
                  <a:lnTo>
                    <a:pt x="48018" y="65565"/>
                  </a:lnTo>
                  <a:lnTo>
                    <a:pt x="48678" y="65188"/>
                  </a:lnTo>
                  <a:lnTo>
                    <a:pt x="47924" y="65471"/>
                  </a:lnTo>
                  <a:lnTo>
                    <a:pt x="51509" y="62924"/>
                  </a:lnTo>
                  <a:lnTo>
                    <a:pt x="53301" y="61508"/>
                  </a:lnTo>
                  <a:lnTo>
                    <a:pt x="55093" y="59905"/>
                  </a:lnTo>
                  <a:lnTo>
                    <a:pt x="55093" y="59905"/>
                  </a:lnTo>
                  <a:lnTo>
                    <a:pt x="54810" y="60376"/>
                  </a:lnTo>
                  <a:lnTo>
                    <a:pt x="54339" y="60754"/>
                  </a:lnTo>
                  <a:lnTo>
                    <a:pt x="55376" y="59999"/>
                  </a:lnTo>
                  <a:lnTo>
                    <a:pt x="56320" y="59056"/>
                  </a:lnTo>
                  <a:lnTo>
                    <a:pt x="57075" y="58395"/>
                  </a:lnTo>
                  <a:lnTo>
                    <a:pt x="57169" y="58207"/>
                  </a:lnTo>
                  <a:lnTo>
                    <a:pt x="57075" y="58207"/>
                  </a:lnTo>
                  <a:lnTo>
                    <a:pt x="57924" y="57546"/>
                  </a:lnTo>
                  <a:lnTo>
                    <a:pt x="58678" y="56697"/>
                  </a:lnTo>
                  <a:lnTo>
                    <a:pt x="59339" y="55754"/>
                  </a:lnTo>
                  <a:lnTo>
                    <a:pt x="59905" y="54905"/>
                  </a:lnTo>
                  <a:lnTo>
                    <a:pt x="59716" y="54999"/>
                  </a:lnTo>
                  <a:lnTo>
                    <a:pt x="59622" y="54999"/>
                  </a:lnTo>
                  <a:lnTo>
                    <a:pt x="59810" y="54622"/>
                  </a:lnTo>
                  <a:lnTo>
                    <a:pt x="59150" y="55565"/>
                  </a:lnTo>
                  <a:lnTo>
                    <a:pt x="59527" y="55094"/>
                  </a:lnTo>
                  <a:lnTo>
                    <a:pt x="59433" y="55377"/>
                  </a:lnTo>
                  <a:lnTo>
                    <a:pt x="58867" y="56037"/>
                  </a:lnTo>
                  <a:lnTo>
                    <a:pt x="59056" y="55660"/>
                  </a:lnTo>
                  <a:lnTo>
                    <a:pt x="59056" y="55660"/>
                  </a:lnTo>
                  <a:lnTo>
                    <a:pt x="58678" y="56037"/>
                  </a:lnTo>
                  <a:lnTo>
                    <a:pt x="59810" y="54339"/>
                  </a:lnTo>
                  <a:lnTo>
                    <a:pt x="60282" y="53490"/>
                  </a:lnTo>
                  <a:lnTo>
                    <a:pt x="60282" y="53301"/>
                  </a:lnTo>
                  <a:lnTo>
                    <a:pt x="60188" y="53395"/>
                  </a:lnTo>
                  <a:lnTo>
                    <a:pt x="60188" y="53395"/>
                  </a:lnTo>
                  <a:lnTo>
                    <a:pt x="60565" y="52924"/>
                  </a:lnTo>
                  <a:lnTo>
                    <a:pt x="61037" y="52452"/>
                  </a:lnTo>
                  <a:lnTo>
                    <a:pt x="61886" y="51509"/>
                  </a:lnTo>
                  <a:lnTo>
                    <a:pt x="61508" y="52452"/>
                  </a:lnTo>
                  <a:lnTo>
                    <a:pt x="60848" y="53584"/>
                  </a:lnTo>
                  <a:lnTo>
                    <a:pt x="59622" y="55565"/>
                  </a:lnTo>
                  <a:lnTo>
                    <a:pt x="60376" y="54528"/>
                  </a:lnTo>
                  <a:lnTo>
                    <a:pt x="60942" y="53678"/>
                  </a:lnTo>
                  <a:lnTo>
                    <a:pt x="61980" y="51792"/>
                  </a:lnTo>
                  <a:lnTo>
                    <a:pt x="61886" y="51886"/>
                  </a:lnTo>
                  <a:lnTo>
                    <a:pt x="61886" y="51697"/>
                  </a:lnTo>
                  <a:lnTo>
                    <a:pt x="62169" y="51037"/>
                  </a:lnTo>
                  <a:lnTo>
                    <a:pt x="62735" y="49999"/>
                  </a:lnTo>
                  <a:lnTo>
                    <a:pt x="61508" y="51603"/>
                  </a:lnTo>
                  <a:lnTo>
                    <a:pt x="61603" y="51037"/>
                  </a:lnTo>
                  <a:lnTo>
                    <a:pt x="61697" y="50377"/>
                  </a:lnTo>
                  <a:lnTo>
                    <a:pt x="62169" y="48962"/>
                  </a:lnTo>
                  <a:lnTo>
                    <a:pt x="62829" y="47358"/>
                  </a:lnTo>
                  <a:lnTo>
                    <a:pt x="63678" y="45565"/>
                  </a:lnTo>
                  <a:lnTo>
                    <a:pt x="65376" y="42169"/>
                  </a:lnTo>
                  <a:lnTo>
                    <a:pt x="66131" y="40660"/>
                  </a:lnTo>
                  <a:lnTo>
                    <a:pt x="66697" y="39339"/>
                  </a:lnTo>
                  <a:lnTo>
                    <a:pt x="66603" y="39528"/>
                  </a:lnTo>
                  <a:lnTo>
                    <a:pt x="66697" y="39056"/>
                  </a:lnTo>
                  <a:lnTo>
                    <a:pt x="66791" y="38962"/>
                  </a:lnTo>
                  <a:lnTo>
                    <a:pt x="66791" y="39056"/>
                  </a:lnTo>
                  <a:lnTo>
                    <a:pt x="66886" y="38584"/>
                  </a:lnTo>
                  <a:lnTo>
                    <a:pt x="66791" y="38867"/>
                  </a:lnTo>
                  <a:lnTo>
                    <a:pt x="66980" y="38207"/>
                  </a:lnTo>
                  <a:lnTo>
                    <a:pt x="67169" y="37264"/>
                  </a:lnTo>
                  <a:lnTo>
                    <a:pt x="67263" y="36415"/>
                  </a:lnTo>
                  <a:lnTo>
                    <a:pt x="67357" y="36509"/>
                  </a:lnTo>
                  <a:lnTo>
                    <a:pt x="67452" y="36509"/>
                  </a:lnTo>
                  <a:lnTo>
                    <a:pt x="67546" y="35943"/>
                  </a:lnTo>
                  <a:lnTo>
                    <a:pt x="67546" y="34811"/>
                  </a:lnTo>
                  <a:lnTo>
                    <a:pt x="67640" y="31037"/>
                  </a:lnTo>
                  <a:lnTo>
                    <a:pt x="67640" y="28490"/>
                  </a:lnTo>
                  <a:lnTo>
                    <a:pt x="67546" y="27736"/>
                  </a:lnTo>
                  <a:lnTo>
                    <a:pt x="67546" y="27547"/>
                  </a:lnTo>
                  <a:lnTo>
                    <a:pt x="67452" y="27547"/>
                  </a:lnTo>
                  <a:lnTo>
                    <a:pt x="67074" y="26792"/>
                  </a:lnTo>
                  <a:lnTo>
                    <a:pt x="66791" y="25660"/>
                  </a:lnTo>
                  <a:lnTo>
                    <a:pt x="66508" y="24528"/>
                  </a:lnTo>
                  <a:lnTo>
                    <a:pt x="66414" y="23585"/>
                  </a:lnTo>
                  <a:lnTo>
                    <a:pt x="66320" y="23679"/>
                  </a:lnTo>
                  <a:lnTo>
                    <a:pt x="66320" y="23490"/>
                  </a:lnTo>
                  <a:lnTo>
                    <a:pt x="65942" y="22924"/>
                  </a:lnTo>
                  <a:lnTo>
                    <a:pt x="65565" y="22358"/>
                  </a:lnTo>
                  <a:lnTo>
                    <a:pt x="64527" y="21132"/>
                  </a:lnTo>
                  <a:lnTo>
                    <a:pt x="63584" y="19906"/>
                  </a:lnTo>
                  <a:lnTo>
                    <a:pt x="63207" y="19340"/>
                  </a:lnTo>
                  <a:lnTo>
                    <a:pt x="63018" y="18774"/>
                  </a:lnTo>
                  <a:lnTo>
                    <a:pt x="63112" y="18962"/>
                  </a:lnTo>
                  <a:lnTo>
                    <a:pt x="63301" y="19057"/>
                  </a:lnTo>
                  <a:lnTo>
                    <a:pt x="63301" y="19057"/>
                  </a:lnTo>
                  <a:lnTo>
                    <a:pt x="63207" y="18868"/>
                  </a:lnTo>
                  <a:lnTo>
                    <a:pt x="62923" y="18491"/>
                  </a:lnTo>
                  <a:lnTo>
                    <a:pt x="61980" y="17453"/>
                  </a:lnTo>
                  <a:lnTo>
                    <a:pt x="61037" y="16509"/>
                  </a:lnTo>
                  <a:lnTo>
                    <a:pt x="61037" y="16698"/>
                  </a:lnTo>
                  <a:lnTo>
                    <a:pt x="61037" y="16887"/>
                  </a:lnTo>
                  <a:lnTo>
                    <a:pt x="60093" y="15943"/>
                  </a:lnTo>
                  <a:lnTo>
                    <a:pt x="60376" y="16321"/>
                  </a:lnTo>
                  <a:lnTo>
                    <a:pt x="59527" y="15377"/>
                  </a:lnTo>
                  <a:lnTo>
                    <a:pt x="59056" y="14906"/>
                  </a:lnTo>
                  <a:lnTo>
                    <a:pt x="59244" y="14906"/>
                  </a:lnTo>
                  <a:lnTo>
                    <a:pt x="59905" y="15472"/>
                  </a:lnTo>
                  <a:lnTo>
                    <a:pt x="59905" y="15472"/>
                  </a:lnTo>
                  <a:lnTo>
                    <a:pt x="57641" y="13396"/>
                  </a:lnTo>
                  <a:lnTo>
                    <a:pt x="58112" y="13868"/>
                  </a:lnTo>
                  <a:lnTo>
                    <a:pt x="56886" y="13019"/>
                  </a:lnTo>
                  <a:lnTo>
                    <a:pt x="55754" y="12453"/>
                  </a:lnTo>
                  <a:lnTo>
                    <a:pt x="56603" y="13113"/>
                  </a:lnTo>
                  <a:lnTo>
                    <a:pt x="57452" y="13774"/>
                  </a:lnTo>
                  <a:lnTo>
                    <a:pt x="58961" y="15283"/>
                  </a:lnTo>
                  <a:lnTo>
                    <a:pt x="60376" y="16604"/>
                  </a:lnTo>
                  <a:lnTo>
                    <a:pt x="61225" y="17264"/>
                  </a:lnTo>
                  <a:lnTo>
                    <a:pt x="62074" y="17925"/>
                  </a:lnTo>
                  <a:lnTo>
                    <a:pt x="62074" y="17925"/>
                  </a:lnTo>
                  <a:lnTo>
                    <a:pt x="61414" y="17547"/>
                  </a:lnTo>
                  <a:lnTo>
                    <a:pt x="60659" y="16981"/>
                  </a:lnTo>
                  <a:lnTo>
                    <a:pt x="60754" y="17264"/>
                  </a:lnTo>
                  <a:lnTo>
                    <a:pt x="60942" y="17642"/>
                  </a:lnTo>
                  <a:lnTo>
                    <a:pt x="61980" y="19151"/>
                  </a:lnTo>
                  <a:lnTo>
                    <a:pt x="63301" y="20943"/>
                  </a:lnTo>
                  <a:lnTo>
                    <a:pt x="63207" y="20943"/>
                  </a:lnTo>
                  <a:lnTo>
                    <a:pt x="63395" y="21038"/>
                  </a:lnTo>
                  <a:lnTo>
                    <a:pt x="63490" y="21321"/>
                  </a:lnTo>
                  <a:lnTo>
                    <a:pt x="63678" y="21604"/>
                  </a:lnTo>
                  <a:lnTo>
                    <a:pt x="63773" y="21698"/>
                  </a:lnTo>
                  <a:lnTo>
                    <a:pt x="63584" y="21321"/>
                  </a:lnTo>
                  <a:lnTo>
                    <a:pt x="63584" y="21321"/>
                  </a:lnTo>
                  <a:lnTo>
                    <a:pt x="64244" y="22170"/>
                  </a:lnTo>
                  <a:lnTo>
                    <a:pt x="64716" y="22641"/>
                  </a:lnTo>
                  <a:lnTo>
                    <a:pt x="64905" y="22830"/>
                  </a:lnTo>
                  <a:lnTo>
                    <a:pt x="64999" y="22830"/>
                  </a:lnTo>
                  <a:lnTo>
                    <a:pt x="64999" y="22641"/>
                  </a:lnTo>
                  <a:lnTo>
                    <a:pt x="64905" y="22358"/>
                  </a:lnTo>
                  <a:lnTo>
                    <a:pt x="65282" y="23207"/>
                  </a:lnTo>
                  <a:lnTo>
                    <a:pt x="65565" y="24056"/>
                  </a:lnTo>
                  <a:lnTo>
                    <a:pt x="66225" y="25943"/>
                  </a:lnTo>
                  <a:lnTo>
                    <a:pt x="66697" y="27830"/>
                  </a:lnTo>
                  <a:lnTo>
                    <a:pt x="66886" y="28490"/>
                  </a:lnTo>
                  <a:lnTo>
                    <a:pt x="66980" y="28868"/>
                  </a:lnTo>
                  <a:lnTo>
                    <a:pt x="66886" y="28962"/>
                  </a:lnTo>
                  <a:lnTo>
                    <a:pt x="66697" y="28679"/>
                  </a:lnTo>
                  <a:lnTo>
                    <a:pt x="66697" y="29245"/>
                  </a:lnTo>
                  <a:lnTo>
                    <a:pt x="66791" y="29905"/>
                  </a:lnTo>
                  <a:lnTo>
                    <a:pt x="66886" y="29905"/>
                  </a:lnTo>
                  <a:lnTo>
                    <a:pt x="66886" y="30094"/>
                  </a:lnTo>
                  <a:lnTo>
                    <a:pt x="66886" y="30566"/>
                  </a:lnTo>
                  <a:lnTo>
                    <a:pt x="66697" y="30377"/>
                  </a:lnTo>
                  <a:lnTo>
                    <a:pt x="66603" y="30188"/>
                  </a:lnTo>
                  <a:lnTo>
                    <a:pt x="66603" y="30094"/>
                  </a:lnTo>
                  <a:lnTo>
                    <a:pt x="66697" y="29905"/>
                  </a:lnTo>
                  <a:lnTo>
                    <a:pt x="66508" y="28679"/>
                  </a:lnTo>
                  <a:lnTo>
                    <a:pt x="66225" y="27358"/>
                  </a:lnTo>
                  <a:lnTo>
                    <a:pt x="66603" y="30283"/>
                  </a:lnTo>
                  <a:lnTo>
                    <a:pt x="66697" y="31792"/>
                  </a:lnTo>
                  <a:lnTo>
                    <a:pt x="66697" y="33302"/>
                  </a:lnTo>
                  <a:lnTo>
                    <a:pt x="66603" y="34717"/>
                  </a:lnTo>
                  <a:lnTo>
                    <a:pt x="66414" y="36226"/>
                  </a:lnTo>
                  <a:lnTo>
                    <a:pt x="66131" y="37547"/>
                  </a:lnTo>
                  <a:lnTo>
                    <a:pt x="65659" y="38962"/>
                  </a:lnTo>
                  <a:lnTo>
                    <a:pt x="65848" y="38584"/>
                  </a:lnTo>
                  <a:lnTo>
                    <a:pt x="65942" y="38584"/>
                  </a:lnTo>
                  <a:lnTo>
                    <a:pt x="65848" y="39245"/>
                  </a:lnTo>
                  <a:lnTo>
                    <a:pt x="65565" y="40188"/>
                  </a:lnTo>
                  <a:lnTo>
                    <a:pt x="65471" y="40471"/>
                  </a:lnTo>
                  <a:lnTo>
                    <a:pt x="65282" y="40660"/>
                  </a:lnTo>
                  <a:lnTo>
                    <a:pt x="65282" y="40566"/>
                  </a:lnTo>
                  <a:lnTo>
                    <a:pt x="65093" y="41132"/>
                  </a:lnTo>
                  <a:lnTo>
                    <a:pt x="64433" y="43018"/>
                  </a:lnTo>
                  <a:lnTo>
                    <a:pt x="63678" y="45282"/>
                  </a:lnTo>
                  <a:lnTo>
                    <a:pt x="62735" y="47264"/>
                  </a:lnTo>
                  <a:lnTo>
                    <a:pt x="61697" y="49056"/>
                  </a:lnTo>
                  <a:lnTo>
                    <a:pt x="60659" y="50943"/>
                  </a:lnTo>
                  <a:lnTo>
                    <a:pt x="59433" y="52735"/>
                  </a:lnTo>
                  <a:lnTo>
                    <a:pt x="58207" y="54433"/>
                  </a:lnTo>
                  <a:lnTo>
                    <a:pt x="56886" y="56037"/>
                  </a:lnTo>
                  <a:lnTo>
                    <a:pt x="55376" y="57641"/>
                  </a:lnTo>
                  <a:lnTo>
                    <a:pt x="53867" y="59150"/>
                  </a:lnTo>
                  <a:lnTo>
                    <a:pt x="52169" y="60376"/>
                  </a:lnTo>
                  <a:lnTo>
                    <a:pt x="48961" y="62452"/>
                  </a:lnTo>
                  <a:lnTo>
                    <a:pt x="44528" y="65282"/>
                  </a:lnTo>
                  <a:lnTo>
                    <a:pt x="44622" y="65188"/>
                  </a:lnTo>
                  <a:lnTo>
                    <a:pt x="44716" y="65093"/>
                  </a:lnTo>
                  <a:lnTo>
                    <a:pt x="45094" y="64810"/>
                  </a:lnTo>
                  <a:lnTo>
                    <a:pt x="45660" y="64527"/>
                  </a:lnTo>
                  <a:lnTo>
                    <a:pt x="43867" y="65376"/>
                  </a:lnTo>
                  <a:lnTo>
                    <a:pt x="43113" y="65754"/>
                  </a:lnTo>
                  <a:lnTo>
                    <a:pt x="42924" y="65754"/>
                  </a:lnTo>
                  <a:lnTo>
                    <a:pt x="43113" y="65659"/>
                  </a:lnTo>
                  <a:lnTo>
                    <a:pt x="41603" y="66037"/>
                  </a:lnTo>
                  <a:lnTo>
                    <a:pt x="39999" y="66320"/>
                  </a:lnTo>
                  <a:lnTo>
                    <a:pt x="38396" y="66508"/>
                  </a:lnTo>
                  <a:lnTo>
                    <a:pt x="36792" y="66697"/>
                  </a:lnTo>
                  <a:lnTo>
                    <a:pt x="33584" y="66980"/>
                  </a:lnTo>
                  <a:lnTo>
                    <a:pt x="32169" y="67169"/>
                  </a:lnTo>
                  <a:lnTo>
                    <a:pt x="30754" y="67357"/>
                  </a:lnTo>
                  <a:lnTo>
                    <a:pt x="30094" y="67357"/>
                  </a:lnTo>
                  <a:lnTo>
                    <a:pt x="29339" y="67263"/>
                  </a:lnTo>
                  <a:lnTo>
                    <a:pt x="27830" y="66886"/>
                  </a:lnTo>
                  <a:lnTo>
                    <a:pt x="26415" y="66508"/>
                  </a:lnTo>
                  <a:lnTo>
                    <a:pt x="25754" y="66414"/>
                  </a:lnTo>
                  <a:lnTo>
                    <a:pt x="25094" y="66414"/>
                  </a:lnTo>
                  <a:lnTo>
                    <a:pt x="25566" y="66980"/>
                  </a:lnTo>
                  <a:lnTo>
                    <a:pt x="25471" y="67074"/>
                  </a:lnTo>
                  <a:lnTo>
                    <a:pt x="25188" y="66980"/>
                  </a:lnTo>
                  <a:lnTo>
                    <a:pt x="24339" y="66791"/>
                  </a:lnTo>
                  <a:lnTo>
                    <a:pt x="23773" y="66508"/>
                  </a:lnTo>
                  <a:lnTo>
                    <a:pt x="24245" y="66414"/>
                  </a:lnTo>
                  <a:lnTo>
                    <a:pt x="24717" y="66603"/>
                  </a:lnTo>
                  <a:lnTo>
                    <a:pt x="24811" y="66414"/>
                  </a:lnTo>
                  <a:lnTo>
                    <a:pt x="24811" y="66320"/>
                  </a:lnTo>
                  <a:lnTo>
                    <a:pt x="24717" y="66225"/>
                  </a:lnTo>
                  <a:lnTo>
                    <a:pt x="24528" y="66131"/>
                  </a:lnTo>
                  <a:lnTo>
                    <a:pt x="24151" y="66225"/>
                  </a:lnTo>
                  <a:lnTo>
                    <a:pt x="23679" y="66320"/>
                  </a:lnTo>
                  <a:lnTo>
                    <a:pt x="23018" y="66414"/>
                  </a:lnTo>
                  <a:lnTo>
                    <a:pt x="23490" y="66225"/>
                  </a:lnTo>
                  <a:lnTo>
                    <a:pt x="22075" y="65942"/>
                  </a:lnTo>
                  <a:lnTo>
                    <a:pt x="20943" y="65659"/>
                  </a:lnTo>
                  <a:lnTo>
                    <a:pt x="20000" y="65282"/>
                  </a:lnTo>
                  <a:lnTo>
                    <a:pt x="19056" y="64810"/>
                  </a:lnTo>
                  <a:lnTo>
                    <a:pt x="19056" y="64810"/>
                  </a:lnTo>
                  <a:lnTo>
                    <a:pt x="19717" y="64999"/>
                  </a:lnTo>
                  <a:lnTo>
                    <a:pt x="19151" y="64716"/>
                  </a:lnTo>
                  <a:lnTo>
                    <a:pt x="18962" y="64810"/>
                  </a:lnTo>
                  <a:lnTo>
                    <a:pt x="19151" y="64905"/>
                  </a:lnTo>
                  <a:lnTo>
                    <a:pt x="18490" y="64905"/>
                  </a:lnTo>
                  <a:lnTo>
                    <a:pt x="17830" y="64716"/>
                  </a:lnTo>
                  <a:lnTo>
                    <a:pt x="17264" y="64527"/>
                  </a:lnTo>
                  <a:lnTo>
                    <a:pt x="16698" y="64150"/>
                  </a:lnTo>
                  <a:lnTo>
                    <a:pt x="16981" y="64056"/>
                  </a:lnTo>
                  <a:lnTo>
                    <a:pt x="17264" y="64150"/>
                  </a:lnTo>
                  <a:lnTo>
                    <a:pt x="17264" y="64150"/>
                  </a:lnTo>
                  <a:lnTo>
                    <a:pt x="15188" y="63207"/>
                  </a:lnTo>
                  <a:lnTo>
                    <a:pt x="14622" y="62829"/>
                  </a:lnTo>
                  <a:lnTo>
                    <a:pt x="14717" y="62924"/>
                  </a:lnTo>
                  <a:lnTo>
                    <a:pt x="13773" y="62546"/>
                  </a:lnTo>
                  <a:lnTo>
                    <a:pt x="12924" y="62075"/>
                  </a:lnTo>
                  <a:lnTo>
                    <a:pt x="12358" y="61697"/>
                  </a:lnTo>
                  <a:lnTo>
                    <a:pt x="12264" y="61508"/>
                  </a:lnTo>
                  <a:lnTo>
                    <a:pt x="12170" y="61320"/>
                  </a:lnTo>
                  <a:lnTo>
                    <a:pt x="11698" y="60942"/>
                  </a:lnTo>
                  <a:lnTo>
                    <a:pt x="11132" y="60471"/>
                  </a:lnTo>
                  <a:lnTo>
                    <a:pt x="9906" y="59244"/>
                  </a:lnTo>
                  <a:lnTo>
                    <a:pt x="9906" y="59244"/>
                  </a:lnTo>
                  <a:lnTo>
                    <a:pt x="10566" y="59527"/>
                  </a:lnTo>
                  <a:lnTo>
                    <a:pt x="9434" y="58584"/>
                  </a:lnTo>
                  <a:lnTo>
                    <a:pt x="8207" y="57546"/>
                  </a:lnTo>
                  <a:lnTo>
                    <a:pt x="7547" y="56886"/>
                  </a:lnTo>
                  <a:lnTo>
                    <a:pt x="6981" y="56131"/>
                  </a:lnTo>
                  <a:lnTo>
                    <a:pt x="6226" y="55094"/>
                  </a:lnTo>
                  <a:lnTo>
                    <a:pt x="6415" y="55377"/>
                  </a:lnTo>
                  <a:lnTo>
                    <a:pt x="6038" y="54905"/>
                  </a:lnTo>
                  <a:lnTo>
                    <a:pt x="5472" y="54244"/>
                  </a:lnTo>
                  <a:lnTo>
                    <a:pt x="5283" y="53961"/>
                  </a:lnTo>
                  <a:lnTo>
                    <a:pt x="5094" y="53867"/>
                  </a:lnTo>
                  <a:lnTo>
                    <a:pt x="5377" y="54622"/>
                  </a:lnTo>
                  <a:lnTo>
                    <a:pt x="5849" y="55282"/>
                  </a:lnTo>
                  <a:lnTo>
                    <a:pt x="6321" y="55943"/>
                  </a:lnTo>
                  <a:lnTo>
                    <a:pt x="6698" y="56603"/>
                  </a:lnTo>
                  <a:lnTo>
                    <a:pt x="6226" y="56226"/>
                  </a:lnTo>
                  <a:lnTo>
                    <a:pt x="5943" y="55848"/>
                  </a:lnTo>
                  <a:lnTo>
                    <a:pt x="6038" y="56037"/>
                  </a:lnTo>
                  <a:lnTo>
                    <a:pt x="5943" y="55943"/>
                  </a:lnTo>
                  <a:lnTo>
                    <a:pt x="5377" y="55188"/>
                  </a:lnTo>
                  <a:lnTo>
                    <a:pt x="5000" y="54716"/>
                  </a:lnTo>
                  <a:lnTo>
                    <a:pt x="4717" y="54150"/>
                  </a:lnTo>
                  <a:lnTo>
                    <a:pt x="4528" y="53678"/>
                  </a:lnTo>
                  <a:lnTo>
                    <a:pt x="4528" y="53584"/>
                  </a:lnTo>
                  <a:lnTo>
                    <a:pt x="4623" y="53395"/>
                  </a:lnTo>
                  <a:lnTo>
                    <a:pt x="5094" y="54244"/>
                  </a:lnTo>
                  <a:lnTo>
                    <a:pt x="4717" y="53301"/>
                  </a:lnTo>
                  <a:lnTo>
                    <a:pt x="4528" y="53018"/>
                  </a:lnTo>
                  <a:lnTo>
                    <a:pt x="4151" y="52263"/>
                  </a:lnTo>
                  <a:lnTo>
                    <a:pt x="4151" y="52169"/>
                  </a:lnTo>
                  <a:lnTo>
                    <a:pt x="3774" y="51509"/>
                  </a:lnTo>
                  <a:lnTo>
                    <a:pt x="3396" y="50660"/>
                  </a:lnTo>
                  <a:lnTo>
                    <a:pt x="3585" y="51603"/>
                  </a:lnTo>
                  <a:lnTo>
                    <a:pt x="3396" y="51226"/>
                  </a:lnTo>
                  <a:lnTo>
                    <a:pt x="3208" y="50848"/>
                  </a:lnTo>
                  <a:lnTo>
                    <a:pt x="3208" y="50471"/>
                  </a:lnTo>
                  <a:lnTo>
                    <a:pt x="3208" y="50094"/>
                  </a:lnTo>
                  <a:lnTo>
                    <a:pt x="3585" y="50754"/>
                  </a:lnTo>
                  <a:lnTo>
                    <a:pt x="3868" y="51509"/>
                  </a:lnTo>
                  <a:lnTo>
                    <a:pt x="3868" y="51509"/>
                  </a:lnTo>
                  <a:lnTo>
                    <a:pt x="3208" y="49528"/>
                  </a:lnTo>
                  <a:lnTo>
                    <a:pt x="3208" y="49528"/>
                  </a:lnTo>
                  <a:lnTo>
                    <a:pt x="3868" y="50754"/>
                  </a:lnTo>
                  <a:lnTo>
                    <a:pt x="3208" y="48962"/>
                  </a:lnTo>
                  <a:lnTo>
                    <a:pt x="3585" y="49339"/>
                  </a:lnTo>
                  <a:lnTo>
                    <a:pt x="3774" y="49433"/>
                  </a:lnTo>
                  <a:lnTo>
                    <a:pt x="3962" y="49528"/>
                  </a:lnTo>
                  <a:lnTo>
                    <a:pt x="4057" y="49905"/>
                  </a:lnTo>
                  <a:lnTo>
                    <a:pt x="3868" y="48962"/>
                  </a:lnTo>
                  <a:lnTo>
                    <a:pt x="3491" y="47924"/>
                  </a:lnTo>
                  <a:lnTo>
                    <a:pt x="2641" y="45565"/>
                  </a:lnTo>
                  <a:lnTo>
                    <a:pt x="2170" y="43867"/>
                  </a:lnTo>
                  <a:lnTo>
                    <a:pt x="1698" y="41886"/>
                  </a:lnTo>
                  <a:lnTo>
                    <a:pt x="1698" y="41886"/>
                  </a:lnTo>
                  <a:lnTo>
                    <a:pt x="1887" y="42075"/>
                  </a:lnTo>
                  <a:lnTo>
                    <a:pt x="1981" y="41981"/>
                  </a:lnTo>
                  <a:lnTo>
                    <a:pt x="2075" y="42075"/>
                  </a:lnTo>
                  <a:lnTo>
                    <a:pt x="2264" y="42169"/>
                  </a:lnTo>
                  <a:lnTo>
                    <a:pt x="2170" y="40283"/>
                  </a:lnTo>
                  <a:lnTo>
                    <a:pt x="2075" y="38301"/>
                  </a:lnTo>
                  <a:lnTo>
                    <a:pt x="2170" y="36415"/>
                  </a:lnTo>
                  <a:lnTo>
                    <a:pt x="2358" y="35566"/>
                  </a:lnTo>
                  <a:lnTo>
                    <a:pt x="2453" y="34811"/>
                  </a:lnTo>
                  <a:lnTo>
                    <a:pt x="2830" y="32830"/>
                  </a:lnTo>
                  <a:lnTo>
                    <a:pt x="2830" y="33207"/>
                  </a:lnTo>
                  <a:lnTo>
                    <a:pt x="2924" y="33490"/>
                  </a:lnTo>
                  <a:lnTo>
                    <a:pt x="2924" y="32453"/>
                  </a:lnTo>
                  <a:lnTo>
                    <a:pt x="3019" y="31415"/>
                  </a:lnTo>
                  <a:lnTo>
                    <a:pt x="3396" y="29245"/>
                  </a:lnTo>
                  <a:lnTo>
                    <a:pt x="3868" y="27075"/>
                  </a:lnTo>
                  <a:lnTo>
                    <a:pt x="4623" y="25000"/>
                  </a:lnTo>
                  <a:lnTo>
                    <a:pt x="5566" y="22830"/>
                  </a:lnTo>
                  <a:lnTo>
                    <a:pt x="6604" y="20849"/>
                  </a:lnTo>
                  <a:lnTo>
                    <a:pt x="7830" y="18868"/>
                  </a:lnTo>
                  <a:lnTo>
                    <a:pt x="9151" y="16887"/>
                  </a:lnTo>
                  <a:lnTo>
                    <a:pt x="10566" y="15094"/>
                  </a:lnTo>
                  <a:lnTo>
                    <a:pt x="12075" y="13302"/>
                  </a:lnTo>
                  <a:lnTo>
                    <a:pt x="13773" y="11698"/>
                  </a:lnTo>
                  <a:lnTo>
                    <a:pt x="15377" y="10095"/>
                  </a:lnTo>
                  <a:lnTo>
                    <a:pt x="17170" y="8679"/>
                  </a:lnTo>
                  <a:lnTo>
                    <a:pt x="18962" y="7453"/>
                  </a:lnTo>
                  <a:lnTo>
                    <a:pt x="20754" y="6321"/>
                  </a:lnTo>
                  <a:lnTo>
                    <a:pt x="22547" y="5378"/>
                  </a:lnTo>
                  <a:lnTo>
                    <a:pt x="21603" y="6227"/>
                  </a:lnTo>
                  <a:lnTo>
                    <a:pt x="22641" y="5472"/>
                  </a:lnTo>
                  <a:lnTo>
                    <a:pt x="23302" y="5095"/>
                  </a:lnTo>
                  <a:lnTo>
                    <a:pt x="25377" y="4151"/>
                  </a:lnTo>
                  <a:lnTo>
                    <a:pt x="24811" y="4151"/>
                  </a:lnTo>
                  <a:lnTo>
                    <a:pt x="25660" y="3774"/>
                  </a:lnTo>
                  <a:lnTo>
                    <a:pt x="26886" y="3208"/>
                  </a:lnTo>
                  <a:lnTo>
                    <a:pt x="26603" y="3585"/>
                  </a:lnTo>
                  <a:lnTo>
                    <a:pt x="26886" y="3585"/>
                  </a:lnTo>
                  <a:lnTo>
                    <a:pt x="26886" y="3680"/>
                  </a:lnTo>
                  <a:lnTo>
                    <a:pt x="26792" y="3774"/>
                  </a:lnTo>
                  <a:lnTo>
                    <a:pt x="28301" y="3302"/>
                  </a:lnTo>
                  <a:lnTo>
                    <a:pt x="29622" y="2736"/>
                  </a:lnTo>
                  <a:lnTo>
                    <a:pt x="31037" y="2264"/>
                  </a:lnTo>
                  <a:lnTo>
                    <a:pt x="31792" y="2076"/>
                  </a:lnTo>
                  <a:lnTo>
                    <a:pt x="32641" y="1981"/>
                  </a:lnTo>
                  <a:lnTo>
                    <a:pt x="32547" y="2076"/>
                  </a:lnTo>
                  <a:lnTo>
                    <a:pt x="32924" y="1981"/>
                  </a:lnTo>
                  <a:lnTo>
                    <a:pt x="34245" y="1793"/>
                  </a:lnTo>
                  <a:lnTo>
                    <a:pt x="35848" y="1415"/>
                  </a:lnTo>
                  <a:lnTo>
                    <a:pt x="36981" y="1132"/>
                  </a:lnTo>
                  <a:lnTo>
                    <a:pt x="36981" y="1415"/>
                  </a:lnTo>
                  <a:lnTo>
                    <a:pt x="40943" y="1227"/>
                  </a:lnTo>
                  <a:lnTo>
                    <a:pt x="41509" y="1038"/>
                  </a:lnTo>
                  <a:lnTo>
                    <a:pt x="41697" y="1132"/>
                  </a:lnTo>
                  <a:lnTo>
                    <a:pt x="41509" y="1227"/>
                  </a:lnTo>
                  <a:lnTo>
                    <a:pt x="41320" y="1321"/>
                  </a:lnTo>
                  <a:lnTo>
                    <a:pt x="42263" y="1321"/>
                  </a:lnTo>
                  <a:lnTo>
                    <a:pt x="43113" y="1227"/>
                  </a:lnTo>
                  <a:lnTo>
                    <a:pt x="43396" y="1415"/>
                  </a:lnTo>
                  <a:lnTo>
                    <a:pt x="44056" y="1604"/>
                  </a:lnTo>
                  <a:lnTo>
                    <a:pt x="45943" y="2076"/>
                  </a:lnTo>
                  <a:lnTo>
                    <a:pt x="48018" y="2359"/>
                  </a:lnTo>
                  <a:lnTo>
                    <a:pt x="49622" y="2736"/>
                  </a:lnTo>
                  <a:lnTo>
                    <a:pt x="47641" y="1981"/>
                  </a:lnTo>
                  <a:lnTo>
                    <a:pt x="45282" y="1321"/>
                  </a:lnTo>
                  <a:lnTo>
                    <a:pt x="42735" y="755"/>
                  </a:lnTo>
                  <a:lnTo>
                    <a:pt x="40188" y="283"/>
                  </a:lnTo>
                  <a:lnTo>
                    <a:pt x="37735" y="95"/>
                  </a:lnTo>
                  <a:lnTo>
                    <a:pt x="35471" y="0"/>
                  </a:lnTo>
                  <a:close/>
                </a:path>
              </a:pathLst>
            </a:custGeom>
            <a:solidFill>
              <a:schemeClr val="bg1">
                <a:lumMod val="95000"/>
              </a:schemeClr>
            </a:solidFill>
            <a:ln w="0">
              <a:solidFill>
                <a:schemeClr val="bg1"/>
              </a:solidFill>
            </a:ln>
          </p:spPr>
          <p:txBody>
            <a:bodyPr spcFirstLastPara="1" wrap="square" lIns="91425" tIns="91425" rIns="91425" bIns="91425" anchor="ctr" anchorCtr="0">
              <a:noAutofit/>
            </a:bodyPr>
            <a:lstStyle/>
            <a:p>
              <a:pPr marL="0" lvl="0" indent="0">
                <a:spcBef>
                  <a:spcPts val="0"/>
                </a:spcBef>
                <a:spcAft>
                  <a:spcPts val="0"/>
                </a:spcAft>
                <a:buNone/>
              </a:pPr>
              <a:endParaRPr sz="1200">
                <a:latin typeface="+mj-lt"/>
              </a:endParaRPr>
            </a:p>
          </p:txBody>
        </p:sp>
        <p:sp>
          <p:nvSpPr>
            <p:cNvPr id="333" name="TextBox 332">
              <a:extLst>
                <a:ext uri="{FF2B5EF4-FFF2-40B4-BE49-F238E27FC236}">
                  <a16:creationId xmlns:a16="http://schemas.microsoft.com/office/drawing/2014/main" id="{E3AD241A-1043-AE49-9B30-7FBEC309DEB7}"/>
                </a:ext>
              </a:extLst>
            </p:cNvPr>
            <p:cNvSpPr txBox="1"/>
            <p:nvPr/>
          </p:nvSpPr>
          <p:spPr>
            <a:xfrm>
              <a:off x="2219869" y="1028158"/>
              <a:ext cx="229951" cy="254124"/>
            </a:xfrm>
            <a:prstGeom prst="rect">
              <a:avLst/>
            </a:prstGeom>
            <a:noFill/>
          </p:spPr>
          <p:txBody>
            <a:bodyPr wrap="square" rtlCol="0">
              <a:spAutoFit/>
            </a:bodyPr>
            <a:lstStyle/>
            <a:p>
              <a:r>
                <a:rPr lang="en-US" sz="600" b="1" dirty="0">
                  <a:solidFill>
                    <a:schemeClr val="bg1">
                      <a:lumMod val="95000"/>
                    </a:schemeClr>
                  </a:solidFill>
                  <a:latin typeface="+mj-lt"/>
                </a:rPr>
                <a:t>3</a:t>
              </a:r>
            </a:p>
          </p:txBody>
        </p:sp>
      </p:grpSp>
      <p:grpSp>
        <p:nvGrpSpPr>
          <p:cNvPr id="334" name="Group 333">
            <a:extLst>
              <a:ext uri="{FF2B5EF4-FFF2-40B4-BE49-F238E27FC236}">
                <a16:creationId xmlns:a16="http://schemas.microsoft.com/office/drawing/2014/main" id="{236081BF-344A-E34B-B6CF-6C4AC91571BD}"/>
              </a:ext>
            </a:extLst>
          </p:cNvPr>
          <p:cNvGrpSpPr/>
          <p:nvPr/>
        </p:nvGrpSpPr>
        <p:grpSpPr>
          <a:xfrm>
            <a:off x="3557748" y="3318885"/>
            <a:ext cx="204300" cy="184666"/>
            <a:chOff x="2219869" y="1028158"/>
            <a:chExt cx="229951" cy="254124"/>
          </a:xfrm>
        </p:grpSpPr>
        <p:sp>
          <p:nvSpPr>
            <p:cNvPr id="335" name="Google Shape;431;p39">
              <a:extLst>
                <a:ext uri="{FF2B5EF4-FFF2-40B4-BE49-F238E27FC236}">
                  <a16:creationId xmlns:a16="http://schemas.microsoft.com/office/drawing/2014/main" id="{CC0D05B2-67AF-9D41-A6D7-4D7E470495EE}"/>
                </a:ext>
              </a:extLst>
            </p:cNvPr>
            <p:cNvSpPr/>
            <p:nvPr/>
          </p:nvSpPr>
          <p:spPr>
            <a:xfrm>
              <a:off x="2259435" y="1076105"/>
              <a:ext cx="179407" cy="167874"/>
            </a:xfrm>
            <a:custGeom>
              <a:avLst/>
              <a:gdLst/>
              <a:ahLst/>
              <a:cxnLst/>
              <a:rect l="0" t="0" r="0" b="0"/>
              <a:pathLst>
                <a:path w="67641" h="69056" extrusionOk="0">
                  <a:moveTo>
                    <a:pt x="49622" y="2736"/>
                  </a:moveTo>
                  <a:lnTo>
                    <a:pt x="49622" y="2736"/>
                  </a:lnTo>
                  <a:lnTo>
                    <a:pt x="49622" y="2736"/>
                  </a:lnTo>
                  <a:close/>
                  <a:moveTo>
                    <a:pt x="59622" y="55565"/>
                  </a:moveTo>
                  <a:lnTo>
                    <a:pt x="59622" y="55565"/>
                  </a:lnTo>
                  <a:lnTo>
                    <a:pt x="59622" y="55565"/>
                  </a:lnTo>
                  <a:close/>
                  <a:moveTo>
                    <a:pt x="35471" y="0"/>
                  </a:moveTo>
                  <a:lnTo>
                    <a:pt x="34433" y="95"/>
                  </a:lnTo>
                  <a:lnTo>
                    <a:pt x="33584" y="189"/>
                  </a:lnTo>
                  <a:lnTo>
                    <a:pt x="32735" y="378"/>
                  </a:lnTo>
                  <a:lnTo>
                    <a:pt x="32169" y="566"/>
                  </a:lnTo>
                  <a:lnTo>
                    <a:pt x="31509" y="472"/>
                  </a:lnTo>
                  <a:lnTo>
                    <a:pt x="30754" y="472"/>
                  </a:lnTo>
                  <a:lnTo>
                    <a:pt x="29339" y="566"/>
                  </a:lnTo>
                  <a:lnTo>
                    <a:pt x="27830" y="849"/>
                  </a:lnTo>
                  <a:lnTo>
                    <a:pt x="26320" y="1321"/>
                  </a:lnTo>
                  <a:lnTo>
                    <a:pt x="24811" y="1981"/>
                  </a:lnTo>
                  <a:lnTo>
                    <a:pt x="23207" y="2736"/>
                  </a:lnTo>
                  <a:lnTo>
                    <a:pt x="21698" y="3585"/>
                  </a:lnTo>
                  <a:lnTo>
                    <a:pt x="20188" y="4623"/>
                  </a:lnTo>
                  <a:lnTo>
                    <a:pt x="18679" y="5661"/>
                  </a:lnTo>
                  <a:lnTo>
                    <a:pt x="17170" y="6793"/>
                  </a:lnTo>
                  <a:lnTo>
                    <a:pt x="15754" y="8019"/>
                  </a:lnTo>
                  <a:lnTo>
                    <a:pt x="14434" y="9151"/>
                  </a:lnTo>
                  <a:lnTo>
                    <a:pt x="11981" y="11510"/>
                  </a:lnTo>
                  <a:lnTo>
                    <a:pt x="10000" y="13774"/>
                  </a:lnTo>
                  <a:lnTo>
                    <a:pt x="7736" y="16981"/>
                  </a:lnTo>
                  <a:lnTo>
                    <a:pt x="8019" y="16321"/>
                  </a:lnTo>
                  <a:lnTo>
                    <a:pt x="8302" y="15660"/>
                  </a:lnTo>
                  <a:lnTo>
                    <a:pt x="7736" y="16604"/>
                  </a:lnTo>
                  <a:lnTo>
                    <a:pt x="7075" y="17642"/>
                  </a:lnTo>
                  <a:lnTo>
                    <a:pt x="7170" y="17830"/>
                  </a:lnTo>
                  <a:lnTo>
                    <a:pt x="6509" y="18868"/>
                  </a:lnTo>
                  <a:lnTo>
                    <a:pt x="7075" y="17359"/>
                  </a:lnTo>
                  <a:lnTo>
                    <a:pt x="6132" y="19057"/>
                  </a:lnTo>
                  <a:lnTo>
                    <a:pt x="5189" y="20849"/>
                  </a:lnTo>
                  <a:lnTo>
                    <a:pt x="4434" y="22736"/>
                  </a:lnTo>
                  <a:lnTo>
                    <a:pt x="3679" y="24622"/>
                  </a:lnTo>
                  <a:lnTo>
                    <a:pt x="2453" y="28490"/>
                  </a:lnTo>
                  <a:lnTo>
                    <a:pt x="1321" y="32169"/>
                  </a:lnTo>
                  <a:lnTo>
                    <a:pt x="1509" y="32264"/>
                  </a:lnTo>
                  <a:lnTo>
                    <a:pt x="1604" y="32453"/>
                  </a:lnTo>
                  <a:lnTo>
                    <a:pt x="1604" y="32641"/>
                  </a:lnTo>
                  <a:lnTo>
                    <a:pt x="1509" y="32924"/>
                  </a:lnTo>
                  <a:lnTo>
                    <a:pt x="1226" y="33396"/>
                  </a:lnTo>
                  <a:lnTo>
                    <a:pt x="1038" y="33585"/>
                  </a:lnTo>
                  <a:lnTo>
                    <a:pt x="1038" y="33773"/>
                  </a:lnTo>
                  <a:lnTo>
                    <a:pt x="1038" y="35000"/>
                  </a:lnTo>
                  <a:lnTo>
                    <a:pt x="849" y="36132"/>
                  </a:lnTo>
                  <a:lnTo>
                    <a:pt x="660" y="37358"/>
                  </a:lnTo>
                  <a:lnTo>
                    <a:pt x="472" y="38867"/>
                  </a:lnTo>
                  <a:lnTo>
                    <a:pt x="283" y="38301"/>
                  </a:lnTo>
                  <a:lnTo>
                    <a:pt x="94" y="39811"/>
                  </a:lnTo>
                  <a:lnTo>
                    <a:pt x="0" y="41509"/>
                  </a:lnTo>
                  <a:lnTo>
                    <a:pt x="94" y="43301"/>
                  </a:lnTo>
                  <a:lnTo>
                    <a:pt x="283" y="44056"/>
                  </a:lnTo>
                  <a:lnTo>
                    <a:pt x="472" y="44622"/>
                  </a:lnTo>
                  <a:lnTo>
                    <a:pt x="566" y="45660"/>
                  </a:lnTo>
                  <a:lnTo>
                    <a:pt x="755" y="46792"/>
                  </a:lnTo>
                  <a:lnTo>
                    <a:pt x="1226" y="48962"/>
                  </a:lnTo>
                  <a:lnTo>
                    <a:pt x="1981" y="51037"/>
                  </a:lnTo>
                  <a:lnTo>
                    <a:pt x="2924" y="53112"/>
                  </a:lnTo>
                  <a:lnTo>
                    <a:pt x="4057" y="55094"/>
                  </a:lnTo>
                  <a:lnTo>
                    <a:pt x="5283" y="56980"/>
                  </a:lnTo>
                  <a:lnTo>
                    <a:pt x="6698" y="58678"/>
                  </a:lnTo>
                  <a:lnTo>
                    <a:pt x="8113" y="60282"/>
                  </a:lnTo>
                  <a:lnTo>
                    <a:pt x="9056" y="61131"/>
                  </a:lnTo>
                  <a:lnTo>
                    <a:pt x="10000" y="61980"/>
                  </a:lnTo>
                  <a:lnTo>
                    <a:pt x="11038" y="62829"/>
                  </a:lnTo>
                  <a:lnTo>
                    <a:pt x="12075" y="63584"/>
                  </a:lnTo>
                  <a:lnTo>
                    <a:pt x="14339" y="64905"/>
                  </a:lnTo>
                  <a:lnTo>
                    <a:pt x="16604" y="66131"/>
                  </a:lnTo>
                  <a:lnTo>
                    <a:pt x="19056" y="67169"/>
                  </a:lnTo>
                  <a:lnTo>
                    <a:pt x="21509" y="67923"/>
                  </a:lnTo>
                  <a:lnTo>
                    <a:pt x="24056" y="68584"/>
                  </a:lnTo>
                  <a:lnTo>
                    <a:pt x="26603" y="69055"/>
                  </a:lnTo>
                  <a:lnTo>
                    <a:pt x="27830" y="69055"/>
                  </a:lnTo>
                  <a:lnTo>
                    <a:pt x="30188" y="68867"/>
                  </a:lnTo>
                  <a:lnTo>
                    <a:pt x="33113" y="68678"/>
                  </a:lnTo>
                  <a:lnTo>
                    <a:pt x="36509" y="68301"/>
                  </a:lnTo>
                  <a:lnTo>
                    <a:pt x="39811" y="67923"/>
                  </a:lnTo>
                  <a:lnTo>
                    <a:pt x="42735" y="67452"/>
                  </a:lnTo>
                  <a:lnTo>
                    <a:pt x="44905" y="66980"/>
                  </a:lnTo>
                  <a:lnTo>
                    <a:pt x="45565" y="66791"/>
                  </a:lnTo>
                  <a:lnTo>
                    <a:pt x="45943" y="66508"/>
                  </a:lnTo>
                  <a:lnTo>
                    <a:pt x="47358" y="65942"/>
                  </a:lnTo>
                  <a:lnTo>
                    <a:pt x="48018" y="65565"/>
                  </a:lnTo>
                  <a:lnTo>
                    <a:pt x="48678" y="65188"/>
                  </a:lnTo>
                  <a:lnTo>
                    <a:pt x="47924" y="65471"/>
                  </a:lnTo>
                  <a:lnTo>
                    <a:pt x="51509" y="62924"/>
                  </a:lnTo>
                  <a:lnTo>
                    <a:pt x="53301" y="61508"/>
                  </a:lnTo>
                  <a:lnTo>
                    <a:pt x="55093" y="59905"/>
                  </a:lnTo>
                  <a:lnTo>
                    <a:pt x="55093" y="59905"/>
                  </a:lnTo>
                  <a:lnTo>
                    <a:pt x="54810" y="60376"/>
                  </a:lnTo>
                  <a:lnTo>
                    <a:pt x="54339" y="60754"/>
                  </a:lnTo>
                  <a:lnTo>
                    <a:pt x="55376" y="59999"/>
                  </a:lnTo>
                  <a:lnTo>
                    <a:pt x="56320" y="59056"/>
                  </a:lnTo>
                  <a:lnTo>
                    <a:pt x="57075" y="58395"/>
                  </a:lnTo>
                  <a:lnTo>
                    <a:pt x="57169" y="58207"/>
                  </a:lnTo>
                  <a:lnTo>
                    <a:pt x="57075" y="58207"/>
                  </a:lnTo>
                  <a:lnTo>
                    <a:pt x="57924" y="57546"/>
                  </a:lnTo>
                  <a:lnTo>
                    <a:pt x="58678" y="56697"/>
                  </a:lnTo>
                  <a:lnTo>
                    <a:pt x="59339" y="55754"/>
                  </a:lnTo>
                  <a:lnTo>
                    <a:pt x="59905" y="54905"/>
                  </a:lnTo>
                  <a:lnTo>
                    <a:pt x="59716" y="54999"/>
                  </a:lnTo>
                  <a:lnTo>
                    <a:pt x="59622" y="54999"/>
                  </a:lnTo>
                  <a:lnTo>
                    <a:pt x="59810" y="54622"/>
                  </a:lnTo>
                  <a:lnTo>
                    <a:pt x="59150" y="55565"/>
                  </a:lnTo>
                  <a:lnTo>
                    <a:pt x="59527" y="55094"/>
                  </a:lnTo>
                  <a:lnTo>
                    <a:pt x="59433" y="55377"/>
                  </a:lnTo>
                  <a:lnTo>
                    <a:pt x="58867" y="56037"/>
                  </a:lnTo>
                  <a:lnTo>
                    <a:pt x="59056" y="55660"/>
                  </a:lnTo>
                  <a:lnTo>
                    <a:pt x="59056" y="55660"/>
                  </a:lnTo>
                  <a:lnTo>
                    <a:pt x="58678" y="56037"/>
                  </a:lnTo>
                  <a:lnTo>
                    <a:pt x="59810" y="54339"/>
                  </a:lnTo>
                  <a:lnTo>
                    <a:pt x="60282" y="53490"/>
                  </a:lnTo>
                  <a:lnTo>
                    <a:pt x="60282" y="53301"/>
                  </a:lnTo>
                  <a:lnTo>
                    <a:pt x="60188" y="53395"/>
                  </a:lnTo>
                  <a:lnTo>
                    <a:pt x="60188" y="53395"/>
                  </a:lnTo>
                  <a:lnTo>
                    <a:pt x="60565" y="52924"/>
                  </a:lnTo>
                  <a:lnTo>
                    <a:pt x="61037" y="52452"/>
                  </a:lnTo>
                  <a:lnTo>
                    <a:pt x="61886" y="51509"/>
                  </a:lnTo>
                  <a:lnTo>
                    <a:pt x="61508" y="52452"/>
                  </a:lnTo>
                  <a:lnTo>
                    <a:pt x="60848" y="53584"/>
                  </a:lnTo>
                  <a:lnTo>
                    <a:pt x="59622" y="55565"/>
                  </a:lnTo>
                  <a:lnTo>
                    <a:pt x="60376" y="54528"/>
                  </a:lnTo>
                  <a:lnTo>
                    <a:pt x="60942" y="53678"/>
                  </a:lnTo>
                  <a:lnTo>
                    <a:pt x="61980" y="51792"/>
                  </a:lnTo>
                  <a:lnTo>
                    <a:pt x="61886" y="51886"/>
                  </a:lnTo>
                  <a:lnTo>
                    <a:pt x="61886" y="51697"/>
                  </a:lnTo>
                  <a:lnTo>
                    <a:pt x="62169" y="51037"/>
                  </a:lnTo>
                  <a:lnTo>
                    <a:pt x="62735" y="49999"/>
                  </a:lnTo>
                  <a:lnTo>
                    <a:pt x="61508" y="51603"/>
                  </a:lnTo>
                  <a:lnTo>
                    <a:pt x="61603" y="51037"/>
                  </a:lnTo>
                  <a:lnTo>
                    <a:pt x="61697" y="50377"/>
                  </a:lnTo>
                  <a:lnTo>
                    <a:pt x="62169" y="48962"/>
                  </a:lnTo>
                  <a:lnTo>
                    <a:pt x="62829" y="47358"/>
                  </a:lnTo>
                  <a:lnTo>
                    <a:pt x="63678" y="45565"/>
                  </a:lnTo>
                  <a:lnTo>
                    <a:pt x="65376" y="42169"/>
                  </a:lnTo>
                  <a:lnTo>
                    <a:pt x="66131" y="40660"/>
                  </a:lnTo>
                  <a:lnTo>
                    <a:pt x="66697" y="39339"/>
                  </a:lnTo>
                  <a:lnTo>
                    <a:pt x="66603" y="39528"/>
                  </a:lnTo>
                  <a:lnTo>
                    <a:pt x="66697" y="39056"/>
                  </a:lnTo>
                  <a:lnTo>
                    <a:pt x="66791" y="38962"/>
                  </a:lnTo>
                  <a:lnTo>
                    <a:pt x="66791" y="39056"/>
                  </a:lnTo>
                  <a:lnTo>
                    <a:pt x="66886" y="38584"/>
                  </a:lnTo>
                  <a:lnTo>
                    <a:pt x="66791" y="38867"/>
                  </a:lnTo>
                  <a:lnTo>
                    <a:pt x="66980" y="38207"/>
                  </a:lnTo>
                  <a:lnTo>
                    <a:pt x="67169" y="37264"/>
                  </a:lnTo>
                  <a:lnTo>
                    <a:pt x="67263" y="36415"/>
                  </a:lnTo>
                  <a:lnTo>
                    <a:pt x="67357" y="36509"/>
                  </a:lnTo>
                  <a:lnTo>
                    <a:pt x="67452" y="36509"/>
                  </a:lnTo>
                  <a:lnTo>
                    <a:pt x="67546" y="35943"/>
                  </a:lnTo>
                  <a:lnTo>
                    <a:pt x="67546" y="34811"/>
                  </a:lnTo>
                  <a:lnTo>
                    <a:pt x="67640" y="31037"/>
                  </a:lnTo>
                  <a:lnTo>
                    <a:pt x="67640" y="28490"/>
                  </a:lnTo>
                  <a:lnTo>
                    <a:pt x="67546" y="27736"/>
                  </a:lnTo>
                  <a:lnTo>
                    <a:pt x="67546" y="27547"/>
                  </a:lnTo>
                  <a:lnTo>
                    <a:pt x="67452" y="27547"/>
                  </a:lnTo>
                  <a:lnTo>
                    <a:pt x="67074" y="26792"/>
                  </a:lnTo>
                  <a:lnTo>
                    <a:pt x="66791" y="25660"/>
                  </a:lnTo>
                  <a:lnTo>
                    <a:pt x="66508" y="24528"/>
                  </a:lnTo>
                  <a:lnTo>
                    <a:pt x="66414" y="23585"/>
                  </a:lnTo>
                  <a:lnTo>
                    <a:pt x="66320" y="23679"/>
                  </a:lnTo>
                  <a:lnTo>
                    <a:pt x="66320" y="23490"/>
                  </a:lnTo>
                  <a:lnTo>
                    <a:pt x="65942" y="22924"/>
                  </a:lnTo>
                  <a:lnTo>
                    <a:pt x="65565" y="22358"/>
                  </a:lnTo>
                  <a:lnTo>
                    <a:pt x="64527" y="21132"/>
                  </a:lnTo>
                  <a:lnTo>
                    <a:pt x="63584" y="19906"/>
                  </a:lnTo>
                  <a:lnTo>
                    <a:pt x="63207" y="19340"/>
                  </a:lnTo>
                  <a:lnTo>
                    <a:pt x="63018" y="18774"/>
                  </a:lnTo>
                  <a:lnTo>
                    <a:pt x="63112" y="18962"/>
                  </a:lnTo>
                  <a:lnTo>
                    <a:pt x="63301" y="19057"/>
                  </a:lnTo>
                  <a:lnTo>
                    <a:pt x="63301" y="19057"/>
                  </a:lnTo>
                  <a:lnTo>
                    <a:pt x="63207" y="18868"/>
                  </a:lnTo>
                  <a:lnTo>
                    <a:pt x="62923" y="18491"/>
                  </a:lnTo>
                  <a:lnTo>
                    <a:pt x="61980" y="17453"/>
                  </a:lnTo>
                  <a:lnTo>
                    <a:pt x="61037" y="16509"/>
                  </a:lnTo>
                  <a:lnTo>
                    <a:pt x="61037" y="16698"/>
                  </a:lnTo>
                  <a:lnTo>
                    <a:pt x="61037" y="16887"/>
                  </a:lnTo>
                  <a:lnTo>
                    <a:pt x="60093" y="15943"/>
                  </a:lnTo>
                  <a:lnTo>
                    <a:pt x="60376" y="16321"/>
                  </a:lnTo>
                  <a:lnTo>
                    <a:pt x="59527" y="15377"/>
                  </a:lnTo>
                  <a:lnTo>
                    <a:pt x="59056" y="14906"/>
                  </a:lnTo>
                  <a:lnTo>
                    <a:pt x="59244" y="14906"/>
                  </a:lnTo>
                  <a:lnTo>
                    <a:pt x="59905" y="15472"/>
                  </a:lnTo>
                  <a:lnTo>
                    <a:pt x="59905" y="15472"/>
                  </a:lnTo>
                  <a:lnTo>
                    <a:pt x="57641" y="13396"/>
                  </a:lnTo>
                  <a:lnTo>
                    <a:pt x="58112" y="13868"/>
                  </a:lnTo>
                  <a:lnTo>
                    <a:pt x="56886" y="13019"/>
                  </a:lnTo>
                  <a:lnTo>
                    <a:pt x="55754" y="12453"/>
                  </a:lnTo>
                  <a:lnTo>
                    <a:pt x="56603" y="13113"/>
                  </a:lnTo>
                  <a:lnTo>
                    <a:pt x="57452" y="13774"/>
                  </a:lnTo>
                  <a:lnTo>
                    <a:pt x="58961" y="15283"/>
                  </a:lnTo>
                  <a:lnTo>
                    <a:pt x="60376" y="16604"/>
                  </a:lnTo>
                  <a:lnTo>
                    <a:pt x="61225" y="17264"/>
                  </a:lnTo>
                  <a:lnTo>
                    <a:pt x="62074" y="17925"/>
                  </a:lnTo>
                  <a:lnTo>
                    <a:pt x="62074" y="17925"/>
                  </a:lnTo>
                  <a:lnTo>
                    <a:pt x="61414" y="17547"/>
                  </a:lnTo>
                  <a:lnTo>
                    <a:pt x="60659" y="16981"/>
                  </a:lnTo>
                  <a:lnTo>
                    <a:pt x="60754" y="17264"/>
                  </a:lnTo>
                  <a:lnTo>
                    <a:pt x="60942" y="17642"/>
                  </a:lnTo>
                  <a:lnTo>
                    <a:pt x="61980" y="19151"/>
                  </a:lnTo>
                  <a:lnTo>
                    <a:pt x="63301" y="20943"/>
                  </a:lnTo>
                  <a:lnTo>
                    <a:pt x="63207" y="20943"/>
                  </a:lnTo>
                  <a:lnTo>
                    <a:pt x="63395" y="21038"/>
                  </a:lnTo>
                  <a:lnTo>
                    <a:pt x="63490" y="21321"/>
                  </a:lnTo>
                  <a:lnTo>
                    <a:pt x="63678" y="21604"/>
                  </a:lnTo>
                  <a:lnTo>
                    <a:pt x="63773" y="21698"/>
                  </a:lnTo>
                  <a:lnTo>
                    <a:pt x="63584" y="21321"/>
                  </a:lnTo>
                  <a:lnTo>
                    <a:pt x="63584" y="21321"/>
                  </a:lnTo>
                  <a:lnTo>
                    <a:pt x="64244" y="22170"/>
                  </a:lnTo>
                  <a:lnTo>
                    <a:pt x="64716" y="22641"/>
                  </a:lnTo>
                  <a:lnTo>
                    <a:pt x="64905" y="22830"/>
                  </a:lnTo>
                  <a:lnTo>
                    <a:pt x="64999" y="22830"/>
                  </a:lnTo>
                  <a:lnTo>
                    <a:pt x="64999" y="22641"/>
                  </a:lnTo>
                  <a:lnTo>
                    <a:pt x="64905" y="22358"/>
                  </a:lnTo>
                  <a:lnTo>
                    <a:pt x="65282" y="23207"/>
                  </a:lnTo>
                  <a:lnTo>
                    <a:pt x="65565" y="24056"/>
                  </a:lnTo>
                  <a:lnTo>
                    <a:pt x="66225" y="25943"/>
                  </a:lnTo>
                  <a:lnTo>
                    <a:pt x="66697" y="27830"/>
                  </a:lnTo>
                  <a:lnTo>
                    <a:pt x="66886" y="28490"/>
                  </a:lnTo>
                  <a:lnTo>
                    <a:pt x="66980" y="28868"/>
                  </a:lnTo>
                  <a:lnTo>
                    <a:pt x="66886" y="28962"/>
                  </a:lnTo>
                  <a:lnTo>
                    <a:pt x="66697" y="28679"/>
                  </a:lnTo>
                  <a:lnTo>
                    <a:pt x="66697" y="29245"/>
                  </a:lnTo>
                  <a:lnTo>
                    <a:pt x="66791" y="29905"/>
                  </a:lnTo>
                  <a:lnTo>
                    <a:pt x="66886" y="29905"/>
                  </a:lnTo>
                  <a:lnTo>
                    <a:pt x="66886" y="30094"/>
                  </a:lnTo>
                  <a:lnTo>
                    <a:pt x="66886" y="30566"/>
                  </a:lnTo>
                  <a:lnTo>
                    <a:pt x="66697" y="30377"/>
                  </a:lnTo>
                  <a:lnTo>
                    <a:pt x="66603" y="30188"/>
                  </a:lnTo>
                  <a:lnTo>
                    <a:pt x="66603" y="30094"/>
                  </a:lnTo>
                  <a:lnTo>
                    <a:pt x="66697" y="29905"/>
                  </a:lnTo>
                  <a:lnTo>
                    <a:pt x="66508" y="28679"/>
                  </a:lnTo>
                  <a:lnTo>
                    <a:pt x="66225" y="27358"/>
                  </a:lnTo>
                  <a:lnTo>
                    <a:pt x="66603" y="30283"/>
                  </a:lnTo>
                  <a:lnTo>
                    <a:pt x="66697" y="31792"/>
                  </a:lnTo>
                  <a:lnTo>
                    <a:pt x="66697" y="33302"/>
                  </a:lnTo>
                  <a:lnTo>
                    <a:pt x="66603" y="34717"/>
                  </a:lnTo>
                  <a:lnTo>
                    <a:pt x="66414" y="36226"/>
                  </a:lnTo>
                  <a:lnTo>
                    <a:pt x="66131" y="37547"/>
                  </a:lnTo>
                  <a:lnTo>
                    <a:pt x="65659" y="38962"/>
                  </a:lnTo>
                  <a:lnTo>
                    <a:pt x="65848" y="38584"/>
                  </a:lnTo>
                  <a:lnTo>
                    <a:pt x="65942" y="38584"/>
                  </a:lnTo>
                  <a:lnTo>
                    <a:pt x="65848" y="39245"/>
                  </a:lnTo>
                  <a:lnTo>
                    <a:pt x="65565" y="40188"/>
                  </a:lnTo>
                  <a:lnTo>
                    <a:pt x="65471" y="40471"/>
                  </a:lnTo>
                  <a:lnTo>
                    <a:pt x="65282" y="40660"/>
                  </a:lnTo>
                  <a:lnTo>
                    <a:pt x="65282" y="40566"/>
                  </a:lnTo>
                  <a:lnTo>
                    <a:pt x="65093" y="41132"/>
                  </a:lnTo>
                  <a:lnTo>
                    <a:pt x="64433" y="43018"/>
                  </a:lnTo>
                  <a:lnTo>
                    <a:pt x="63678" y="45282"/>
                  </a:lnTo>
                  <a:lnTo>
                    <a:pt x="62735" y="47264"/>
                  </a:lnTo>
                  <a:lnTo>
                    <a:pt x="61697" y="49056"/>
                  </a:lnTo>
                  <a:lnTo>
                    <a:pt x="60659" y="50943"/>
                  </a:lnTo>
                  <a:lnTo>
                    <a:pt x="59433" y="52735"/>
                  </a:lnTo>
                  <a:lnTo>
                    <a:pt x="58207" y="54433"/>
                  </a:lnTo>
                  <a:lnTo>
                    <a:pt x="56886" y="56037"/>
                  </a:lnTo>
                  <a:lnTo>
                    <a:pt x="55376" y="57641"/>
                  </a:lnTo>
                  <a:lnTo>
                    <a:pt x="53867" y="59150"/>
                  </a:lnTo>
                  <a:lnTo>
                    <a:pt x="52169" y="60376"/>
                  </a:lnTo>
                  <a:lnTo>
                    <a:pt x="48961" y="62452"/>
                  </a:lnTo>
                  <a:lnTo>
                    <a:pt x="44528" y="65282"/>
                  </a:lnTo>
                  <a:lnTo>
                    <a:pt x="44622" y="65188"/>
                  </a:lnTo>
                  <a:lnTo>
                    <a:pt x="44716" y="65093"/>
                  </a:lnTo>
                  <a:lnTo>
                    <a:pt x="45094" y="64810"/>
                  </a:lnTo>
                  <a:lnTo>
                    <a:pt x="45660" y="64527"/>
                  </a:lnTo>
                  <a:lnTo>
                    <a:pt x="43867" y="65376"/>
                  </a:lnTo>
                  <a:lnTo>
                    <a:pt x="43113" y="65754"/>
                  </a:lnTo>
                  <a:lnTo>
                    <a:pt x="42924" y="65754"/>
                  </a:lnTo>
                  <a:lnTo>
                    <a:pt x="43113" y="65659"/>
                  </a:lnTo>
                  <a:lnTo>
                    <a:pt x="41603" y="66037"/>
                  </a:lnTo>
                  <a:lnTo>
                    <a:pt x="39999" y="66320"/>
                  </a:lnTo>
                  <a:lnTo>
                    <a:pt x="38396" y="66508"/>
                  </a:lnTo>
                  <a:lnTo>
                    <a:pt x="36792" y="66697"/>
                  </a:lnTo>
                  <a:lnTo>
                    <a:pt x="33584" y="66980"/>
                  </a:lnTo>
                  <a:lnTo>
                    <a:pt x="32169" y="67169"/>
                  </a:lnTo>
                  <a:lnTo>
                    <a:pt x="30754" y="67357"/>
                  </a:lnTo>
                  <a:lnTo>
                    <a:pt x="30094" y="67357"/>
                  </a:lnTo>
                  <a:lnTo>
                    <a:pt x="29339" y="67263"/>
                  </a:lnTo>
                  <a:lnTo>
                    <a:pt x="27830" y="66886"/>
                  </a:lnTo>
                  <a:lnTo>
                    <a:pt x="26415" y="66508"/>
                  </a:lnTo>
                  <a:lnTo>
                    <a:pt x="25754" y="66414"/>
                  </a:lnTo>
                  <a:lnTo>
                    <a:pt x="25094" y="66414"/>
                  </a:lnTo>
                  <a:lnTo>
                    <a:pt x="25566" y="66980"/>
                  </a:lnTo>
                  <a:lnTo>
                    <a:pt x="25471" y="67074"/>
                  </a:lnTo>
                  <a:lnTo>
                    <a:pt x="25188" y="66980"/>
                  </a:lnTo>
                  <a:lnTo>
                    <a:pt x="24339" y="66791"/>
                  </a:lnTo>
                  <a:lnTo>
                    <a:pt x="23773" y="66508"/>
                  </a:lnTo>
                  <a:lnTo>
                    <a:pt x="24245" y="66414"/>
                  </a:lnTo>
                  <a:lnTo>
                    <a:pt x="24717" y="66603"/>
                  </a:lnTo>
                  <a:lnTo>
                    <a:pt x="24811" y="66414"/>
                  </a:lnTo>
                  <a:lnTo>
                    <a:pt x="24811" y="66320"/>
                  </a:lnTo>
                  <a:lnTo>
                    <a:pt x="24717" y="66225"/>
                  </a:lnTo>
                  <a:lnTo>
                    <a:pt x="24528" y="66131"/>
                  </a:lnTo>
                  <a:lnTo>
                    <a:pt x="24151" y="66225"/>
                  </a:lnTo>
                  <a:lnTo>
                    <a:pt x="23679" y="66320"/>
                  </a:lnTo>
                  <a:lnTo>
                    <a:pt x="23018" y="66414"/>
                  </a:lnTo>
                  <a:lnTo>
                    <a:pt x="23490" y="66225"/>
                  </a:lnTo>
                  <a:lnTo>
                    <a:pt x="22075" y="65942"/>
                  </a:lnTo>
                  <a:lnTo>
                    <a:pt x="20943" y="65659"/>
                  </a:lnTo>
                  <a:lnTo>
                    <a:pt x="20000" y="65282"/>
                  </a:lnTo>
                  <a:lnTo>
                    <a:pt x="19056" y="64810"/>
                  </a:lnTo>
                  <a:lnTo>
                    <a:pt x="19056" y="64810"/>
                  </a:lnTo>
                  <a:lnTo>
                    <a:pt x="19717" y="64999"/>
                  </a:lnTo>
                  <a:lnTo>
                    <a:pt x="19151" y="64716"/>
                  </a:lnTo>
                  <a:lnTo>
                    <a:pt x="18962" y="64810"/>
                  </a:lnTo>
                  <a:lnTo>
                    <a:pt x="19151" y="64905"/>
                  </a:lnTo>
                  <a:lnTo>
                    <a:pt x="18490" y="64905"/>
                  </a:lnTo>
                  <a:lnTo>
                    <a:pt x="17830" y="64716"/>
                  </a:lnTo>
                  <a:lnTo>
                    <a:pt x="17264" y="64527"/>
                  </a:lnTo>
                  <a:lnTo>
                    <a:pt x="16698" y="64150"/>
                  </a:lnTo>
                  <a:lnTo>
                    <a:pt x="16981" y="64056"/>
                  </a:lnTo>
                  <a:lnTo>
                    <a:pt x="17264" y="64150"/>
                  </a:lnTo>
                  <a:lnTo>
                    <a:pt x="17264" y="64150"/>
                  </a:lnTo>
                  <a:lnTo>
                    <a:pt x="15188" y="63207"/>
                  </a:lnTo>
                  <a:lnTo>
                    <a:pt x="14622" y="62829"/>
                  </a:lnTo>
                  <a:lnTo>
                    <a:pt x="14717" y="62924"/>
                  </a:lnTo>
                  <a:lnTo>
                    <a:pt x="13773" y="62546"/>
                  </a:lnTo>
                  <a:lnTo>
                    <a:pt x="12924" y="62075"/>
                  </a:lnTo>
                  <a:lnTo>
                    <a:pt x="12358" y="61697"/>
                  </a:lnTo>
                  <a:lnTo>
                    <a:pt x="12264" y="61508"/>
                  </a:lnTo>
                  <a:lnTo>
                    <a:pt x="12170" y="61320"/>
                  </a:lnTo>
                  <a:lnTo>
                    <a:pt x="11698" y="60942"/>
                  </a:lnTo>
                  <a:lnTo>
                    <a:pt x="11132" y="60471"/>
                  </a:lnTo>
                  <a:lnTo>
                    <a:pt x="9906" y="59244"/>
                  </a:lnTo>
                  <a:lnTo>
                    <a:pt x="9906" y="59244"/>
                  </a:lnTo>
                  <a:lnTo>
                    <a:pt x="10566" y="59527"/>
                  </a:lnTo>
                  <a:lnTo>
                    <a:pt x="9434" y="58584"/>
                  </a:lnTo>
                  <a:lnTo>
                    <a:pt x="8207" y="57546"/>
                  </a:lnTo>
                  <a:lnTo>
                    <a:pt x="7547" y="56886"/>
                  </a:lnTo>
                  <a:lnTo>
                    <a:pt x="6981" y="56131"/>
                  </a:lnTo>
                  <a:lnTo>
                    <a:pt x="6226" y="55094"/>
                  </a:lnTo>
                  <a:lnTo>
                    <a:pt x="6415" y="55377"/>
                  </a:lnTo>
                  <a:lnTo>
                    <a:pt x="6038" y="54905"/>
                  </a:lnTo>
                  <a:lnTo>
                    <a:pt x="5472" y="54244"/>
                  </a:lnTo>
                  <a:lnTo>
                    <a:pt x="5283" y="53961"/>
                  </a:lnTo>
                  <a:lnTo>
                    <a:pt x="5094" y="53867"/>
                  </a:lnTo>
                  <a:lnTo>
                    <a:pt x="5377" y="54622"/>
                  </a:lnTo>
                  <a:lnTo>
                    <a:pt x="5849" y="55282"/>
                  </a:lnTo>
                  <a:lnTo>
                    <a:pt x="6321" y="55943"/>
                  </a:lnTo>
                  <a:lnTo>
                    <a:pt x="6698" y="56603"/>
                  </a:lnTo>
                  <a:lnTo>
                    <a:pt x="6226" y="56226"/>
                  </a:lnTo>
                  <a:lnTo>
                    <a:pt x="5943" y="55848"/>
                  </a:lnTo>
                  <a:lnTo>
                    <a:pt x="6038" y="56037"/>
                  </a:lnTo>
                  <a:lnTo>
                    <a:pt x="5943" y="55943"/>
                  </a:lnTo>
                  <a:lnTo>
                    <a:pt x="5377" y="55188"/>
                  </a:lnTo>
                  <a:lnTo>
                    <a:pt x="5000" y="54716"/>
                  </a:lnTo>
                  <a:lnTo>
                    <a:pt x="4717" y="54150"/>
                  </a:lnTo>
                  <a:lnTo>
                    <a:pt x="4528" y="53678"/>
                  </a:lnTo>
                  <a:lnTo>
                    <a:pt x="4528" y="53584"/>
                  </a:lnTo>
                  <a:lnTo>
                    <a:pt x="4623" y="53395"/>
                  </a:lnTo>
                  <a:lnTo>
                    <a:pt x="5094" y="54244"/>
                  </a:lnTo>
                  <a:lnTo>
                    <a:pt x="4717" y="53301"/>
                  </a:lnTo>
                  <a:lnTo>
                    <a:pt x="4528" y="53018"/>
                  </a:lnTo>
                  <a:lnTo>
                    <a:pt x="4151" y="52263"/>
                  </a:lnTo>
                  <a:lnTo>
                    <a:pt x="4151" y="52169"/>
                  </a:lnTo>
                  <a:lnTo>
                    <a:pt x="3774" y="51509"/>
                  </a:lnTo>
                  <a:lnTo>
                    <a:pt x="3396" y="50660"/>
                  </a:lnTo>
                  <a:lnTo>
                    <a:pt x="3585" y="51603"/>
                  </a:lnTo>
                  <a:lnTo>
                    <a:pt x="3396" y="51226"/>
                  </a:lnTo>
                  <a:lnTo>
                    <a:pt x="3208" y="50848"/>
                  </a:lnTo>
                  <a:lnTo>
                    <a:pt x="3208" y="50471"/>
                  </a:lnTo>
                  <a:lnTo>
                    <a:pt x="3208" y="50094"/>
                  </a:lnTo>
                  <a:lnTo>
                    <a:pt x="3585" y="50754"/>
                  </a:lnTo>
                  <a:lnTo>
                    <a:pt x="3868" y="51509"/>
                  </a:lnTo>
                  <a:lnTo>
                    <a:pt x="3868" y="51509"/>
                  </a:lnTo>
                  <a:lnTo>
                    <a:pt x="3208" y="49528"/>
                  </a:lnTo>
                  <a:lnTo>
                    <a:pt x="3208" y="49528"/>
                  </a:lnTo>
                  <a:lnTo>
                    <a:pt x="3868" y="50754"/>
                  </a:lnTo>
                  <a:lnTo>
                    <a:pt x="3208" y="48962"/>
                  </a:lnTo>
                  <a:lnTo>
                    <a:pt x="3585" y="49339"/>
                  </a:lnTo>
                  <a:lnTo>
                    <a:pt x="3774" y="49433"/>
                  </a:lnTo>
                  <a:lnTo>
                    <a:pt x="3962" y="49528"/>
                  </a:lnTo>
                  <a:lnTo>
                    <a:pt x="4057" y="49905"/>
                  </a:lnTo>
                  <a:lnTo>
                    <a:pt x="3868" y="48962"/>
                  </a:lnTo>
                  <a:lnTo>
                    <a:pt x="3491" y="47924"/>
                  </a:lnTo>
                  <a:lnTo>
                    <a:pt x="2641" y="45565"/>
                  </a:lnTo>
                  <a:lnTo>
                    <a:pt x="2170" y="43867"/>
                  </a:lnTo>
                  <a:lnTo>
                    <a:pt x="1698" y="41886"/>
                  </a:lnTo>
                  <a:lnTo>
                    <a:pt x="1698" y="41886"/>
                  </a:lnTo>
                  <a:lnTo>
                    <a:pt x="1887" y="42075"/>
                  </a:lnTo>
                  <a:lnTo>
                    <a:pt x="1981" y="41981"/>
                  </a:lnTo>
                  <a:lnTo>
                    <a:pt x="2075" y="42075"/>
                  </a:lnTo>
                  <a:lnTo>
                    <a:pt x="2264" y="42169"/>
                  </a:lnTo>
                  <a:lnTo>
                    <a:pt x="2170" y="40283"/>
                  </a:lnTo>
                  <a:lnTo>
                    <a:pt x="2075" y="38301"/>
                  </a:lnTo>
                  <a:lnTo>
                    <a:pt x="2170" y="36415"/>
                  </a:lnTo>
                  <a:lnTo>
                    <a:pt x="2358" y="35566"/>
                  </a:lnTo>
                  <a:lnTo>
                    <a:pt x="2453" y="34811"/>
                  </a:lnTo>
                  <a:lnTo>
                    <a:pt x="2830" y="32830"/>
                  </a:lnTo>
                  <a:lnTo>
                    <a:pt x="2830" y="33207"/>
                  </a:lnTo>
                  <a:lnTo>
                    <a:pt x="2924" y="33490"/>
                  </a:lnTo>
                  <a:lnTo>
                    <a:pt x="2924" y="32453"/>
                  </a:lnTo>
                  <a:lnTo>
                    <a:pt x="3019" y="31415"/>
                  </a:lnTo>
                  <a:lnTo>
                    <a:pt x="3396" y="29245"/>
                  </a:lnTo>
                  <a:lnTo>
                    <a:pt x="3868" y="27075"/>
                  </a:lnTo>
                  <a:lnTo>
                    <a:pt x="4623" y="25000"/>
                  </a:lnTo>
                  <a:lnTo>
                    <a:pt x="5566" y="22830"/>
                  </a:lnTo>
                  <a:lnTo>
                    <a:pt x="6604" y="20849"/>
                  </a:lnTo>
                  <a:lnTo>
                    <a:pt x="7830" y="18868"/>
                  </a:lnTo>
                  <a:lnTo>
                    <a:pt x="9151" y="16887"/>
                  </a:lnTo>
                  <a:lnTo>
                    <a:pt x="10566" y="15094"/>
                  </a:lnTo>
                  <a:lnTo>
                    <a:pt x="12075" y="13302"/>
                  </a:lnTo>
                  <a:lnTo>
                    <a:pt x="13773" y="11698"/>
                  </a:lnTo>
                  <a:lnTo>
                    <a:pt x="15377" y="10095"/>
                  </a:lnTo>
                  <a:lnTo>
                    <a:pt x="17170" y="8679"/>
                  </a:lnTo>
                  <a:lnTo>
                    <a:pt x="18962" y="7453"/>
                  </a:lnTo>
                  <a:lnTo>
                    <a:pt x="20754" y="6321"/>
                  </a:lnTo>
                  <a:lnTo>
                    <a:pt x="22547" y="5378"/>
                  </a:lnTo>
                  <a:lnTo>
                    <a:pt x="21603" y="6227"/>
                  </a:lnTo>
                  <a:lnTo>
                    <a:pt x="22641" y="5472"/>
                  </a:lnTo>
                  <a:lnTo>
                    <a:pt x="23302" y="5095"/>
                  </a:lnTo>
                  <a:lnTo>
                    <a:pt x="25377" y="4151"/>
                  </a:lnTo>
                  <a:lnTo>
                    <a:pt x="24811" y="4151"/>
                  </a:lnTo>
                  <a:lnTo>
                    <a:pt x="25660" y="3774"/>
                  </a:lnTo>
                  <a:lnTo>
                    <a:pt x="26886" y="3208"/>
                  </a:lnTo>
                  <a:lnTo>
                    <a:pt x="26603" y="3585"/>
                  </a:lnTo>
                  <a:lnTo>
                    <a:pt x="26886" y="3585"/>
                  </a:lnTo>
                  <a:lnTo>
                    <a:pt x="26886" y="3680"/>
                  </a:lnTo>
                  <a:lnTo>
                    <a:pt x="26792" y="3774"/>
                  </a:lnTo>
                  <a:lnTo>
                    <a:pt x="28301" y="3302"/>
                  </a:lnTo>
                  <a:lnTo>
                    <a:pt x="29622" y="2736"/>
                  </a:lnTo>
                  <a:lnTo>
                    <a:pt x="31037" y="2264"/>
                  </a:lnTo>
                  <a:lnTo>
                    <a:pt x="31792" y="2076"/>
                  </a:lnTo>
                  <a:lnTo>
                    <a:pt x="32641" y="1981"/>
                  </a:lnTo>
                  <a:lnTo>
                    <a:pt x="32547" y="2076"/>
                  </a:lnTo>
                  <a:lnTo>
                    <a:pt x="32924" y="1981"/>
                  </a:lnTo>
                  <a:lnTo>
                    <a:pt x="34245" y="1793"/>
                  </a:lnTo>
                  <a:lnTo>
                    <a:pt x="35848" y="1415"/>
                  </a:lnTo>
                  <a:lnTo>
                    <a:pt x="36981" y="1132"/>
                  </a:lnTo>
                  <a:lnTo>
                    <a:pt x="36981" y="1415"/>
                  </a:lnTo>
                  <a:lnTo>
                    <a:pt x="40943" y="1227"/>
                  </a:lnTo>
                  <a:lnTo>
                    <a:pt x="41509" y="1038"/>
                  </a:lnTo>
                  <a:lnTo>
                    <a:pt x="41697" y="1132"/>
                  </a:lnTo>
                  <a:lnTo>
                    <a:pt x="41509" y="1227"/>
                  </a:lnTo>
                  <a:lnTo>
                    <a:pt x="41320" y="1321"/>
                  </a:lnTo>
                  <a:lnTo>
                    <a:pt x="42263" y="1321"/>
                  </a:lnTo>
                  <a:lnTo>
                    <a:pt x="43113" y="1227"/>
                  </a:lnTo>
                  <a:lnTo>
                    <a:pt x="43396" y="1415"/>
                  </a:lnTo>
                  <a:lnTo>
                    <a:pt x="44056" y="1604"/>
                  </a:lnTo>
                  <a:lnTo>
                    <a:pt x="45943" y="2076"/>
                  </a:lnTo>
                  <a:lnTo>
                    <a:pt x="48018" y="2359"/>
                  </a:lnTo>
                  <a:lnTo>
                    <a:pt x="49622" y="2736"/>
                  </a:lnTo>
                  <a:lnTo>
                    <a:pt x="47641" y="1981"/>
                  </a:lnTo>
                  <a:lnTo>
                    <a:pt x="45282" y="1321"/>
                  </a:lnTo>
                  <a:lnTo>
                    <a:pt x="42735" y="755"/>
                  </a:lnTo>
                  <a:lnTo>
                    <a:pt x="40188" y="283"/>
                  </a:lnTo>
                  <a:lnTo>
                    <a:pt x="37735" y="95"/>
                  </a:lnTo>
                  <a:lnTo>
                    <a:pt x="35471" y="0"/>
                  </a:lnTo>
                  <a:close/>
                </a:path>
              </a:pathLst>
            </a:custGeom>
            <a:solidFill>
              <a:schemeClr val="bg1">
                <a:lumMod val="95000"/>
              </a:schemeClr>
            </a:solidFill>
            <a:ln w="0">
              <a:solidFill>
                <a:schemeClr val="bg1"/>
              </a:solidFill>
            </a:ln>
          </p:spPr>
          <p:txBody>
            <a:bodyPr spcFirstLastPara="1" wrap="square" lIns="91425" tIns="91425" rIns="91425" bIns="91425" anchor="ctr" anchorCtr="0">
              <a:noAutofit/>
            </a:bodyPr>
            <a:lstStyle/>
            <a:p>
              <a:pPr marL="0" lvl="0" indent="0">
                <a:spcBef>
                  <a:spcPts val="0"/>
                </a:spcBef>
                <a:spcAft>
                  <a:spcPts val="0"/>
                </a:spcAft>
                <a:buNone/>
              </a:pPr>
              <a:endParaRPr sz="1200">
                <a:latin typeface="+mj-lt"/>
              </a:endParaRPr>
            </a:p>
          </p:txBody>
        </p:sp>
        <p:sp>
          <p:nvSpPr>
            <p:cNvPr id="336" name="TextBox 335">
              <a:extLst>
                <a:ext uri="{FF2B5EF4-FFF2-40B4-BE49-F238E27FC236}">
                  <a16:creationId xmlns:a16="http://schemas.microsoft.com/office/drawing/2014/main" id="{DA18C484-6F33-D449-AC78-1AD6A6006457}"/>
                </a:ext>
              </a:extLst>
            </p:cNvPr>
            <p:cNvSpPr txBox="1"/>
            <p:nvPr/>
          </p:nvSpPr>
          <p:spPr>
            <a:xfrm>
              <a:off x="2219869" y="1028158"/>
              <a:ext cx="229951" cy="254124"/>
            </a:xfrm>
            <a:prstGeom prst="rect">
              <a:avLst/>
            </a:prstGeom>
            <a:noFill/>
          </p:spPr>
          <p:txBody>
            <a:bodyPr wrap="square" rtlCol="0">
              <a:spAutoFit/>
            </a:bodyPr>
            <a:lstStyle/>
            <a:p>
              <a:r>
                <a:rPr lang="en-US" sz="600" b="1" dirty="0">
                  <a:solidFill>
                    <a:schemeClr val="bg1">
                      <a:lumMod val="95000"/>
                    </a:schemeClr>
                  </a:solidFill>
                  <a:latin typeface="+mj-lt"/>
                </a:rPr>
                <a:t>4</a:t>
              </a:r>
            </a:p>
          </p:txBody>
        </p:sp>
      </p:grpSp>
      <p:grpSp>
        <p:nvGrpSpPr>
          <p:cNvPr id="337" name="Group 336">
            <a:extLst>
              <a:ext uri="{FF2B5EF4-FFF2-40B4-BE49-F238E27FC236}">
                <a16:creationId xmlns:a16="http://schemas.microsoft.com/office/drawing/2014/main" id="{E1AEFF4B-A768-6E4F-8D42-1A98C64B4C08}"/>
              </a:ext>
            </a:extLst>
          </p:cNvPr>
          <p:cNvGrpSpPr/>
          <p:nvPr/>
        </p:nvGrpSpPr>
        <p:grpSpPr>
          <a:xfrm>
            <a:off x="3560031" y="3959968"/>
            <a:ext cx="204300" cy="184666"/>
            <a:chOff x="2219869" y="1028158"/>
            <a:chExt cx="229951" cy="254124"/>
          </a:xfrm>
        </p:grpSpPr>
        <p:sp>
          <p:nvSpPr>
            <p:cNvPr id="338" name="Google Shape;431;p39">
              <a:extLst>
                <a:ext uri="{FF2B5EF4-FFF2-40B4-BE49-F238E27FC236}">
                  <a16:creationId xmlns:a16="http://schemas.microsoft.com/office/drawing/2014/main" id="{41FD17F7-41A2-9541-81ED-C2C7DDCF7E33}"/>
                </a:ext>
              </a:extLst>
            </p:cNvPr>
            <p:cNvSpPr/>
            <p:nvPr/>
          </p:nvSpPr>
          <p:spPr>
            <a:xfrm>
              <a:off x="2259435" y="1076105"/>
              <a:ext cx="179407" cy="167874"/>
            </a:xfrm>
            <a:custGeom>
              <a:avLst/>
              <a:gdLst/>
              <a:ahLst/>
              <a:cxnLst/>
              <a:rect l="0" t="0" r="0" b="0"/>
              <a:pathLst>
                <a:path w="67641" h="69056" extrusionOk="0">
                  <a:moveTo>
                    <a:pt x="49622" y="2736"/>
                  </a:moveTo>
                  <a:lnTo>
                    <a:pt x="49622" y="2736"/>
                  </a:lnTo>
                  <a:lnTo>
                    <a:pt x="49622" y="2736"/>
                  </a:lnTo>
                  <a:close/>
                  <a:moveTo>
                    <a:pt x="59622" y="55565"/>
                  </a:moveTo>
                  <a:lnTo>
                    <a:pt x="59622" y="55565"/>
                  </a:lnTo>
                  <a:lnTo>
                    <a:pt x="59622" y="55565"/>
                  </a:lnTo>
                  <a:close/>
                  <a:moveTo>
                    <a:pt x="35471" y="0"/>
                  </a:moveTo>
                  <a:lnTo>
                    <a:pt x="34433" y="95"/>
                  </a:lnTo>
                  <a:lnTo>
                    <a:pt x="33584" y="189"/>
                  </a:lnTo>
                  <a:lnTo>
                    <a:pt x="32735" y="378"/>
                  </a:lnTo>
                  <a:lnTo>
                    <a:pt x="32169" y="566"/>
                  </a:lnTo>
                  <a:lnTo>
                    <a:pt x="31509" y="472"/>
                  </a:lnTo>
                  <a:lnTo>
                    <a:pt x="30754" y="472"/>
                  </a:lnTo>
                  <a:lnTo>
                    <a:pt x="29339" y="566"/>
                  </a:lnTo>
                  <a:lnTo>
                    <a:pt x="27830" y="849"/>
                  </a:lnTo>
                  <a:lnTo>
                    <a:pt x="26320" y="1321"/>
                  </a:lnTo>
                  <a:lnTo>
                    <a:pt x="24811" y="1981"/>
                  </a:lnTo>
                  <a:lnTo>
                    <a:pt x="23207" y="2736"/>
                  </a:lnTo>
                  <a:lnTo>
                    <a:pt x="21698" y="3585"/>
                  </a:lnTo>
                  <a:lnTo>
                    <a:pt x="20188" y="4623"/>
                  </a:lnTo>
                  <a:lnTo>
                    <a:pt x="18679" y="5661"/>
                  </a:lnTo>
                  <a:lnTo>
                    <a:pt x="17170" y="6793"/>
                  </a:lnTo>
                  <a:lnTo>
                    <a:pt x="15754" y="8019"/>
                  </a:lnTo>
                  <a:lnTo>
                    <a:pt x="14434" y="9151"/>
                  </a:lnTo>
                  <a:lnTo>
                    <a:pt x="11981" y="11510"/>
                  </a:lnTo>
                  <a:lnTo>
                    <a:pt x="10000" y="13774"/>
                  </a:lnTo>
                  <a:lnTo>
                    <a:pt x="7736" y="16981"/>
                  </a:lnTo>
                  <a:lnTo>
                    <a:pt x="8019" y="16321"/>
                  </a:lnTo>
                  <a:lnTo>
                    <a:pt x="8302" y="15660"/>
                  </a:lnTo>
                  <a:lnTo>
                    <a:pt x="7736" y="16604"/>
                  </a:lnTo>
                  <a:lnTo>
                    <a:pt x="7075" y="17642"/>
                  </a:lnTo>
                  <a:lnTo>
                    <a:pt x="7170" y="17830"/>
                  </a:lnTo>
                  <a:lnTo>
                    <a:pt x="6509" y="18868"/>
                  </a:lnTo>
                  <a:lnTo>
                    <a:pt x="7075" y="17359"/>
                  </a:lnTo>
                  <a:lnTo>
                    <a:pt x="6132" y="19057"/>
                  </a:lnTo>
                  <a:lnTo>
                    <a:pt x="5189" y="20849"/>
                  </a:lnTo>
                  <a:lnTo>
                    <a:pt x="4434" y="22736"/>
                  </a:lnTo>
                  <a:lnTo>
                    <a:pt x="3679" y="24622"/>
                  </a:lnTo>
                  <a:lnTo>
                    <a:pt x="2453" y="28490"/>
                  </a:lnTo>
                  <a:lnTo>
                    <a:pt x="1321" y="32169"/>
                  </a:lnTo>
                  <a:lnTo>
                    <a:pt x="1509" y="32264"/>
                  </a:lnTo>
                  <a:lnTo>
                    <a:pt x="1604" y="32453"/>
                  </a:lnTo>
                  <a:lnTo>
                    <a:pt x="1604" y="32641"/>
                  </a:lnTo>
                  <a:lnTo>
                    <a:pt x="1509" y="32924"/>
                  </a:lnTo>
                  <a:lnTo>
                    <a:pt x="1226" y="33396"/>
                  </a:lnTo>
                  <a:lnTo>
                    <a:pt x="1038" y="33585"/>
                  </a:lnTo>
                  <a:lnTo>
                    <a:pt x="1038" y="33773"/>
                  </a:lnTo>
                  <a:lnTo>
                    <a:pt x="1038" y="35000"/>
                  </a:lnTo>
                  <a:lnTo>
                    <a:pt x="849" y="36132"/>
                  </a:lnTo>
                  <a:lnTo>
                    <a:pt x="660" y="37358"/>
                  </a:lnTo>
                  <a:lnTo>
                    <a:pt x="472" y="38867"/>
                  </a:lnTo>
                  <a:lnTo>
                    <a:pt x="283" y="38301"/>
                  </a:lnTo>
                  <a:lnTo>
                    <a:pt x="94" y="39811"/>
                  </a:lnTo>
                  <a:lnTo>
                    <a:pt x="0" y="41509"/>
                  </a:lnTo>
                  <a:lnTo>
                    <a:pt x="94" y="43301"/>
                  </a:lnTo>
                  <a:lnTo>
                    <a:pt x="283" y="44056"/>
                  </a:lnTo>
                  <a:lnTo>
                    <a:pt x="472" y="44622"/>
                  </a:lnTo>
                  <a:lnTo>
                    <a:pt x="566" y="45660"/>
                  </a:lnTo>
                  <a:lnTo>
                    <a:pt x="755" y="46792"/>
                  </a:lnTo>
                  <a:lnTo>
                    <a:pt x="1226" y="48962"/>
                  </a:lnTo>
                  <a:lnTo>
                    <a:pt x="1981" y="51037"/>
                  </a:lnTo>
                  <a:lnTo>
                    <a:pt x="2924" y="53112"/>
                  </a:lnTo>
                  <a:lnTo>
                    <a:pt x="4057" y="55094"/>
                  </a:lnTo>
                  <a:lnTo>
                    <a:pt x="5283" y="56980"/>
                  </a:lnTo>
                  <a:lnTo>
                    <a:pt x="6698" y="58678"/>
                  </a:lnTo>
                  <a:lnTo>
                    <a:pt x="8113" y="60282"/>
                  </a:lnTo>
                  <a:lnTo>
                    <a:pt x="9056" y="61131"/>
                  </a:lnTo>
                  <a:lnTo>
                    <a:pt x="10000" y="61980"/>
                  </a:lnTo>
                  <a:lnTo>
                    <a:pt x="11038" y="62829"/>
                  </a:lnTo>
                  <a:lnTo>
                    <a:pt x="12075" y="63584"/>
                  </a:lnTo>
                  <a:lnTo>
                    <a:pt x="14339" y="64905"/>
                  </a:lnTo>
                  <a:lnTo>
                    <a:pt x="16604" y="66131"/>
                  </a:lnTo>
                  <a:lnTo>
                    <a:pt x="19056" y="67169"/>
                  </a:lnTo>
                  <a:lnTo>
                    <a:pt x="21509" y="67923"/>
                  </a:lnTo>
                  <a:lnTo>
                    <a:pt x="24056" y="68584"/>
                  </a:lnTo>
                  <a:lnTo>
                    <a:pt x="26603" y="69055"/>
                  </a:lnTo>
                  <a:lnTo>
                    <a:pt x="27830" y="69055"/>
                  </a:lnTo>
                  <a:lnTo>
                    <a:pt x="30188" y="68867"/>
                  </a:lnTo>
                  <a:lnTo>
                    <a:pt x="33113" y="68678"/>
                  </a:lnTo>
                  <a:lnTo>
                    <a:pt x="36509" y="68301"/>
                  </a:lnTo>
                  <a:lnTo>
                    <a:pt x="39811" y="67923"/>
                  </a:lnTo>
                  <a:lnTo>
                    <a:pt x="42735" y="67452"/>
                  </a:lnTo>
                  <a:lnTo>
                    <a:pt x="44905" y="66980"/>
                  </a:lnTo>
                  <a:lnTo>
                    <a:pt x="45565" y="66791"/>
                  </a:lnTo>
                  <a:lnTo>
                    <a:pt x="45943" y="66508"/>
                  </a:lnTo>
                  <a:lnTo>
                    <a:pt x="47358" y="65942"/>
                  </a:lnTo>
                  <a:lnTo>
                    <a:pt x="48018" y="65565"/>
                  </a:lnTo>
                  <a:lnTo>
                    <a:pt x="48678" y="65188"/>
                  </a:lnTo>
                  <a:lnTo>
                    <a:pt x="47924" y="65471"/>
                  </a:lnTo>
                  <a:lnTo>
                    <a:pt x="51509" y="62924"/>
                  </a:lnTo>
                  <a:lnTo>
                    <a:pt x="53301" y="61508"/>
                  </a:lnTo>
                  <a:lnTo>
                    <a:pt x="55093" y="59905"/>
                  </a:lnTo>
                  <a:lnTo>
                    <a:pt x="55093" y="59905"/>
                  </a:lnTo>
                  <a:lnTo>
                    <a:pt x="54810" y="60376"/>
                  </a:lnTo>
                  <a:lnTo>
                    <a:pt x="54339" y="60754"/>
                  </a:lnTo>
                  <a:lnTo>
                    <a:pt x="55376" y="59999"/>
                  </a:lnTo>
                  <a:lnTo>
                    <a:pt x="56320" y="59056"/>
                  </a:lnTo>
                  <a:lnTo>
                    <a:pt x="57075" y="58395"/>
                  </a:lnTo>
                  <a:lnTo>
                    <a:pt x="57169" y="58207"/>
                  </a:lnTo>
                  <a:lnTo>
                    <a:pt x="57075" y="58207"/>
                  </a:lnTo>
                  <a:lnTo>
                    <a:pt x="57924" y="57546"/>
                  </a:lnTo>
                  <a:lnTo>
                    <a:pt x="58678" y="56697"/>
                  </a:lnTo>
                  <a:lnTo>
                    <a:pt x="59339" y="55754"/>
                  </a:lnTo>
                  <a:lnTo>
                    <a:pt x="59905" y="54905"/>
                  </a:lnTo>
                  <a:lnTo>
                    <a:pt x="59716" y="54999"/>
                  </a:lnTo>
                  <a:lnTo>
                    <a:pt x="59622" y="54999"/>
                  </a:lnTo>
                  <a:lnTo>
                    <a:pt x="59810" y="54622"/>
                  </a:lnTo>
                  <a:lnTo>
                    <a:pt x="59150" y="55565"/>
                  </a:lnTo>
                  <a:lnTo>
                    <a:pt x="59527" y="55094"/>
                  </a:lnTo>
                  <a:lnTo>
                    <a:pt x="59433" y="55377"/>
                  </a:lnTo>
                  <a:lnTo>
                    <a:pt x="58867" y="56037"/>
                  </a:lnTo>
                  <a:lnTo>
                    <a:pt x="59056" y="55660"/>
                  </a:lnTo>
                  <a:lnTo>
                    <a:pt x="59056" y="55660"/>
                  </a:lnTo>
                  <a:lnTo>
                    <a:pt x="58678" y="56037"/>
                  </a:lnTo>
                  <a:lnTo>
                    <a:pt x="59810" y="54339"/>
                  </a:lnTo>
                  <a:lnTo>
                    <a:pt x="60282" y="53490"/>
                  </a:lnTo>
                  <a:lnTo>
                    <a:pt x="60282" y="53301"/>
                  </a:lnTo>
                  <a:lnTo>
                    <a:pt x="60188" y="53395"/>
                  </a:lnTo>
                  <a:lnTo>
                    <a:pt x="60188" y="53395"/>
                  </a:lnTo>
                  <a:lnTo>
                    <a:pt x="60565" y="52924"/>
                  </a:lnTo>
                  <a:lnTo>
                    <a:pt x="61037" y="52452"/>
                  </a:lnTo>
                  <a:lnTo>
                    <a:pt x="61886" y="51509"/>
                  </a:lnTo>
                  <a:lnTo>
                    <a:pt x="61508" y="52452"/>
                  </a:lnTo>
                  <a:lnTo>
                    <a:pt x="60848" y="53584"/>
                  </a:lnTo>
                  <a:lnTo>
                    <a:pt x="59622" y="55565"/>
                  </a:lnTo>
                  <a:lnTo>
                    <a:pt x="60376" y="54528"/>
                  </a:lnTo>
                  <a:lnTo>
                    <a:pt x="60942" y="53678"/>
                  </a:lnTo>
                  <a:lnTo>
                    <a:pt x="61980" y="51792"/>
                  </a:lnTo>
                  <a:lnTo>
                    <a:pt x="61886" y="51886"/>
                  </a:lnTo>
                  <a:lnTo>
                    <a:pt x="61886" y="51697"/>
                  </a:lnTo>
                  <a:lnTo>
                    <a:pt x="62169" y="51037"/>
                  </a:lnTo>
                  <a:lnTo>
                    <a:pt x="62735" y="49999"/>
                  </a:lnTo>
                  <a:lnTo>
                    <a:pt x="61508" y="51603"/>
                  </a:lnTo>
                  <a:lnTo>
                    <a:pt x="61603" y="51037"/>
                  </a:lnTo>
                  <a:lnTo>
                    <a:pt x="61697" y="50377"/>
                  </a:lnTo>
                  <a:lnTo>
                    <a:pt x="62169" y="48962"/>
                  </a:lnTo>
                  <a:lnTo>
                    <a:pt x="62829" y="47358"/>
                  </a:lnTo>
                  <a:lnTo>
                    <a:pt x="63678" y="45565"/>
                  </a:lnTo>
                  <a:lnTo>
                    <a:pt x="65376" y="42169"/>
                  </a:lnTo>
                  <a:lnTo>
                    <a:pt x="66131" y="40660"/>
                  </a:lnTo>
                  <a:lnTo>
                    <a:pt x="66697" y="39339"/>
                  </a:lnTo>
                  <a:lnTo>
                    <a:pt x="66603" y="39528"/>
                  </a:lnTo>
                  <a:lnTo>
                    <a:pt x="66697" y="39056"/>
                  </a:lnTo>
                  <a:lnTo>
                    <a:pt x="66791" y="38962"/>
                  </a:lnTo>
                  <a:lnTo>
                    <a:pt x="66791" y="39056"/>
                  </a:lnTo>
                  <a:lnTo>
                    <a:pt x="66886" y="38584"/>
                  </a:lnTo>
                  <a:lnTo>
                    <a:pt x="66791" y="38867"/>
                  </a:lnTo>
                  <a:lnTo>
                    <a:pt x="66980" y="38207"/>
                  </a:lnTo>
                  <a:lnTo>
                    <a:pt x="67169" y="37264"/>
                  </a:lnTo>
                  <a:lnTo>
                    <a:pt x="67263" y="36415"/>
                  </a:lnTo>
                  <a:lnTo>
                    <a:pt x="67357" y="36509"/>
                  </a:lnTo>
                  <a:lnTo>
                    <a:pt x="67452" y="36509"/>
                  </a:lnTo>
                  <a:lnTo>
                    <a:pt x="67546" y="35943"/>
                  </a:lnTo>
                  <a:lnTo>
                    <a:pt x="67546" y="34811"/>
                  </a:lnTo>
                  <a:lnTo>
                    <a:pt x="67640" y="31037"/>
                  </a:lnTo>
                  <a:lnTo>
                    <a:pt x="67640" y="28490"/>
                  </a:lnTo>
                  <a:lnTo>
                    <a:pt x="67546" y="27736"/>
                  </a:lnTo>
                  <a:lnTo>
                    <a:pt x="67546" y="27547"/>
                  </a:lnTo>
                  <a:lnTo>
                    <a:pt x="67452" y="27547"/>
                  </a:lnTo>
                  <a:lnTo>
                    <a:pt x="67074" y="26792"/>
                  </a:lnTo>
                  <a:lnTo>
                    <a:pt x="66791" y="25660"/>
                  </a:lnTo>
                  <a:lnTo>
                    <a:pt x="66508" y="24528"/>
                  </a:lnTo>
                  <a:lnTo>
                    <a:pt x="66414" y="23585"/>
                  </a:lnTo>
                  <a:lnTo>
                    <a:pt x="66320" y="23679"/>
                  </a:lnTo>
                  <a:lnTo>
                    <a:pt x="66320" y="23490"/>
                  </a:lnTo>
                  <a:lnTo>
                    <a:pt x="65942" y="22924"/>
                  </a:lnTo>
                  <a:lnTo>
                    <a:pt x="65565" y="22358"/>
                  </a:lnTo>
                  <a:lnTo>
                    <a:pt x="64527" y="21132"/>
                  </a:lnTo>
                  <a:lnTo>
                    <a:pt x="63584" y="19906"/>
                  </a:lnTo>
                  <a:lnTo>
                    <a:pt x="63207" y="19340"/>
                  </a:lnTo>
                  <a:lnTo>
                    <a:pt x="63018" y="18774"/>
                  </a:lnTo>
                  <a:lnTo>
                    <a:pt x="63112" y="18962"/>
                  </a:lnTo>
                  <a:lnTo>
                    <a:pt x="63301" y="19057"/>
                  </a:lnTo>
                  <a:lnTo>
                    <a:pt x="63301" y="19057"/>
                  </a:lnTo>
                  <a:lnTo>
                    <a:pt x="63207" y="18868"/>
                  </a:lnTo>
                  <a:lnTo>
                    <a:pt x="62923" y="18491"/>
                  </a:lnTo>
                  <a:lnTo>
                    <a:pt x="61980" y="17453"/>
                  </a:lnTo>
                  <a:lnTo>
                    <a:pt x="61037" y="16509"/>
                  </a:lnTo>
                  <a:lnTo>
                    <a:pt x="61037" y="16698"/>
                  </a:lnTo>
                  <a:lnTo>
                    <a:pt x="61037" y="16887"/>
                  </a:lnTo>
                  <a:lnTo>
                    <a:pt x="60093" y="15943"/>
                  </a:lnTo>
                  <a:lnTo>
                    <a:pt x="60376" y="16321"/>
                  </a:lnTo>
                  <a:lnTo>
                    <a:pt x="59527" y="15377"/>
                  </a:lnTo>
                  <a:lnTo>
                    <a:pt x="59056" y="14906"/>
                  </a:lnTo>
                  <a:lnTo>
                    <a:pt x="59244" y="14906"/>
                  </a:lnTo>
                  <a:lnTo>
                    <a:pt x="59905" y="15472"/>
                  </a:lnTo>
                  <a:lnTo>
                    <a:pt x="59905" y="15472"/>
                  </a:lnTo>
                  <a:lnTo>
                    <a:pt x="57641" y="13396"/>
                  </a:lnTo>
                  <a:lnTo>
                    <a:pt x="58112" y="13868"/>
                  </a:lnTo>
                  <a:lnTo>
                    <a:pt x="56886" y="13019"/>
                  </a:lnTo>
                  <a:lnTo>
                    <a:pt x="55754" y="12453"/>
                  </a:lnTo>
                  <a:lnTo>
                    <a:pt x="56603" y="13113"/>
                  </a:lnTo>
                  <a:lnTo>
                    <a:pt x="57452" y="13774"/>
                  </a:lnTo>
                  <a:lnTo>
                    <a:pt x="58961" y="15283"/>
                  </a:lnTo>
                  <a:lnTo>
                    <a:pt x="60376" y="16604"/>
                  </a:lnTo>
                  <a:lnTo>
                    <a:pt x="61225" y="17264"/>
                  </a:lnTo>
                  <a:lnTo>
                    <a:pt x="62074" y="17925"/>
                  </a:lnTo>
                  <a:lnTo>
                    <a:pt x="62074" y="17925"/>
                  </a:lnTo>
                  <a:lnTo>
                    <a:pt x="61414" y="17547"/>
                  </a:lnTo>
                  <a:lnTo>
                    <a:pt x="60659" y="16981"/>
                  </a:lnTo>
                  <a:lnTo>
                    <a:pt x="60754" y="17264"/>
                  </a:lnTo>
                  <a:lnTo>
                    <a:pt x="60942" y="17642"/>
                  </a:lnTo>
                  <a:lnTo>
                    <a:pt x="61980" y="19151"/>
                  </a:lnTo>
                  <a:lnTo>
                    <a:pt x="63301" y="20943"/>
                  </a:lnTo>
                  <a:lnTo>
                    <a:pt x="63207" y="20943"/>
                  </a:lnTo>
                  <a:lnTo>
                    <a:pt x="63395" y="21038"/>
                  </a:lnTo>
                  <a:lnTo>
                    <a:pt x="63490" y="21321"/>
                  </a:lnTo>
                  <a:lnTo>
                    <a:pt x="63678" y="21604"/>
                  </a:lnTo>
                  <a:lnTo>
                    <a:pt x="63773" y="21698"/>
                  </a:lnTo>
                  <a:lnTo>
                    <a:pt x="63584" y="21321"/>
                  </a:lnTo>
                  <a:lnTo>
                    <a:pt x="63584" y="21321"/>
                  </a:lnTo>
                  <a:lnTo>
                    <a:pt x="64244" y="22170"/>
                  </a:lnTo>
                  <a:lnTo>
                    <a:pt x="64716" y="22641"/>
                  </a:lnTo>
                  <a:lnTo>
                    <a:pt x="64905" y="22830"/>
                  </a:lnTo>
                  <a:lnTo>
                    <a:pt x="64999" y="22830"/>
                  </a:lnTo>
                  <a:lnTo>
                    <a:pt x="64999" y="22641"/>
                  </a:lnTo>
                  <a:lnTo>
                    <a:pt x="64905" y="22358"/>
                  </a:lnTo>
                  <a:lnTo>
                    <a:pt x="65282" y="23207"/>
                  </a:lnTo>
                  <a:lnTo>
                    <a:pt x="65565" y="24056"/>
                  </a:lnTo>
                  <a:lnTo>
                    <a:pt x="66225" y="25943"/>
                  </a:lnTo>
                  <a:lnTo>
                    <a:pt x="66697" y="27830"/>
                  </a:lnTo>
                  <a:lnTo>
                    <a:pt x="66886" y="28490"/>
                  </a:lnTo>
                  <a:lnTo>
                    <a:pt x="66980" y="28868"/>
                  </a:lnTo>
                  <a:lnTo>
                    <a:pt x="66886" y="28962"/>
                  </a:lnTo>
                  <a:lnTo>
                    <a:pt x="66697" y="28679"/>
                  </a:lnTo>
                  <a:lnTo>
                    <a:pt x="66697" y="29245"/>
                  </a:lnTo>
                  <a:lnTo>
                    <a:pt x="66791" y="29905"/>
                  </a:lnTo>
                  <a:lnTo>
                    <a:pt x="66886" y="29905"/>
                  </a:lnTo>
                  <a:lnTo>
                    <a:pt x="66886" y="30094"/>
                  </a:lnTo>
                  <a:lnTo>
                    <a:pt x="66886" y="30566"/>
                  </a:lnTo>
                  <a:lnTo>
                    <a:pt x="66697" y="30377"/>
                  </a:lnTo>
                  <a:lnTo>
                    <a:pt x="66603" y="30188"/>
                  </a:lnTo>
                  <a:lnTo>
                    <a:pt x="66603" y="30094"/>
                  </a:lnTo>
                  <a:lnTo>
                    <a:pt x="66697" y="29905"/>
                  </a:lnTo>
                  <a:lnTo>
                    <a:pt x="66508" y="28679"/>
                  </a:lnTo>
                  <a:lnTo>
                    <a:pt x="66225" y="27358"/>
                  </a:lnTo>
                  <a:lnTo>
                    <a:pt x="66603" y="30283"/>
                  </a:lnTo>
                  <a:lnTo>
                    <a:pt x="66697" y="31792"/>
                  </a:lnTo>
                  <a:lnTo>
                    <a:pt x="66697" y="33302"/>
                  </a:lnTo>
                  <a:lnTo>
                    <a:pt x="66603" y="34717"/>
                  </a:lnTo>
                  <a:lnTo>
                    <a:pt x="66414" y="36226"/>
                  </a:lnTo>
                  <a:lnTo>
                    <a:pt x="66131" y="37547"/>
                  </a:lnTo>
                  <a:lnTo>
                    <a:pt x="65659" y="38962"/>
                  </a:lnTo>
                  <a:lnTo>
                    <a:pt x="65848" y="38584"/>
                  </a:lnTo>
                  <a:lnTo>
                    <a:pt x="65942" y="38584"/>
                  </a:lnTo>
                  <a:lnTo>
                    <a:pt x="65848" y="39245"/>
                  </a:lnTo>
                  <a:lnTo>
                    <a:pt x="65565" y="40188"/>
                  </a:lnTo>
                  <a:lnTo>
                    <a:pt x="65471" y="40471"/>
                  </a:lnTo>
                  <a:lnTo>
                    <a:pt x="65282" y="40660"/>
                  </a:lnTo>
                  <a:lnTo>
                    <a:pt x="65282" y="40566"/>
                  </a:lnTo>
                  <a:lnTo>
                    <a:pt x="65093" y="41132"/>
                  </a:lnTo>
                  <a:lnTo>
                    <a:pt x="64433" y="43018"/>
                  </a:lnTo>
                  <a:lnTo>
                    <a:pt x="63678" y="45282"/>
                  </a:lnTo>
                  <a:lnTo>
                    <a:pt x="62735" y="47264"/>
                  </a:lnTo>
                  <a:lnTo>
                    <a:pt x="61697" y="49056"/>
                  </a:lnTo>
                  <a:lnTo>
                    <a:pt x="60659" y="50943"/>
                  </a:lnTo>
                  <a:lnTo>
                    <a:pt x="59433" y="52735"/>
                  </a:lnTo>
                  <a:lnTo>
                    <a:pt x="58207" y="54433"/>
                  </a:lnTo>
                  <a:lnTo>
                    <a:pt x="56886" y="56037"/>
                  </a:lnTo>
                  <a:lnTo>
                    <a:pt x="55376" y="57641"/>
                  </a:lnTo>
                  <a:lnTo>
                    <a:pt x="53867" y="59150"/>
                  </a:lnTo>
                  <a:lnTo>
                    <a:pt x="52169" y="60376"/>
                  </a:lnTo>
                  <a:lnTo>
                    <a:pt x="48961" y="62452"/>
                  </a:lnTo>
                  <a:lnTo>
                    <a:pt x="44528" y="65282"/>
                  </a:lnTo>
                  <a:lnTo>
                    <a:pt x="44622" y="65188"/>
                  </a:lnTo>
                  <a:lnTo>
                    <a:pt x="44716" y="65093"/>
                  </a:lnTo>
                  <a:lnTo>
                    <a:pt x="45094" y="64810"/>
                  </a:lnTo>
                  <a:lnTo>
                    <a:pt x="45660" y="64527"/>
                  </a:lnTo>
                  <a:lnTo>
                    <a:pt x="43867" y="65376"/>
                  </a:lnTo>
                  <a:lnTo>
                    <a:pt x="43113" y="65754"/>
                  </a:lnTo>
                  <a:lnTo>
                    <a:pt x="42924" y="65754"/>
                  </a:lnTo>
                  <a:lnTo>
                    <a:pt x="43113" y="65659"/>
                  </a:lnTo>
                  <a:lnTo>
                    <a:pt x="41603" y="66037"/>
                  </a:lnTo>
                  <a:lnTo>
                    <a:pt x="39999" y="66320"/>
                  </a:lnTo>
                  <a:lnTo>
                    <a:pt x="38396" y="66508"/>
                  </a:lnTo>
                  <a:lnTo>
                    <a:pt x="36792" y="66697"/>
                  </a:lnTo>
                  <a:lnTo>
                    <a:pt x="33584" y="66980"/>
                  </a:lnTo>
                  <a:lnTo>
                    <a:pt x="32169" y="67169"/>
                  </a:lnTo>
                  <a:lnTo>
                    <a:pt x="30754" y="67357"/>
                  </a:lnTo>
                  <a:lnTo>
                    <a:pt x="30094" y="67357"/>
                  </a:lnTo>
                  <a:lnTo>
                    <a:pt x="29339" y="67263"/>
                  </a:lnTo>
                  <a:lnTo>
                    <a:pt x="27830" y="66886"/>
                  </a:lnTo>
                  <a:lnTo>
                    <a:pt x="26415" y="66508"/>
                  </a:lnTo>
                  <a:lnTo>
                    <a:pt x="25754" y="66414"/>
                  </a:lnTo>
                  <a:lnTo>
                    <a:pt x="25094" y="66414"/>
                  </a:lnTo>
                  <a:lnTo>
                    <a:pt x="25566" y="66980"/>
                  </a:lnTo>
                  <a:lnTo>
                    <a:pt x="25471" y="67074"/>
                  </a:lnTo>
                  <a:lnTo>
                    <a:pt x="25188" y="66980"/>
                  </a:lnTo>
                  <a:lnTo>
                    <a:pt x="24339" y="66791"/>
                  </a:lnTo>
                  <a:lnTo>
                    <a:pt x="23773" y="66508"/>
                  </a:lnTo>
                  <a:lnTo>
                    <a:pt x="24245" y="66414"/>
                  </a:lnTo>
                  <a:lnTo>
                    <a:pt x="24717" y="66603"/>
                  </a:lnTo>
                  <a:lnTo>
                    <a:pt x="24811" y="66414"/>
                  </a:lnTo>
                  <a:lnTo>
                    <a:pt x="24811" y="66320"/>
                  </a:lnTo>
                  <a:lnTo>
                    <a:pt x="24717" y="66225"/>
                  </a:lnTo>
                  <a:lnTo>
                    <a:pt x="24528" y="66131"/>
                  </a:lnTo>
                  <a:lnTo>
                    <a:pt x="24151" y="66225"/>
                  </a:lnTo>
                  <a:lnTo>
                    <a:pt x="23679" y="66320"/>
                  </a:lnTo>
                  <a:lnTo>
                    <a:pt x="23018" y="66414"/>
                  </a:lnTo>
                  <a:lnTo>
                    <a:pt x="23490" y="66225"/>
                  </a:lnTo>
                  <a:lnTo>
                    <a:pt x="22075" y="65942"/>
                  </a:lnTo>
                  <a:lnTo>
                    <a:pt x="20943" y="65659"/>
                  </a:lnTo>
                  <a:lnTo>
                    <a:pt x="20000" y="65282"/>
                  </a:lnTo>
                  <a:lnTo>
                    <a:pt x="19056" y="64810"/>
                  </a:lnTo>
                  <a:lnTo>
                    <a:pt x="19056" y="64810"/>
                  </a:lnTo>
                  <a:lnTo>
                    <a:pt x="19717" y="64999"/>
                  </a:lnTo>
                  <a:lnTo>
                    <a:pt x="19151" y="64716"/>
                  </a:lnTo>
                  <a:lnTo>
                    <a:pt x="18962" y="64810"/>
                  </a:lnTo>
                  <a:lnTo>
                    <a:pt x="19151" y="64905"/>
                  </a:lnTo>
                  <a:lnTo>
                    <a:pt x="18490" y="64905"/>
                  </a:lnTo>
                  <a:lnTo>
                    <a:pt x="17830" y="64716"/>
                  </a:lnTo>
                  <a:lnTo>
                    <a:pt x="17264" y="64527"/>
                  </a:lnTo>
                  <a:lnTo>
                    <a:pt x="16698" y="64150"/>
                  </a:lnTo>
                  <a:lnTo>
                    <a:pt x="16981" y="64056"/>
                  </a:lnTo>
                  <a:lnTo>
                    <a:pt x="17264" y="64150"/>
                  </a:lnTo>
                  <a:lnTo>
                    <a:pt x="17264" y="64150"/>
                  </a:lnTo>
                  <a:lnTo>
                    <a:pt x="15188" y="63207"/>
                  </a:lnTo>
                  <a:lnTo>
                    <a:pt x="14622" y="62829"/>
                  </a:lnTo>
                  <a:lnTo>
                    <a:pt x="14717" y="62924"/>
                  </a:lnTo>
                  <a:lnTo>
                    <a:pt x="13773" y="62546"/>
                  </a:lnTo>
                  <a:lnTo>
                    <a:pt x="12924" y="62075"/>
                  </a:lnTo>
                  <a:lnTo>
                    <a:pt x="12358" y="61697"/>
                  </a:lnTo>
                  <a:lnTo>
                    <a:pt x="12264" y="61508"/>
                  </a:lnTo>
                  <a:lnTo>
                    <a:pt x="12170" y="61320"/>
                  </a:lnTo>
                  <a:lnTo>
                    <a:pt x="11698" y="60942"/>
                  </a:lnTo>
                  <a:lnTo>
                    <a:pt x="11132" y="60471"/>
                  </a:lnTo>
                  <a:lnTo>
                    <a:pt x="9906" y="59244"/>
                  </a:lnTo>
                  <a:lnTo>
                    <a:pt x="9906" y="59244"/>
                  </a:lnTo>
                  <a:lnTo>
                    <a:pt x="10566" y="59527"/>
                  </a:lnTo>
                  <a:lnTo>
                    <a:pt x="9434" y="58584"/>
                  </a:lnTo>
                  <a:lnTo>
                    <a:pt x="8207" y="57546"/>
                  </a:lnTo>
                  <a:lnTo>
                    <a:pt x="7547" y="56886"/>
                  </a:lnTo>
                  <a:lnTo>
                    <a:pt x="6981" y="56131"/>
                  </a:lnTo>
                  <a:lnTo>
                    <a:pt x="6226" y="55094"/>
                  </a:lnTo>
                  <a:lnTo>
                    <a:pt x="6415" y="55377"/>
                  </a:lnTo>
                  <a:lnTo>
                    <a:pt x="6038" y="54905"/>
                  </a:lnTo>
                  <a:lnTo>
                    <a:pt x="5472" y="54244"/>
                  </a:lnTo>
                  <a:lnTo>
                    <a:pt x="5283" y="53961"/>
                  </a:lnTo>
                  <a:lnTo>
                    <a:pt x="5094" y="53867"/>
                  </a:lnTo>
                  <a:lnTo>
                    <a:pt x="5377" y="54622"/>
                  </a:lnTo>
                  <a:lnTo>
                    <a:pt x="5849" y="55282"/>
                  </a:lnTo>
                  <a:lnTo>
                    <a:pt x="6321" y="55943"/>
                  </a:lnTo>
                  <a:lnTo>
                    <a:pt x="6698" y="56603"/>
                  </a:lnTo>
                  <a:lnTo>
                    <a:pt x="6226" y="56226"/>
                  </a:lnTo>
                  <a:lnTo>
                    <a:pt x="5943" y="55848"/>
                  </a:lnTo>
                  <a:lnTo>
                    <a:pt x="6038" y="56037"/>
                  </a:lnTo>
                  <a:lnTo>
                    <a:pt x="5943" y="55943"/>
                  </a:lnTo>
                  <a:lnTo>
                    <a:pt x="5377" y="55188"/>
                  </a:lnTo>
                  <a:lnTo>
                    <a:pt x="5000" y="54716"/>
                  </a:lnTo>
                  <a:lnTo>
                    <a:pt x="4717" y="54150"/>
                  </a:lnTo>
                  <a:lnTo>
                    <a:pt x="4528" y="53678"/>
                  </a:lnTo>
                  <a:lnTo>
                    <a:pt x="4528" y="53584"/>
                  </a:lnTo>
                  <a:lnTo>
                    <a:pt x="4623" y="53395"/>
                  </a:lnTo>
                  <a:lnTo>
                    <a:pt x="5094" y="54244"/>
                  </a:lnTo>
                  <a:lnTo>
                    <a:pt x="4717" y="53301"/>
                  </a:lnTo>
                  <a:lnTo>
                    <a:pt x="4528" y="53018"/>
                  </a:lnTo>
                  <a:lnTo>
                    <a:pt x="4151" y="52263"/>
                  </a:lnTo>
                  <a:lnTo>
                    <a:pt x="4151" y="52169"/>
                  </a:lnTo>
                  <a:lnTo>
                    <a:pt x="3774" y="51509"/>
                  </a:lnTo>
                  <a:lnTo>
                    <a:pt x="3396" y="50660"/>
                  </a:lnTo>
                  <a:lnTo>
                    <a:pt x="3585" y="51603"/>
                  </a:lnTo>
                  <a:lnTo>
                    <a:pt x="3396" y="51226"/>
                  </a:lnTo>
                  <a:lnTo>
                    <a:pt x="3208" y="50848"/>
                  </a:lnTo>
                  <a:lnTo>
                    <a:pt x="3208" y="50471"/>
                  </a:lnTo>
                  <a:lnTo>
                    <a:pt x="3208" y="50094"/>
                  </a:lnTo>
                  <a:lnTo>
                    <a:pt x="3585" y="50754"/>
                  </a:lnTo>
                  <a:lnTo>
                    <a:pt x="3868" y="51509"/>
                  </a:lnTo>
                  <a:lnTo>
                    <a:pt x="3868" y="51509"/>
                  </a:lnTo>
                  <a:lnTo>
                    <a:pt x="3208" y="49528"/>
                  </a:lnTo>
                  <a:lnTo>
                    <a:pt x="3208" y="49528"/>
                  </a:lnTo>
                  <a:lnTo>
                    <a:pt x="3868" y="50754"/>
                  </a:lnTo>
                  <a:lnTo>
                    <a:pt x="3208" y="48962"/>
                  </a:lnTo>
                  <a:lnTo>
                    <a:pt x="3585" y="49339"/>
                  </a:lnTo>
                  <a:lnTo>
                    <a:pt x="3774" y="49433"/>
                  </a:lnTo>
                  <a:lnTo>
                    <a:pt x="3962" y="49528"/>
                  </a:lnTo>
                  <a:lnTo>
                    <a:pt x="4057" y="49905"/>
                  </a:lnTo>
                  <a:lnTo>
                    <a:pt x="3868" y="48962"/>
                  </a:lnTo>
                  <a:lnTo>
                    <a:pt x="3491" y="47924"/>
                  </a:lnTo>
                  <a:lnTo>
                    <a:pt x="2641" y="45565"/>
                  </a:lnTo>
                  <a:lnTo>
                    <a:pt x="2170" y="43867"/>
                  </a:lnTo>
                  <a:lnTo>
                    <a:pt x="1698" y="41886"/>
                  </a:lnTo>
                  <a:lnTo>
                    <a:pt x="1698" y="41886"/>
                  </a:lnTo>
                  <a:lnTo>
                    <a:pt x="1887" y="42075"/>
                  </a:lnTo>
                  <a:lnTo>
                    <a:pt x="1981" y="41981"/>
                  </a:lnTo>
                  <a:lnTo>
                    <a:pt x="2075" y="42075"/>
                  </a:lnTo>
                  <a:lnTo>
                    <a:pt x="2264" y="42169"/>
                  </a:lnTo>
                  <a:lnTo>
                    <a:pt x="2170" y="40283"/>
                  </a:lnTo>
                  <a:lnTo>
                    <a:pt x="2075" y="38301"/>
                  </a:lnTo>
                  <a:lnTo>
                    <a:pt x="2170" y="36415"/>
                  </a:lnTo>
                  <a:lnTo>
                    <a:pt x="2358" y="35566"/>
                  </a:lnTo>
                  <a:lnTo>
                    <a:pt x="2453" y="34811"/>
                  </a:lnTo>
                  <a:lnTo>
                    <a:pt x="2830" y="32830"/>
                  </a:lnTo>
                  <a:lnTo>
                    <a:pt x="2830" y="33207"/>
                  </a:lnTo>
                  <a:lnTo>
                    <a:pt x="2924" y="33490"/>
                  </a:lnTo>
                  <a:lnTo>
                    <a:pt x="2924" y="32453"/>
                  </a:lnTo>
                  <a:lnTo>
                    <a:pt x="3019" y="31415"/>
                  </a:lnTo>
                  <a:lnTo>
                    <a:pt x="3396" y="29245"/>
                  </a:lnTo>
                  <a:lnTo>
                    <a:pt x="3868" y="27075"/>
                  </a:lnTo>
                  <a:lnTo>
                    <a:pt x="4623" y="25000"/>
                  </a:lnTo>
                  <a:lnTo>
                    <a:pt x="5566" y="22830"/>
                  </a:lnTo>
                  <a:lnTo>
                    <a:pt x="6604" y="20849"/>
                  </a:lnTo>
                  <a:lnTo>
                    <a:pt x="7830" y="18868"/>
                  </a:lnTo>
                  <a:lnTo>
                    <a:pt x="9151" y="16887"/>
                  </a:lnTo>
                  <a:lnTo>
                    <a:pt x="10566" y="15094"/>
                  </a:lnTo>
                  <a:lnTo>
                    <a:pt x="12075" y="13302"/>
                  </a:lnTo>
                  <a:lnTo>
                    <a:pt x="13773" y="11698"/>
                  </a:lnTo>
                  <a:lnTo>
                    <a:pt x="15377" y="10095"/>
                  </a:lnTo>
                  <a:lnTo>
                    <a:pt x="17170" y="8679"/>
                  </a:lnTo>
                  <a:lnTo>
                    <a:pt x="18962" y="7453"/>
                  </a:lnTo>
                  <a:lnTo>
                    <a:pt x="20754" y="6321"/>
                  </a:lnTo>
                  <a:lnTo>
                    <a:pt x="22547" y="5378"/>
                  </a:lnTo>
                  <a:lnTo>
                    <a:pt x="21603" y="6227"/>
                  </a:lnTo>
                  <a:lnTo>
                    <a:pt x="22641" y="5472"/>
                  </a:lnTo>
                  <a:lnTo>
                    <a:pt x="23302" y="5095"/>
                  </a:lnTo>
                  <a:lnTo>
                    <a:pt x="25377" y="4151"/>
                  </a:lnTo>
                  <a:lnTo>
                    <a:pt x="24811" y="4151"/>
                  </a:lnTo>
                  <a:lnTo>
                    <a:pt x="25660" y="3774"/>
                  </a:lnTo>
                  <a:lnTo>
                    <a:pt x="26886" y="3208"/>
                  </a:lnTo>
                  <a:lnTo>
                    <a:pt x="26603" y="3585"/>
                  </a:lnTo>
                  <a:lnTo>
                    <a:pt x="26886" y="3585"/>
                  </a:lnTo>
                  <a:lnTo>
                    <a:pt x="26886" y="3680"/>
                  </a:lnTo>
                  <a:lnTo>
                    <a:pt x="26792" y="3774"/>
                  </a:lnTo>
                  <a:lnTo>
                    <a:pt x="28301" y="3302"/>
                  </a:lnTo>
                  <a:lnTo>
                    <a:pt x="29622" y="2736"/>
                  </a:lnTo>
                  <a:lnTo>
                    <a:pt x="31037" y="2264"/>
                  </a:lnTo>
                  <a:lnTo>
                    <a:pt x="31792" y="2076"/>
                  </a:lnTo>
                  <a:lnTo>
                    <a:pt x="32641" y="1981"/>
                  </a:lnTo>
                  <a:lnTo>
                    <a:pt x="32547" y="2076"/>
                  </a:lnTo>
                  <a:lnTo>
                    <a:pt x="32924" y="1981"/>
                  </a:lnTo>
                  <a:lnTo>
                    <a:pt x="34245" y="1793"/>
                  </a:lnTo>
                  <a:lnTo>
                    <a:pt x="35848" y="1415"/>
                  </a:lnTo>
                  <a:lnTo>
                    <a:pt x="36981" y="1132"/>
                  </a:lnTo>
                  <a:lnTo>
                    <a:pt x="36981" y="1415"/>
                  </a:lnTo>
                  <a:lnTo>
                    <a:pt x="40943" y="1227"/>
                  </a:lnTo>
                  <a:lnTo>
                    <a:pt x="41509" y="1038"/>
                  </a:lnTo>
                  <a:lnTo>
                    <a:pt x="41697" y="1132"/>
                  </a:lnTo>
                  <a:lnTo>
                    <a:pt x="41509" y="1227"/>
                  </a:lnTo>
                  <a:lnTo>
                    <a:pt x="41320" y="1321"/>
                  </a:lnTo>
                  <a:lnTo>
                    <a:pt x="42263" y="1321"/>
                  </a:lnTo>
                  <a:lnTo>
                    <a:pt x="43113" y="1227"/>
                  </a:lnTo>
                  <a:lnTo>
                    <a:pt x="43396" y="1415"/>
                  </a:lnTo>
                  <a:lnTo>
                    <a:pt x="44056" y="1604"/>
                  </a:lnTo>
                  <a:lnTo>
                    <a:pt x="45943" y="2076"/>
                  </a:lnTo>
                  <a:lnTo>
                    <a:pt x="48018" y="2359"/>
                  </a:lnTo>
                  <a:lnTo>
                    <a:pt x="49622" y="2736"/>
                  </a:lnTo>
                  <a:lnTo>
                    <a:pt x="47641" y="1981"/>
                  </a:lnTo>
                  <a:lnTo>
                    <a:pt x="45282" y="1321"/>
                  </a:lnTo>
                  <a:lnTo>
                    <a:pt x="42735" y="755"/>
                  </a:lnTo>
                  <a:lnTo>
                    <a:pt x="40188" y="283"/>
                  </a:lnTo>
                  <a:lnTo>
                    <a:pt x="37735" y="95"/>
                  </a:lnTo>
                  <a:lnTo>
                    <a:pt x="35471" y="0"/>
                  </a:lnTo>
                  <a:close/>
                </a:path>
              </a:pathLst>
            </a:custGeom>
            <a:solidFill>
              <a:schemeClr val="bg1">
                <a:lumMod val="95000"/>
              </a:schemeClr>
            </a:solidFill>
            <a:ln w="0">
              <a:solidFill>
                <a:schemeClr val="bg1"/>
              </a:solidFill>
            </a:ln>
          </p:spPr>
          <p:txBody>
            <a:bodyPr spcFirstLastPara="1" wrap="square" lIns="91425" tIns="91425" rIns="91425" bIns="91425" anchor="ctr" anchorCtr="0">
              <a:noAutofit/>
            </a:bodyPr>
            <a:lstStyle/>
            <a:p>
              <a:pPr marL="0" lvl="0" indent="0">
                <a:spcBef>
                  <a:spcPts val="0"/>
                </a:spcBef>
                <a:spcAft>
                  <a:spcPts val="0"/>
                </a:spcAft>
                <a:buNone/>
              </a:pPr>
              <a:endParaRPr sz="1200">
                <a:latin typeface="+mj-lt"/>
              </a:endParaRPr>
            </a:p>
          </p:txBody>
        </p:sp>
        <p:sp>
          <p:nvSpPr>
            <p:cNvPr id="339" name="TextBox 338">
              <a:extLst>
                <a:ext uri="{FF2B5EF4-FFF2-40B4-BE49-F238E27FC236}">
                  <a16:creationId xmlns:a16="http://schemas.microsoft.com/office/drawing/2014/main" id="{97FD9BB4-5158-9947-A71E-3E22073070CD}"/>
                </a:ext>
              </a:extLst>
            </p:cNvPr>
            <p:cNvSpPr txBox="1"/>
            <p:nvPr/>
          </p:nvSpPr>
          <p:spPr>
            <a:xfrm>
              <a:off x="2219869" y="1028158"/>
              <a:ext cx="229951" cy="254124"/>
            </a:xfrm>
            <a:prstGeom prst="rect">
              <a:avLst/>
            </a:prstGeom>
            <a:noFill/>
          </p:spPr>
          <p:txBody>
            <a:bodyPr wrap="square" rtlCol="0">
              <a:spAutoFit/>
            </a:bodyPr>
            <a:lstStyle/>
            <a:p>
              <a:r>
                <a:rPr lang="en-US" sz="600" b="1" dirty="0">
                  <a:solidFill>
                    <a:schemeClr val="bg1">
                      <a:lumMod val="95000"/>
                    </a:schemeClr>
                  </a:solidFill>
                  <a:latin typeface="+mj-lt"/>
                </a:rPr>
                <a:t>5</a:t>
              </a:r>
            </a:p>
          </p:txBody>
        </p:sp>
      </p:grpSp>
      <p:grpSp>
        <p:nvGrpSpPr>
          <p:cNvPr id="340" name="Group 339">
            <a:extLst>
              <a:ext uri="{FF2B5EF4-FFF2-40B4-BE49-F238E27FC236}">
                <a16:creationId xmlns:a16="http://schemas.microsoft.com/office/drawing/2014/main" id="{04CC74C6-D5F7-5E45-892C-16987575CCDA}"/>
              </a:ext>
            </a:extLst>
          </p:cNvPr>
          <p:cNvGrpSpPr/>
          <p:nvPr/>
        </p:nvGrpSpPr>
        <p:grpSpPr>
          <a:xfrm>
            <a:off x="3534315" y="4655500"/>
            <a:ext cx="204300" cy="184666"/>
            <a:chOff x="2219869" y="1028158"/>
            <a:chExt cx="229951" cy="254124"/>
          </a:xfrm>
        </p:grpSpPr>
        <p:sp>
          <p:nvSpPr>
            <p:cNvPr id="341" name="Google Shape;431;p39">
              <a:extLst>
                <a:ext uri="{FF2B5EF4-FFF2-40B4-BE49-F238E27FC236}">
                  <a16:creationId xmlns:a16="http://schemas.microsoft.com/office/drawing/2014/main" id="{E5ECDAF7-F70D-FB48-87AF-B900D7C13B4D}"/>
                </a:ext>
              </a:extLst>
            </p:cNvPr>
            <p:cNvSpPr/>
            <p:nvPr/>
          </p:nvSpPr>
          <p:spPr>
            <a:xfrm>
              <a:off x="2259435" y="1076105"/>
              <a:ext cx="179407" cy="167874"/>
            </a:xfrm>
            <a:custGeom>
              <a:avLst/>
              <a:gdLst/>
              <a:ahLst/>
              <a:cxnLst/>
              <a:rect l="0" t="0" r="0" b="0"/>
              <a:pathLst>
                <a:path w="67641" h="69056" extrusionOk="0">
                  <a:moveTo>
                    <a:pt x="49622" y="2736"/>
                  </a:moveTo>
                  <a:lnTo>
                    <a:pt x="49622" y="2736"/>
                  </a:lnTo>
                  <a:lnTo>
                    <a:pt x="49622" y="2736"/>
                  </a:lnTo>
                  <a:close/>
                  <a:moveTo>
                    <a:pt x="59622" y="55565"/>
                  </a:moveTo>
                  <a:lnTo>
                    <a:pt x="59622" y="55565"/>
                  </a:lnTo>
                  <a:lnTo>
                    <a:pt x="59622" y="55565"/>
                  </a:lnTo>
                  <a:close/>
                  <a:moveTo>
                    <a:pt x="35471" y="0"/>
                  </a:moveTo>
                  <a:lnTo>
                    <a:pt x="34433" y="95"/>
                  </a:lnTo>
                  <a:lnTo>
                    <a:pt x="33584" y="189"/>
                  </a:lnTo>
                  <a:lnTo>
                    <a:pt x="32735" y="378"/>
                  </a:lnTo>
                  <a:lnTo>
                    <a:pt x="32169" y="566"/>
                  </a:lnTo>
                  <a:lnTo>
                    <a:pt x="31509" y="472"/>
                  </a:lnTo>
                  <a:lnTo>
                    <a:pt x="30754" y="472"/>
                  </a:lnTo>
                  <a:lnTo>
                    <a:pt x="29339" y="566"/>
                  </a:lnTo>
                  <a:lnTo>
                    <a:pt x="27830" y="849"/>
                  </a:lnTo>
                  <a:lnTo>
                    <a:pt x="26320" y="1321"/>
                  </a:lnTo>
                  <a:lnTo>
                    <a:pt x="24811" y="1981"/>
                  </a:lnTo>
                  <a:lnTo>
                    <a:pt x="23207" y="2736"/>
                  </a:lnTo>
                  <a:lnTo>
                    <a:pt x="21698" y="3585"/>
                  </a:lnTo>
                  <a:lnTo>
                    <a:pt x="20188" y="4623"/>
                  </a:lnTo>
                  <a:lnTo>
                    <a:pt x="18679" y="5661"/>
                  </a:lnTo>
                  <a:lnTo>
                    <a:pt x="17170" y="6793"/>
                  </a:lnTo>
                  <a:lnTo>
                    <a:pt x="15754" y="8019"/>
                  </a:lnTo>
                  <a:lnTo>
                    <a:pt x="14434" y="9151"/>
                  </a:lnTo>
                  <a:lnTo>
                    <a:pt x="11981" y="11510"/>
                  </a:lnTo>
                  <a:lnTo>
                    <a:pt x="10000" y="13774"/>
                  </a:lnTo>
                  <a:lnTo>
                    <a:pt x="7736" y="16981"/>
                  </a:lnTo>
                  <a:lnTo>
                    <a:pt x="8019" y="16321"/>
                  </a:lnTo>
                  <a:lnTo>
                    <a:pt x="8302" y="15660"/>
                  </a:lnTo>
                  <a:lnTo>
                    <a:pt x="7736" y="16604"/>
                  </a:lnTo>
                  <a:lnTo>
                    <a:pt x="7075" y="17642"/>
                  </a:lnTo>
                  <a:lnTo>
                    <a:pt x="7170" y="17830"/>
                  </a:lnTo>
                  <a:lnTo>
                    <a:pt x="6509" y="18868"/>
                  </a:lnTo>
                  <a:lnTo>
                    <a:pt x="7075" y="17359"/>
                  </a:lnTo>
                  <a:lnTo>
                    <a:pt x="6132" y="19057"/>
                  </a:lnTo>
                  <a:lnTo>
                    <a:pt x="5189" y="20849"/>
                  </a:lnTo>
                  <a:lnTo>
                    <a:pt x="4434" y="22736"/>
                  </a:lnTo>
                  <a:lnTo>
                    <a:pt x="3679" y="24622"/>
                  </a:lnTo>
                  <a:lnTo>
                    <a:pt x="2453" y="28490"/>
                  </a:lnTo>
                  <a:lnTo>
                    <a:pt x="1321" y="32169"/>
                  </a:lnTo>
                  <a:lnTo>
                    <a:pt x="1509" y="32264"/>
                  </a:lnTo>
                  <a:lnTo>
                    <a:pt x="1604" y="32453"/>
                  </a:lnTo>
                  <a:lnTo>
                    <a:pt x="1604" y="32641"/>
                  </a:lnTo>
                  <a:lnTo>
                    <a:pt x="1509" y="32924"/>
                  </a:lnTo>
                  <a:lnTo>
                    <a:pt x="1226" y="33396"/>
                  </a:lnTo>
                  <a:lnTo>
                    <a:pt x="1038" y="33585"/>
                  </a:lnTo>
                  <a:lnTo>
                    <a:pt x="1038" y="33773"/>
                  </a:lnTo>
                  <a:lnTo>
                    <a:pt x="1038" y="35000"/>
                  </a:lnTo>
                  <a:lnTo>
                    <a:pt x="849" y="36132"/>
                  </a:lnTo>
                  <a:lnTo>
                    <a:pt x="660" y="37358"/>
                  </a:lnTo>
                  <a:lnTo>
                    <a:pt x="472" y="38867"/>
                  </a:lnTo>
                  <a:lnTo>
                    <a:pt x="283" y="38301"/>
                  </a:lnTo>
                  <a:lnTo>
                    <a:pt x="94" y="39811"/>
                  </a:lnTo>
                  <a:lnTo>
                    <a:pt x="0" y="41509"/>
                  </a:lnTo>
                  <a:lnTo>
                    <a:pt x="94" y="43301"/>
                  </a:lnTo>
                  <a:lnTo>
                    <a:pt x="283" y="44056"/>
                  </a:lnTo>
                  <a:lnTo>
                    <a:pt x="472" y="44622"/>
                  </a:lnTo>
                  <a:lnTo>
                    <a:pt x="566" y="45660"/>
                  </a:lnTo>
                  <a:lnTo>
                    <a:pt x="755" y="46792"/>
                  </a:lnTo>
                  <a:lnTo>
                    <a:pt x="1226" y="48962"/>
                  </a:lnTo>
                  <a:lnTo>
                    <a:pt x="1981" y="51037"/>
                  </a:lnTo>
                  <a:lnTo>
                    <a:pt x="2924" y="53112"/>
                  </a:lnTo>
                  <a:lnTo>
                    <a:pt x="4057" y="55094"/>
                  </a:lnTo>
                  <a:lnTo>
                    <a:pt x="5283" y="56980"/>
                  </a:lnTo>
                  <a:lnTo>
                    <a:pt x="6698" y="58678"/>
                  </a:lnTo>
                  <a:lnTo>
                    <a:pt x="8113" y="60282"/>
                  </a:lnTo>
                  <a:lnTo>
                    <a:pt x="9056" y="61131"/>
                  </a:lnTo>
                  <a:lnTo>
                    <a:pt x="10000" y="61980"/>
                  </a:lnTo>
                  <a:lnTo>
                    <a:pt x="11038" y="62829"/>
                  </a:lnTo>
                  <a:lnTo>
                    <a:pt x="12075" y="63584"/>
                  </a:lnTo>
                  <a:lnTo>
                    <a:pt x="14339" y="64905"/>
                  </a:lnTo>
                  <a:lnTo>
                    <a:pt x="16604" y="66131"/>
                  </a:lnTo>
                  <a:lnTo>
                    <a:pt x="19056" y="67169"/>
                  </a:lnTo>
                  <a:lnTo>
                    <a:pt x="21509" y="67923"/>
                  </a:lnTo>
                  <a:lnTo>
                    <a:pt x="24056" y="68584"/>
                  </a:lnTo>
                  <a:lnTo>
                    <a:pt x="26603" y="69055"/>
                  </a:lnTo>
                  <a:lnTo>
                    <a:pt x="27830" y="69055"/>
                  </a:lnTo>
                  <a:lnTo>
                    <a:pt x="30188" y="68867"/>
                  </a:lnTo>
                  <a:lnTo>
                    <a:pt x="33113" y="68678"/>
                  </a:lnTo>
                  <a:lnTo>
                    <a:pt x="36509" y="68301"/>
                  </a:lnTo>
                  <a:lnTo>
                    <a:pt x="39811" y="67923"/>
                  </a:lnTo>
                  <a:lnTo>
                    <a:pt x="42735" y="67452"/>
                  </a:lnTo>
                  <a:lnTo>
                    <a:pt x="44905" y="66980"/>
                  </a:lnTo>
                  <a:lnTo>
                    <a:pt x="45565" y="66791"/>
                  </a:lnTo>
                  <a:lnTo>
                    <a:pt x="45943" y="66508"/>
                  </a:lnTo>
                  <a:lnTo>
                    <a:pt x="47358" y="65942"/>
                  </a:lnTo>
                  <a:lnTo>
                    <a:pt x="48018" y="65565"/>
                  </a:lnTo>
                  <a:lnTo>
                    <a:pt x="48678" y="65188"/>
                  </a:lnTo>
                  <a:lnTo>
                    <a:pt x="47924" y="65471"/>
                  </a:lnTo>
                  <a:lnTo>
                    <a:pt x="51509" y="62924"/>
                  </a:lnTo>
                  <a:lnTo>
                    <a:pt x="53301" y="61508"/>
                  </a:lnTo>
                  <a:lnTo>
                    <a:pt x="55093" y="59905"/>
                  </a:lnTo>
                  <a:lnTo>
                    <a:pt x="55093" y="59905"/>
                  </a:lnTo>
                  <a:lnTo>
                    <a:pt x="54810" y="60376"/>
                  </a:lnTo>
                  <a:lnTo>
                    <a:pt x="54339" y="60754"/>
                  </a:lnTo>
                  <a:lnTo>
                    <a:pt x="55376" y="59999"/>
                  </a:lnTo>
                  <a:lnTo>
                    <a:pt x="56320" y="59056"/>
                  </a:lnTo>
                  <a:lnTo>
                    <a:pt x="57075" y="58395"/>
                  </a:lnTo>
                  <a:lnTo>
                    <a:pt x="57169" y="58207"/>
                  </a:lnTo>
                  <a:lnTo>
                    <a:pt x="57075" y="58207"/>
                  </a:lnTo>
                  <a:lnTo>
                    <a:pt x="57924" y="57546"/>
                  </a:lnTo>
                  <a:lnTo>
                    <a:pt x="58678" y="56697"/>
                  </a:lnTo>
                  <a:lnTo>
                    <a:pt x="59339" y="55754"/>
                  </a:lnTo>
                  <a:lnTo>
                    <a:pt x="59905" y="54905"/>
                  </a:lnTo>
                  <a:lnTo>
                    <a:pt x="59716" y="54999"/>
                  </a:lnTo>
                  <a:lnTo>
                    <a:pt x="59622" y="54999"/>
                  </a:lnTo>
                  <a:lnTo>
                    <a:pt x="59810" y="54622"/>
                  </a:lnTo>
                  <a:lnTo>
                    <a:pt x="59150" y="55565"/>
                  </a:lnTo>
                  <a:lnTo>
                    <a:pt x="59527" y="55094"/>
                  </a:lnTo>
                  <a:lnTo>
                    <a:pt x="59433" y="55377"/>
                  </a:lnTo>
                  <a:lnTo>
                    <a:pt x="58867" y="56037"/>
                  </a:lnTo>
                  <a:lnTo>
                    <a:pt x="59056" y="55660"/>
                  </a:lnTo>
                  <a:lnTo>
                    <a:pt x="59056" y="55660"/>
                  </a:lnTo>
                  <a:lnTo>
                    <a:pt x="58678" y="56037"/>
                  </a:lnTo>
                  <a:lnTo>
                    <a:pt x="59810" y="54339"/>
                  </a:lnTo>
                  <a:lnTo>
                    <a:pt x="60282" y="53490"/>
                  </a:lnTo>
                  <a:lnTo>
                    <a:pt x="60282" y="53301"/>
                  </a:lnTo>
                  <a:lnTo>
                    <a:pt x="60188" y="53395"/>
                  </a:lnTo>
                  <a:lnTo>
                    <a:pt x="60188" y="53395"/>
                  </a:lnTo>
                  <a:lnTo>
                    <a:pt x="60565" y="52924"/>
                  </a:lnTo>
                  <a:lnTo>
                    <a:pt x="61037" y="52452"/>
                  </a:lnTo>
                  <a:lnTo>
                    <a:pt x="61886" y="51509"/>
                  </a:lnTo>
                  <a:lnTo>
                    <a:pt x="61508" y="52452"/>
                  </a:lnTo>
                  <a:lnTo>
                    <a:pt x="60848" y="53584"/>
                  </a:lnTo>
                  <a:lnTo>
                    <a:pt x="59622" y="55565"/>
                  </a:lnTo>
                  <a:lnTo>
                    <a:pt x="60376" y="54528"/>
                  </a:lnTo>
                  <a:lnTo>
                    <a:pt x="60942" y="53678"/>
                  </a:lnTo>
                  <a:lnTo>
                    <a:pt x="61980" y="51792"/>
                  </a:lnTo>
                  <a:lnTo>
                    <a:pt x="61886" y="51886"/>
                  </a:lnTo>
                  <a:lnTo>
                    <a:pt x="61886" y="51697"/>
                  </a:lnTo>
                  <a:lnTo>
                    <a:pt x="62169" y="51037"/>
                  </a:lnTo>
                  <a:lnTo>
                    <a:pt x="62735" y="49999"/>
                  </a:lnTo>
                  <a:lnTo>
                    <a:pt x="61508" y="51603"/>
                  </a:lnTo>
                  <a:lnTo>
                    <a:pt x="61603" y="51037"/>
                  </a:lnTo>
                  <a:lnTo>
                    <a:pt x="61697" y="50377"/>
                  </a:lnTo>
                  <a:lnTo>
                    <a:pt x="62169" y="48962"/>
                  </a:lnTo>
                  <a:lnTo>
                    <a:pt x="62829" y="47358"/>
                  </a:lnTo>
                  <a:lnTo>
                    <a:pt x="63678" y="45565"/>
                  </a:lnTo>
                  <a:lnTo>
                    <a:pt x="65376" y="42169"/>
                  </a:lnTo>
                  <a:lnTo>
                    <a:pt x="66131" y="40660"/>
                  </a:lnTo>
                  <a:lnTo>
                    <a:pt x="66697" y="39339"/>
                  </a:lnTo>
                  <a:lnTo>
                    <a:pt x="66603" y="39528"/>
                  </a:lnTo>
                  <a:lnTo>
                    <a:pt x="66697" y="39056"/>
                  </a:lnTo>
                  <a:lnTo>
                    <a:pt x="66791" y="38962"/>
                  </a:lnTo>
                  <a:lnTo>
                    <a:pt x="66791" y="39056"/>
                  </a:lnTo>
                  <a:lnTo>
                    <a:pt x="66886" y="38584"/>
                  </a:lnTo>
                  <a:lnTo>
                    <a:pt x="66791" y="38867"/>
                  </a:lnTo>
                  <a:lnTo>
                    <a:pt x="66980" y="38207"/>
                  </a:lnTo>
                  <a:lnTo>
                    <a:pt x="67169" y="37264"/>
                  </a:lnTo>
                  <a:lnTo>
                    <a:pt x="67263" y="36415"/>
                  </a:lnTo>
                  <a:lnTo>
                    <a:pt x="67357" y="36509"/>
                  </a:lnTo>
                  <a:lnTo>
                    <a:pt x="67452" y="36509"/>
                  </a:lnTo>
                  <a:lnTo>
                    <a:pt x="67546" y="35943"/>
                  </a:lnTo>
                  <a:lnTo>
                    <a:pt x="67546" y="34811"/>
                  </a:lnTo>
                  <a:lnTo>
                    <a:pt x="67640" y="31037"/>
                  </a:lnTo>
                  <a:lnTo>
                    <a:pt x="67640" y="28490"/>
                  </a:lnTo>
                  <a:lnTo>
                    <a:pt x="67546" y="27736"/>
                  </a:lnTo>
                  <a:lnTo>
                    <a:pt x="67546" y="27547"/>
                  </a:lnTo>
                  <a:lnTo>
                    <a:pt x="67452" y="27547"/>
                  </a:lnTo>
                  <a:lnTo>
                    <a:pt x="67074" y="26792"/>
                  </a:lnTo>
                  <a:lnTo>
                    <a:pt x="66791" y="25660"/>
                  </a:lnTo>
                  <a:lnTo>
                    <a:pt x="66508" y="24528"/>
                  </a:lnTo>
                  <a:lnTo>
                    <a:pt x="66414" y="23585"/>
                  </a:lnTo>
                  <a:lnTo>
                    <a:pt x="66320" y="23679"/>
                  </a:lnTo>
                  <a:lnTo>
                    <a:pt x="66320" y="23490"/>
                  </a:lnTo>
                  <a:lnTo>
                    <a:pt x="65942" y="22924"/>
                  </a:lnTo>
                  <a:lnTo>
                    <a:pt x="65565" y="22358"/>
                  </a:lnTo>
                  <a:lnTo>
                    <a:pt x="64527" y="21132"/>
                  </a:lnTo>
                  <a:lnTo>
                    <a:pt x="63584" y="19906"/>
                  </a:lnTo>
                  <a:lnTo>
                    <a:pt x="63207" y="19340"/>
                  </a:lnTo>
                  <a:lnTo>
                    <a:pt x="63018" y="18774"/>
                  </a:lnTo>
                  <a:lnTo>
                    <a:pt x="63112" y="18962"/>
                  </a:lnTo>
                  <a:lnTo>
                    <a:pt x="63301" y="19057"/>
                  </a:lnTo>
                  <a:lnTo>
                    <a:pt x="63301" y="19057"/>
                  </a:lnTo>
                  <a:lnTo>
                    <a:pt x="63207" y="18868"/>
                  </a:lnTo>
                  <a:lnTo>
                    <a:pt x="62923" y="18491"/>
                  </a:lnTo>
                  <a:lnTo>
                    <a:pt x="61980" y="17453"/>
                  </a:lnTo>
                  <a:lnTo>
                    <a:pt x="61037" y="16509"/>
                  </a:lnTo>
                  <a:lnTo>
                    <a:pt x="61037" y="16698"/>
                  </a:lnTo>
                  <a:lnTo>
                    <a:pt x="61037" y="16887"/>
                  </a:lnTo>
                  <a:lnTo>
                    <a:pt x="60093" y="15943"/>
                  </a:lnTo>
                  <a:lnTo>
                    <a:pt x="60376" y="16321"/>
                  </a:lnTo>
                  <a:lnTo>
                    <a:pt x="59527" y="15377"/>
                  </a:lnTo>
                  <a:lnTo>
                    <a:pt x="59056" y="14906"/>
                  </a:lnTo>
                  <a:lnTo>
                    <a:pt x="59244" y="14906"/>
                  </a:lnTo>
                  <a:lnTo>
                    <a:pt x="59905" y="15472"/>
                  </a:lnTo>
                  <a:lnTo>
                    <a:pt x="59905" y="15472"/>
                  </a:lnTo>
                  <a:lnTo>
                    <a:pt x="57641" y="13396"/>
                  </a:lnTo>
                  <a:lnTo>
                    <a:pt x="58112" y="13868"/>
                  </a:lnTo>
                  <a:lnTo>
                    <a:pt x="56886" y="13019"/>
                  </a:lnTo>
                  <a:lnTo>
                    <a:pt x="55754" y="12453"/>
                  </a:lnTo>
                  <a:lnTo>
                    <a:pt x="56603" y="13113"/>
                  </a:lnTo>
                  <a:lnTo>
                    <a:pt x="57452" y="13774"/>
                  </a:lnTo>
                  <a:lnTo>
                    <a:pt x="58961" y="15283"/>
                  </a:lnTo>
                  <a:lnTo>
                    <a:pt x="60376" y="16604"/>
                  </a:lnTo>
                  <a:lnTo>
                    <a:pt x="61225" y="17264"/>
                  </a:lnTo>
                  <a:lnTo>
                    <a:pt x="62074" y="17925"/>
                  </a:lnTo>
                  <a:lnTo>
                    <a:pt x="62074" y="17925"/>
                  </a:lnTo>
                  <a:lnTo>
                    <a:pt x="61414" y="17547"/>
                  </a:lnTo>
                  <a:lnTo>
                    <a:pt x="60659" y="16981"/>
                  </a:lnTo>
                  <a:lnTo>
                    <a:pt x="60754" y="17264"/>
                  </a:lnTo>
                  <a:lnTo>
                    <a:pt x="60942" y="17642"/>
                  </a:lnTo>
                  <a:lnTo>
                    <a:pt x="61980" y="19151"/>
                  </a:lnTo>
                  <a:lnTo>
                    <a:pt x="63301" y="20943"/>
                  </a:lnTo>
                  <a:lnTo>
                    <a:pt x="63207" y="20943"/>
                  </a:lnTo>
                  <a:lnTo>
                    <a:pt x="63395" y="21038"/>
                  </a:lnTo>
                  <a:lnTo>
                    <a:pt x="63490" y="21321"/>
                  </a:lnTo>
                  <a:lnTo>
                    <a:pt x="63678" y="21604"/>
                  </a:lnTo>
                  <a:lnTo>
                    <a:pt x="63773" y="21698"/>
                  </a:lnTo>
                  <a:lnTo>
                    <a:pt x="63584" y="21321"/>
                  </a:lnTo>
                  <a:lnTo>
                    <a:pt x="63584" y="21321"/>
                  </a:lnTo>
                  <a:lnTo>
                    <a:pt x="64244" y="22170"/>
                  </a:lnTo>
                  <a:lnTo>
                    <a:pt x="64716" y="22641"/>
                  </a:lnTo>
                  <a:lnTo>
                    <a:pt x="64905" y="22830"/>
                  </a:lnTo>
                  <a:lnTo>
                    <a:pt x="64999" y="22830"/>
                  </a:lnTo>
                  <a:lnTo>
                    <a:pt x="64999" y="22641"/>
                  </a:lnTo>
                  <a:lnTo>
                    <a:pt x="64905" y="22358"/>
                  </a:lnTo>
                  <a:lnTo>
                    <a:pt x="65282" y="23207"/>
                  </a:lnTo>
                  <a:lnTo>
                    <a:pt x="65565" y="24056"/>
                  </a:lnTo>
                  <a:lnTo>
                    <a:pt x="66225" y="25943"/>
                  </a:lnTo>
                  <a:lnTo>
                    <a:pt x="66697" y="27830"/>
                  </a:lnTo>
                  <a:lnTo>
                    <a:pt x="66886" y="28490"/>
                  </a:lnTo>
                  <a:lnTo>
                    <a:pt x="66980" y="28868"/>
                  </a:lnTo>
                  <a:lnTo>
                    <a:pt x="66886" y="28962"/>
                  </a:lnTo>
                  <a:lnTo>
                    <a:pt x="66697" y="28679"/>
                  </a:lnTo>
                  <a:lnTo>
                    <a:pt x="66697" y="29245"/>
                  </a:lnTo>
                  <a:lnTo>
                    <a:pt x="66791" y="29905"/>
                  </a:lnTo>
                  <a:lnTo>
                    <a:pt x="66886" y="29905"/>
                  </a:lnTo>
                  <a:lnTo>
                    <a:pt x="66886" y="30094"/>
                  </a:lnTo>
                  <a:lnTo>
                    <a:pt x="66886" y="30566"/>
                  </a:lnTo>
                  <a:lnTo>
                    <a:pt x="66697" y="30377"/>
                  </a:lnTo>
                  <a:lnTo>
                    <a:pt x="66603" y="30188"/>
                  </a:lnTo>
                  <a:lnTo>
                    <a:pt x="66603" y="30094"/>
                  </a:lnTo>
                  <a:lnTo>
                    <a:pt x="66697" y="29905"/>
                  </a:lnTo>
                  <a:lnTo>
                    <a:pt x="66508" y="28679"/>
                  </a:lnTo>
                  <a:lnTo>
                    <a:pt x="66225" y="27358"/>
                  </a:lnTo>
                  <a:lnTo>
                    <a:pt x="66603" y="30283"/>
                  </a:lnTo>
                  <a:lnTo>
                    <a:pt x="66697" y="31792"/>
                  </a:lnTo>
                  <a:lnTo>
                    <a:pt x="66697" y="33302"/>
                  </a:lnTo>
                  <a:lnTo>
                    <a:pt x="66603" y="34717"/>
                  </a:lnTo>
                  <a:lnTo>
                    <a:pt x="66414" y="36226"/>
                  </a:lnTo>
                  <a:lnTo>
                    <a:pt x="66131" y="37547"/>
                  </a:lnTo>
                  <a:lnTo>
                    <a:pt x="65659" y="38962"/>
                  </a:lnTo>
                  <a:lnTo>
                    <a:pt x="65848" y="38584"/>
                  </a:lnTo>
                  <a:lnTo>
                    <a:pt x="65942" y="38584"/>
                  </a:lnTo>
                  <a:lnTo>
                    <a:pt x="65848" y="39245"/>
                  </a:lnTo>
                  <a:lnTo>
                    <a:pt x="65565" y="40188"/>
                  </a:lnTo>
                  <a:lnTo>
                    <a:pt x="65471" y="40471"/>
                  </a:lnTo>
                  <a:lnTo>
                    <a:pt x="65282" y="40660"/>
                  </a:lnTo>
                  <a:lnTo>
                    <a:pt x="65282" y="40566"/>
                  </a:lnTo>
                  <a:lnTo>
                    <a:pt x="65093" y="41132"/>
                  </a:lnTo>
                  <a:lnTo>
                    <a:pt x="64433" y="43018"/>
                  </a:lnTo>
                  <a:lnTo>
                    <a:pt x="63678" y="45282"/>
                  </a:lnTo>
                  <a:lnTo>
                    <a:pt x="62735" y="47264"/>
                  </a:lnTo>
                  <a:lnTo>
                    <a:pt x="61697" y="49056"/>
                  </a:lnTo>
                  <a:lnTo>
                    <a:pt x="60659" y="50943"/>
                  </a:lnTo>
                  <a:lnTo>
                    <a:pt x="59433" y="52735"/>
                  </a:lnTo>
                  <a:lnTo>
                    <a:pt x="58207" y="54433"/>
                  </a:lnTo>
                  <a:lnTo>
                    <a:pt x="56886" y="56037"/>
                  </a:lnTo>
                  <a:lnTo>
                    <a:pt x="55376" y="57641"/>
                  </a:lnTo>
                  <a:lnTo>
                    <a:pt x="53867" y="59150"/>
                  </a:lnTo>
                  <a:lnTo>
                    <a:pt x="52169" y="60376"/>
                  </a:lnTo>
                  <a:lnTo>
                    <a:pt x="48961" y="62452"/>
                  </a:lnTo>
                  <a:lnTo>
                    <a:pt x="44528" y="65282"/>
                  </a:lnTo>
                  <a:lnTo>
                    <a:pt x="44622" y="65188"/>
                  </a:lnTo>
                  <a:lnTo>
                    <a:pt x="44716" y="65093"/>
                  </a:lnTo>
                  <a:lnTo>
                    <a:pt x="45094" y="64810"/>
                  </a:lnTo>
                  <a:lnTo>
                    <a:pt x="45660" y="64527"/>
                  </a:lnTo>
                  <a:lnTo>
                    <a:pt x="43867" y="65376"/>
                  </a:lnTo>
                  <a:lnTo>
                    <a:pt x="43113" y="65754"/>
                  </a:lnTo>
                  <a:lnTo>
                    <a:pt x="42924" y="65754"/>
                  </a:lnTo>
                  <a:lnTo>
                    <a:pt x="43113" y="65659"/>
                  </a:lnTo>
                  <a:lnTo>
                    <a:pt x="41603" y="66037"/>
                  </a:lnTo>
                  <a:lnTo>
                    <a:pt x="39999" y="66320"/>
                  </a:lnTo>
                  <a:lnTo>
                    <a:pt x="38396" y="66508"/>
                  </a:lnTo>
                  <a:lnTo>
                    <a:pt x="36792" y="66697"/>
                  </a:lnTo>
                  <a:lnTo>
                    <a:pt x="33584" y="66980"/>
                  </a:lnTo>
                  <a:lnTo>
                    <a:pt x="32169" y="67169"/>
                  </a:lnTo>
                  <a:lnTo>
                    <a:pt x="30754" y="67357"/>
                  </a:lnTo>
                  <a:lnTo>
                    <a:pt x="30094" y="67357"/>
                  </a:lnTo>
                  <a:lnTo>
                    <a:pt x="29339" y="67263"/>
                  </a:lnTo>
                  <a:lnTo>
                    <a:pt x="27830" y="66886"/>
                  </a:lnTo>
                  <a:lnTo>
                    <a:pt x="26415" y="66508"/>
                  </a:lnTo>
                  <a:lnTo>
                    <a:pt x="25754" y="66414"/>
                  </a:lnTo>
                  <a:lnTo>
                    <a:pt x="25094" y="66414"/>
                  </a:lnTo>
                  <a:lnTo>
                    <a:pt x="25566" y="66980"/>
                  </a:lnTo>
                  <a:lnTo>
                    <a:pt x="25471" y="67074"/>
                  </a:lnTo>
                  <a:lnTo>
                    <a:pt x="25188" y="66980"/>
                  </a:lnTo>
                  <a:lnTo>
                    <a:pt x="24339" y="66791"/>
                  </a:lnTo>
                  <a:lnTo>
                    <a:pt x="23773" y="66508"/>
                  </a:lnTo>
                  <a:lnTo>
                    <a:pt x="24245" y="66414"/>
                  </a:lnTo>
                  <a:lnTo>
                    <a:pt x="24717" y="66603"/>
                  </a:lnTo>
                  <a:lnTo>
                    <a:pt x="24811" y="66414"/>
                  </a:lnTo>
                  <a:lnTo>
                    <a:pt x="24811" y="66320"/>
                  </a:lnTo>
                  <a:lnTo>
                    <a:pt x="24717" y="66225"/>
                  </a:lnTo>
                  <a:lnTo>
                    <a:pt x="24528" y="66131"/>
                  </a:lnTo>
                  <a:lnTo>
                    <a:pt x="24151" y="66225"/>
                  </a:lnTo>
                  <a:lnTo>
                    <a:pt x="23679" y="66320"/>
                  </a:lnTo>
                  <a:lnTo>
                    <a:pt x="23018" y="66414"/>
                  </a:lnTo>
                  <a:lnTo>
                    <a:pt x="23490" y="66225"/>
                  </a:lnTo>
                  <a:lnTo>
                    <a:pt x="22075" y="65942"/>
                  </a:lnTo>
                  <a:lnTo>
                    <a:pt x="20943" y="65659"/>
                  </a:lnTo>
                  <a:lnTo>
                    <a:pt x="20000" y="65282"/>
                  </a:lnTo>
                  <a:lnTo>
                    <a:pt x="19056" y="64810"/>
                  </a:lnTo>
                  <a:lnTo>
                    <a:pt x="19056" y="64810"/>
                  </a:lnTo>
                  <a:lnTo>
                    <a:pt x="19717" y="64999"/>
                  </a:lnTo>
                  <a:lnTo>
                    <a:pt x="19151" y="64716"/>
                  </a:lnTo>
                  <a:lnTo>
                    <a:pt x="18962" y="64810"/>
                  </a:lnTo>
                  <a:lnTo>
                    <a:pt x="19151" y="64905"/>
                  </a:lnTo>
                  <a:lnTo>
                    <a:pt x="18490" y="64905"/>
                  </a:lnTo>
                  <a:lnTo>
                    <a:pt x="17830" y="64716"/>
                  </a:lnTo>
                  <a:lnTo>
                    <a:pt x="17264" y="64527"/>
                  </a:lnTo>
                  <a:lnTo>
                    <a:pt x="16698" y="64150"/>
                  </a:lnTo>
                  <a:lnTo>
                    <a:pt x="16981" y="64056"/>
                  </a:lnTo>
                  <a:lnTo>
                    <a:pt x="17264" y="64150"/>
                  </a:lnTo>
                  <a:lnTo>
                    <a:pt x="17264" y="64150"/>
                  </a:lnTo>
                  <a:lnTo>
                    <a:pt x="15188" y="63207"/>
                  </a:lnTo>
                  <a:lnTo>
                    <a:pt x="14622" y="62829"/>
                  </a:lnTo>
                  <a:lnTo>
                    <a:pt x="14717" y="62924"/>
                  </a:lnTo>
                  <a:lnTo>
                    <a:pt x="13773" y="62546"/>
                  </a:lnTo>
                  <a:lnTo>
                    <a:pt x="12924" y="62075"/>
                  </a:lnTo>
                  <a:lnTo>
                    <a:pt x="12358" y="61697"/>
                  </a:lnTo>
                  <a:lnTo>
                    <a:pt x="12264" y="61508"/>
                  </a:lnTo>
                  <a:lnTo>
                    <a:pt x="12170" y="61320"/>
                  </a:lnTo>
                  <a:lnTo>
                    <a:pt x="11698" y="60942"/>
                  </a:lnTo>
                  <a:lnTo>
                    <a:pt x="11132" y="60471"/>
                  </a:lnTo>
                  <a:lnTo>
                    <a:pt x="9906" y="59244"/>
                  </a:lnTo>
                  <a:lnTo>
                    <a:pt x="9906" y="59244"/>
                  </a:lnTo>
                  <a:lnTo>
                    <a:pt x="10566" y="59527"/>
                  </a:lnTo>
                  <a:lnTo>
                    <a:pt x="9434" y="58584"/>
                  </a:lnTo>
                  <a:lnTo>
                    <a:pt x="8207" y="57546"/>
                  </a:lnTo>
                  <a:lnTo>
                    <a:pt x="7547" y="56886"/>
                  </a:lnTo>
                  <a:lnTo>
                    <a:pt x="6981" y="56131"/>
                  </a:lnTo>
                  <a:lnTo>
                    <a:pt x="6226" y="55094"/>
                  </a:lnTo>
                  <a:lnTo>
                    <a:pt x="6415" y="55377"/>
                  </a:lnTo>
                  <a:lnTo>
                    <a:pt x="6038" y="54905"/>
                  </a:lnTo>
                  <a:lnTo>
                    <a:pt x="5472" y="54244"/>
                  </a:lnTo>
                  <a:lnTo>
                    <a:pt x="5283" y="53961"/>
                  </a:lnTo>
                  <a:lnTo>
                    <a:pt x="5094" y="53867"/>
                  </a:lnTo>
                  <a:lnTo>
                    <a:pt x="5377" y="54622"/>
                  </a:lnTo>
                  <a:lnTo>
                    <a:pt x="5849" y="55282"/>
                  </a:lnTo>
                  <a:lnTo>
                    <a:pt x="6321" y="55943"/>
                  </a:lnTo>
                  <a:lnTo>
                    <a:pt x="6698" y="56603"/>
                  </a:lnTo>
                  <a:lnTo>
                    <a:pt x="6226" y="56226"/>
                  </a:lnTo>
                  <a:lnTo>
                    <a:pt x="5943" y="55848"/>
                  </a:lnTo>
                  <a:lnTo>
                    <a:pt x="6038" y="56037"/>
                  </a:lnTo>
                  <a:lnTo>
                    <a:pt x="5943" y="55943"/>
                  </a:lnTo>
                  <a:lnTo>
                    <a:pt x="5377" y="55188"/>
                  </a:lnTo>
                  <a:lnTo>
                    <a:pt x="5000" y="54716"/>
                  </a:lnTo>
                  <a:lnTo>
                    <a:pt x="4717" y="54150"/>
                  </a:lnTo>
                  <a:lnTo>
                    <a:pt x="4528" y="53678"/>
                  </a:lnTo>
                  <a:lnTo>
                    <a:pt x="4528" y="53584"/>
                  </a:lnTo>
                  <a:lnTo>
                    <a:pt x="4623" y="53395"/>
                  </a:lnTo>
                  <a:lnTo>
                    <a:pt x="5094" y="54244"/>
                  </a:lnTo>
                  <a:lnTo>
                    <a:pt x="4717" y="53301"/>
                  </a:lnTo>
                  <a:lnTo>
                    <a:pt x="4528" y="53018"/>
                  </a:lnTo>
                  <a:lnTo>
                    <a:pt x="4151" y="52263"/>
                  </a:lnTo>
                  <a:lnTo>
                    <a:pt x="4151" y="52169"/>
                  </a:lnTo>
                  <a:lnTo>
                    <a:pt x="3774" y="51509"/>
                  </a:lnTo>
                  <a:lnTo>
                    <a:pt x="3396" y="50660"/>
                  </a:lnTo>
                  <a:lnTo>
                    <a:pt x="3585" y="51603"/>
                  </a:lnTo>
                  <a:lnTo>
                    <a:pt x="3396" y="51226"/>
                  </a:lnTo>
                  <a:lnTo>
                    <a:pt x="3208" y="50848"/>
                  </a:lnTo>
                  <a:lnTo>
                    <a:pt x="3208" y="50471"/>
                  </a:lnTo>
                  <a:lnTo>
                    <a:pt x="3208" y="50094"/>
                  </a:lnTo>
                  <a:lnTo>
                    <a:pt x="3585" y="50754"/>
                  </a:lnTo>
                  <a:lnTo>
                    <a:pt x="3868" y="51509"/>
                  </a:lnTo>
                  <a:lnTo>
                    <a:pt x="3868" y="51509"/>
                  </a:lnTo>
                  <a:lnTo>
                    <a:pt x="3208" y="49528"/>
                  </a:lnTo>
                  <a:lnTo>
                    <a:pt x="3208" y="49528"/>
                  </a:lnTo>
                  <a:lnTo>
                    <a:pt x="3868" y="50754"/>
                  </a:lnTo>
                  <a:lnTo>
                    <a:pt x="3208" y="48962"/>
                  </a:lnTo>
                  <a:lnTo>
                    <a:pt x="3585" y="49339"/>
                  </a:lnTo>
                  <a:lnTo>
                    <a:pt x="3774" y="49433"/>
                  </a:lnTo>
                  <a:lnTo>
                    <a:pt x="3962" y="49528"/>
                  </a:lnTo>
                  <a:lnTo>
                    <a:pt x="4057" y="49905"/>
                  </a:lnTo>
                  <a:lnTo>
                    <a:pt x="3868" y="48962"/>
                  </a:lnTo>
                  <a:lnTo>
                    <a:pt x="3491" y="47924"/>
                  </a:lnTo>
                  <a:lnTo>
                    <a:pt x="2641" y="45565"/>
                  </a:lnTo>
                  <a:lnTo>
                    <a:pt x="2170" y="43867"/>
                  </a:lnTo>
                  <a:lnTo>
                    <a:pt x="1698" y="41886"/>
                  </a:lnTo>
                  <a:lnTo>
                    <a:pt x="1698" y="41886"/>
                  </a:lnTo>
                  <a:lnTo>
                    <a:pt x="1887" y="42075"/>
                  </a:lnTo>
                  <a:lnTo>
                    <a:pt x="1981" y="41981"/>
                  </a:lnTo>
                  <a:lnTo>
                    <a:pt x="2075" y="42075"/>
                  </a:lnTo>
                  <a:lnTo>
                    <a:pt x="2264" y="42169"/>
                  </a:lnTo>
                  <a:lnTo>
                    <a:pt x="2170" y="40283"/>
                  </a:lnTo>
                  <a:lnTo>
                    <a:pt x="2075" y="38301"/>
                  </a:lnTo>
                  <a:lnTo>
                    <a:pt x="2170" y="36415"/>
                  </a:lnTo>
                  <a:lnTo>
                    <a:pt x="2358" y="35566"/>
                  </a:lnTo>
                  <a:lnTo>
                    <a:pt x="2453" y="34811"/>
                  </a:lnTo>
                  <a:lnTo>
                    <a:pt x="2830" y="32830"/>
                  </a:lnTo>
                  <a:lnTo>
                    <a:pt x="2830" y="33207"/>
                  </a:lnTo>
                  <a:lnTo>
                    <a:pt x="2924" y="33490"/>
                  </a:lnTo>
                  <a:lnTo>
                    <a:pt x="2924" y="32453"/>
                  </a:lnTo>
                  <a:lnTo>
                    <a:pt x="3019" y="31415"/>
                  </a:lnTo>
                  <a:lnTo>
                    <a:pt x="3396" y="29245"/>
                  </a:lnTo>
                  <a:lnTo>
                    <a:pt x="3868" y="27075"/>
                  </a:lnTo>
                  <a:lnTo>
                    <a:pt x="4623" y="25000"/>
                  </a:lnTo>
                  <a:lnTo>
                    <a:pt x="5566" y="22830"/>
                  </a:lnTo>
                  <a:lnTo>
                    <a:pt x="6604" y="20849"/>
                  </a:lnTo>
                  <a:lnTo>
                    <a:pt x="7830" y="18868"/>
                  </a:lnTo>
                  <a:lnTo>
                    <a:pt x="9151" y="16887"/>
                  </a:lnTo>
                  <a:lnTo>
                    <a:pt x="10566" y="15094"/>
                  </a:lnTo>
                  <a:lnTo>
                    <a:pt x="12075" y="13302"/>
                  </a:lnTo>
                  <a:lnTo>
                    <a:pt x="13773" y="11698"/>
                  </a:lnTo>
                  <a:lnTo>
                    <a:pt x="15377" y="10095"/>
                  </a:lnTo>
                  <a:lnTo>
                    <a:pt x="17170" y="8679"/>
                  </a:lnTo>
                  <a:lnTo>
                    <a:pt x="18962" y="7453"/>
                  </a:lnTo>
                  <a:lnTo>
                    <a:pt x="20754" y="6321"/>
                  </a:lnTo>
                  <a:lnTo>
                    <a:pt x="22547" y="5378"/>
                  </a:lnTo>
                  <a:lnTo>
                    <a:pt x="21603" y="6227"/>
                  </a:lnTo>
                  <a:lnTo>
                    <a:pt x="22641" y="5472"/>
                  </a:lnTo>
                  <a:lnTo>
                    <a:pt x="23302" y="5095"/>
                  </a:lnTo>
                  <a:lnTo>
                    <a:pt x="25377" y="4151"/>
                  </a:lnTo>
                  <a:lnTo>
                    <a:pt x="24811" y="4151"/>
                  </a:lnTo>
                  <a:lnTo>
                    <a:pt x="25660" y="3774"/>
                  </a:lnTo>
                  <a:lnTo>
                    <a:pt x="26886" y="3208"/>
                  </a:lnTo>
                  <a:lnTo>
                    <a:pt x="26603" y="3585"/>
                  </a:lnTo>
                  <a:lnTo>
                    <a:pt x="26886" y="3585"/>
                  </a:lnTo>
                  <a:lnTo>
                    <a:pt x="26886" y="3680"/>
                  </a:lnTo>
                  <a:lnTo>
                    <a:pt x="26792" y="3774"/>
                  </a:lnTo>
                  <a:lnTo>
                    <a:pt x="28301" y="3302"/>
                  </a:lnTo>
                  <a:lnTo>
                    <a:pt x="29622" y="2736"/>
                  </a:lnTo>
                  <a:lnTo>
                    <a:pt x="31037" y="2264"/>
                  </a:lnTo>
                  <a:lnTo>
                    <a:pt x="31792" y="2076"/>
                  </a:lnTo>
                  <a:lnTo>
                    <a:pt x="32641" y="1981"/>
                  </a:lnTo>
                  <a:lnTo>
                    <a:pt x="32547" y="2076"/>
                  </a:lnTo>
                  <a:lnTo>
                    <a:pt x="32924" y="1981"/>
                  </a:lnTo>
                  <a:lnTo>
                    <a:pt x="34245" y="1793"/>
                  </a:lnTo>
                  <a:lnTo>
                    <a:pt x="35848" y="1415"/>
                  </a:lnTo>
                  <a:lnTo>
                    <a:pt x="36981" y="1132"/>
                  </a:lnTo>
                  <a:lnTo>
                    <a:pt x="36981" y="1415"/>
                  </a:lnTo>
                  <a:lnTo>
                    <a:pt x="40943" y="1227"/>
                  </a:lnTo>
                  <a:lnTo>
                    <a:pt x="41509" y="1038"/>
                  </a:lnTo>
                  <a:lnTo>
                    <a:pt x="41697" y="1132"/>
                  </a:lnTo>
                  <a:lnTo>
                    <a:pt x="41509" y="1227"/>
                  </a:lnTo>
                  <a:lnTo>
                    <a:pt x="41320" y="1321"/>
                  </a:lnTo>
                  <a:lnTo>
                    <a:pt x="42263" y="1321"/>
                  </a:lnTo>
                  <a:lnTo>
                    <a:pt x="43113" y="1227"/>
                  </a:lnTo>
                  <a:lnTo>
                    <a:pt x="43396" y="1415"/>
                  </a:lnTo>
                  <a:lnTo>
                    <a:pt x="44056" y="1604"/>
                  </a:lnTo>
                  <a:lnTo>
                    <a:pt x="45943" y="2076"/>
                  </a:lnTo>
                  <a:lnTo>
                    <a:pt x="48018" y="2359"/>
                  </a:lnTo>
                  <a:lnTo>
                    <a:pt x="49622" y="2736"/>
                  </a:lnTo>
                  <a:lnTo>
                    <a:pt x="47641" y="1981"/>
                  </a:lnTo>
                  <a:lnTo>
                    <a:pt x="45282" y="1321"/>
                  </a:lnTo>
                  <a:lnTo>
                    <a:pt x="42735" y="755"/>
                  </a:lnTo>
                  <a:lnTo>
                    <a:pt x="40188" y="283"/>
                  </a:lnTo>
                  <a:lnTo>
                    <a:pt x="37735" y="95"/>
                  </a:lnTo>
                  <a:lnTo>
                    <a:pt x="35471" y="0"/>
                  </a:lnTo>
                  <a:close/>
                </a:path>
              </a:pathLst>
            </a:custGeom>
            <a:solidFill>
              <a:schemeClr val="bg1">
                <a:lumMod val="95000"/>
              </a:schemeClr>
            </a:solidFill>
            <a:ln w="0">
              <a:solidFill>
                <a:schemeClr val="bg1"/>
              </a:solidFill>
            </a:ln>
          </p:spPr>
          <p:txBody>
            <a:bodyPr spcFirstLastPara="1" wrap="square" lIns="91425" tIns="91425" rIns="91425" bIns="91425" anchor="ctr" anchorCtr="0">
              <a:noAutofit/>
            </a:bodyPr>
            <a:lstStyle/>
            <a:p>
              <a:pPr marL="0" lvl="0" indent="0">
                <a:spcBef>
                  <a:spcPts val="0"/>
                </a:spcBef>
                <a:spcAft>
                  <a:spcPts val="0"/>
                </a:spcAft>
                <a:buNone/>
              </a:pPr>
              <a:endParaRPr sz="1200">
                <a:latin typeface="+mj-lt"/>
              </a:endParaRPr>
            </a:p>
          </p:txBody>
        </p:sp>
        <p:sp>
          <p:nvSpPr>
            <p:cNvPr id="342" name="TextBox 341">
              <a:extLst>
                <a:ext uri="{FF2B5EF4-FFF2-40B4-BE49-F238E27FC236}">
                  <a16:creationId xmlns:a16="http://schemas.microsoft.com/office/drawing/2014/main" id="{1460FA3E-94B8-9543-8C37-64A6479B3081}"/>
                </a:ext>
              </a:extLst>
            </p:cNvPr>
            <p:cNvSpPr txBox="1"/>
            <p:nvPr/>
          </p:nvSpPr>
          <p:spPr>
            <a:xfrm>
              <a:off x="2219869" y="1028158"/>
              <a:ext cx="229951" cy="254124"/>
            </a:xfrm>
            <a:prstGeom prst="rect">
              <a:avLst/>
            </a:prstGeom>
            <a:noFill/>
          </p:spPr>
          <p:txBody>
            <a:bodyPr wrap="square" rtlCol="0">
              <a:spAutoFit/>
            </a:bodyPr>
            <a:lstStyle/>
            <a:p>
              <a:r>
                <a:rPr lang="en-US" sz="600" b="1" dirty="0">
                  <a:solidFill>
                    <a:schemeClr val="bg1">
                      <a:lumMod val="95000"/>
                    </a:schemeClr>
                  </a:solidFill>
                  <a:latin typeface="+mj-lt"/>
                </a:rPr>
                <a:t>6</a:t>
              </a:r>
            </a:p>
          </p:txBody>
        </p:sp>
      </p:grpSp>
      <p:grpSp>
        <p:nvGrpSpPr>
          <p:cNvPr id="343" name="Group 342">
            <a:extLst>
              <a:ext uri="{FF2B5EF4-FFF2-40B4-BE49-F238E27FC236}">
                <a16:creationId xmlns:a16="http://schemas.microsoft.com/office/drawing/2014/main" id="{06DFBEF6-1E6B-1D44-B3CC-651FDE17EF2F}"/>
              </a:ext>
            </a:extLst>
          </p:cNvPr>
          <p:cNvGrpSpPr/>
          <p:nvPr/>
        </p:nvGrpSpPr>
        <p:grpSpPr>
          <a:xfrm>
            <a:off x="3542030" y="5269655"/>
            <a:ext cx="204300" cy="184666"/>
            <a:chOff x="2219869" y="1028158"/>
            <a:chExt cx="229951" cy="254124"/>
          </a:xfrm>
        </p:grpSpPr>
        <p:sp>
          <p:nvSpPr>
            <p:cNvPr id="344" name="Google Shape;431;p39">
              <a:extLst>
                <a:ext uri="{FF2B5EF4-FFF2-40B4-BE49-F238E27FC236}">
                  <a16:creationId xmlns:a16="http://schemas.microsoft.com/office/drawing/2014/main" id="{CEF967A7-B190-1F4F-84DA-D8346C109EDA}"/>
                </a:ext>
              </a:extLst>
            </p:cNvPr>
            <p:cNvSpPr/>
            <p:nvPr/>
          </p:nvSpPr>
          <p:spPr>
            <a:xfrm>
              <a:off x="2259435" y="1076105"/>
              <a:ext cx="179407" cy="167874"/>
            </a:xfrm>
            <a:custGeom>
              <a:avLst/>
              <a:gdLst/>
              <a:ahLst/>
              <a:cxnLst/>
              <a:rect l="0" t="0" r="0" b="0"/>
              <a:pathLst>
                <a:path w="67641" h="69056" extrusionOk="0">
                  <a:moveTo>
                    <a:pt x="49622" y="2736"/>
                  </a:moveTo>
                  <a:lnTo>
                    <a:pt x="49622" y="2736"/>
                  </a:lnTo>
                  <a:lnTo>
                    <a:pt x="49622" y="2736"/>
                  </a:lnTo>
                  <a:close/>
                  <a:moveTo>
                    <a:pt x="59622" y="55565"/>
                  </a:moveTo>
                  <a:lnTo>
                    <a:pt x="59622" y="55565"/>
                  </a:lnTo>
                  <a:lnTo>
                    <a:pt x="59622" y="55565"/>
                  </a:lnTo>
                  <a:close/>
                  <a:moveTo>
                    <a:pt x="35471" y="0"/>
                  </a:moveTo>
                  <a:lnTo>
                    <a:pt x="34433" y="95"/>
                  </a:lnTo>
                  <a:lnTo>
                    <a:pt x="33584" y="189"/>
                  </a:lnTo>
                  <a:lnTo>
                    <a:pt x="32735" y="378"/>
                  </a:lnTo>
                  <a:lnTo>
                    <a:pt x="32169" y="566"/>
                  </a:lnTo>
                  <a:lnTo>
                    <a:pt x="31509" y="472"/>
                  </a:lnTo>
                  <a:lnTo>
                    <a:pt x="30754" y="472"/>
                  </a:lnTo>
                  <a:lnTo>
                    <a:pt x="29339" y="566"/>
                  </a:lnTo>
                  <a:lnTo>
                    <a:pt x="27830" y="849"/>
                  </a:lnTo>
                  <a:lnTo>
                    <a:pt x="26320" y="1321"/>
                  </a:lnTo>
                  <a:lnTo>
                    <a:pt x="24811" y="1981"/>
                  </a:lnTo>
                  <a:lnTo>
                    <a:pt x="23207" y="2736"/>
                  </a:lnTo>
                  <a:lnTo>
                    <a:pt x="21698" y="3585"/>
                  </a:lnTo>
                  <a:lnTo>
                    <a:pt x="20188" y="4623"/>
                  </a:lnTo>
                  <a:lnTo>
                    <a:pt x="18679" y="5661"/>
                  </a:lnTo>
                  <a:lnTo>
                    <a:pt x="17170" y="6793"/>
                  </a:lnTo>
                  <a:lnTo>
                    <a:pt x="15754" y="8019"/>
                  </a:lnTo>
                  <a:lnTo>
                    <a:pt x="14434" y="9151"/>
                  </a:lnTo>
                  <a:lnTo>
                    <a:pt x="11981" y="11510"/>
                  </a:lnTo>
                  <a:lnTo>
                    <a:pt x="10000" y="13774"/>
                  </a:lnTo>
                  <a:lnTo>
                    <a:pt x="7736" y="16981"/>
                  </a:lnTo>
                  <a:lnTo>
                    <a:pt x="8019" y="16321"/>
                  </a:lnTo>
                  <a:lnTo>
                    <a:pt x="8302" y="15660"/>
                  </a:lnTo>
                  <a:lnTo>
                    <a:pt x="7736" y="16604"/>
                  </a:lnTo>
                  <a:lnTo>
                    <a:pt x="7075" y="17642"/>
                  </a:lnTo>
                  <a:lnTo>
                    <a:pt x="7170" y="17830"/>
                  </a:lnTo>
                  <a:lnTo>
                    <a:pt x="6509" y="18868"/>
                  </a:lnTo>
                  <a:lnTo>
                    <a:pt x="7075" y="17359"/>
                  </a:lnTo>
                  <a:lnTo>
                    <a:pt x="6132" y="19057"/>
                  </a:lnTo>
                  <a:lnTo>
                    <a:pt x="5189" y="20849"/>
                  </a:lnTo>
                  <a:lnTo>
                    <a:pt x="4434" y="22736"/>
                  </a:lnTo>
                  <a:lnTo>
                    <a:pt x="3679" y="24622"/>
                  </a:lnTo>
                  <a:lnTo>
                    <a:pt x="2453" y="28490"/>
                  </a:lnTo>
                  <a:lnTo>
                    <a:pt x="1321" y="32169"/>
                  </a:lnTo>
                  <a:lnTo>
                    <a:pt x="1509" y="32264"/>
                  </a:lnTo>
                  <a:lnTo>
                    <a:pt x="1604" y="32453"/>
                  </a:lnTo>
                  <a:lnTo>
                    <a:pt x="1604" y="32641"/>
                  </a:lnTo>
                  <a:lnTo>
                    <a:pt x="1509" y="32924"/>
                  </a:lnTo>
                  <a:lnTo>
                    <a:pt x="1226" y="33396"/>
                  </a:lnTo>
                  <a:lnTo>
                    <a:pt x="1038" y="33585"/>
                  </a:lnTo>
                  <a:lnTo>
                    <a:pt x="1038" y="33773"/>
                  </a:lnTo>
                  <a:lnTo>
                    <a:pt x="1038" y="35000"/>
                  </a:lnTo>
                  <a:lnTo>
                    <a:pt x="849" y="36132"/>
                  </a:lnTo>
                  <a:lnTo>
                    <a:pt x="660" y="37358"/>
                  </a:lnTo>
                  <a:lnTo>
                    <a:pt x="472" y="38867"/>
                  </a:lnTo>
                  <a:lnTo>
                    <a:pt x="283" y="38301"/>
                  </a:lnTo>
                  <a:lnTo>
                    <a:pt x="94" y="39811"/>
                  </a:lnTo>
                  <a:lnTo>
                    <a:pt x="0" y="41509"/>
                  </a:lnTo>
                  <a:lnTo>
                    <a:pt x="94" y="43301"/>
                  </a:lnTo>
                  <a:lnTo>
                    <a:pt x="283" y="44056"/>
                  </a:lnTo>
                  <a:lnTo>
                    <a:pt x="472" y="44622"/>
                  </a:lnTo>
                  <a:lnTo>
                    <a:pt x="566" y="45660"/>
                  </a:lnTo>
                  <a:lnTo>
                    <a:pt x="755" y="46792"/>
                  </a:lnTo>
                  <a:lnTo>
                    <a:pt x="1226" y="48962"/>
                  </a:lnTo>
                  <a:lnTo>
                    <a:pt x="1981" y="51037"/>
                  </a:lnTo>
                  <a:lnTo>
                    <a:pt x="2924" y="53112"/>
                  </a:lnTo>
                  <a:lnTo>
                    <a:pt x="4057" y="55094"/>
                  </a:lnTo>
                  <a:lnTo>
                    <a:pt x="5283" y="56980"/>
                  </a:lnTo>
                  <a:lnTo>
                    <a:pt x="6698" y="58678"/>
                  </a:lnTo>
                  <a:lnTo>
                    <a:pt x="8113" y="60282"/>
                  </a:lnTo>
                  <a:lnTo>
                    <a:pt x="9056" y="61131"/>
                  </a:lnTo>
                  <a:lnTo>
                    <a:pt x="10000" y="61980"/>
                  </a:lnTo>
                  <a:lnTo>
                    <a:pt x="11038" y="62829"/>
                  </a:lnTo>
                  <a:lnTo>
                    <a:pt x="12075" y="63584"/>
                  </a:lnTo>
                  <a:lnTo>
                    <a:pt x="14339" y="64905"/>
                  </a:lnTo>
                  <a:lnTo>
                    <a:pt x="16604" y="66131"/>
                  </a:lnTo>
                  <a:lnTo>
                    <a:pt x="19056" y="67169"/>
                  </a:lnTo>
                  <a:lnTo>
                    <a:pt x="21509" y="67923"/>
                  </a:lnTo>
                  <a:lnTo>
                    <a:pt x="24056" y="68584"/>
                  </a:lnTo>
                  <a:lnTo>
                    <a:pt x="26603" y="69055"/>
                  </a:lnTo>
                  <a:lnTo>
                    <a:pt x="27830" y="69055"/>
                  </a:lnTo>
                  <a:lnTo>
                    <a:pt x="30188" y="68867"/>
                  </a:lnTo>
                  <a:lnTo>
                    <a:pt x="33113" y="68678"/>
                  </a:lnTo>
                  <a:lnTo>
                    <a:pt x="36509" y="68301"/>
                  </a:lnTo>
                  <a:lnTo>
                    <a:pt x="39811" y="67923"/>
                  </a:lnTo>
                  <a:lnTo>
                    <a:pt x="42735" y="67452"/>
                  </a:lnTo>
                  <a:lnTo>
                    <a:pt x="44905" y="66980"/>
                  </a:lnTo>
                  <a:lnTo>
                    <a:pt x="45565" y="66791"/>
                  </a:lnTo>
                  <a:lnTo>
                    <a:pt x="45943" y="66508"/>
                  </a:lnTo>
                  <a:lnTo>
                    <a:pt x="47358" y="65942"/>
                  </a:lnTo>
                  <a:lnTo>
                    <a:pt x="48018" y="65565"/>
                  </a:lnTo>
                  <a:lnTo>
                    <a:pt x="48678" y="65188"/>
                  </a:lnTo>
                  <a:lnTo>
                    <a:pt x="47924" y="65471"/>
                  </a:lnTo>
                  <a:lnTo>
                    <a:pt x="51509" y="62924"/>
                  </a:lnTo>
                  <a:lnTo>
                    <a:pt x="53301" y="61508"/>
                  </a:lnTo>
                  <a:lnTo>
                    <a:pt x="55093" y="59905"/>
                  </a:lnTo>
                  <a:lnTo>
                    <a:pt x="55093" y="59905"/>
                  </a:lnTo>
                  <a:lnTo>
                    <a:pt x="54810" y="60376"/>
                  </a:lnTo>
                  <a:lnTo>
                    <a:pt x="54339" y="60754"/>
                  </a:lnTo>
                  <a:lnTo>
                    <a:pt x="55376" y="59999"/>
                  </a:lnTo>
                  <a:lnTo>
                    <a:pt x="56320" y="59056"/>
                  </a:lnTo>
                  <a:lnTo>
                    <a:pt x="57075" y="58395"/>
                  </a:lnTo>
                  <a:lnTo>
                    <a:pt x="57169" y="58207"/>
                  </a:lnTo>
                  <a:lnTo>
                    <a:pt x="57075" y="58207"/>
                  </a:lnTo>
                  <a:lnTo>
                    <a:pt x="57924" y="57546"/>
                  </a:lnTo>
                  <a:lnTo>
                    <a:pt x="58678" y="56697"/>
                  </a:lnTo>
                  <a:lnTo>
                    <a:pt x="59339" y="55754"/>
                  </a:lnTo>
                  <a:lnTo>
                    <a:pt x="59905" y="54905"/>
                  </a:lnTo>
                  <a:lnTo>
                    <a:pt x="59716" y="54999"/>
                  </a:lnTo>
                  <a:lnTo>
                    <a:pt x="59622" y="54999"/>
                  </a:lnTo>
                  <a:lnTo>
                    <a:pt x="59810" y="54622"/>
                  </a:lnTo>
                  <a:lnTo>
                    <a:pt x="59150" y="55565"/>
                  </a:lnTo>
                  <a:lnTo>
                    <a:pt x="59527" y="55094"/>
                  </a:lnTo>
                  <a:lnTo>
                    <a:pt x="59433" y="55377"/>
                  </a:lnTo>
                  <a:lnTo>
                    <a:pt x="58867" y="56037"/>
                  </a:lnTo>
                  <a:lnTo>
                    <a:pt x="59056" y="55660"/>
                  </a:lnTo>
                  <a:lnTo>
                    <a:pt x="59056" y="55660"/>
                  </a:lnTo>
                  <a:lnTo>
                    <a:pt x="58678" y="56037"/>
                  </a:lnTo>
                  <a:lnTo>
                    <a:pt x="59810" y="54339"/>
                  </a:lnTo>
                  <a:lnTo>
                    <a:pt x="60282" y="53490"/>
                  </a:lnTo>
                  <a:lnTo>
                    <a:pt x="60282" y="53301"/>
                  </a:lnTo>
                  <a:lnTo>
                    <a:pt x="60188" y="53395"/>
                  </a:lnTo>
                  <a:lnTo>
                    <a:pt x="60188" y="53395"/>
                  </a:lnTo>
                  <a:lnTo>
                    <a:pt x="60565" y="52924"/>
                  </a:lnTo>
                  <a:lnTo>
                    <a:pt x="61037" y="52452"/>
                  </a:lnTo>
                  <a:lnTo>
                    <a:pt x="61886" y="51509"/>
                  </a:lnTo>
                  <a:lnTo>
                    <a:pt x="61508" y="52452"/>
                  </a:lnTo>
                  <a:lnTo>
                    <a:pt x="60848" y="53584"/>
                  </a:lnTo>
                  <a:lnTo>
                    <a:pt x="59622" y="55565"/>
                  </a:lnTo>
                  <a:lnTo>
                    <a:pt x="60376" y="54528"/>
                  </a:lnTo>
                  <a:lnTo>
                    <a:pt x="60942" y="53678"/>
                  </a:lnTo>
                  <a:lnTo>
                    <a:pt x="61980" y="51792"/>
                  </a:lnTo>
                  <a:lnTo>
                    <a:pt x="61886" y="51886"/>
                  </a:lnTo>
                  <a:lnTo>
                    <a:pt x="61886" y="51697"/>
                  </a:lnTo>
                  <a:lnTo>
                    <a:pt x="62169" y="51037"/>
                  </a:lnTo>
                  <a:lnTo>
                    <a:pt x="62735" y="49999"/>
                  </a:lnTo>
                  <a:lnTo>
                    <a:pt x="61508" y="51603"/>
                  </a:lnTo>
                  <a:lnTo>
                    <a:pt x="61603" y="51037"/>
                  </a:lnTo>
                  <a:lnTo>
                    <a:pt x="61697" y="50377"/>
                  </a:lnTo>
                  <a:lnTo>
                    <a:pt x="62169" y="48962"/>
                  </a:lnTo>
                  <a:lnTo>
                    <a:pt x="62829" y="47358"/>
                  </a:lnTo>
                  <a:lnTo>
                    <a:pt x="63678" y="45565"/>
                  </a:lnTo>
                  <a:lnTo>
                    <a:pt x="65376" y="42169"/>
                  </a:lnTo>
                  <a:lnTo>
                    <a:pt x="66131" y="40660"/>
                  </a:lnTo>
                  <a:lnTo>
                    <a:pt x="66697" y="39339"/>
                  </a:lnTo>
                  <a:lnTo>
                    <a:pt x="66603" y="39528"/>
                  </a:lnTo>
                  <a:lnTo>
                    <a:pt x="66697" y="39056"/>
                  </a:lnTo>
                  <a:lnTo>
                    <a:pt x="66791" y="38962"/>
                  </a:lnTo>
                  <a:lnTo>
                    <a:pt x="66791" y="39056"/>
                  </a:lnTo>
                  <a:lnTo>
                    <a:pt x="66886" y="38584"/>
                  </a:lnTo>
                  <a:lnTo>
                    <a:pt x="66791" y="38867"/>
                  </a:lnTo>
                  <a:lnTo>
                    <a:pt x="66980" y="38207"/>
                  </a:lnTo>
                  <a:lnTo>
                    <a:pt x="67169" y="37264"/>
                  </a:lnTo>
                  <a:lnTo>
                    <a:pt x="67263" y="36415"/>
                  </a:lnTo>
                  <a:lnTo>
                    <a:pt x="67357" y="36509"/>
                  </a:lnTo>
                  <a:lnTo>
                    <a:pt x="67452" y="36509"/>
                  </a:lnTo>
                  <a:lnTo>
                    <a:pt x="67546" y="35943"/>
                  </a:lnTo>
                  <a:lnTo>
                    <a:pt x="67546" y="34811"/>
                  </a:lnTo>
                  <a:lnTo>
                    <a:pt x="67640" y="31037"/>
                  </a:lnTo>
                  <a:lnTo>
                    <a:pt x="67640" y="28490"/>
                  </a:lnTo>
                  <a:lnTo>
                    <a:pt x="67546" y="27736"/>
                  </a:lnTo>
                  <a:lnTo>
                    <a:pt x="67546" y="27547"/>
                  </a:lnTo>
                  <a:lnTo>
                    <a:pt x="67452" y="27547"/>
                  </a:lnTo>
                  <a:lnTo>
                    <a:pt x="67074" y="26792"/>
                  </a:lnTo>
                  <a:lnTo>
                    <a:pt x="66791" y="25660"/>
                  </a:lnTo>
                  <a:lnTo>
                    <a:pt x="66508" y="24528"/>
                  </a:lnTo>
                  <a:lnTo>
                    <a:pt x="66414" y="23585"/>
                  </a:lnTo>
                  <a:lnTo>
                    <a:pt x="66320" y="23679"/>
                  </a:lnTo>
                  <a:lnTo>
                    <a:pt x="66320" y="23490"/>
                  </a:lnTo>
                  <a:lnTo>
                    <a:pt x="65942" y="22924"/>
                  </a:lnTo>
                  <a:lnTo>
                    <a:pt x="65565" y="22358"/>
                  </a:lnTo>
                  <a:lnTo>
                    <a:pt x="64527" y="21132"/>
                  </a:lnTo>
                  <a:lnTo>
                    <a:pt x="63584" y="19906"/>
                  </a:lnTo>
                  <a:lnTo>
                    <a:pt x="63207" y="19340"/>
                  </a:lnTo>
                  <a:lnTo>
                    <a:pt x="63018" y="18774"/>
                  </a:lnTo>
                  <a:lnTo>
                    <a:pt x="63112" y="18962"/>
                  </a:lnTo>
                  <a:lnTo>
                    <a:pt x="63301" y="19057"/>
                  </a:lnTo>
                  <a:lnTo>
                    <a:pt x="63301" y="19057"/>
                  </a:lnTo>
                  <a:lnTo>
                    <a:pt x="63207" y="18868"/>
                  </a:lnTo>
                  <a:lnTo>
                    <a:pt x="62923" y="18491"/>
                  </a:lnTo>
                  <a:lnTo>
                    <a:pt x="61980" y="17453"/>
                  </a:lnTo>
                  <a:lnTo>
                    <a:pt x="61037" y="16509"/>
                  </a:lnTo>
                  <a:lnTo>
                    <a:pt x="61037" y="16698"/>
                  </a:lnTo>
                  <a:lnTo>
                    <a:pt x="61037" y="16887"/>
                  </a:lnTo>
                  <a:lnTo>
                    <a:pt x="60093" y="15943"/>
                  </a:lnTo>
                  <a:lnTo>
                    <a:pt x="60376" y="16321"/>
                  </a:lnTo>
                  <a:lnTo>
                    <a:pt x="59527" y="15377"/>
                  </a:lnTo>
                  <a:lnTo>
                    <a:pt x="59056" y="14906"/>
                  </a:lnTo>
                  <a:lnTo>
                    <a:pt x="59244" y="14906"/>
                  </a:lnTo>
                  <a:lnTo>
                    <a:pt x="59905" y="15472"/>
                  </a:lnTo>
                  <a:lnTo>
                    <a:pt x="59905" y="15472"/>
                  </a:lnTo>
                  <a:lnTo>
                    <a:pt x="57641" y="13396"/>
                  </a:lnTo>
                  <a:lnTo>
                    <a:pt x="58112" y="13868"/>
                  </a:lnTo>
                  <a:lnTo>
                    <a:pt x="56886" y="13019"/>
                  </a:lnTo>
                  <a:lnTo>
                    <a:pt x="55754" y="12453"/>
                  </a:lnTo>
                  <a:lnTo>
                    <a:pt x="56603" y="13113"/>
                  </a:lnTo>
                  <a:lnTo>
                    <a:pt x="57452" y="13774"/>
                  </a:lnTo>
                  <a:lnTo>
                    <a:pt x="58961" y="15283"/>
                  </a:lnTo>
                  <a:lnTo>
                    <a:pt x="60376" y="16604"/>
                  </a:lnTo>
                  <a:lnTo>
                    <a:pt x="61225" y="17264"/>
                  </a:lnTo>
                  <a:lnTo>
                    <a:pt x="62074" y="17925"/>
                  </a:lnTo>
                  <a:lnTo>
                    <a:pt x="62074" y="17925"/>
                  </a:lnTo>
                  <a:lnTo>
                    <a:pt x="61414" y="17547"/>
                  </a:lnTo>
                  <a:lnTo>
                    <a:pt x="60659" y="16981"/>
                  </a:lnTo>
                  <a:lnTo>
                    <a:pt x="60754" y="17264"/>
                  </a:lnTo>
                  <a:lnTo>
                    <a:pt x="60942" y="17642"/>
                  </a:lnTo>
                  <a:lnTo>
                    <a:pt x="61980" y="19151"/>
                  </a:lnTo>
                  <a:lnTo>
                    <a:pt x="63301" y="20943"/>
                  </a:lnTo>
                  <a:lnTo>
                    <a:pt x="63207" y="20943"/>
                  </a:lnTo>
                  <a:lnTo>
                    <a:pt x="63395" y="21038"/>
                  </a:lnTo>
                  <a:lnTo>
                    <a:pt x="63490" y="21321"/>
                  </a:lnTo>
                  <a:lnTo>
                    <a:pt x="63678" y="21604"/>
                  </a:lnTo>
                  <a:lnTo>
                    <a:pt x="63773" y="21698"/>
                  </a:lnTo>
                  <a:lnTo>
                    <a:pt x="63584" y="21321"/>
                  </a:lnTo>
                  <a:lnTo>
                    <a:pt x="63584" y="21321"/>
                  </a:lnTo>
                  <a:lnTo>
                    <a:pt x="64244" y="22170"/>
                  </a:lnTo>
                  <a:lnTo>
                    <a:pt x="64716" y="22641"/>
                  </a:lnTo>
                  <a:lnTo>
                    <a:pt x="64905" y="22830"/>
                  </a:lnTo>
                  <a:lnTo>
                    <a:pt x="64999" y="22830"/>
                  </a:lnTo>
                  <a:lnTo>
                    <a:pt x="64999" y="22641"/>
                  </a:lnTo>
                  <a:lnTo>
                    <a:pt x="64905" y="22358"/>
                  </a:lnTo>
                  <a:lnTo>
                    <a:pt x="65282" y="23207"/>
                  </a:lnTo>
                  <a:lnTo>
                    <a:pt x="65565" y="24056"/>
                  </a:lnTo>
                  <a:lnTo>
                    <a:pt x="66225" y="25943"/>
                  </a:lnTo>
                  <a:lnTo>
                    <a:pt x="66697" y="27830"/>
                  </a:lnTo>
                  <a:lnTo>
                    <a:pt x="66886" y="28490"/>
                  </a:lnTo>
                  <a:lnTo>
                    <a:pt x="66980" y="28868"/>
                  </a:lnTo>
                  <a:lnTo>
                    <a:pt x="66886" y="28962"/>
                  </a:lnTo>
                  <a:lnTo>
                    <a:pt x="66697" y="28679"/>
                  </a:lnTo>
                  <a:lnTo>
                    <a:pt x="66697" y="29245"/>
                  </a:lnTo>
                  <a:lnTo>
                    <a:pt x="66791" y="29905"/>
                  </a:lnTo>
                  <a:lnTo>
                    <a:pt x="66886" y="29905"/>
                  </a:lnTo>
                  <a:lnTo>
                    <a:pt x="66886" y="30094"/>
                  </a:lnTo>
                  <a:lnTo>
                    <a:pt x="66886" y="30566"/>
                  </a:lnTo>
                  <a:lnTo>
                    <a:pt x="66697" y="30377"/>
                  </a:lnTo>
                  <a:lnTo>
                    <a:pt x="66603" y="30188"/>
                  </a:lnTo>
                  <a:lnTo>
                    <a:pt x="66603" y="30094"/>
                  </a:lnTo>
                  <a:lnTo>
                    <a:pt x="66697" y="29905"/>
                  </a:lnTo>
                  <a:lnTo>
                    <a:pt x="66508" y="28679"/>
                  </a:lnTo>
                  <a:lnTo>
                    <a:pt x="66225" y="27358"/>
                  </a:lnTo>
                  <a:lnTo>
                    <a:pt x="66603" y="30283"/>
                  </a:lnTo>
                  <a:lnTo>
                    <a:pt x="66697" y="31792"/>
                  </a:lnTo>
                  <a:lnTo>
                    <a:pt x="66697" y="33302"/>
                  </a:lnTo>
                  <a:lnTo>
                    <a:pt x="66603" y="34717"/>
                  </a:lnTo>
                  <a:lnTo>
                    <a:pt x="66414" y="36226"/>
                  </a:lnTo>
                  <a:lnTo>
                    <a:pt x="66131" y="37547"/>
                  </a:lnTo>
                  <a:lnTo>
                    <a:pt x="65659" y="38962"/>
                  </a:lnTo>
                  <a:lnTo>
                    <a:pt x="65848" y="38584"/>
                  </a:lnTo>
                  <a:lnTo>
                    <a:pt x="65942" y="38584"/>
                  </a:lnTo>
                  <a:lnTo>
                    <a:pt x="65848" y="39245"/>
                  </a:lnTo>
                  <a:lnTo>
                    <a:pt x="65565" y="40188"/>
                  </a:lnTo>
                  <a:lnTo>
                    <a:pt x="65471" y="40471"/>
                  </a:lnTo>
                  <a:lnTo>
                    <a:pt x="65282" y="40660"/>
                  </a:lnTo>
                  <a:lnTo>
                    <a:pt x="65282" y="40566"/>
                  </a:lnTo>
                  <a:lnTo>
                    <a:pt x="65093" y="41132"/>
                  </a:lnTo>
                  <a:lnTo>
                    <a:pt x="64433" y="43018"/>
                  </a:lnTo>
                  <a:lnTo>
                    <a:pt x="63678" y="45282"/>
                  </a:lnTo>
                  <a:lnTo>
                    <a:pt x="62735" y="47264"/>
                  </a:lnTo>
                  <a:lnTo>
                    <a:pt x="61697" y="49056"/>
                  </a:lnTo>
                  <a:lnTo>
                    <a:pt x="60659" y="50943"/>
                  </a:lnTo>
                  <a:lnTo>
                    <a:pt x="59433" y="52735"/>
                  </a:lnTo>
                  <a:lnTo>
                    <a:pt x="58207" y="54433"/>
                  </a:lnTo>
                  <a:lnTo>
                    <a:pt x="56886" y="56037"/>
                  </a:lnTo>
                  <a:lnTo>
                    <a:pt x="55376" y="57641"/>
                  </a:lnTo>
                  <a:lnTo>
                    <a:pt x="53867" y="59150"/>
                  </a:lnTo>
                  <a:lnTo>
                    <a:pt x="52169" y="60376"/>
                  </a:lnTo>
                  <a:lnTo>
                    <a:pt x="48961" y="62452"/>
                  </a:lnTo>
                  <a:lnTo>
                    <a:pt x="44528" y="65282"/>
                  </a:lnTo>
                  <a:lnTo>
                    <a:pt x="44622" y="65188"/>
                  </a:lnTo>
                  <a:lnTo>
                    <a:pt x="44716" y="65093"/>
                  </a:lnTo>
                  <a:lnTo>
                    <a:pt x="45094" y="64810"/>
                  </a:lnTo>
                  <a:lnTo>
                    <a:pt x="45660" y="64527"/>
                  </a:lnTo>
                  <a:lnTo>
                    <a:pt x="43867" y="65376"/>
                  </a:lnTo>
                  <a:lnTo>
                    <a:pt x="43113" y="65754"/>
                  </a:lnTo>
                  <a:lnTo>
                    <a:pt x="42924" y="65754"/>
                  </a:lnTo>
                  <a:lnTo>
                    <a:pt x="43113" y="65659"/>
                  </a:lnTo>
                  <a:lnTo>
                    <a:pt x="41603" y="66037"/>
                  </a:lnTo>
                  <a:lnTo>
                    <a:pt x="39999" y="66320"/>
                  </a:lnTo>
                  <a:lnTo>
                    <a:pt x="38396" y="66508"/>
                  </a:lnTo>
                  <a:lnTo>
                    <a:pt x="36792" y="66697"/>
                  </a:lnTo>
                  <a:lnTo>
                    <a:pt x="33584" y="66980"/>
                  </a:lnTo>
                  <a:lnTo>
                    <a:pt x="32169" y="67169"/>
                  </a:lnTo>
                  <a:lnTo>
                    <a:pt x="30754" y="67357"/>
                  </a:lnTo>
                  <a:lnTo>
                    <a:pt x="30094" y="67357"/>
                  </a:lnTo>
                  <a:lnTo>
                    <a:pt x="29339" y="67263"/>
                  </a:lnTo>
                  <a:lnTo>
                    <a:pt x="27830" y="66886"/>
                  </a:lnTo>
                  <a:lnTo>
                    <a:pt x="26415" y="66508"/>
                  </a:lnTo>
                  <a:lnTo>
                    <a:pt x="25754" y="66414"/>
                  </a:lnTo>
                  <a:lnTo>
                    <a:pt x="25094" y="66414"/>
                  </a:lnTo>
                  <a:lnTo>
                    <a:pt x="25566" y="66980"/>
                  </a:lnTo>
                  <a:lnTo>
                    <a:pt x="25471" y="67074"/>
                  </a:lnTo>
                  <a:lnTo>
                    <a:pt x="25188" y="66980"/>
                  </a:lnTo>
                  <a:lnTo>
                    <a:pt x="24339" y="66791"/>
                  </a:lnTo>
                  <a:lnTo>
                    <a:pt x="23773" y="66508"/>
                  </a:lnTo>
                  <a:lnTo>
                    <a:pt x="24245" y="66414"/>
                  </a:lnTo>
                  <a:lnTo>
                    <a:pt x="24717" y="66603"/>
                  </a:lnTo>
                  <a:lnTo>
                    <a:pt x="24811" y="66414"/>
                  </a:lnTo>
                  <a:lnTo>
                    <a:pt x="24811" y="66320"/>
                  </a:lnTo>
                  <a:lnTo>
                    <a:pt x="24717" y="66225"/>
                  </a:lnTo>
                  <a:lnTo>
                    <a:pt x="24528" y="66131"/>
                  </a:lnTo>
                  <a:lnTo>
                    <a:pt x="24151" y="66225"/>
                  </a:lnTo>
                  <a:lnTo>
                    <a:pt x="23679" y="66320"/>
                  </a:lnTo>
                  <a:lnTo>
                    <a:pt x="23018" y="66414"/>
                  </a:lnTo>
                  <a:lnTo>
                    <a:pt x="23490" y="66225"/>
                  </a:lnTo>
                  <a:lnTo>
                    <a:pt x="22075" y="65942"/>
                  </a:lnTo>
                  <a:lnTo>
                    <a:pt x="20943" y="65659"/>
                  </a:lnTo>
                  <a:lnTo>
                    <a:pt x="20000" y="65282"/>
                  </a:lnTo>
                  <a:lnTo>
                    <a:pt x="19056" y="64810"/>
                  </a:lnTo>
                  <a:lnTo>
                    <a:pt x="19056" y="64810"/>
                  </a:lnTo>
                  <a:lnTo>
                    <a:pt x="19717" y="64999"/>
                  </a:lnTo>
                  <a:lnTo>
                    <a:pt x="19151" y="64716"/>
                  </a:lnTo>
                  <a:lnTo>
                    <a:pt x="18962" y="64810"/>
                  </a:lnTo>
                  <a:lnTo>
                    <a:pt x="19151" y="64905"/>
                  </a:lnTo>
                  <a:lnTo>
                    <a:pt x="18490" y="64905"/>
                  </a:lnTo>
                  <a:lnTo>
                    <a:pt x="17830" y="64716"/>
                  </a:lnTo>
                  <a:lnTo>
                    <a:pt x="17264" y="64527"/>
                  </a:lnTo>
                  <a:lnTo>
                    <a:pt x="16698" y="64150"/>
                  </a:lnTo>
                  <a:lnTo>
                    <a:pt x="16981" y="64056"/>
                  </a:lnTo>
                  <a:lnTo>
                    <a:pt x="17264" y="64150"/>
                  </a:lnTo>
                  <a:lnTo>
                    <a:pt x="17264" y="64150"/>
                  </a:lnTo>
                  <a:lnTo>
                    <a:pt x="15188" y="63207"/>
                  </a:lnTo>
                  <a:lnTo>
                    <a:pt x="14622" y="62829"/>
                  </a:lnTo>
                  <a:lnTo>
                    <a:pt x="14717" y="62924"/>
                  </a:lnTo>
                  <a:lnTo>
                    <a:pt x="13773" y="62546"/>
                  </a:lnTo>
                  <a:lnTo>
                    <a:pt x="12924" y="62075"/>
                  </a:lnTo>
                  <a:lnTo>
                    <a:pt x="12358" y="61697"/>
                  </a:lnTo>
                  <a:lnTo>
                    <a:pt x="12264" y="61508"/>
                  </a:lnTo>
                  <a:lnTo>
                    <a:pt x="12170" y="61320"/>
                  </a:lnTo>
                  <a:lnTo>
                    <a:pt x="11698" y="60942"/>
                  </a:lnTo>
                  <a:lnTo>
                    <a:pt x="11132" y="60471"/>
                  </a:lnTo>
                  <a:lnTo>
                    <a:pt x="9906" y="59244"/>
                  </a:lnTo>
                  <a:lnTo>
                    <a:pt x="9906" y="59244"/>
                  </a:lnTo>
                  <a:lnTo>
                    <a:pt x="10566" y="59527"/>
                  </a:lnTo>
                  <a:lnTo>
                    <a:pt x="9434" y="58584"/>
                  </a:lnTo>
                  <a:lnTo>
                    <a:pt x="8207" y="57546"/>
                  </a:lnTo>
                  <a:lnTo>
                    <a:pt x="7547" y="56886"/>
                  </a:lnTo>
                  <a:lnTo>
                    <a:pt x="6981" y="56131"/>
                  </a:lnTo>
                  <a:lnTo>
                    <a:pt x="6226" y="55094"/>
                  </a:lnTo>
                  <a:lnTo>
                    <a:pt x="6415" y="55377"/>
                  </a:lnTo>
                  <a:lnTo>
                    <a:pt x="6038" y="54905"/>
                  </a:lnTo>
                  <a:lnTo>
                    <a:pt x="5472" y="54244"/>
                  </a:lnTo>
                  <a:lnTo>
                    <a:pt x="5283" y="53961"/>
                  </a:lnTo>
                  <a:lnTo>
                    <a:pt x="5094" y="53867"/>
                  </a:lnTo>
                  <a:lnTo>
                    <a:pt x="5377" y="54622"/>
                  </a:lnTo>
                  <a:lnTo>
                    <a:pt x="5849" y="55282"/>
                  </a:lnTo>
                  <a:lnTo>
                    <a:pt x="6321" y="55943"/>
                  </a:lnTo>
                  <a:lnTo>
                    <a:pt x="6698" y="56603"/>
                  </a:lnTo>
                  <a:lnTo>
                    <a:pt x="6226" y="56226"/>
                  </a:lnTo>
                  <a:lnTo>
                    <a:pt x="5943" y="55848"/>
                  </a:lnTo>
                  <a:lnTo>
                    <a:pt x="6038" y="56037"/>
                  </a:lnTo>
                  <a:lnTo>
                    <a:pt x="5943" y="55943"/>
                  </a:lnTo>
                  <a:lnTo>
                    <a:pt x="5377" y="55188"/>
                  </a:lnTo>
                  <a:lnTo>
                    <a:pt x="5000" y="54716"/>
                  </a:lnTo>
                  <a:lnTo>
                    <a:pt x="4717" y="54150"/>
                  </a:lnTo>
                  <a:lnTo>
                    <a:pt x="4528" y="53678"/>
                  </a:lnTo>
                  <a:lnTo>
                    <a:pt x="4528" y="53584"/>
                  </a:lnTo>
                  <a:lnTo>
                    <a:pt x="4623" y="53395"/>
                  </a:lnTo>
                  <a:lnTo>
                    <a:pt x="5094" y="54244"/>
                  </a:lnTo>
                  <a:lnTo>
                    <a:pt x="4717" y="53301"/>
                  </a:lnTo>
                  <a:lnTo>
                    <a:pt x="4528" y="53018"/>
                  </a:lnTo>
                  <a:lnTo>
                    <a:pt x="4151" y="52263"/>
                  </a:lnTo>
                  <a:lnTo>
                    <a:pt x="4151" y="52169"/>
                  </a:lnTo>
                  <a:lnTo>
                    <a:pt x="3774" y="51509"/>
                  </a:lnTo>
                  <a:lnTo>
                    <a:pt x="3396" y="50660"/>
                  </a:lnTo>
                  <a:lnTo>
                    <a:pt x="3585" y="51603"/>
                  </a:lnTo>
                  <a:lnTo>
                    <a:pt x="3396" y="51226"/>
                  </a:lnTo>
                  <a:lnTo>
                    <a:pt x="3208" y="50848"/>
                  </a:lnTo>
                  <a:lnTo>
                    <a:pt x="3208" y="50471"/>
                  </a:lnTo>
                  <a:lnTo>
                    <a:pt x="3208" y="50094"/>
                  </a:lnTo>
                  <a:lnTo>
                    <a:pt x="3585" y="50754"/>
                  </a:lnTo>
                  <a:lnTo>
                    <a:pt x="3868" y="51509"/>
                  </a:lnTo>
                  <a:lnTo>
                    <a:pt x="3868" y="51509"/>
                  </a:lnTo>
                  <a:lnTo>
                    <a:pt x="3208" y="49528"/>
                  </a:lnTo>
                  <a:lnTo>
                    <a:pt x="3208" y="49528"/>
                  </a:lnTo>
                  <a:lnTo>
                    <a:pt x="3868" y="50754"/>
                  </a:lnTo>
                  <a:lnTo>
                    <a:pt x="3208" y="48962"/>
                  </a:lnTo>
                  <a:lnTo>
                    <a:pt x="3585" y="49339"/>
                  </a:lnTo>
                  <a:lnTo>
                    <a:pt x="3774" y="49433"/>
                  </a:lnTo>
                  <a:lnTo>
                    <a:pt x="3962" y="49528"/>
                  </a:lnTo>
                  <a:lnTo>
                    <a:pt x="4057" y="49905"/>
                  </a:lnTo>
                  <a:lnTo>
                    <a:pt x="3868" y="48962"/>
                  </a:lnTo>
                  <a:lnTo>
                    <a:pt x="3491" y="47924"/>
                  </a:lnTo>
                  <a:lnTo>
                    <a:pt x="2641" y="45565"/>
                  </a:lnTo>
                  <a:lnTo>
                    <a:pt x="2170" y="43867"/>
                  </a:lnTo>
                  <a:lnTo>
                    <a:pt x="1698" y="41886"/>
                  </a:lnTo>
                  <a:lnTo>
                    <a:pt x="1698" y="41886"/>
                  </a:lnTo>
                  <a:lnTo>
                    <a:pt x="1887" y="42075"/>
                  </a:lnTo>
                  <a:lnTo>
                    <a:pt x="1981" y="41981"/>
                  </a:lnTo>
                  <a:lnTo>
                    <a:pt x="2075" y="42075"/>
                  </a:lnTo>
                  <a:lnTo>
                    <a:pt x="2264" y="42169"/>
                  </a:lnTo>
                  <a:lnTo>
                    <a:pt x="2170" y="40283"/>
                  </a:lnTo>
                  <a:lnTo>
                    <a:pt x="2075" y="38301"/>
                  </a:lnTo>
                  <a:lnTo>
                    <a:pt x="2170" y="36415"/>
                  </a:lnTo>
                  <a:lnTo>
                    <a:pt x="2358" y="35566"/>
                  </a:lnTo>
                  <a:lnTo>
                    <a:pt x="2453" y="34811"/>
                  </a:lnTo>
                  <a:lnTo>
                    <a:pt x="2830" y="32830"/>
                  </a:lnTo>
                  <a:lnTo>
                    <a:pt x="2830" y="33207"/>
                  </a:lnTo>
                  <a:lnTo>
                    <a:pt x="2924" y="33490"/>
                  </a:lnTo>
                  <a:lnTo>
                    <a:pt x="2924" y="32453"/>
                  </a:lnTo>
                  <a:lnTo>
                    <a:pt x="3019" y="31415"/>
                  </a:lnTo>
                  <a:lnTo>
                    <a:pt x="3396" y="29245"/>
                  </a:lnTo>
                  <a:lnTo>
                    <a:pt x="3868" y="27075"/>
                  </a:lnTo>
                  <a:lnTo>
                    <a:pt x="4623" y="25000"/>
                  </a:lnTo>
                  <a:lnTo>
                    <a:pt x="5566" y="22830"/>
                  </a:lnTo>
                  <a:lnTo>
                    <a:pt x="6604" y="20849"/>
                  </a:lnTo>
                  <a:lnTo>
                    <a:pt x="7830" y="18868"/>
                  </a:lnTo>
                  <a:lnTo>
                    <a:pt x="9151" y="16887"/>
                  </a:lnTo>
                  <a:lnTo>
                    <a:pt x="10566" y="15094"/>
                  </a:lnTo>
                  <a:lnTo>
                    <a:pt x="12075" y="13302"/>
                  </a:lnTo>
                  <a:lnTo>
                    <a:pt x="13773" y="11698"/>
                  </a:lnTo>
                  <a:lnTo>
                    <a:pt x="15377" y="10095"/>
                  </a:lnTo>
                  <a:lnTo>
                    <a:pt x="17170" y="8679"/>
                  </a:lnTo>
                  <a:lnTo>
                    <a:pt x="18962" y="7453"/>
                  </a:lnTo>
                  <a:lnTo>
                    <a:pt x="20754" y="6321"/>
                  </a:lnTo>
                  <a:lnTo>
                    <a:pt x="22547" y="5378"/>
                  </a:lnTo>
                  <a:lnTo>
                    <a:pt x="21603" y="6227"/>
                  </a:lnTo>
                  <a:lnTo>
                    <a:pt x="22641" y="5472"/>
                  </a:lnTo>
                  <a:lnTo>
                    <a:pt x="23302" y="5095"/>
                  </a:lnTo>
                  <a:lnTo>
                    <a:pt x="25377" y="4151"/>
                  </a:lnTo>
                  <a:lnTo>
                    <a:pt x="24811" y="4151"/>
                  </a:lnTo>
                  <a:lnTo>
                    <a:pt x="25660" y="3774"/>
                  </a:lnTo>
                  <a:lnTo>
                    <a:pt x="26886" y="3208"/>
                  </a:lnTo>
                  <a:lnTo>
                    <a:pt x="26603" y="3585"/>
                  </a:lnTo>
                  <a:lnTo>
                    <a:pt x="26886" y="3585"/>
                  </a:lnTo>
                  <a:lnTo>
                    <a:pt x="26886" y="3680"/>
                  </a:lnTo>
                  <a:lnTo>
                    <a:pt x="26792" y="3774"/>
                  </a:lnTo>
                  <a:lnTo>
                    <a:pt x="28301" y="3302"/>
                  </a:lnTo>
                  <a:lnTo>
                    <a:pt x="29622" y="2736"/>
                  </a:lnTo>
                  <a:lnTo>
                    <a:pt x="31037" y="2264"/>
                  </a:lnTo>
                  <a:lnTo>
                    <a:pt x="31792" y="2076"/>
                  </a:lnTo>
                  <a:lnTo>
                    <a:pt x="32641" y="1981"/>
                  </a:lnTo>
                  <a:lnTo>
                    <a:pt x="32547" y="2076"/>
                  </a:lnTo>
                  <a:lnTo>
                    <a:pt x="32924" y="1981"/>
                  </a:lnTo>
                  <a:lnTo>
                    <a:pt x="34245" y="1793"/>
                  </a:lnTo>
                  <a:lnTo>
                    <a:pt x="35848" y="1415"/>
                  </a:lnTo>
                  <a:lnTo>
                    <a:pt x="36981" y="1132"/>
                  </a:lnTo>
                  <a:lnTo>
                    <a:pt x="36981" y="1415"/>
                  </a:lnTo>
                  <a:lnTo>
                    <a:pt x="40943" y="1227"/>
                  </a:lnTo>
                  <a:lnTo>
                    <a:pt x="41509" y="1038"/>
                  </a:lnTo>
                  <a:lnTo>
                    <a:pt x="41697" y="1132"/>
                  </a:lnTo>
                  <a:lnTo>
                    <a:pt x="41509" y="1227"/>
                  </a:lnTo>
                  <a:lnTo>
                    <a:pt x="41320" y="1321"/>
                  </a:lnTo>
                  <a:lnTo>
                    <a:pt x="42263" y="1321"/>
                  </a:lnTo>
                  <a:lnTo>
                    <a:pt x="43113" y="1227"/>
                  </a:lnTo>
                  <a:lnTo>
                    <a:pt x="43396" y="1415"/>
                  </a:lnTo>
                  <a:lnTo>
                    <a:pt x="44056" y="1604"/>
                  </a:lnTo>
                  <a:lnTo>
                    <a:pt x="45943" y="2076"/>
                  </a:lnTo>
                  <a:lnTo>
                    <a:pt x="48018" y="2359"/>
                  </a:lnTo>
                  <a:lnTo>
                    <a:pt x="49622" y="2736"/>
                  </a:lnTo>
                  <a:lnTo>
                    <a:pt x="47641" y="1981"/>
                  </a:lnTo>
                  <a:lnTo>
                    <a:pt x="45282" y="1321"/>
                  </a:lnTo>
                  <a:lnTo>
                    <a:pt x="42735" y="755"/>
                  </a:lnTo>
                  <a:lnTo>
                    <a:pt x="40188" y="283"/>
                  </a:lnTo>
                  <a:lnTo>
                    <a:pt x="37735" y="95"/>
                  </a:lnTo>
                  <a:lnTo>
                    <a:pt x="35471" y="0"/>
                  </a:lnTo>
                  <a:close/>
                </a:path>
              </a:pathLst>
            </a:custGeom>
            <a:solidFill>
              <a:schemeClr val="bg1">
                <a:lumMod val="95000"/>
              </a:schemeClr>
            </a:solidFill>
            <a:ln w="0">
              <a:solidFill>
                <a:schemeClr val="bg1"/>
              </a:solidFill>
            </a:ln>
          </p:spPr>
          <p:txBody>
            <a:bodyPr spcFirstLastPara="1" wrap="square" lIns="91425" tIns="91425" rIns="91425" bIns="91425" anchor="ctr" anchorCtr="0">
              <a:noAutofit/>
            </a:bodyPr>
            <a:lstStyle/>
            <a:p>
              <a:pPr marL="0" lvl="0" indent="0">
                <a:spcBef>
                  <a:spcPts val="0"/>
                </a:spcBef>
                <a:spcAft>
                  <a:spcPts val="0"/>
                </a:spcAft>
                <a:buNone/>
              </a:pPr>
              <a:endParaRPr sz="1200">
                <a:latin typeface="+mj-lt"/>
              </a:endParaRPr>
            </a:p>
          </p:txBody>
        </p:sp>
        <p:sp>
          <p:nvSpPr>
            <p:cNvPr id="345" name="TextBox 344">
              <a:extLst>
                <a:ext uri="{FF2B5EF4-FFF2-40B4-BE49-F238E27FC236}">
                  <a16:creationId xmlns:a16="http://schemas.microsoft.com/office/drawing/2014/main" id="{44A45835-C746-CC4B-9B8B-E51067E9AD18}"/>
                </a:ext>
              </a:extLst>
            </p:cNvPr>
            <p:cNvSpPr txBox="1"/>
            <p:nvPr/>
          </p:nvSpPr>
          <p:spPr>
            <a:xfrm>
              <a:off x="2219869" y="1028158"/>
              <a:ext cx="229951" cy="254124"/>
            </a:xfrm>
            <a:prstGeom prst="rect">
              <a:avLst/>
            </a:prstGeom>
            <a:noFill/>
          </p:spPr>
          <p:txBody>
            <a:bodyPr wrap="square" rtlCol="0">
              <a:spAutoFit/>
            </a:bodyPr>
            <a:lstStyle/>
            <a:p>
              <a:r>
                <a:rPr lang="en-US" sz="600" b="1" dirty="0">
                  <a:solidFill>
                    <a:schemeClr val="bg1">
                      <a:lumMod val="95000"/>
                    </a:schemeClr>
                  </a:solidFill>
                  <a:latin typeface="+mj-lt"/>
                </a:rPr>
                <a:t>7</a:t>
              </a:r>
            </a:p>
          </p:txBody>
        </p:sp>
      </p:grpSp>
      <p:grpSp>
        <p:nvGrpSpPr>
          <p:cNvPr id="346" name="Group 345">
            <a:extLst>
              <a:ext uri="{FF2B5EF4-FFF2-40B4-BE49-F238E27FC236}">
                <a16:creationId xmlns:a16="http://schemas.microsoft.com/office/drawing/2014/main" id="{381B53A9-51C3-F34E-AF8C-9C08DF2EFB74}"/>
              </a:ext>
            </a:extLst>
          </p:cNvPr>
          <p:cNvGrpSpPr/>
          <p:nvPr/>
        </p:nvGrpSpPr>
        <p:grpSpPr>
          <a:xfrm>
            <a:off x="6789419" y="783737"/>
            <a:ext cx="204300" cy="184666"/>
            <a:chOff x="2219869" y="1028158"/>
            <a:chExt cx="229951" cy="254124"/>
          </a:xfrm>
        </p:grpSpPr>
        <p:sp>
          <p:nvSpPr>
            <p:cNvPr id="347" name="Google Shape;431;p39">
              <a:extLst>
                <a:ext uri="{FF2B5EF4-FFF2-40B4-BE49-F238E27FC236}">
                  <a16:creationId xmlns:a16="http://schemas.microsoft.com/office/drawing/2014/main" id="{5BA02964-80F2-D849-A130-FBEC48116B7B}"/>
                </a:ext>
              </a:extLst>
            </p:cNvPr>
            <p:cNvSpPr/>
            <p:nvPr/>
          </p:nvSpPr>
          <p:spPr>
            <a:xfrm>
              <a:off x="2259435" y="1076105"/>
              <a:ext cx="179407" cy="167874"/>
            </a:xfrm>
            <a:custGeom>
              <a:avLst/>
              <a:gdLst/>
              <a:ahLst/>
              <a:cxnLst/>
              <a:rect l="0" t="0" r="0" b="0"/>
              <a:pathLst>
                <a:path w="67641" h="69056" extrusionOk="0">
                  <a:moveTo>
                    <a:pt x="49622" y="2736"/>
                  </a:moveTo>
                  <a:lnTo>
                    <a:pt x="49622" y="2736"/>
                  </a:lnTo>
                  <a:lnTo>
                    <a:pt x="49622" y="2736"/>
                  </a:lnTo>
                  <a:close/>
                  <a:moveTo>
                    <a:pt x="59622" y="55565"/>
                  </a:moveTo>
                  <a:lnTo>
                    <a:pt x="59622" y="55565"/>
                  </a:lnTo>
                  <a:lnTo>
                    <a:pt x="59622" y="55565"/>
                  </a:lnTo>
                  <a:close/>
                  <a:moveTo>
                    <a:pt x="35471" y="0"/>
                  </a:moveTo>
                  <a:lnTo>
                    <a:pt x="34433" y="95"/>
                  </a:lnTo>
                  <a:lnTo>
                    <a:pt x="33584" y="189"/>
                  </a:lnTo>
                  <a:lnTo>
                    <a:pt x="32735" y="378"/>
                  </a:lnTo>
                  <a:lnTo>
                    <a:pt x="32169" y="566"/>
                  </a:lnTo>
                  <a:lnTo>
                    <a:pt x="31509" y="472"/>
                  </a:lnTo>
                  <a:lnTo>
                    <a:pt x="30754" y="472"/>
                  </a:lnTo>
                  <a:lnTo>
                    <a:pt x="29339" y="566"/>
                  </a:lnTo>
                  <a:lnTo>
                    <a:pt x="27830" y="849"/>
                  </a:lnTo>
                  <a:lnTo>
                    <a:pt x="26320" y="1321"/>
                  </a:lnTo>
                  <a:lnTo>
                    <a:pt x="24811" y="1981"/>
                  </a:lnTo>
                  <a:lnTo>
                    <a:pt x="23207" y="2736"/>
                  </a:lnTo>
                  <a:lnTo>
                    <a:pt x="21698" y="3585"/>
                  </a:lnTo>
                  <a:lnTo>
                    <a:pt x="20188" y="4623"/>
                  </a:lnTo>
                  <a:lnTo>
                    <a:pt x="18679" y="5661"/>
                  </a:lnTo>
                  <a:lnTo>
                    <a:pt x="17170" y="6793"/>
                  </a:lnTo>
                  <a:lnTo>
                    <a:pt x="15754" y="8019"/>
                  </a:lnTo>
                  <a:lnTo>
                    <a:pt x="14434" y="9151"/>
                  </a:lnTo>
                  <a:lnTo>
                    <a:pt x="11981" y="11510"/>
                  </a:lnTo>
                  <a:lnTo>
                    <a:pt x="10000" y="13774"/>
                  </a:lnTo>
                  <a:lnTo>
                    <a:pt x="7736" y="16981"/>
                  </a:lnTo>
                  <a:lnTo>
                    <a:pt x="8019" y="16321"/>
                  </a:lnTo>
                  <a:lnTo>
                    <a:pt x="8302" y="15660"/>
                  </a:lnTo>
                  <a:lnTo>
                    <a:pt x="7736" y="16604"/>
                  </a:lnTo>
                  <a:lnTo>
                    <a:pt x="7075" y="17642"/>
                  </a:lnTo>
                  <a:lnTo>
                    <a:pt x="7170" y="17830"/>
                  </a:lnTo>
                  <a:lnTo>
                    <a:pt x="6509" y="18868"/>
                  </a:lnTo>
                  <a:lnTo>
                    <a:pt x="7075" y="17359"/>
                  </a:lnTo>
                  <a:lnTo>
                    <a:pt x="6132" y="19057"/>
                  </a:lnTo>
                  <a:lnTo>
                    <a:pt x="5189" y="20849"/>
                  </a:lnTo>
                  <a:lnTo>
                    <a:pt x="4434" y="22736"/>
                  </a:lnTo>
                  <a:lnTo>
                    <a:pt x="3679" y="24622"/>
                  </a:lnTo>
                  <a:lnTo>
                    <a:pt x="2453" y="28490"/>
                  </a:lnTo>
                  <a:lnTo>
                    <a:pt x="1321" y="32169"/>
                  </a:lnTo>
                  <a:lnTo>
                    <a:pt x="1509" y="32264"/>
                  </a:lnTo>
                  <a:lnTo>
                    <a:pt x="1604" y="32453"/>
                  </a:lnTo>
                  <a:lnTo>
                    <a:pt x="1604" y="32641"/>
                  </a:lnTo>
                  <a:lnTo>
                    <a:pt x="1509" y="32924"/>
                  </a:lnTo>
                  <a:lnTo>
                    <a:pt x="1226" y="33396"/>
                  </a:lnTo>
                  <a:lnTo>
                    <a:pt x="1038" y="33585"/>
                  </a:lnTo>
                  <a:lnTo>
                    <a:pt x="1038" y="33773"/>
                  </a:lnTo>
                  <a:lnTo>
                    <a:pt x="1038" y="35000"/>
                  </a:lnTo>
                  <a:lnTo>
                    <a:pt x="849" y="36132"/>
                  </a:lnTo>
                  <a:lnTo>
                    <a:pt x="660" y="37358"/>
                  </a:lnTo>
                  <a:lnTo>
                    <a:pt x="472" y="38867"/>
                  </a:lnTo>
                  <a:lnTo>
                    <a:pt x="283" y="38301"/>
                  </a:lnTo>
                  <a:lnTo>
                    <a:pt x="94" y="39811"/>
                  </a:lnTo>
                  <a:lnTo>
                    <a:pt x="0" y="41509"/>
                  </a:lnTo>
                  <a:lnTo>
                    <a:pt x="94" y="43301"/>
                  </a:lnTo>
                  <a:lnTo>
                    <a:pt x="283" y="44056"/>
                  </a:lnTo>
                  <a:lnTo>
                    <a:pt x="472" y="44622"/>
                  </a:lnTo>
                  <a:lnTo>
                    <a:pt x="566" y="45660"/>
                  </a:lnTo>
                  <a:lnTo>
                    <a:pt x="755" y="46792"/>
                  </a:lnTo>
                  <a:lnTo>
                    <a:pt x="1226" y="48962"/>
                  </a:lnTo>
                  <a:lnTo>
                    <a:pt x="1981" y="51037"/>
                  </a:lnTo>
                  <a:lnTo>
                    <a:pt x="2924" y="53112"/>
                  </a:lnTo>
                  <a:lnTo>
                    <a:pt x="4057" y="55094"/>
                  </a:lnTo>
                  <a:lnTo>
                    <a:pt x="5283" y="56980"/>
                  </a:lnTo>
                  <a:lnTo>
                    <a:pt x="6698" y="58678"/>
                  </a:lnTo>
                  <a:lnTo>
                    <a:pt x="8113" y="60282"/>
                  </a:lnTo>
                  <a:lnTo>
                    <a:pt x="9056" y="61131"/>
                  </a:lnTo>
                  <a:lnTo>
                    <a:pt x="10000" y="61980"/>
                  </a:lnTo>
                  <a:lnTo>
                    <a:pt x="11038" y="62829"/>
                  </a:lnTo>
                  <a:lnTo>
                    <a:pt x="12075" y="63584"/>
                  </a:lnTo>
                  <a:lnTo>
                    <a:pt x="14339" y="64905"/>
                  </a:lnTo>
                  <a:lnTo>
                    <a:pt x="16604" y="66131"/>
                  </a:lnTo>
                  <a:lnTo>
                    <a:pt x="19056" y="67169"/>
                  </a:lnTo>
                  <a:lnTo>
                    <a:pt x="21509" y="67923"/>
                  </a:lnTo>
                  <a:lnTo>
                    <a:pt x="24056" y="68584"/>
                  </a:lnTo>
                  <a:lnTo>
                    <a:pt x="26603" y="69055"/>
                  </a:lnTo>
                  <a:lnTo>
                    <a:pt x="27830" y="69055"/>
                  </a:lnTo>
                  <a:lnTo>
                    <a:pt x="30188" y="68867"/>
                  </a:lnTo>
                  <a:lnTo>
                    <a:pt x="33113" y="68678"/>
                  </a:lnTo>
                  <a:lnTo>
                    <a:pt x="36509" y="68301"/>
                  </a:lnTo>
                  <a:lnTo>
                    <a:pt x="39811" y="67923"/>
                  </a:lnTo>
                  <a:lnTo>
                    <a:pt x="42735" y="67452"/>
                  </a:lnTo>
                  <a:lnTo>
                    <a:pt x="44905" y="66980"/>
                  </a:lnTo>
                  <a:lnTo>
                    <a:pt x="45565" y="66791"/>
                  </a:lnTo>
                  <a:lnTo>
                    <a:pt x="45943" y="66508"/>
                  </a:lnTo>
                  <a:lnTo>
                    <a:pt x="47358" y="65942"/>
                  </a:lnTo>
                  <a:lnTo>
                    <a:pt x="48018" y="65565"/>
                  </a:lnTo>
                  <a:lnTo>
                    <a:pt x="48678" y="65188"/>
                  </a:lnTo>
                  <a:lnTo>
                    <a:pt x="47924" y="65471"/>
                  </a:lnTo>
                  <a:lnTo>
                    <a:pt x="51509" y="62924"/>
                  </a:lnTo>
                  <a:lnTo>
                    <a:pt x="53301" y="61508"/>
                  </a:lnTo>
                  <a:lnTo>
                    <a:pt x="55093" y="59905"/>
                  </a:lnTo>
                  <a:lnTo>
                    <a:pt x="55093" y="59905"/>
                  </a:lnTo>
                  <a:lnTo>
                    <a:pt x="54810" y="60376"/>
                  </a:lnTo>
                  <a:lnTo>
                    <a:pt x="54339" y="60754"/>
                  </a:lnTo>
                  <a:lnTo>
                    <a:pt x="55376" y="59999"/>
                  </a:lnTo>
                  <a:lnTo>
                    <a:pt x="56320" y="59056"/>
                  </a:lnTo>
                  <a:lnTo>
                    <a:pt x="57075" y="58395"/>
                  </a:lnTo>
                  <a:lnTo>
                    <a:pt x="57169" y="58207"/>
                  </a:lnTo>
                  <a:lnTo>
                    <a:pt x="57075" y="58207"/>
                  </a:lnTo>
                  <a:lnTo>
                    <a:pt x="57924" y="57546"/>
                  </a:lnTo>
                  <a:lnTo>
                    <a:pt x="58678" y="56697"/>
                  </a:lnTo>
                  <a:lnTo>
                    <a:pt x="59339" y="55754"/>
                  </a:lnTo>
                  <a:lnTo>
                    <a:pt x="59905" y="54905"/>
                  </a:lnTo>
                  <a:lnTo>
                    <a:pt x="59716" y="54999"/>
                  </a:lnTo>
                  <a:lnTo>
                    <a:pt x="59622" y="54999"/>
                  </a:lnTo>
                  <a:lnTo>
                    <a:pt x="59810" y="54622"/>
                  </a:lnTo>
                  <a:lnTo>
                    <a:pt x="59150" y="55565"/>
                  </a:lnTo>
                  <a:lnTo>
                    <a:pt x="59527" y="55094"/>
                  </a:lnTo>
                  <a:lnTo>
                    <a:pt x="59433" y="55377"/>
                  </a:lnTo>
                  <a:lnTo>
                    <a:pt x="58867" y="56037"/>
                  </a:lnTo>
                  <a:lnTo>
                    <a:pt x="59056" y="55660"/>
                  </a:lnTo>
                  <a:lnTo>
                    <a:pt x="59056" y="55660"/>
                  </a:lnTo>
                  <a:lnTo>
                    <a:pt x="58678" y="56037"/>
                  </a:lnTo>
                  <a:lnTo>
                    <a:pt x="59810" y="54339"/>
                  </a:lnTo>
                  <a:lnTo>
                    <a:pt x="60282" y="53490"/>
                  </a:lnTo>
                  <a:lnTo>
                    <a:pt x="60282" y="53301"/>
                  </a:lnTo>
                  <a:lnTo>
                    <a:pt x="60188" y="53395"/>
                  </a:lnTo>
                  <a:lnTo>
                    <a:pt x="60188" y="53395"/>
                  </a:lnTo>
                  <a:lnTo>
                    <a:pt x="60565" y="52924"/>
                  </a:lnTo>
                  <a:lnTo>
                    <a:pt x="61037" y="52452"/>
                  </a:lnTo>
                  <a:lnTo>
                    <a:pt x="61886" y="51509"/>
                  </a:lnTo>
                  <a:lnTo>
                    <a:pt x="61508" y="52452"/>
                  </a:lnTo>
                  <a:lnTo>
                    <a:pt x="60848" y="53584"/>
                  </a:lnTo>
                  <a:lnTo>
                    <a:pt x="59622" y="55565"/>
                  </a:lnTo>
                  <a:lnTo>
                    <a:pt x="60376" y="54528"/>
                  </a:lnTo>
                  <a:lnTo>
                    <a:pt x="60942" y="53678"/>
                  </a:lnTo>
                  <a:lnTo>
                    <a:pt x="61980" y="51792"/>
                  </a:lnTo>
                  <a:lnTo>
                    <a:pt x="61886" y="51886"/>
                  </a:lnTo>
                  <a:lnTo>
                    <a:pt x="61886" y="51697"/>
                  </a:lnTo>
                  <a:lnTo>
                    <a:pt x="62169" y="51037"/>
                  </a:lnTo>
                  <a:lnTo>
                    <a:pt x="62735" y="49999"/>
                  </a:lnTo>
                  <a:lnTo>
                    <a:pt x="61508" y="51603"/>
                  </a:lnTo>
                  <a:lnTo>
                    <a:pt x="61603" y="51037"/>
                  </a:lnTo>
                  <a:lnTo>
                    <a:pt x="61697" y="50377"/>
                  </a:lnTo>
                  <a:lnTo>
                    <a:pt x="62169" y="48962"/>
                  </a:lnTo>
                  <a:lnTo>
                    <a:pt x="62829" y="47358"/>
                  </a:lnTo>
                  <a:lnTo>
                    <a:pt x="63678" y="45565"/>
                  </a:lnTo>
                  <a:lnTo>
                    <a:pt x="65376" y="42169"/>
                  </a:lnTo>
                  <a:lnTo>
                    <a:pt x="66131" y="40660"/>
                  </a:lnTo>
                  <a:lnTo>
                    <a:pt x="66697" y="39339"/>
                  </a:lnTo>
                  <a:lnTo>
                    <a:pt x="66603" y="39528"/>
                  </a:lnTo>
                  <a:lnTo>
                    <a:pt x="66697" y="39056"/>
                  </a:lnTo>
                  <a:lnTo>
                    <a:pt x="66791" y="38962"/>
                  </a:lnTo>
                  <a:lnTo>
                    <a:pt x="66791" y="39056"/>
                  </a:lnTo>
                  <a:lnTo>
                    <a:pt x="66886" y="38584"/>
                  </a:lnTo>
                  <a:lnTo>
                    <a:pt x="66791" y="38867"/>
                  </a:lnTo>
                  <a:lnTo>
                    <a:pt x="66980" y="38207"/>
                  </a:lnTo>
                  <a:lnTo>
                    <a:pt x="67169" y="37264"/>
                  </a:lnTo>
                  <a:lnTo>
                    <a:pt x="67263" y="36415"/>
                  </a:lnTo>
                  <a:lnTo>
                    <a:pt x="67357" y="36509"/>
                  </a:lnTo>
                  <a:lnTo>
                    <a:pt x="67452" y="36509"/>
                  </a:lnTo>
                  <a:lnTo>
                    <a:pt x="67546" y="35943"/>
                  </a:lnTo>
                  <a:lnTo>
                    <a:pt x="67546" y="34811"/>
                  </a:lnTo>
                  <a:lnTo>
                    <a:pt x="67640" y="31037"/>
                  </a:lnTo>
                  <a:lnTo>
                    <a:pt x="67640" y="28490"/>
                  </a:lnTo>
                  <a:lnTo>
                    <a:pt x="67546" y="27736"/>
                  </a:lnTo>
                  <a:lnTo>
                    <a:pt x="67546" y="27547"/>
                  </a:lnTo>
                  <a:lnTo>
                    <a:pt x="67452" y="27547"/>
                  </a:lnTo>
                  <a:lnTo>
                    <a:pt x="67074" y="26792"/>
                  </a:lnTo>
                  <a:lnTo>
                    <a:pt x="66791" y="25660"/>
                  </a:lnTo>
                  <a:lnTo>
                    <a:pt x="66508" y="24528"/>
                  </a:lnTo>
                  <a:lnTo>
                    <a:pt x="66414" y="23585"/>
                  </a:lnTo>
                  <a:lnTo>
                    <a:pt x="66320" y="23679"/>
                  </a:lnTo>
                  <a:lnTo>
                    <a:pt x="66320" y="23490"/>
                  </a:lnTo>
                  <a:lnTo>
                    <a:pt x="65942" y="22924"/>
                  </a:lnTo>
                  <a:lnTo>
                    <a:pt x="65565" y="22358"/>
                  </a:lnTo>
                  <a:lnTo>
                    <a:pt x="64527" y="21132"/>
                  </a:lnTo>
                  <a:lnTo>
                    <a:pt x="63584" y="19906"/>
                  </a:lnTo>
                  <a:lnTo>
                    <a:pt x="63207" y="19340"/>
                  </a:lnTo>
                  <a:lnTo>
                    <a:pt x="63018" y="18774"/>
                  </a:lnTo>
                  <a:lnTo>
                    <a:pt x="63112" y="18962"/>
                  </a:lnTo>
                  <a:lnTo>
                    <a:pt x="63301" y="19057"/>
                  </a:lnTo>
                  <a:lnTo>
                    <a:pt x="63301" y="19057"/>
                  </a:lnTo>
                  <a:lnTo>
                    <a:pt x="63207" y="18868"/>
                  </a:lnTo>
                  <a:lnTo>
                    <a:pt x="62923" y="18491"/>
                  </a:lnTo>
                  <a:lnTo>
                    <a:pt x="61980" y="17453"/>
                  </a:lnTo>
                  <a:lnTo>
                    <a:pt x="61037" y="16509"/>
                  </a:lnTo>
                  <a:lnTo>
                    <a:pt x="61037" y="16698"/>
                  </a:lnTo>
                  <a:lnTo>
                    <a:pt x="61037" y="16887"/>
                  </a:lnTo>
                  <a:lnTo>
                    <a:pt x="60093" y="15943"/>
                  </a:lnTo>
                  <a:lnTo>
                    <a:pt x="60376" y="16321"/>
                  </a:lnTo>
                  <a:lnTo>
                    <a:pt x="59527" y="15377"/>
                  </a:lnTo>
                  <a:lnTo>
                    <a:pt x="59056" y="14906"/>
                  </a:lnTo>
                  <a:lnTo>
                    <a:pt x="59244" y="14906"/>
                  </a:lnTo>
                  <a:lnTo>
                    <a:pt x="59905" y="15472"/>
                  </a:lnTo>
                  <a:lnTo>
                    <a:pt x="59905" y="15472"/>
                  </a:lnTo>
                  <a:lnTo>
                    <a:pt x="57641" y="13396"/>
                  </a:lnTo>
                  <a:lnTo>
                    <a:pt x="58112" y="13868"/>
                  </a:lnTo>
                  <a:lnTo>
                    <a:pt x="56886" y="13019"/>
                  </a:lnTo>
                  <a:lnTo>
                    <a:pt x="55754" y="12453"/>
                  </a:lnTo>
                  <a:lnTo>
                    <a:pt x="56603" y="13113"/>
                  </a:lnTo>
                  <a:lnTo>
                    <a:pt x="57452" y="13774"/>
                  </a:lnTo>
                  <a:lnTo>
                    <a:pt x="58961" y="15283"/>
                  </a:lnTo>
                  <a:lnTo>
                    <a:pt x="60376" y="16604"/>
                  </a:lnTo>
                  <a:lnTo>
                    <a:pt x="61225" y="17264"/>
                  </a:lnTo>
                  <a:lnTo>
                    <a:pt x="62074" y="17925"/>
                  </a:lnTo>
                  <a:lnTo>
                    <a:pt x="62074" y="17925"/>
                  </a:lnTo>
                  <a:lnTo>
                    <a:pt x="61414" y="17547"/>
                  </a:lnTo>
                  <a:lnTo>
                    <a:pt x="60659" y="16981"/>
                  </a:lnTo>
                  <a:lnTo>
                    <a:pt x="60754" y="17264"/>
                  </a:lnTo>
                  <a:lnTo>
                    <a:pt x="60942" y="17642"/>
                  </a:lnTo>
                  <a:lnTo>
                    <a:pt x="61980" y="19151"/>
                  </a:lnTo>
                  <a:lnTo>
                    <a:pt x="63301" y="20943"/>
                  </a:lnTo>
                  <a:lnTo>
                    <a:pt x="63207" y="20943"/>
                  </a:lnTo>
                  <a:lnTo>
                    <a:pt x="63395" y="21038"/>
                  </a:lnTo>
                  <a:lnTo>
                    <a:pt x="63490" y="21321"/>
                  </a:lnTo>
                  <a:lnTo>
                    <a:pt x="63678" y="21604"/>
                  </a:lnTo>
                  <a:lnTo>
                    <a:pt x="63773" y="21698"/>
                  </a:lnTo>
                  <a:lnTo>
                    <a:pt x="63584" y="21321"/>
                  </a:lnTo>
                  <a:lnTo>
                    <a:pt x="63584" y="21321"/>
                  </a:lnTo>
                  <a:lnTo>
                    <a:pt x="64244" y="22170"/>
                  </a:lnTo>
                  <a:lnTo>
                    <a:pt x="64716" y="22641"/>
                  </a:lnTo>
                  <a:lnTo>
                    <a:pt x="64905" y="22830"/>
                  </a:lnTo>
                  <a:lnTo>
                    <a:pt x="64999" y="22830"/>
                  </a:lnTo>
                  <a:lnTo>
                    <a:pt x="64999" y="22641"/>
                  </a:lnTo>
                  <a:lnTo>
                    <a:pt x="64905" y="22358"/>
                  </a:lnTo>
                  <a:lnTo>
                    <a:pt x="65282" y="23207"/>
                  </a:lnTo>
                  <a:lnTo>
                    <a:pt x="65565" y="24056"/>
                  </a:lnTo>
                  <a:lnTo>
                    <a:pt x="66225" y="25943"/>
                  </a:lnTo>
                  <a:lnTo>
                    <a:pt x="66697" y="27830"/>
                  </a:lnTo>
                  <a:lnTo>
                    <a:pt x="66886" y="28490"/>
                  </a:lnTo>
                  <a:lnTo>
                    <a:pt x="66980" y="28868"/>
                  </a:lnTo>
                  <a:lnTo>
                    <a:pt x="66886" y="28962"/>
                  </a:lnTo>
                  <a:lnTo>
                    <a:pt x="66697" y="28679"/>
                  </a:lnTo>
                  <a:lnTo>
                    <a:pt x="66697" y="29245"/>
                  </a:lnTo>
                  <a:lnTo>
                    <a:pt x="66791" y="29905"/>
                  </a:lnTo>
                  <a:lnTo>
                    <a:pt x="66886" y="29905"/>
                  </a:lnTo>
                  <a:lnTo>
                    <a:pt x="66886" y="30094"/>
                  </a:lnTo>
                  <a:lnTo>
                    <a:pt x="66886" y="30566"/>
                  </a:lnTo>
                  <a:lnTo>
                    <a:pt x="66697" y="30377"/>
                  </a:lnTo>
                  <a:lnTo>
                    <a:pt x="66603" y="30188"/>
                  </a:lnTo>
                  <a:lnTo>
                    <a:pt x="66603" y="30094"/>
                  </a:lnTo>
                  <a:lnTo>
                    <a:pt x="66697" y="29905"/>
                  </a:lnTo>
                  <a:lnTo>
                    <a:pt x="66508" y="28679"/>
                  </a:lnTo>
                  <a:lnTo>
                    <a:pt x="66225" y="27358"/>
                  </a:lnTo>
                  <a:lnTo>
                    <a:pt x="66603" y="30283"/>
                  </a:lnTo>
                  <a:lnTo>
                    <a:pt x="66697" y="31792"/>
                  </a:lnTo>
                  <a:lnTo>
                    <a:pt x="66697" y="33302"/>
                  </a:lnTo>
                  <a:lnTo>
                    <a:pt x="66603" y="34717"/>
                  </a:lnTo>
                  <a:lnTo>
                    <a:pt x="66414" y="36226"/>
                  </a:lnTo>
                  <a:lnTo>
                    <a:pt x="66131" y="37547"/>
                  </a:lnTo>
                  <a:lnTo>
                    <a:pt x="65659" y="38962"/>
                  </a:lnTo>
                  <a:lnTo>
                    <a:pt x="65848" y="38584"/>
                  </a:lnTo>
                  <a:lnTo>
                    <a:pt x="65942" y="38584"/>
                  </a:lnTo>
                  <a:lnTo>
                    <a:pt x="65848" y="39245"/>
                  </a:lnTo>
                  <a:lnTo>
                    <a:pt x="65565" y="40188"/>
                  </a:lnTo>
                  <a:lnTo>
                    <a:pt x="65471" y="40471"/>
                  </a:lnTo>
                  <a:lnTo>
                    <a:pt x="65282" y="40660"/>
                  </a:lnTo>
                  <a:lnTo>
                    <a:pt x="65282" y="40566"/>
                  </a:lnTo>
                  <a:lnTo>
                    <a:pt x="65093" y="41132"/>
                  </a:lnTo>
                  <a:lnTo>
                    <a:pt x="64433" y="43018"/>
                  </a:lnTo>
                  <a:lnTo>
                    <a:pt x="63678" y="45282"/>
                  </a:lnTo>
                  <a:lnTo>
                    <a:pt x="62735" y="47264"/>
                  </a:lnTo>
                  <a:lnTo>
                    <a:pt x="61697" y="49056"/>
                  </a:lnTo>
                  <a:lnTo>
                    <a:pt x="60659" y="50943"/>
                  </a:lnTo>
                  <a:lnTo>
                    <a:pt x="59433" y="52735"/>
                  </a:lnTo>
                  <a:lnTo>
                    <a:pt x="58207" y="54433"/>
                  </a:lnTo>
                  <a:lnTo>
                    <a:pt x="56886" y="56037"/>
                  </a:lnTo>
                  <a:lnTo>
                    <a:pt x="55376" y="57641"/>
                  </a:lnTo>
                  <a:lnTo>
                    <a:pt x="53867" y="59150"/>
                  </a:lnTo>
                  <a:lnTo>
                    <a:pt x="52169" y="60376"/>
                  </a:lnTo>
                  <a:lnTo>
                    <a:pt x="48961" y="62452"/>
                  </a:lnTo>
                  <a:lnTo>
                    <a:pt x="44528" y="65282"/>
                  </a:lnTo>
                  <a:lnTo>
                    <a:pt x="44622" y="65188"/>
                  </a:lnTo>
                  <a:lnTo>
                    <a:pt x="44716" y="65093"/>
                  </a:lnTo>
                  <a:lnTo>
                    <a:pt x="45094" y="64810"/>
                  </a:lnTo>
                  <a:lnTo>
                    <a:pt x="45660" y="64527"/>
                  </a:lnTo>
                  <a:lnTo>
                    <a:pt x="43867" y="65376"/>
                  </a:lnTo>
                  <a:lnTo>
                    <a:pt x="43113" y="65754"/>
                  </a:lnTo>
                  <a:lnTo>
                    <a:pt x="42924" y="65754"/>
                  </a:lnTo>
                  <a:lnTo>
                    <a:pt x="43113" y="65659"/>
                  </a:lnTo>
                  <a:lnTo>
                    <a:pt x="41603" y="66037"/>
                  </a:lnTo>
                  <a:lnTo>
                    <a:pt x="39999" y="66320"/>
                  </a:lnTo>
                  <a:lnTo>
                    <a:pt x="38396" y="66508"/>
                  </a:lnTo>
                  <a:lnTo>
                    <a:pt x="36792" y="66697"/>
                  </a:lnTo>
                  <a:lnTo>
                    <a:pt x="33584" y="66980"/>
                  </a:lnTo>
                  <a:lnTo>
                    <a:pt x="32169" y="67169"/>
                  </a:lnTo>
                  <a:lnTo>
                    <a:pt x="30754" y="67357"/>
                  </a:lnTo>
                  <a:lnTo>
                    <a:pt x="30094" y="67357"/>
                  </a:lnTo>
                  <a:lnTo>
                    <a:pt x="29339" y="67263"/>
                  </a:lnTo>
                  <a:lnTo>
                    <a:pt x="27830" y="66886"/>
                  </a:lnTo>
                  <a:lnTo>
                    <a:pt x="26415" y="66508"/>
                  </a:lnTo>
                  <a:lnTo>
                    <a:pt x="25754" y="66414"/>
                  </a:lnTo>
                  <a:lnTo>
                    <a:pt x="25094" y="66414"/>
                  </a:lnTo>
                  <a:lnTo>
                    <a:pt x="25566" y="66980"/>
                  </a:lnTo>
                  <a:lnTo>
                    <a:pt x="25471" y="67074"/>
                  </a:lnTo>
                  <a:lnTo>
                    <a:pt x="25188" y="66980"/>
                  </a:lnTo>
                  <a:lnTo>
                    <a:pt x="24339" y="66791"/>
                  </a:lnTo>
                  <a:lnTo>
                    <a:pt x="23773" y="66508"/>
                  </a:lnTo>
                  <a:lnTo>
                    <a:pt x="24245" y="66414"/>
                  </a:lnTo>
                  <a:lnTo>
                    <a:pt x="24717" y="66603"/>
                  </a:lnTo>
                  <a:lnTo>
                    <a:pt x="24811" y="66414"/>
                  </a:lnTo>
                  <a:lnTo>
                    <a:pt x="24811" y="66320"/>
                  </a:lnTo>
                  <a:lnTo>
                    <a:pt x="24717" y="66225"/>
                  </a:lnTo>
                  <a:lnTo>
                    <a:pt x="24528" y="66131"/>
                  </a:lnTo>
                  <a:lnTo>
                    <a:pt x="24151" y="66225"/>
                  </a:lnTo>
                  <a:lnTo>
                    <a:pt x="23679" y="66320"/>
                  </a:lnTo>
                  <a:lnTo>
                    <a:pt x="23018" y="66414"/>
                  </a:lnTo>
                  <a:lnTo>
                    <a:pt x="23490" y="66225"/>
                  </a:lnTo>
                  <a:lnTo>
                    <a:pt x="22075" y="65942"/>
                  </a:lnTo>
                  <a:lnTo>
                    <a:pt x="20943" y="65659"/>
                  </a:lnTo>
                  <a:lnTo>
                    <a:pt x="20000" y="65282"/>
                  </a:lnTo>
                  <a:lnTo>
                    <a:pt x="19056" y="64810"/>
                  </a:lnTo>
                  <a:lnTo>
                    <a:pt x="19056" y="64810"/>
                  </a:lnTo>
                  <a:lnTo>
                    <a:pt x="19717" y="64999"/>
                  </a:lnTo>
                  <a:lnTo>
                    <a:pt x="19151" y="64716"/>
                  </a:lnTo>
                  <a:lnTo>
                    <a:pt x="18962" y="64810"/>
                  </a:lnTo>
                  <a:lnTo>
                    <a:pt x="19151" y="64905"/>
                  </a:lnTo>
                  <a:lnTo>
                    <a:pt x="18490" y="64905"/>
                  </a:lnTo>
                  <a:lnTo>
                    <a:pt x="17830" y="64716"/>
                  </a:lnTo>
                  <a:lnTo>
                    <a:pt x="17264" y="64527"/>
                  </a:lnTo>
                  <a:lnTo>
                    <a:pt x="16698" y="64150"/>
                  </a:lnTo>
                  <a:lnTo>
                    <a:pt x="16981" y="64056"/>
                  </a:lnTo>
                  <a:lnTo>
                    <a:pt x="17264" y="64150"/>
                  </a:lnTo>
                  <a:lnTo>
                    <a:pt x="17264" y="64150"/>
                  </a:lnTo>
                  <a:lnTo>
                    <a:pt x="15188" y="63207"/>
                  </a:lnTo>
                  <a:lnTo>
                    <a:pt x="14622" y="62829"/>
                  </a:lnTo>
                  <a:lnTo>
                    <a:pt x="14717" y="62924"/>
                  </a:lnTo>
                  <a:lnTo>
                    <a:pt x="13773" y="62546"/>
                  </a:lnTo>
                  <a:lnTo>
                    <a:pt x="12924" y="62075"/>
                  </a:lnTo>
                  <a:lnTo>
                    <a:pt x="12358" y="61697"/>
                  </a:lnTo>
                  <a:lnTo>
                    <a:pt x="12264" y="61508"/>
                  </a:lnTo>
                  <a:lnTo>
                    <a:pt x="12170" y="61320"/>
                  </a:lnTo>
                  <a:lnTo>
                    <a:pt x="11698" y="60942"/>
                  </a:lnTo>
                  <a:lnTo>
                    <a:pt x="11132" y="60471"/>
                  </a:lnTo>
                  <a:lnTo>
                    <a:pt x="9906" y="59244"/>
                  </a:lnTo>
                  <a:lnTo>
                    <a:pt x="9906" y="59244"/>
                  </a:lnTo>
                  <a:lnTo>
                    <a:pt x="10566" y="59527"/>
                  </a:lnTo>
                  <a:lnTo>
                    <a:pt x="9434" y="58584"/>
                  </a:lnTo>
                  <a:lnTo>
                    <a:pt x="8207" y="57546"/>
                  </a:lnTo>
                  <a:lnTo>
                    <a:pt x="7547" y="56886"/>
                  </a:lnTo>
                  <a:lnTo>
                    <a:pt x="6981" y="56131"/>
                  </a:lnTo>
                  <a:lnTo>
                    <a:pt x="6226" y="55094"/>
                  </a:lnTo>
                  <a:lnTo>
                    <a:pt x="6415" y="55377"/>
                  </a:lnTo>
                  <a:lnTo>
                    <a:pt x="6038" y="54905"/>
                  </a:lnTo>
                  <a:lnTo>
                    <a:pt x="5472" y="54244"/>
                  </a:lnTo>
                  <a:lnTo>
                    <a:pt x="5283" y="53961"/>
                  </a:lnTo>
                  <a:lnTo>
                    <a:pt x="5094" y="53867"/>
                  </a:lnTo>
                  <a:lnTo>
                    <a:pt x="5377" y="54622"/>
                  </a:lnTo>
                  <a:lnTo>
                    <a:pt x="5849" y="55282"/>
                  </a:lnTo>
                  <a:lnTo>
                    <a:pt x="6321" y="55943"/>
                  </a:lnTo>
                  <a:lnTo>
                    <a:pt x="6698" y="56603"/>
                  </a:lnTo>
                  <a:lnTo>
                    <a:pt x="6226" y="56226"/>
                  </a:lnTo>
                  <a:lnTo>
                    <a:pt x="5943" y="55848"/>
                  </a:lnTo>
                  <a:lnTo>
                    <a:pt x="6038" y="56037"/>
                  </a:lnTo>
                  <a:lnTo>
                    <a:pt x="5943" y="55943"/>
                  </a:lnTo>
                  <a:lnTo>
                    <a:pt x="5377" y="55188"/>
                  </a:lnTo>
                  <a:lnTo>
                    <a:pt x="5000" y="54716"/>
                  </a:lnTo>
                  <a:lnTo>
                    <a:pt x="4717" y="54150"/>
                  </a:lnTo>
                  <a:lnTo>
                    <a:pt x="4528" y="53678"/>
                  </a:lnTo>
                  <a:lnTo>
                    <a:pt x="4528" y="53584"/>
                  </a:lnTo>
                  <a:lnTo>
                    <a:pt x="4623" y="53395"/>
                  </a:lnTo>
                  <a:lnTo>
                    <a:pt x="5094" y="54244"/>
                  </a:lnTo>
                  <a:lnTo>
                    <a:pt x="4717" y="53301"/>
                  </a:lnTo>
                  <a:lnTo>
                    <a:pt x="4528" y="53018"/>
                  </a:lnTo>
                  <a:lnTo>
                    <a:pt x="4151" y="52263"/>
                  </a:lnTo>
                  <a:lnTo>
                    <a:pt x="4151" y="52169"/>
                  </a:lnTo>
                  <a:lnTo>
                    <a:pt x="3774" y="51509"/>
                  </a:lnTo>
                  <a:lnTo>
                    <a:pt x="3396" y="50660"/>
                  </a:lnTo>
                  <a:lnTo>
                    <a:pt x="3585" y="51603"/>
                  </a:lnTo>
                  <a:lnTo>
                    <a:pt x="3396" y="51226"/>
                  </a:lnTo>
                  <a:lnTo>
                    <a:pt x="3208" y="50848"/>
                  </a:lnTo>
                  <a:lnTo>
                    <a:pt x="3208" y="50471"/>
                  </a:lnTo>
                  <a:lnTo>
                    <a:pt x="3208" y="50094"/>
                  </a:lnTo>
                  <a:lnTo>
                    <a:pt x="3585" y="50754"/>
                  </a:lnTo>
                  <a:lnTo>
                    <a:pt x="3868" y="51509"/>
                  </a:lnTo>
                  <a:lnTo>
                    <a:pt x="3868" y="51509"/>
                  </a:lnTo>
                  <a:lnTo>
                    <a:pt x="3208" y="49528"/>
                  </a:lnTo>
                  <a:lnTo>
                    <a:pt x="3208" y="49528"/>
                  </a:lnTo>
                  <a:lnTo>
                    <a:pt x="3868" y="50754"/>
                  </a:lnTo>
                  <a:lnTo>
                    <a:pt x="3208" y="48962"/>
                  </a:lnTo>
                  <a:lnTo>
                    <a:pt x="3585" y="49339"/>
                  </a:lnTo>
                  <a:lnTo>
                    <a:pt x="3774" y="49433"/>
                  </a:lnTo>
                  <a:lnTo>
                    <a:pt x="3962" y="49528"/>
                  </a:lnTo>
                  <a:lnTo>
                    <a:pt x="4057" y="49905"/>
                  </a:lnTo>
                  <a:lnTo>
                    <a:pt x="3868" y="48962"/>
                  </a:lnTo>
                  <a:lnTo>
                    <a:pt x="3491" y="47924"/>
                  </a:lnTo>
                  <a:lnTo>
                    <a:pt x="2641" y="45565"/>
                  </a:lnTo>
                  <a:lnTo>
                    <a:pt x="2170" y="43867"/>
                  </a:lnTo>
                  <a:lnTo>
                    <a:pt x="1698" y="41886"/>
                  </a:lnTo>
                  <a:lnTo>
                    <a:pt x="1698" y="41886"/>
                  </a:lnTo>
                  <a:lnTo>
                    <a:pt x="1887" y="42075"/>
                  </a:lnTo>
                  <a:lnTo>
                    <a:pt x="1981" y="41981"/>
                  </a:lnTo>
                  <a:lnTo>
                    <a:pt x="2075" y="42075"/>
                  </a:lnTo>
                  <a:lnTo>
                    <a:pt x="2264" y="42169"/>
                  </a:lnTo>
                  <a:lnTo>
                    <a:pt x="2170" y="40283"/>
                  </a:lnTo>
                  <a:lnTo>
                    <a:pt x="2075" y="38301"/>
                  </a:lnTo>
                  <a:lnTo>
                    <a:pt x="2170" y="36415"/>
                  </a:lnTo>
                  <a:lnTo>
                    <a:pt x="2358" y="35566"/>
                  </a:lnTo>
                  <a:lnTo>
                    <a:pt x="2453" y="34811"/>
                  </a:lnTo>
                  <a:lnTo>
                    <a:pt x="2830" y="32830"/>
                  </a:lnTo>
                  <a:lnTo>
                    <a:pt x="2830" y="33207"/>
                  </a:lnTo>
                  <a:lnTo>
                    <a:pt x="2924" y="33490"/>
                  </a:lnTo>
                  <a:lnTo>
                    <a:pt x="2924" y="32453"/>
                  </a:lnTo>
                  <a:lnTo>
                    <a:pt x="3019" y="31415"/>
                  </a:lnTo>
                  <a:lnTo>
                    <a:pt x="3396" y="29245"/>
                  </a:lnTo>
                  <a:lnTo>
                    <a:pt x="3868" y="27075"/>
                  </a:lnTo>
                  <a:lnTo>
                    <a:pt x="4623" y="25000"/>
                  </a:lnTo>
                  <a:lnTo>
                    <a:pt x="5566" y="22830"/>
                  </a:lnTo>
                  <a:lnTo>
                    <a:pt x="6604" y="20849"/>
                  </a:lnTo>
                  <a:lnTo>
                    <a:pt x="7830" y="18868"/>
                  </a:lnTo>
                  <a:lnTo>
                    <a:pt x="9151" y="16887"/>
                  </a:lnTo>
                  <a:lnTo>
                    <a:pt x="10566" y="15094"/>
                  </a:lnTo>
                  <a:lnTo>
                    <a:pt x="12075" y="13302"/>
                  </a:lnTo>
                  <a:lnTo>
                    <a:pt x="13773" y="11698"/>
                  </a:lnTo>
                  <a:lnTo>
                    <a:pt x="15377" y="10095"/>
                  </a:lnTo>
                  <a:lnTo>
                    <a:pt x="17170" y="8679"/>
                  </a:lnTo>
                  <a:lnTo>
                    <a:pt x="18962" y="7453"/>
                  </a:lnTo>
                  <a:lnTo>
                    <a:pt x="20754" y="6321"/>
                  </a:lnTo>
                  <a:lnTo>
                    <a:pt x="22547" y="5378"/>
                  </a:lnTo>
                  <a:lnTo>
                    <a:pt x="21603" y="6227"/>
                  </a:lnTo>
                  <a:lnTo>
                    <a:pt x="22641" y="5472"/>
                  </a:lnTo>
                  <a:lnTo>
                    <a:pt x="23302" y="5095"/>
                  </a:lnTo>
                  <a:lnTo>
                    <a:pt x="25377" y="4151"/>
                  </a:lnTo>
                  <a:lnTo>
                    <a:pt x="24811" y="4151"/>
                  </a:lnTo>
                  <a:lnTo>
                    <a:pt x="25660" y="3774"/>
                  </a:lnTo>
                  <a:lnTo>
                    <a:pt x="26886" y="3208"/>
                  </a:lnTo>
                  <a:lnTo>
                    <a:pt x="26603" y="3585"/>
                  </a:lnTo>
                  <a:lnTo>
                    <a:pt x="26886" y="3585"/>
                  </a:lnTo>
                  <a:lnTo>
                    <a:pt x="26886" y="3680"/>
                  </a:lnTo>
                  <a:lnTo>
                    <a:pt x="26792" y="3774"/>
                  </a:lnTo>
                  <a:lnTo>
                    <a:pt x="28301" y="3302"/>
                  </a:lnTo>
                  <a:lnTo>
                    <a:pt x="29622" y="2736"/>
                  </a:lnTo>
                  <a:lnTo>
                    <a:pt x="31037" y="2264"/>
                  </a:lnTo>
                  <a:lnTo>
                    <a:pt x="31792" y="2076"/>
                  </a:lnTo>
                  <a:lnTo>
                    <a:pt x="32641" y="1981"/>
                  </a:lnTo>
                  <a:lnTo>
                    <a:pt x="32547" y="2076"/>
                  </a:lnTo>
                  <a:lnTo>
                    <a:pt x="32924" y="1981"/>
                  </a:lnTo>
                  <a:lnTo>
                    <a:pt x="34245" y="1793"/>
                  </a:lnTo>
                  <a:lnTo>
                    <a:pt x="35848" y="1415"/>
                  </a:lnTo>
                  <a:lnTo>
                    <a:pt x="36981" y="1132"/>
                  </a:lnTo>
                  <a:lnTo>
                    <a:pt x="36981" y="1415"/>
                  </a:lnTo>
                  <a:lnTo>
                    <a:pt x="40943" y="1227"/>
                  </a:lnTo>
                  <a:lnTo>
                    <a:pt x="41509" y="1038"/>
                  </a:lnTo>
                  <a:lnTo>
                    <a:pt x="41697" y="1132"/>
                  </a:lnTo>
                  <a:lnTo>
                    <a:pt x="41509" y="1227"/>
                  </a:lnTo>
                  <a:lnTo>
                    <a:pt x="41320" y="1321"/>
                  </a:lnTo>
                  <a:lnTo>
                    <a:pt x="42263" y="1321"/>
                  </a:lnTo>
                  <a:lnTo>
                    <a:pt x="43113" y="1227"/>
                  </a:lnTo>
                  <a:lnTo>
                    <a:pt x="43396" y="1415"/>
                  </a:lnTo>
                  <a:lnTo>
                    <a:pt x="44056" y="1604"/>
                  </a:lnTo>
                  <a:lnTo>
                    <a:pt x="45943" y="2076"/>
                  </a:lnTo>
                  <a:lnTo>
                    <a:pt x="48018" y="2359"/>
                  </a:lnTo>
                  <a:lnTo>
                    <a:pt x="49622" y="2736"/>
                  </a:lnTo>
                  <a:lnTo>
                    <a:pt x="47641" y="1981"/>
                  </a:lnTo>
                  <a:lnTo>
                    <a:pt x="45282" y="1321"/>
                  </a:lnTo>
                  <a:lnTo>
                    <a:pt x="42735" y="755"/>
                  </a:lnTo>
                  <a:lnTo>
                    <a:pt x="40188" y="283"/>
                  </a:lnTo>
                  <a:lnTo>
                    <a:pt x="37735" y="95"/>
                  </a:lnTo>
                  <a:lnTo>
                    <a:pt x="35471" y="0"/>
                  </a:lnTo>
                  <a:close/>
                </a:path>
              </a:pathLst>
            </a:custGeom>
            <a:solidFill>
              <a:schemeClr val="bg1">
                <a:lumMod val="95000"/>
              </a:schemeClr>
            </a:solidFill>
            <a:ln w="0">
              <a:solidFill>
                <a:schemeClr val="bg1"/>
              </a:solidFill>
            </a:ln>
          </p:spPr>
          <p:txBody>
            <a:bodyPr spcFirstLastPara="1" wrap="square" lIns="91425" tIns="91425" rIns="91425" bIns="91425" anchor="ctr" anchorCtr="0">
              <a:noAutofit/>
            </a:bodyPr>
            <a:lstStyle/>
            <a:p>
              <a:pPr marL="0" lvl="0" indent="0">
                <a:spcBef>
                  <a:spcPts val="0"/>
                </a:spcBef>
                <a:spcAft>
                  <a:spcPts val="0"/>
                </a:spcAft>
                <a:buNone/>
              </a:pPr>
              <a:endParaRPr sz="1200">
                <a:latin typeface="+mj-lt"/>
              </a:endParaRPr>
            </a:p>
          </p:txBody>
        </p:sp>
        <p:sp>
          <p:nvSpPr>
            <p:cNvPr id="348" name="TextBox 347">
              <a:extLst>
                <a:ext uri="{FF2B5EF4-FFF2-40B4-BE49-F238E27FC236}">
                  <a16:creationId xmlns:a16="http://schemas.microsoft.com/office/drawing/2014/main" id="{732FC304-99F9-A049-8B6A-0791861DE483}"/>
                </a:ext>
              </a:extLst>
            </p:cNvPr>
            <p:cNvSpPr txBox="1"/>
            <p:nvPr/>
          </p:nvSpPr>
          <p:spPr>
            <a:xfrm>
              <a:off x="2219869" y="1028158"/>
              <a:ext cx="229951" cy="254124"/>
            </a:xfrm>
            <a:prstGeom prst="rect">
              <a:avLst/>
            </a:prstGeom>
            <a:noFill/>
          </p:spPr>
          <p:txBody>
            <a:bodyPr wrap="square" rtlCol="0">
              <a:spAutoFit/>
            </a:bodyPr>
            <a:lstStyle/>
            <a:p>
              <a:r>
                <a:rPr lang="en-US" sz="600" b="1" dirty="0">
                  <a:solidFill>
                    <a:schemeClr val="bg1">
                      <a:lumMod val="95000"/>
                    </a:schemeClr>
                  </a:solidFill>
                  <a:latin typeface="+mj-lt"/>
                </a:rPr>
                <a:t>8</a:t>
              </a:r>
            </a:p>
          </p:txBody>
        </p:sp>
      </p:grpSp>
      <p:grpSp>
        <p:nvGrpSpPr>
          <p:cNvPr id="349" name="Group 348">
            <a:extLst>
              <a:ext uri="{FF2B5EF4-FFF2-40B4-BE49-F238E27FC236}">
                <a16:creationId xmlns:a16="http://schemas.microsoft.com/office/drawing/2014/main" id="{AB71D1EF-57BE-0C40-B648-5C47D7D8808F}"/>
              </a:ext>
            </a:extLst>
          </p:cNvPr>
          <p:cNvGrpSpPr/>
          <p:nvPr/>
        </p:nvGrpSpPr>
        <p:grpSpPr>
          <a:xfrm>
            <a:off x="8027511" y="3562787"/>
            <a:ext cx="204300" cy="184666"/>
            <a:chOff x="2219869" y="1028158"/>
            <a:chExt cx="229951" cy="254124"/>
          </a:xfrm>
        </p:grpSpPr>
        <p:sp>
          <p:nvSpPr>
            <p:cNvPr id="351" name="Google Shape;431;p39">
              <a:extLst>
                <a:ext uri="{FF2B5EF4-FFF2-40B4-BE49-F238E27FC236}">
                  <a16:creationId xmlns:a16="http://schemas.microsoft.com/office/drawing/2014/main" id="{7873F4B4-FF13-C349-ACA7-60B6D4A44F6C}"/>
                </a:ext>
              </a:extLst>
            </p:cNvPr>
            <p:cNvSpPr/>
            <p:nvPr/>
          </p:nvSpPr>
          <p:spPr>
            <a:xfrm>
              <a:off x="2259435" y="1076105"/>
              <a:ext cx="179407" cy="167874"/>
            </a:xfrm>
            <a:custGeom>
              <a:avLst/>
              <a:gdLst/>
              <a:ahLst/>
              <a:cxnLst/>
              <a:rect l="0" t="0" r="0" b="0"/>
              <a:pathLst>
                <a:path w="67641" h="69056" extrusionOk="0">
                  <a:moveTo>
                    <a:pt x="49622" y="2736"/>
                  </a:moveTo>
                  <a:lnTo>
                    <a:pt x="49622" y="2736"/>
                  </a:lnTo>
                  <a:lnTo>
                    <a:pt x="49622" y="2736"/>
                  </a:lnTo>
                  <a:close/>
                  <a:moveTo>
                    <a:pt x="59622" y="55565"/>
                  </a:moveTo>
                  <a:lnTo>
                    <a:pt x="59622" y="55565"/>
                  </a:lnTo>
                  <a:lnTo>
                    <a:pt x="59622" y="55565"/>
                  </a:lnTo>
                  <a:close/>
                  <a:moveTo>
                    <a:pt x="35471" y="0"/>
                  </a:moveTo>
                  <a:lnTo>
                    <a:pt x="34433" y="95"/>
                  </a:lnTo>
                  <a:lnTo>
                    <a:pt x="33584" y="189"/>
                  </a:lnTo>
                  <a:lnTo>
                    <a:pt x="32735" y="378"/>
                  </a:lnTo>
                  <a:lnTo>
                    <a:pt x="32169" y="566"/>
                  </a:lnTo>
                  <a:lnTo>
                    <a:pt x="31509" y="472"/>
                  </a:lnTo>
                  <a:lnTo>
                    <a:pt x="30754" y="472"/>
                  </a:lnTo>
                  <a:lnTo>
                    <a:pt x="29339" y="566"/>
                  </a:lnTo>
                  <a:lnTo>
                    <a:pt x="27830" y="849"/>
                  </a:lnTo>
                  <a:lnTo>
                    <a:pt x="26320" y="1321"/>
                  </a:lnTo>
                  <a:lnTo>
                    <a:pt x="24811" y="1981"/>
                  </a:lnTo>
                  <a:lnTo>
                    <a:pt x="23207" y="2736"/>
                  </a:lnTo>
                  <a:lnTo>
                    <a:pt x="21698" y="3585"/>
                  </a:lnTo>
                  <a:lnTo>
                    <a:pt x="20188" y="4623"/>
                  </a:lnTo>
                  <a:lnTo>
                    <a:pt x="18679" y="5661"/>
                  </a:lnTo>
                  <a:lnTo>
                    <a:pt x="17170" y="6793"/>
                  </a:lnTo>
                  <a:lnTo>
                    <a:pt x="15754" y="8019"/>
                  </a:lnTo>
                  <a:lnTo>
                    <a:pt x="14434" y="9151"/>
                  </a:lnTo>
                  <a:lnTo>
                    <a:pt x="11981" y="11510"/>
                  </a:lnTo>
                  <a:lnTo>
                    <a:pt x="10000" y="13774"/>
                  </a:lnTo>
                  <a:lnTo>
                    <a:pt x="7736" y="16981"/>
                  </a:lnTo>
                  <a:lnTo>
                    <a:pt x="8019" y="16321"/>
                  </a:lnTo>
                  <a:lnTo>
                    <a:pt x="8302" y="15660"/>
                  </a:lnTo>
                  <a:lnTo>
                    <a:pt x="7736" y="16604"/>
                  </a:lnTo>
                  <a:lnTo>
                    <a:pt x="7075" y="17642"/>
                  </a:lnTo>
                  <a:lnTo>
                    <a:pt x="7170" y="17830"/>
                  </a:lnTo>
                  <a:lnTo>
                    <a:pt x="6509" y="18868"/>
                  </a:lnTo>
                  <a:lnTo>
                    <a:pt x="7075" y="17359"/>
                  </a:lnTo>
                  <a:lnTo>
                    <a:pt x="6132" y="19057"/>
                  </a:lnTo>
                  <a:lnTo>
                    <a:pt x="5189" y="20849"/>
                  </a:lnTo>
                  <a:lnTo>
                    <a:pt x="4434" y="22736"/>
                  </a:lnTo>
                  <a:lnTo>
                    <a:pt x="3679" y="24622"/>
                  </a:lnTo>
                  <a:lnTo>
                    <a:pt x="2453" y="28490"/>
                  </a:lnTo>
                  <a:lnTo>
                    <a:pt x="1321" y="32169"/>
                  </a:lnTo>
                  <a:lnTo>
                    <a:pt x="1509" y="32264"/>
                  </a:lnTo>
                  <a:lnTo>
                    <a:pt x="1604" y="32453"/>
                  </a:lnTo>
                  <a:lnTo>
                    <a:pt x="1604" y="32641"/>
                  </a:lnTo>
                  <a:lnTo>
                    <a:pt x="1509" y="32924"/>
                  </a:lnTo>
                  <a:lnTo>
                    <a:pt x="1226" y="33396"/>
                  </a:lnTo>
                  <a:lnTo>
                    <a:pt x="1038" y="33585"/>
                  </a:lnTo>
                  <a:lnTo>
                    <a:pt x="1038" y="33773"/>
                  </a:lnTo>
                  <a:lnTo>
                    <a:pt x="1038" y="35000"/>
                  </a:lnTo>
                  <a:lnTo>
                    <a:pt x="849" y="36132"/>
                  </a:lnTo>
                  <a:lnTo>
                    <a:pt x="660" y="37358"/>
                  </a:lnTo>
                  <a:lnTo>
                    <a:pt x="472" y="38867"/>
                  </a:lnTo>
                  <a:lnTo>
                    <a:pt x="283" y="38301"/>
                  </a:lnTo>
                  <a:lnTo>
                    <a:pt x="94" y="39811"/>
                  </a:lnTo>
                  <a:lnTo>
                    <a:pt x="0" y="41509"/>
                  </a:lnTo>
                  <a:lnTo>
                    <a:pt x="94" y="43301"/>
                  </a:lnTo>
                  <a:lnTo>
                    <a:pt x="283" y="44056"/>
                  </a:lnTo>
                  <a:lnTo>
                    <a:pt x="472" y="44622"/>
                  </a:lnTo>
                  <a:lnTo>
                    <a:pt x="566" y="45660"/>
                  </a:lnTo>
                  <a:lnTo>
                    <a:pt x="755" y="46792"/>
                  </a:lnTo>
                  <a:lnTo>
                    <a:pt x="1226" y="48962"/>
                  </a:lnTo>
                  <a:lnTo>
                    <a:pt x="1981" y="51037"/>
                  </a:lnTo>
                  <a:lnTo>
                    <a:pt x="2924" y="53112"/>
                  </a:lnTo>
                  <a:lnTo>
                    <a:pt x="4057" y="55094"/>
                  </a:lnTo>
                  <a:lnTo>
                    <a:pt x="5283" y="56980"/>
                  </a:lnTo>
                  <a:lnTo>
                    <a:pt x="6698" y="58678"/>
                  </a:lnTo>
                  <a:lnTo>
                    <a:pt x="8113" y="60282"/>
                  </a:lnTo>
                  <a:lnTo>
                    <a:pt x="9056" y="61131"/>
                  </a:lnTo>
                  <a:lnTo>
                    <a:pt x="10000" y="61980"/>
                  </a:lnTo>
                  <a:lnTo>
                    <a:pt x="11038" y="62829"/>
                  </a:lnTo>
                  <a:lnTo>
                    <a:pt x="12075" y="63584"/>
                  </a:lnTo>
                  <a:lnTo>
                    <a:pt x="14339" y="64905"/>
                  </a:lnTo>
                  <a:lnTo>
                    <a:pt x="16604" y="66131"/>
                  </a:lnTo>
                  <a:lnTo>
                    <a:pt x="19056" y="67169"/>
                  </a:lnTo>
                  <a:lnTo>
                    <a:pt x="21509" y="67923"/>
                  </a:lnTo>
                  <a:lnTo>
                    <a:pt x="24056" y="68584"/>
                  </a:lnTo>
                  <a:lnTo>
                    <a:pt x="26603" y="69055"/>
                  </a:lnTo>
                  <a:lnTo>
                    <a:pt x="27830" y="69055"/>
                  </a:lnTo>
                  <a:lnTo>
                    <a:pt x="30188" y="68867"/>
                  </a:lnTo>
                  <a:lnTo>
                    <a:pt x="33113" y="68678"/>
                  </a:lnTo>
                  <a:lnTo>
                    <a:pt x="36509" y="68301"/>
                  </a:lnTo>
                  <a:lnTo>
                    <a:pt x="39811" y="67923"/>
                  </a:lnTo>
                  <a:lnTo>
                    <a:pt x="42735" y="67452"/>
                  </a:lnTo>
                  <a:lnTo>
                    <a:pt x="44905" y="66980"/>
                  </a:lnTo>
                  <a:lnTo>
                    <a:pt x="45565" y="66791"/>
                  </a:lnTo>
                  <a:lnTo>
                    <a:pt x="45943" y="66508"/>
                  </a:lnTo>
                  <a:lnTo>
                    <a:pt x="47358" y="65942"/>
                  </a:lnTo>
                  <a:lnTo>
                    <a:pt x="48018" y="65565"/>
                  </a:lnTo>
                  <a:lnTo>
                    <a:pt x="48678" y="65188"/>
                  </a:lnTo>
                  <a:lnTo>
                    <a:pt x="47924" y="65471"/>
                  </a:lnTo>
                  <a:lnTo>
                    <a:pt x="51509" y="62924"/>
                  </a:lnTo>
                  <a:lnTo>
                    <a:pt x="53301" y="61508"/>
                  </a:lnTo>
                  <a:lnTo>
                    <a:pt x="55093" y="59905"/>
                  </a:lnTo>
                  <a:lnTo>
                    <a:pt x="55093" y="59905"/>
                  </a:lnTo>
                  <a:lnTo>
                    <a:pt x="54810" y="60376"/>
                  </a:lnTo>
                  <a:lnTo>
                    <a:pt x="54339" y="60754"/>
                  </a:lnTo>
                  <a:lnTo>
                    <a:pt x="55376" y="59999"/>
                  </a:lnTo>
                  <a:lnTo>
                    <a:pt x="56320" y="59056"/>
                  </a:lnTo>
                  <a:lnTo>
                    <a:pt x="57075" y="58395"/>
                  </a:lnTo>
                  <a:lnTo>
                    <a:pt x="57169" y="58207"/>
                  </a:lnTo>
                  <a:lnTo>
                    <a:pt x="57075" y="58207"/>
                  </a:lnTo>
                  <a:lnTo>
                    <a:pt x="57924" y="57546"/>
                  </a:lnTo>
                  <a:lnTo>
                    <a:pt x="58678" y="56697"/>
                  </a:lnTo>
                  <a:lnTo>
                    <a:pt x="59339" y="55754"/>
                  </a:lnTo>
                  <a:lnTo>
                    <a:pt x="59905" y="54905"/>
                  </a:lnTo>
                  <a:lnTo>
                    <a:pt x="59716" y="54999"/>
                  </a:lnTo>
                  <a:lnTo>
                    <a:pt x="59622" y="54999"/>
                  </a:lnTo>
                  <a:lnTo>
                    <a:pt x="59810" y="54622"/>
                  </a:lnTo>
                  <a:lnTo>
                    <a:pt x="59150" y="55565"/>
                  </a:lnTo>
                  <a:lnTo>
                    <a:pt x="59527" y="55094"/>
                  </a:lnTo>
                  <a:lnTo>
                    <a:pt x="59433" y="55377"/>
                  </a:lnTo>
                  <a:lnTo>
                    <a:pt x="58867" y="56037"/>
                  </a:lnTo>
                  <a:lnTo>
                    <a:pt x="59056" y="55660"/>
                  </a:lnTo>
                  <a:lnTo>
                    <a:pt x="59056" y="55660"/>
                  </a:lnTo>
                  <a:lnTo>
                    <a:pt x="58678" y="56037"/>
                  </a:lnTo>
                  <a:lnTo>
                    <a:pt x="59810" y="54339"/>
                  </a:lnTo>
                  <a:lnTo>
                    <a:pt x="60282" y="53490"/>
                  </a:lnTo>
                  <a:lnTo>
                    <a:pt x="60282" y="53301"/>
                  </a:lnTo>
                  <a:lnTo>
                    <a:pt x="60188" y="53395"/>
                  </a:lnTo>
                  <a:lnTo>
                    <a:pt x="60188" y="53395"/>
                  </a:lnTo>
                  <a:lnTo>
                    <a:pt x="60565" y="52924"/>
                  </a:lnTo>
                  <a:lnTo>
                    <a:pt x="61037" y="52452"/>
                  </a:lnTo>
                  <a:lnTo>
                    <a:pt x="61886" y="51509"/>
                  </a:lnTo>
                  <a:lnTo>
                    <a:pt x="61508" y="52452"/>
                  </a:lnTo>
                  <a:lnTo>
                    <a:pt x="60848" y="53584"/>
                  </a:lnTo>
                  <a:lnTo>
                    <a:pt x="59622" y="55565"/>
                  </a:lnTo>
                  <a:lnTo>
                    <a:pt x="60376" y="54528"/>
                  </a:lnTo>
                  <a:lnTo>
                    <a:pt x="60942" y="53678"/>
                  </a:lnTo>
                  <a:lnTo>
                    <a:pt x="61980" y="51792"/>
                  </a:lnTo>
                  <a:lnTo>
                    <a:pt x="61886" y="51886"/>
                  </a:lnTo>
                  <a:lnTo>
                    <a:pt x="61886" y="51697"/>
                  </a:lnTo>
                  <a:lnTo>
                    <a:pt x="62169" y="51037"/>
                  </a:lnTo>
                  <a:lnTo>
                    <a:pt x="62735" y="49999"/>
                  </a:lnTo>
                  <a:lnTo>
                    <a:pt x="61508" y="51603"/>
                  </a:lnTo>
                  <a:lnTo>
                    <a:pt x="61603" y="51037"/>
                  </a:lnTo>
                  <a:lnTo>
                    <a:pt x="61697" y="50377"/>
                  </a:lnTo>
                  <a:lnTo>
                    <a:pt x="62169" y="48962"/>
                  </a:lnTo>
                  <a:lnTo>
                    <a:pt x="62829" y="47358"/>
                  </a:lnTo>
                  <a:lnTo>
                    <a:pt x="63678" y="45565"/>
                  </a:lnTo>
                  <a:lnTo>
                    <a:pt x="65376" y="42169"/>
                  </a:lnTo>
                  <a:lnTo>
                    <a:pt x="66131" y="40660"/>
                  </a:lnTo>
                  <a:lnTo>
                    <a:pt x="66697" y="39339"/>
                  </a:lnTo>
                  <a:lnTo>
                    <a:pt x="66603" y="39528"/>
                  </a:lnTo>
                  <a:lnTo>
                    <a:pt x="66697" y="39056"/>
                  </a:lnTo>
                  <a:lnTo>
                    <a:pt x="66791" y="38962"/>
                  </a:lnTo>
                  <a:lnTo>
                    <a:pt x="66791" y="39056"/>
                  </a:lnTo>
                  <a:lnTo>
                    <a:pt x="66886" y="38584"/>
                  </a:lnTo>
                  <a:lnTo>
                    <a:pt x="66791" y="38867"/>
                  </a:lnTo>
                  <a:lnTo>
                    <a:pt x="66980" y="38207"/>
                  </a:lnTo>
                  <a:lnTo>
                    <a:pt x="67169" y="37264"/>
                  </a:lnTo>
                  <a:lnTo>
                    <a:pt x="67263" y="36415"/>
                  </a:lnTo>
                  <a:lnTo>
                    <a:pt x="67357" y="36509"/>
                  </a:lnTo>
                  <a:lnTo>
                    <a:pt x="67452" y="36509"/>
                  </a:lnTo>
                  <a:lnTo>
                    <a:pt x="67546" y="35943"/>
                  </a:lnTo>
                  <a:lnTo>
                    <a:pt x="67546" y="34811"/>
                  </a:lnTo>
                  <a:lnTo>
                    <a:pt x="67640" y="31037"/>
                  </a:lnTo>
                  <a:lnTo>
                    <a:pt x="67640" y="28490"/>
                  </a:lnTo>
                  <a:lnTo>
                    <a:pt x="67546" y="27736"/>
                  </a:lnTo>
                  <a:lnTo>
                    <a:pt x="67546" y="27547"/>
                  </a:lnTo>
                  <a:lnTo>
                    <a:pt x="67452" y="27547"/>
                  </a:lnTo>
                  <a:lnTo>
                    <a:pt x="67074" y="26792"/>
                  </a:lnTo>
                  <a:lnTo>
                    <a:pt x="66791" y="25660"/>
                  </a:lnTo>
                  <a:lnTo>
                    <a:pt x="66508" y="24528"/>
                  </a:lnTo>
                  <a:lnTo>
                    <a:pt x="66414" y="23585"/>
                  </a:lnTo>
                  <a:lnTo>
                    <a:pt x="66320" y="23679"/>
                  </a:lnTo>
                  <a:lnTo>
                    <a:pt x="66320" y="23490"/>
                  </a:lnTo>
                  <a:lnTo>
                    <a:pt x="65942" y="22924"/>
                  </a:lnTo>
                  <a:lnTo>
                    <a:pt x="65565" y="22358"/>
                  </a:lnTo>
                  <a:lnTo>
                    <a:pt x="64527" y="21132"/>
                  </a:lnTo>
                  <a:lnTo>
                    <a:pt x="63584" y="19906"/>
                  </a:lnTo>
                  <a:lnTo>
                    <a:pt x="63207" y="19340"/>
                  </a:lnTo>
                  <a:lnTo>
                    <a:pt x="63018" y="18774"/>
                  </a:lnTo>
                  <a:lnTo>
                    <a:pt x="63112" y="18962"/>
                  </a:lnTo>
                  <a:lnTo>
                    <a:pt x="63301" y="19057"/>
                  </a:lnTo>
                  <a:lnTo>
                    <a:pt x="63301" y="19057"/>
                  </a:lnTo>
                  <a:lnTo>
                    <a:pt x="63207" y="18868"/>
                  </a:lnTo>
                  <a:lnTo>
                    <a:pt x="62923" y="18491"/>
                  </a:lnTo>
                  <a:lnTo>
                    <a:pt x="61980" y="17453"/>
                  </a:lnTo>
                  <a:lnTo>
                    <a:pt x="61037" y="16509"/>
                  </a:lnTo>
                  <a:lnTo>
                    <a:pt x="61037" y="16698"/>
                  </a:lnTo>
                  <a:lnTo>
                    <a:pt x="61037" y="16887"/>
                  </a:lnTo>
                  <a:lnTo>
                    <a:pt x="60093" y="15943"/>
                  </a:lnTo>
                  <a:lnTo>
                    <a:pt x="60376" y="16321"/>
                  </a:lnTo>
                  <a:lnTo>
                    <a:pt x="59527" y="15377"/>
                  </a:lnTo>
                  <a:lnTo>
                    <a:pt x="59056" y="14906"/>
                  </a:lnTo>
                  <a:lnTo>
                    <a:pt x="59244" y="14906"/>
                  </a:lnTo>
                  <a:lnTo>
                    <a:pt x="59905" y="15472"/>
                  </a:lnTo>
                  <a:lnTo>
                    <a:pt x="59905" y="15472"/>
                  </a:lnTo>
                  <a:lnTo>
                    <a:pt x="57641" y="13396"/>
                  </a:lnTo>
                  <a:lnTo>
                    <a:pt x="58112" y="13868"/>
                  </a:lnTo>
                  <a:lnTo>
                    <a:pt x="56886" y="13019"/>
                  </a:lnTo>
                  <a:lnTo>
                    <a:pt x="55754" y="12453"/>
                  </a:lnTo>
                  <a:lnTo>
                    <a:pt x="56603" y="13113"/>
                  </a:lnTo>
                  <a:lnTo>
                    <a:pt x="57452" y="13774"/>
                  </a:lnTo>
                  <a:lnTo>
                    <a:pt x="58961" y="15283"/>
                  </a:lnTo>
                  <a:lnTo>
                    <a:pt x="60376" y="16604"/>
                  </a:lnTo>
                  <a:lnTo>
                    <a:pt x="61225" y="17264"/>
                  </a:lnTo>
                  <a:lnTo>
                    <a:pt x="62074" y="17925"/>
                  </a:lnTo>
                  <a:lnTo>
                    <a:pt x="62074" y="17925"/>
                  </a:lnTo>
                  <a:lnTo>
                    <a:pt x="61414" y="17547"/>
                  </a:lnTo>
                  <a:lnTo>
                    <a:pt x="60659" y="16981"/>
                  </a:lnTo>
                  <a:lnTo>
                    <a:pt x="60754" y="17264"/>
                  </a:lnTo>
                  <a:lnTo>
                    <a:pt x="60942" y="17642"/>
                  </a:lnTo>
                  <a:lnTo>
                    <a:pt x="61980" y="19151"/>
                  </a:lnTo>
                  <a:lnTo>
                    <a:pt x="63301" y="20943"/>
                  </a:lnTo>
                  <a:lnTo>
                    <a:pt x="63207" y="20943"/>
                  </a:lnTo>
                  <a:lnTo>
                    <a:pt x="63395" y="21038"/>
                  </a:lnTo>
                  <a:lnTo>
                    <a:pt x="63490" y="21321"/>
                  </a:lnTo>
                  <a:lnTo>
                    <a:pt x="63678" y="21604"/>
                  </a:lnTo>
                  <a:lnTo>
                    <a:pt x="63773" y="21698"/>
                  </a:lnTo>
                  <a:lnTo>
                    <a:pt x="63584" y="21321"/>
                  </a:lnTo>
                  <a:lnTo>
                    <a:pt x="63584" y="21321"/>
                  </a:lnTo>
                  <a:lnTo>
                    <a:pt x="64244" y="22170"/>
                  </a:lnTo>
                  <a:lnTo>
                    <a:pt x="64716" y="22641"/>
                  </a:lnTo>
                  <a:lnTo>
                    <a:pt x="64905" y="22830"/>
                  </a:lnTo>
                  <a:lnTo>
                    <a:pt x="64999" y="22830"/>
                  </a:lnTo>
                  <a:lnTo>
                    <a:pt x="64999" y="22641"/>
                  </a:lnTo>
                  <a:lnTo>
                    <a:pt x="64905" y="22358"/>
                  </a:lnTo>
                  <a:lnTo>
                    <a:pt x="65282" y="23207"/>
                  </a:lnTo>
                  <a:lnTo>
                    <a:pt x="65565" y="24056"/>
                  </a:lnTo>
                  <a:lnTo>
                    <a:pt x="66225" y="25943"/>
                  </a:lnTo>
                  <a:lnTo>
                    <a:pt x="66697" y="27830"/>
                  </a:lnTo>
                  <a:lnTo>
                    <a:pt x="66886" y="28490"/>
                  </a:lnTo>
                  <a:lnTo>
                    <a:pt x="66980" y="28868"/>
                  </a:lnTo>
                  <a:lnTo>
                    <a:pt x="66886" y="28962"/>
                  </a:lnTo>
                  <a:lnTo>
                    <a:pt x="66697" y="28679"/>
                  </a:lnTo>
                  <a:lnTo>
                    <a:pt x="66697" y="29245"/>
                  </a:lnTo>
                  <a:lnTo>
                    <a:pt x="66791" y="29905"/>
                  </a:lnTo>
                  <a:lnTo>
                    <a:pt x="66886" y="29905"/>
                  </a:lnTo>
                  <a:lnTo>
                    <a:pt x="66886" y="30094"/>
                  </a:lnTo>
                  <a:lnTo>
                    <a:pt x="66886" y="30566"/>
                  </a:lnTo>
                  <a:lnTo>
                    <a:pt x="66697" y="30377"/>
                  </a:lnTo>
                  <a:lnTo>
                    <a:pt x="66603" y="30188"/>
                  </a:lnTo>
                  <a:lnTo>
                    <a:pt x="66603" y="30094"/>
                  </a:lnTo>
                  <a:lnTo>
                    <a:pt x="66697" y="29905"/>
                  </a:lnTo>
                  <a:lnTo>
                    <a:pt x="66508" y="28679"/>
                  </a:lnTo>
                  <a:lnTo>
                    <a:pt x="66225" y="27358"/>
                  </a:lnTo>
                  <a:lnTo>
                    <a:pt x="66603" y="30283"/>
                  </a:lnTo>
                  <a:lnTo>
                    <a:pt x="66697" y="31792"/>
                  </a:lnTo>
                  <a:lnTo>
                    <a:pt x="66697" y="33302"/>
                  </a:lnTo>
                  <a:lnTo>
                    <a:pt x="66603" y="34717"/>
                  </a:lnTo>
                  <a:lnTo>
                    <a:pt x="66414" y="36226"/>
                  </a:lnTo>
                  <a:lnTo>
                    <a:pt x="66131" y="37547"/>
                  </a:lnTo>
                  <a:lnTo>
                    <a:pt x="65659" y="38962"/>
                  </a:lnTo>
                  <a:lnTo>
                    <a:pt x="65848" y="38584"/>
                  </a:lnTo>
                  <a:lnTo>
                    <a:pt x="65942" y="38584"/>
                  </a:lnTo>
                  <a:lnTo>
                    <a:pt x="65848" y="39245"/>
                  </a:lnTo>
                  <a:lnTo>
                    <a:pt x="65565" y="40188"/>
                  </a:lnTo>
                  <a:lnTo>
                    <a:pt x="65471" y="40471"/>
                  </a:lnTo>
                  <a:lnTo>
                    <a:pt x="65282" y="40660"/>
                  </a:lnTo>
                  <a:lnTo>
                    <a:pt x="65282" y="40566"/>
                  </a:lnTo>
                  <a:lnTo>
                    <a:pt x="65093" y="41132"/>
                  </a:lnTo>
                  <a:lnTo>
                    <a:pt x="64433" y="43018"/>
                  </a:lnTo>
                  <a:lnTo>
                    <a:pt x="63678" y="45282"/>
                  </a:lnTo>
                  <a:lnTo>
                    <a:pt x="62735" y="47264"/>
                  </a:lnTo>
                  <a:lnTo>
                    <a:pt x="61697" y="49056"/>
                  </a:lnTo>
                  <a:lnTo>
                    <a:pt x="60659" y="50943"/>
                  </a:lnTo>
                  <a:lnTo>
                    <a:pt x="59433" y="52735"/>
                  </a:lnTo>
                  <a:lnTo>
                    <a:pt x="58207" y="54433"/>
                  </a:lnTo>
                  <a:lnTo>
                    <a:pt x="56886" y="56037"/>
                  </a:lnTo>
                  <a:lnTo>
                    <a:pt x="55376" y="57641"/>
                  </a:lnTo>
                  <a:lnTo>
                    <a:pt x="53867" y="59150"/>
                  </a:lnTo>
                  <a:lnTo>
                    <a:pt x="52169" y="60376"/>
                  </a:lnTo>
                  <a:lnTo>
                    <a:pt x="48961" y="62452"/>
                  </a:lnTo>
                  <a:lnTo>
                    <a:pt x="44528" y="65282"/>
                  </a:lnTo>
                  <a:lnTo>
                    <a:pt x="44622" y="65188"/>
                  </a:lnTo>
                  <a:lnTo>
                    <a:pt x="44716" y="65093"/>
                  </a:lnTo>
                  <a:lnTo>
                    <a:pt x="45094" y="64810"/>
                  </a:lnTo>
                  <a:lnTo>
                    <a:pt x="45660" y="64527"/>
                  </a:lnTo>
                  <a:lnTo>
                    <a:pt x="43867" y="65376"/>
                  </a:lnTo>
                  <a:lnTo>
                    <a:pt x="43113" y="65754"/>
                  </a:lnTo>
                  <a:lnTo>
                    <a:pt x="42924" y="65754"/>
                  </a:lnTo>
                  <a:lnTo>
                    <a:pt x="43113" y="65659"/>
                  </a:lnTo>
                  <a:lnTo>
                    <a:pt x="41603" y="66037"/>
                  </a:lnTo>
                  <a:lnTo>
                    <a:pt x="39999" y="66320"/>
                  </a:lnTo>
                  <a:lnTo>
                    <a:pt x="38396" y="66508"/>
                  </a:lnTo>
                  <a:lnTo>
                    <a:pt x="36792" y="66697"/>
                  </a:lnTo>
                  <a:lnTo>
                    <a:pt x="33584" y="66980"/>
                  </a:lnTo>
                  <a:lnTo>
                    <a:pt x="32169" y="67169"/>
                  </a:lnTo>
                  <a:lnTo>
                    <a:pt x="30754" y="67357"/>
                  </a:lnTo>
                  <a:lnTo>
                    <a:pt x="30094" y="67357"/>
                  </a:lnTo>
                  <a:lnTo>
                    <a:pt x="29339" y="67263"/>
                  </a:lnTo>
                  <a:lnTo>
                    <a:pt x="27830" y="66886"/>
                  </a:lnTo>
                  <a:lnTo>
                    <a:pt x="26415" y="66508"/>
                  </a:lnTo>
                  <a:lnTo>
                    <a:pt x="25754" y="66414"/>
                  </a:lnTo>
                  <a:lnTo>
                    <a:pt x="25094" y="66414"/>
                  </a:lnTo>
                  <a:lnTo>
                    <a:pt x="25566" y="66980"/>
                  </a:lnTo>
                  <a:lnTo>
                    <a:pt x="25471" y="67074"/>
                  </a:lnTo>
                  <a:lnTo>
                    <a:pt x="25188" y="66980"/>
                  </a:lnTo>
                  <a:lnTo>
                    <a:pt x="24339" y="66791"/>
                  </a:lnTo>
                  <a:lnTo>
                    <a:pt x="23773" y="66508"/>
                  </a:lnTo>
                  <a:lnTo>
                    <a:pt x="24245" y="66414"/>
                  </a:lnTo>
                  <a:lnTo>
                    <a:pt x="24717" y="66603"/>
                  </a:lnTo>
                  <a:lnTo>
                    <a:pt x="24811" y="66414"/>
                  </a:lnTo>
                  <a:lnTo>
                    <a:pt x="24811" y="66320"/>
                  </a:lnTo>
                  <a:lnTo>
                    <a:pt x="24717" y="66225"/>
                  </a:lnTo>
                  <a:lnTo>
                    <a:pt x="24528" y="66131"/>
                  </a:lnTo>
                  <a:lnTo>
                    <a:pt x="24151" y="66225"/>
                  </a:lnTo>
                  <a:lnTo>
                    <a:pt x="23679" y="66320"/>
                  </a:lnTo>
                  <a:lnTo>
                    <a:pt x="23018" y="66414"/>
                  </a:lnTo>
                  <a:lnTo>
                    <a:pt x="23490" y="66225"/>
                  </a:lnTo>
                  <a:lnTo>
                    <a:pt x="22075" y="65942"/>
                  </a:lnTo>
                  <a:lnTo>
                    <a:pt x="20943" y="65659"/>
                  </a:lnTo>
                  <a:lnTo>
                    <a:pt x="20000" y="65282"/>
                  </a:lnTo>
                  <a:lnTo>
                    <a:pt x="19056" y="64810"/>
                  </a:lnTo>
                  <a:lnTo>
                    <a:pt x="19056" y="64810"/>
                  </a:lnTo>
                  <a:lnTo>
                    <a:pt x="19717" y="64999"/>
                  </a:lnTo>
                  <a:lnTo>
                    <a:pt x="19151" y="64716"/>
                  </a:lnTo>
                  <a:lnTo>
                    <a:pt x="18962" y="64810"/>
                  </a:lnTo>
                  <a:lnTo>
                    <a:pt x="19151" y="64905"/>
                  </a:lnTo>
                  <a:lnTo>
                    <a:pt x="18490" y="64905"/>
                  </a:lnTo>
                  <a:lnTo>
                    <a:pt x="17830" y="64716"/>
                  </a:lnTo>
                  <a:lnTo>
                    <a:pt x="17264" y="64527"/>
                  </a:lnTo>
                  <a:lnTo>
                    <a:pt x="16698" y="64150"/>
                  </a:lnTo>
                  <a:lnTo>
                    <a:pt x="16981" y="64056"/>
                  </a:lnTo>
                  <a:lnTo>
                    <a:pt x="17264" y="64150"/>
                  </a:lnTo>
                  <a:lnTo>
                    <a:pt x="17264" y="64150"/>
                  </a:lnTo>
                  <a:lnTo>
                    <a:pt x="15188" y="63207"/>
                  </a:lnTo>
                  <a:lnTo>
                    <a:pt x="14622" y="62829"/>
                  </a:lnTo>
                  <a:lnTo>
                    <a:pt x="14717" y="62924"/>
                  </a:lnTo>
                  <a:lnTo>
                    <a:pt x="13773" y="62546"/>
                  </a:lnTo>
                  <a:lnTo>
                    <a:pt x="12924" y="62075"/>
                  </a:lnTo>
                  <a:lnTo>
                    <a:pt x="12358" y="61697"/>
                  </a:lnTo>
                  <a:lnTo>
                    <a:pt x="12264" y="61508"/>
                  </a:lnTo>
                  <a:lnTo>
                    <a:pt x="12170" y="61320"/>
                  </a:lnTo>
                  <a:lnTo>
                    <a:pt x="11698" y="60942"/>
                  </a:lnTo>
                  <a:lnTo>
                    <a:pt x="11132" y="60471"/>
                  </a:lnTo>
                  <a:lnTo>
                    <a:pt x="9906" y="59244"/>
                  </a:lnTo>
                  <a:lnTo>
                    <a:pt x="9906" y="59244"/>
                  </a:lnTo>
                  <a:lnTo>
                    <a:pt x="10566" y="59527"/>
                  </a:lnTo>
                  <a:lnTo>
                    <a:pt x="9434" y="58584"/>
                  </a:lnTo>
                  <a:lnTo>
                    <a:pt x="8207" y="57546"/>
                  </a:lnTo>
                  <a:lnTo>
                    <a:pt x="7547" y="56886"/>
                  </a:lnTo>
                  <a:lnTo>
                    <a:pt x="6981" y="56131"/>
                  </a:lnTo>
                  <a:lnTo>
                    <a:pt x="6226" y="55094"/>
                  </a:lnTo>
                  <a:lnTo>
                    <a:pt x="6415" y="55377"/>
                  </a:lnTo>
                  <a:lnTo>
                    <a:pt x="6038" y="54905"/>
                  </a:lnTo>
                  <a:lnTo>
                    <a:pt x="5472" y="54244"/>
                  </a:lnTo>
                  <a:lnTo>
                    <a:pt x="5283" y="53961"/>
                  </a:lnTo>
                  <a:lnTo>
                    <a:pt x="5094" y="53867"/>
                  </a:lnTo>
                  <a:lnTo>
                    <a:pt x="5377" y="54622"/>
                  </a:lnTo>
                  <a:lnTo>
                    <a:pt x="5849" y="55282"/>
                  </a:lnTo>
                  <a:lnTo>
                    <a:pt x="6321" y="55943"/>
                  </a:lnTo>
                  <a:lnTo>
                    <a:pt x="6698" y="56603"/>
                  </a:lnTo>
                  <a:lnTo>
                    <a:pt x="6226" y="56226"/>
                  </a:lnTo>
                  <a:lnTo>
                    <a:pt x="5943" y="55848"/>
                  </a:lnTo>
                  <a:lnTo>
                    <a:pt x="6038" y="56037"/>
                  </a:lnTo>
                  <a:lnTo>
                    <a:pt x="5943" y="55943"/>
                  </a:lnTo>
                  <a:lnTo>
                    <a:pt x="5377" y="55188"/>
                  </a:lnTo>
                  <a:lnTo>
                    <a:pt x="5000" y="54716"/>
                  </a:lnTo>
                  <a:lnTo>
                    <a:pt x="4717" y="54150"/>
                  </a:lnTo>
                  <a:lnTo>
                    <a:pt x="4528" y="53678"/>
                  </a:lnTo>
                  <a:lnTo>
                    <a:pt x="4528" y="53584"/>
                  </a:lnTo>
                  <a:lnTo>
                    <a:pt x="4623" y="53395"/>
                  </a:lnTo>
                  <a:lnTo>
                    <a:pt x="5094" y="54244"/>
                  </a:lnTo>
                  <a:lnTo>
                    <a:pt x="4717" y="53301"/>
                  </a:lnTo>
                  <a:lnTo>
                    <a:pt x="4528" y="53018"/>
                  </a:lnTo>
                  <a:lnTo>
                    <a:pt x="4151" y="52263"/>
                  </a:lnTo>
                  <a:lnTo>
                    <a:pt x="4151" y="52169"/>
                  </a:lnTo>
                  <a:lnTo>
                    <a:pt x="3774" y="51509"/>
                  </a:lnTo>
                  <a:lnTo>
                    <a:pt x="3396" y="50660"/>
                  </a:lnTo>
                  <a:lnTo>
                    <a:pt x="3585" y="51603"/>
                  </a:lnTo>
                  <a:lnTo>
                    <a:pt x="3396" y="51226"/>
                  </a:lnTo>
                  <a:lnTo>
                    <a:pt x="3208" y="50848"/>
                  </a:lnTo>
                  <a:lnTo>
                    <a:pt x="3208" y="50471"/>
                  </a:lnTo>
                  <a:lnTo>
                    <a:pt x="3208" y="50094"/>
                  </a:lnTo>
                  <a:lnTo>
                    <a:pt x="3585" y="50754"/>
                  </a:lnTo>
                  <a:lnTo>
                    <a:pt x="3868" y="51509"/>
                  </a:lnTo>
                  <a:lnTo>
                    <a:pt x="3868" y="51509"/>
                  </a:lnTo>
                  <a:lnTo>
                    <a:pt x="3208" y="49528"/>
                  </a:lnTo>
                  <a:lnTo>
                    <a:pt x="3208" y="49528"/>
                  </a:lnTo>
                  <a:lnTo>
                    <a:pt x="3868" y="50754"/>
                  </a:lnTo>
                  <a:lnTo>
                    <a:pt x="3208" y="48962"/>
                  </a:lnTo>
                  <a:lnTo>
                    <a:pt x="3585" y="49339"/>
                  </a:lnTo>
                  <a:lnTo>
                    <a:pt x="3774" y="49433"/>
                  </a:lnTo>
                  <a:lnTo>
                    <a:pt x="3962" y="49528"/>
                  </a:lnTo>
                  <a:lnTo>
                    <a:pt x="4057" y="49905"/>
                  </a:lnTo>
                  <a:lnTo>
                    <a:pt x="3868" y="48962"/>
                  </a:lnTo>
                  <a:lnTo>
                    <a:pt x="3491" y="47924"/>
                  </a:lnTo>
                  <a:lnTo>
                    <a:pt x="2641" y="45565"/>
                  </a:lnTo>
                  <a:lnTo>
                    <a:pt x="2170" y="43867"/>
                  </a:lnTo>
                  <a:lnTo>
                    <a:pt x="1698" y="41886"/>
                  </a:lnTo>
                  <a:lnTo>
                    <a:pt x="1698" y="41886"/>
                  </a:lnTo>
                  <a:lnTo>
                    <a:pt x="1887" y="42075"/>
                  </a:lnTo>
                  <a:lnTo>
                    <a:pt x="1981" y="41981"/>
                  </a:lnTo>
                  <a:lnTo>
                    <a:pt x="2075" y="42075"/>
                  </a:lnTo>
                  <a:lnTo>
                    <a:pt x="2264" y="42169"/>
                  </a:lnTo>
                  <a:lnTo>
                    <a:pt x="2170" y="40283"/>
                  </a:lnTo>
                  <a:lnTo>
                    <a:pt x="2075" y="38301"/>
                  </a:lnTo>
                  <a:lnTo>
                    <a:pt x="2170" y="36415"/>
                  </a:lnTo>
                  <a:lnTo>
                    <a:pt x="2358" y="35566"/>
                  </a:lnTo>
                  <a:lnTo>
                    <a:pt x="2453" y="34811"/>
                  </a:lnTo>
                  <a:lnTo>
                    <a:pt x="2830" y="32830"/>
                  </a:lnTo>
                  <a:lnTo>
                    <a:pt x="2830" y="33207"/>
                  </a:lnTo>
                  <a:lnTo>
                    <a:pt x="2924" y="33490"/>
                  </a:lnTo>
                  <a:lnTo>
                    <a:pt x="2924" y="32453"/>
                  </a:lnTo>
                  <a:lnTo>
                    <a:pt x="3019" y="31415"/>
                  </a:lnTo>
                  <a:lnTo>
                    <a:pt x="3396" y="29245"/>
                  </a:lnTo>
                  <a:lnTo>
                    <a:pt x="3868" y="27075"/>
                  </a:lnTo>
                  <a:lnTo>
                    <a:pt x="4623" y="25000"/>
                  </a:lnTo>
                  <a:lnTo>
                    <a:pt x="5566" y="22830"/>
                  </a:lnTo>
                  <a:lnTo>
                    <a:pt x="6604" y="20849"/>
                  </a:lnTo>
                  <a:lnTo>
                    <a:pt x="7830" y="18868"/>
                  </a:lnTo>
                  <a:lnTo>
                    <a:pt x="9151" y="16887"/>
                  </a:lnTo>
                  <a:lnTo>
                    <a:pt x="10566" y="15094"/>
                  </a:lnTo>
                  <a:lnTo>
                    <a:pt x="12075" y="13302"/>
                  </a:lnTo>
                  <a:lnTo>
                    <a:pt x="13773" y="11698"/>
                  </a:lnTo>
                  <a:lnTo>
                    <a:pt x="15377" y="10095"/>
                  </a:lnTo>
                  <a:lnTo>
                    <a:pt x="17170" y="8679"/>
                  </a:lnTo>
                  <a:lnTo>
                    <a:pt x="18962" y="7453"/>
                  </a:lnTo>
                  <a:lnTo>
                    <a:pt x="20754" y="6321"/>
                  </a:lnTo>
                  <a:lnTo>
                    <a:pt x="22547" y="5378"/>
                  </a:lnTo>
                  <a:lnTo>
                    <a:pt x="21603" y="6227"/>
                  </a:lnTo>
                  <a:lnTo>
                    <a:pt x="22641" y="5472"/>
                  </a:lnTo>
                  <a:lnTo>
                    <a:pt x="23302" y="5095"/>
                  </a:lnTo>
                  <a:lnTo>
                    <a:pt x="25377" y="4151"/>
                  </a:lnTo>
                  <a:lnTo>
                    <a:pt x="24811" y="4151"/>
                  </a:lnTo>
                  <a:lnTo>
                    <a:pt x="25660" y="3774"/>
                  </a:lnTo>
                  <a:lnTo>
                    <a:pt x="26886" y="3208"/>
                  </a:lnTo>
                  <a:lnTo>
                    <a:pt x="26603" y="3585"/>
                  </a:lnTo>
                  <a:lnTo>
                    <a:pt x="26886" y="3585"/>
                  </a:lnTo>
                  <a:lnTo>
                    <a:pt x="26886" y="3680"/>
                  </a:lnTo>
                  <a:lnTo>
                    <a:pt x="26792" y="3774"/>
                  </a:lnTo>
                  <a:lnTo>
                    <a:pt x="28301" y="3302"/>
                  </a:lnTo>
                  <a:lnTo>
                    <a:pt x="29622" y="2736"/>
                  </a:lnTo>
                  <a:lnTo>
                    <a:pt x="31037" y="2264"/>
                  </a:lnTo>
                  <a:lnTo>
                    <a:pt x="31792" y="2076"/>
                  </a:lnTo>
                  <a:lnTo>
                    <a:pt x="32641" y="1981"/>
                  </a:lnTo>
                  <a:lnTo>
                    <a:pt x="32547" y="2076"/>
                  </a:lnTo>
                  <a:lnTo>
                    <a:pt x="32924" y="1981"/>
                  </a:lnTo>
                  <a:lnTo>
                    <a:pt x="34245" y="1793"/>
                  </a:lnTo>
                  <a:lnTo>
                    <a:pt x="35848" y="1415"/>
                  </a:lnTo>
                  <a:lnTo>
                    <a:pt x="36981" y="1132"/>
                  </a:lnTo>
                  <a:lnTo>
                    <a:pt x="36981" y="1415"/>
                  </a:lnTo>
                  <a:lnTo>
                    <a:pt x="40943" y="1227"/>
                  </a:lnTo>
                  <a:lnTo>
                    <a:pt x="41509" y="1038"/>
                  </a:lnTo>
                  <a:lnTo>
                    <a:pt x="41697" y="1132"/>
                  </a:lnTo>
                  <a:lnTo>
                    <a:pt x="41509" y="1227"/>
                  </a:lnTo>
                  <a:lnTo>
                    <a:pt x="41320" y="1321"/>
                  </a:lnTo>
                  <a:lnTo>
                    <a:pt x="42263" y="1321"/>
                  </a:lnTo>
                  <a:lnTo>
                    <a:pt x="43113" y="1227"/>
                  </a:lnTo>
                  <a:lnTo>
                    <a:pt x="43396" y="1415"/>
                  </a:lnTo>
                  <a:lnTo>
                    <a:pt x="44056" y="1604"/>
                  </a:lnTo>
                  <a:lnTo>
                    <a:pt x="45943" y="2076"/>
                  </a:lnTo>
                  <a:lnTo>
                    <a:pt x="48018" y="2359"/>
                  </a:lnTo>
                  <a:lnTo>
                    <a:pt x="49622" y="2736"/>
                  </a:lnTo>
                  <a:lnTo>
                    <a:pt x="47641" y="1981"/>
                  </a:lnTo>
                  <a:lnTo>
                    <a:pt x="45282" y="1321"/>
                  </a:lnTo>
                  <a:lnTo>
                    <a:pt x="42735" y="755"/>
                  </a:lnTo>
                  <a:lnTo>
                    <a:pt x="40188" y="283"/>
                  </a:lnTo>
                  <a:lnTo>
                    <a:pt x="37735" y="95"/>
                  </a:lnTo>
                  <a:lnTo>
                    <a:pt x="35471" y="0"/>
                  </a:lnTo>
                  <a:close/>
                </a:path>
              </a:pathLst>
            </a:custGeom>
            <a:solidFill>
              <a:schemeClr val="bg1">
                <a:lumMod val="95000"/>
              </a:schemeClr>
            </a:solidFill>
            <a:ln w="0">
              <a:solidFill>
                <a:schemeClr val="bg1"/>
              </a:solidFill>
            </a:ln>
          </p:spPr>
          <p:txBody>
            <a:bodyPr spcFirstLastPara="1" wrap="square" lIns="91425" tIns="91425" rIns="91425" bIns="91425" anchor="ctr" anchorCtr="0">
              <a:noAutofit/>
            </a:bodyPr>
            <a:lstStyle/>
            <a:p>
              <a:pPr marL="0" lvl="0" indent="0">
                <a:spcBef>
                  <a:spcPts val="0"/>
                </a:spcBef>
                <a:spcAft>
                  <a:spcPts val="0"/>
                </a:spcAft>
                <a:buNone/>
              </a:pPr>
              <a:endParaRPr sz="1200">
                <a:latin typeface="+mj-lt"/>
              </a:endParaRPr>
            </a:p>
          </p:txBody>
        </p:sp>
        <p:sp>
          <p:nvSpPr>
            <p:cNvPr id="365" name="TextBox 364">
              <a:extLst>
                <a:ext uri="{FF2B5EF4-FFF2-40B4-BE49-F238E27FC236}">
                  <a16:creationId xmlns:a16="http://schemas.microsoft.com/office/drawing/2014/main" id="{4124F103-19CC-4E4B-9480-D52E281E6FCF}"/>
                </a:ext>
              </a:extLst>
            </p:cNvPr>
            <p:cNvSpPr txBox="1"/>
            <p:nvPr/>
          </p:nvSpPr>
          <p:spPr>
            <a:xfrm>
              <a:off x="2219869" y="1028158"/>
              <a:ext cx="229951" cy="254124"/>
            </a:xfrm>
            <a:prstGeom prst="rect">
              <a:avLst/>
            </a:prstGeom>
            <a:noFill/>
          </p:spPr>
          <p:txBody>
            <a:bodyPr wrap="square" rtlCol="0">
              <a:spAutoFit/>
            </a:bodyPr>
            <a:lstStyle/>
            <a:p>
              <a:r>
                <a:rPr lang="en-US" sz="600" b="1" dirty="0">
                  <a:solidFill>
                    <a:schemeClr val="bg1">
                      <a:lumMod val="95000"/>
                    </a:schemeClr>
                  </a:solidFill>
                  <a:latin typeface="+mj-lt"/>
                </a:rPr>
                <a:t>9</a:t>
              </a:r>
            </a:p>
          </p:txBody>
        </p:sp>
      </p:grpSp>
      <p:grpSp>
        <p:nvGrpSpPr>
          <p:cNvPr id="366" name="Group 365">
            <a:extLst>
              <a:ext uri="{FF2B5EF4-FFF2-40B4-BE49-F238E27FC236}">
                <a16:creationId xmlns:a16="http://schemas.microsoft.com/office/drawing/2014/main" id="{E908ED56-AB72-6C43-B5C6-63C49D7C9881}"/>
              </a:ext>
            </a:extLst>
          </p:cNvPr>
          <p:cNvGrpSpPr/>
          <p:nvPr/>
        </p:nvGrpSpPr>
        <p:grpSpPr>
          <a:xfrm>
            <a:off x="8010148" y="4496375"/>
            <a:ext cx="289233" cy="184666"/>
            <a:chOff x="2200326" y="1028158"/>
            <a:chExt cx="325548" cy="254124"/>
          </a:xfrm>
        </p:grpSpPr>
        <p:sp>
          <p:nvSpPr>
            <p:cNvPr id="367" name="Google Shape;431;p39">
              <a:extLst>
                <a:ext uri="{FF2B5EF4-FFF2-40B4-BE49-F238E27FC236}">
                  <a16:creationId xmlns:a16="http://schemas.microsoft.com/office/drawing/2014/main" id="{D04CCACB-0D83-4747-9BE0-9917A45C1EF5}"/>
                </a:ext>
              </a:extLst>
            </p:cNvPr>
            <p:cNvSpPr/>
            <p:nvPr/>
          </p:nvSpPr>
          <p:spPr>
            <a:xfrm>
              <a:off x="2259435" y="1076105"/>
              <a:ext cx="179407" cy="167874"/>
            </a:xfrm>
            <a:custGeom>
              <a:avLst/>
              <a:gdLst/>
              <a:ahLst/>
              <a:cxnLst/>
              <a:rect l="0" t="0" r="0" b="0"/>
              <a:pathLst>
                <a:path w="67641" h="69056" extrusionOk="0">
                  <a:moveTo>
                    <a:pt x="49622" y="2736"/>
                  </a:moveTo>
                  <a:lnTo>
                    <a:pt x="49622" y="2736"/>
                  </a:lnTo>
                  <a:lnTo>
                    <a:pt x="49622" y="2736"/>
                  </a:lnTo>
                  <a:close/>
                  <a:moveTo>
                    <a:pt x="59622" y="55565"/>
                  </a:moveTo>
                  <a:lnTo>
                    <a:pt x="59622" y="55565"/>
                  </a:lnTo>
                  <a:lnTo>
                    <a:pt x="59622" y="55565"/>
                  </a:lnTo>
                  <a:close/>
                  <a:moveTo>
                    <a:pt x="35471" y="0"/>
                  </a:moveTo>
                  <a:lnTo>
                    <a:pt x="34433" y="95"/>
                  </a:lnTo>
                  <a:lnTo>
                    <a:pt x="33584" y="189"/>
                  </a:lnTo>
                  <a:lnTo>
                    <a:pt x="32735" y="378"/>
                  </a:lnTo>
                  <a:lnTo>
                    <a:pt x="32169" y="566"/>
                  </a:lnTo>
                  <a:lnTo>
                    <a:pt x="31509" y="472"/>
                  </a:lnTo>
                  <a:lnTo>
                    <a:pt x="30754" y="472"/>
                  </a:lnTo>
                  <a:lnTo>
                    <a:pt x="29339" y="566"/>
                  </a:lnTo>
                  <a:lnTo>
                    <a:pt x="27830" y="849"/>
                  </a:lnTo>
                  <a:lnTo>
                    <a:pt x="26320" y="1321"/>
                  </a:lnTo>
                  <a:lnTo>
                    <a:pt x="24811" y="1981"/>
                  </a:lnTo>
                  <a:lnTo>
                    <a:pt x="23207" y="2736"/>
                  </a:lnTo>
                  <a:lnTo>
                    <a:pt x="21698" y="3585"/>
                  </a:lnTo>
                  <a:lnTo>
                    <a:pt x="20188" y="4623"/>
                  </a:lnTo>
                  <a:lnTo>
                    <a:pt x="18679" y="5661"/>
                  </a:lnTo>
                  <a:lnTo>
                    <a:pt x="17170" y="6793"/>
                  </a:lnTo>
                  <a:lnTo>
                    <a:pt x="15754" y="8019"/>
                  </a:lnTo>
                  <a:lnTo>
                    <a:pt x="14434" y="9151"/>
                  </a:lnTo>
                  <a:lnTo>
                    <a:pt x="11981" y="11510"/>
                  </a:lnTo>
                  <a:lnTo>
                    <a:pt x="10000" y="13774"/>
                  </a:lnTo>
                  <a:lnTo>
                    <a:pt x="7736" y="16981"/>
                  </a:lnTo>
                  <a:lnTo>
                    <a:pt x="8019" y="16321"/>
                  </a:lnTo>
                  <a:lnTo>
                    <a:pt x="8302" y="15660"/>
                  </a:lnTo>
                  <a:lnTo>
                    <a:pt x="7736" y="16604"/>
                  </a:lnTo>
                  <a:lnTo>
                    <a:pt x="7075" y="17642"/>
                  </a:lnTo>
                  <a:lnTo>
                    <a:pt x="7170" y="17830"/>
                  </a:lnTo>
                  <a:lnTo>
                    <a:pt x="6509" y="18868"/>
                  </a:lnTo>
                  <a:lnTo>
                    <a:pt x="7075" y="17359"/>
                  </a:lnTo>
                  <a:lnTo>
                    <a:pt x="6132" y="19057"/>
                  </a:lnTo>
                  <a:lnTo>
                    <a:pt x="5189" y="20849"/>
                  </a:lnTo>
                  <a:lnTo>
                    <a:pt x="4434" y="22736"/>
                  </a:lnTo>
                  <a:lnTo>
                    <a:pt x="3679" y="24622"/>
                  </a:lnTo>
                  <a:lnTo>
                    <a:pt x="2453" y="28490"/>
                  </a:lnTo>
                  <a:lnTo>
                    <a:pt x="1321" y="32169"/>
                  </a:lnTo>
                  <a:lnTo>
                    <a:pt x="1509" y="32264"/>
                  </a:lnTo>
                  <a:lnTo>
                    <a:pt x="1604" y="32453"/>
                  </a:lnTo>
                  <a:lnTo>
                    <a:pt x="1604" y="32641"/>
                  </a:lnTo>
                  <a:lnTo>
                    <a:pt x="1509" y="32924"/>
                  </a:lnTo>
                  <a:lnTo>
                    <a:pt x="1226" y="33396"/>
                  </a:lnTo>
                  <a:lnTo>
                    <a:pt x="1038" y="33585"/>
                  </a:lnTo>
                  <a:lnTo>
                    <a:pt x="1038" y="33773"/>
                  </a:lnTo>
                  <a:lnTo>
                    <a:pt x="1038" y="35000"/>
                  </a:lnTo>
                  <a:lnTo>
                    <a:pt x="849" y="36132"/>
                  </a:lnTo>
                  <a:lnTo>
                    <a:pt x="660" y="37358"/>
                  </a:lnTo>
                  <a:lnTo>
                    <a:pt x="472" y="38867"/>
                  </a:lnTo>
                  <a:lnTo>
                    <a:pt x="283" y="38301"/>
                  </a:lnTo>
                  <a:lnTo>
                    <a:pt x="94" y="39811"/>
                  </a:lnTo>
                  <a:lnTo>
                    <a:pt x="0" y="41509"/>
                  </a:lnTo>
                  <a:lnTo>
                    <a:pt x="94" y="43301"/>
                  </a:lnTo>
                  <a:lnTo>
                    <a:pt x="283" y="44056"/>
                  </a:lnTo>
                  <a:lnTo>
                    <a:pt x="472" y="44622"/>
                  </a:lnTo>
                  <a:lnTo>
                    <a:pt x="566" y="45660"/>
                  </a:lnTo>
                  <a:lnTo>
                    <a:pt x="755" y="46792"/>
                  </a:lnTo>
                  <a:lnTo>
                    <a:pt x="1226" y="48962"/>
                  </a:lnTo>
                  <a:lnTo>
                    <a:pt x="1981" y="51037"/>
                  </a:lnTo>
                  <a:lnTo>
                    <a:pt x="2924" y="53112"/>
                  </a:lnTo>
                  <a:lnTo>
                    <a:pt x="4057" y="55094"/>
                  </a:lnTo>
                  <a:lnTo>
                    <a:pt x="5283" y="56980"/>
                  </a:lnTo>
                  <a:lnTo>
                    <a:pt x="6698" y="58678"/>
                  </a:lnTo>
                  <a:lnTo>
                    <a:pt x="8113" y="60282"/>
                  </a:lnTo>
                  <a:lnTo>
                    <a:pt x="9056" y="61131"/>
                  </a:lnTo>
                  <a:lnTo>
                    <a:pt x="10000" y="61980"/>
                  </a:lnTo>
                  <a:lnTo>
                    <a:pt x="11038" y="62829"/>
                  </a:lnTo>
                  <a:lnTo>
                    <a:pt x="12075" y="63584"/>
                  </a:lnTo>
                  <a:lnTo>
                    <a:pt x="14339" y="64905"/>
                  </a:lnTo>
                  <a:lnTo>
                    <a:pt x="16604" y="66131"/>
                  </a:lnTo>
                  <a:lnTo>
                    <a:pt x="19056" y="67169"/>
                  </a:lnTo>
                  <a:lnTo>
                    <a:pt x="21509" y="67923"/>
                  </a:lnTo>
                  <a:lnTo>
                    <a:pt x="24056" y="68584"/>
                  </a:lnTo>
                  <a:lnTo>
                    <a:pt x="26603" y="69055"/>
                  </a:lnTo>
                  <a:lnTo>
                    <a:pt x="27830" y="69055"/>
                  </a:lnTo>
                  <a:lnTo>
                    <a:pt x="30188" y="68867"/>
                  </a:lnTo>
                  <a:lnTo>
                    <a:pt x="33113" y="68678"/>
                  </a:lnTo>
                  <a:lnTo>
                    <a:pt x="36509" y="68301"/>
                  </a:lnTo>
                  <a:lnTo>
                    <a:pt x="39811" y="67923"/>
                  </a:lnTo>
                  <a:lnTo>
                    <a:pt x="42735" y="67452"/>
                  </a:lnTo>
                  <a:lnTo>
                    <a:pt x="44905" y="66980"/>
                  </a:lnTo>
                  <a:lnTo>
                    <a:pt x="45565" y="66791"/>
                  </a:lnTo>
                  <a:lnTo>
                    <a:pt x="45943" y="66508"/>
                  </a:lnTo>
                  <a:lnTo>
                    <a:pt x="47358" y="65942"/>
                  </a:lnTo>
                  <a:lnTo>
                    <a:pt x="48018" y="65565"/>
                  </a:lnTo>
                  <a:lnTo>
                    <a:pt x="48678" y="65188"/>
                  </a:lnTo>
                  <a:lnTo>
                    <a:pt x="47924" y="65471"/>
                  </a:lnTo>
                  <a:lnTo>
                    <a:pt x="51509" y="62924"/>
                  </a:lnTo>
                  <a:lnTo>
                    <a:pt x="53301" y="61508"/>
                  </a:lnTo>
                  <a:lnTo>
                    <a:pt x="55093" y="59905"/>
                  </a:lnTo>
                  <a:lnTo>
                    <a:pt x="55093" y="59905"/>
                  </a:lnTo>
                  <a:lnTo>
                    <a:pt x="54810" y="60376"/>
                  </a:lnTo>
                  <a:lnTo>
                    <a:pt x="54339" y="60754"/>
                  </a:lnTo>
                  <a:lnTo>
                    <a:pt x="55376" y="59999"/>
                  </a:lnTo>
                  <a:lnTo>
                    <a:pt x="56320" y="59056"/>
                  </a:lnTo>
                  <a:lnTo>
                    <a:pt x="57075" y="58395"/>
                  </a:lnTo>
                  <a:lnTo>
                    <a:pt x="57169" y="58207"/>
                  </a:lnTo>
                  <a:lnTo>
                    <a:pt x="57075" y="58207"/>
                  </a:lnTo>
                  <a:lnTo>
                    <a:pt x="57924" y="57546"/>
                  </a:lnTo>
                  <a:lnTo>
                    <a:pt x="58678" y="56697"/>
                  </a:lnTo>
                  <a:lnTo>
                    <a:pt x="59339" y="55754"/>
                  </a:lnTo>
                  <a:lnTo>
                    <a:pt x="59905" y="54905"/>
                  </a:lnTo>
                  <a:lnTo>
                    <a:pt x="59716" y="54999"/>
                  </a:lnTo>
                  <a:lnTo>
                    <a:pt x="59622" y="54999"/>
                  </a:lnTo>
                  <a:lnTo>
                    <a:pt x="59810" y="54622"/>
                  </a:lnTo>
                  <a:lnTo>
                    <a:pt x="59150" y="55565"/>
                  </a:lnTo>
                  <a:lnTo>
                    <a:pt x="59527" y="55094"/>
                  </a:lnTo>
                  <a:lnTo>
                    <a:pt x="59433" y="55377"/>
                  </a:lnTo>
                  <a:lnTo>
                    <a:pt x="58867" y="56037"/>
                  </a:lnTo>
                  <a:lnTo>
                    <a:pt x="59056" y="55660"/>
                  </a:lnTo>
                  <a:lnTo>
                    <a:pt x="59056" y="55660"/>
                  </a:lnTo>
                  <a:lnTo>
                    <a:pt x="58678" y="56037"/>
                  </a:lnTo>
                  <a:lnTo>
                    <a:pt x="59810" y="54339"/>
                  </a:lnTo>
                  <a:lnTo>
                    <a:pt x="60282" y="53490"/>
                  </a:lnTo>
                  <a:lnTo>
                    <a:pt x="60282" y="53301"/>
                  </a:lnTo>
                  <a:lnTo>
                    <a:pt x="60188" y="53395"/>
                  </a:lnTo>
                  <a:lnTo>
                    <a:pt x="60188" y="53395"/>
                  </a:lnTo>
                  <a:lnTo>
                    <a:pt x="60565" y="52924"/>
                  </a:lnTo>
                  <a:lnTo>
                    <a:pt x="61037" y="52452"/>
                  </a:lnTo>
                  <a:lnTo>
                    <a:pt x="61886" y="51509"/>
                  </a:lnTo>
                  <a:lnTo>
                    <a:pt x="61508" y="52452"/>
                  </a:lnTo>
                  <a:lnTo>
                    <a:pt x="60848" y="53584"/>
                  </a:lnTo>
                  <a:lnTo>
                    <a:pt x="59622" y="55565"/>
                  </a:lnTo>
                  <a:lnTo>
                    <a:pt x="60376" y="54528"/>
                  </a:lnTo>
                  <a:lnTo>
                    <a:pt x="60942" y="53678"/>
                  </a:lnTo>
                  <a:lnTo>
                    <a:pt x="61980" y="51792"/>
                  </a:lnTo>
                  <a:lnTo>
                    <a:pt x="61886" y="51886"/>
                  </a:lnTo>
                  <a:lnTo>
                    <a:pt x="61886" y="51697"/>
                  </a:lnTo>
                  <a:lnTo>
                    <a:pt x="62169" y="51037"/>
                  </a:lnTo>
                  <a:lnTo>
                    <a:pt x="62735" y="49999"/>
                  </a:lnTo>
                  <a:lnTo>
                    <a:pt x="61508" y="51603"/>
                  </a:lnTo>
                  <a:lnTo>
                    <a:pt x="61603" y="51037"/>
                  </a:lnTo>
                  <a:lnTo>
                    <a:pt x="61697" y="50377"/>
                  </a:lnTo>
                  <a:lnTo>
                    <a:pt x="62169" y="48962"/>
                  </a:lnTo>
                  <a:lnTo>
                    <a:pt x="62829" y="47358"/>
                  </a:lnTo>
                  <a:lnTo>
                    <a:pt x="63678" y="45565"/>
                  </a:lnTo>
                  <a:lnTo>
                    <a:pt x="65376" y="42169"/>
                  </a:lnTo>
                  <a:lnTo>
                    <a:pt x="66131" y="40660"/>
                  </a:lnTo>
                  <a:lnTo>
                    <a:pt x="66697" y="39339"/>
                  </a:lnTo>
                  <a:lnTo>
                    <a:pt x="66603" y="39528"/>
                  </a:lnTo>
                  <a:lnTo>
                    <a:pt x="66697" y="39056"/>
                  </a:lnTo>
                  <a:lnTo>
                    <a:pt x="66791" y="38962"/>
                  </a:lnTo>
                  <a:lnTo>
                    <a:pt x="66791" y="39056"/>
                  </a:lnTo>
                  <a:lnTo>
                    <a:pt x="66886" y="38584"/>
                  </a:lnTo>
                  <a:lnTo>
                    <a:pt x="66791" y="38867"/>
                  </a:lnTo>
                  <a:lnTo>
                    <a:pt x="66980" y="38207"/>
                  </a:lnTo>
                  <a:lnTo>
                    <a:pt x="67169" y="37264"/>
                  </a:lnTo>
                  <a:lnTo>
                    <a:pt x="67263" y="36415"/>
                  </a:lnTo>
                  <a:lnTo>
                    <a:pt x="67357" y="36509"/>
                  </a:lnTo>
                  <a:lnTo>
                    <a:pt x="67452" y="36509"/>
                  </a:lnTo>
                  <a:lnTo>
                    <a:pt x="67546" y="35943"/>
                  </a:lnTo>
                  <a:lnTo>
                    <a:pt x="67546" y="34811"/>
                  </a:lnTo>
                  <a:lnTo>
                    <a:pt x="67640" y="31037"/>
                  </a:lnTo>
                  <a:lnTo>
                    <a:pt x="67640" y="28490"/>
                  </a:lnTo>
                  <a:lnTo>
                    <a:pt x="67546" y="27736"/>
                  </a:lnTo>
                  <a:lnTo>
                    <a:pt x="67546" y="27547"/>
                  </a:lnTo>
                  <a:lnTo>
                    <a:pt x="67452" y="27547"/>
                  </a:lnTo>
                  <a:lnTo>
                    <a:pt x="67074" y="26792"/>
                  </a:lnTo>
                  <a:lnTo>
                    <a:pt x="66791" y="25660"/>
                  </a:lnTo>
                  <a:lnTo>
                    <a:pt x="66508" y="24528"/>
                  </a:lnTo>
                  <a:lnTo>
                    <a:pt x="66414" y="23585"/>
                  </a:lnTo>
                  <a:lnTo>
                    <a:pt x="66320" y="23679"/>
                  </a:lnTo>
                  <a:lnTo>
                    <a:pt x="66320" y="23490"/>
                  </a:lnTo>
                  <a:lnTo>
                    <a:pt x="65942" y="22924"/>
                  </a:lnTo>
                  <a:lnTo>
                    <a:pt x="65565" y="22358"/>
                  </a:lnTo>
                  <a:lnTo>
                    <a:pt x="64527" y="21132"/>
                  </a:lnTo>
                  <a:lnTo>
                    <a:pt x="63584" y="19906"/>
                  </a:lnTo>
                  <a:lnTo>
                    <a:pt x="63207" y="19340"/>
                  </a:lnTo>
                  <a:lnTo>
                    <a:pt x="63018" y="18774"/>
                  </a:lnTo>
                  <a:lnTo>
                    <a:pt x="63112" y="18962"/>
                  </a:lnTo>
                  <a:lnTo>
                    <a:pt x="63301" y="19057"/>
                  </a:lnTo>
                  <a:lnTo>
                    <a:pt x="63301" y="19057"/>
                  </a:lnTo>
                  <a:lnTo>
                    <a:pt x="63207" y="18868"/>
                  </a:lnTo>
                  <a:lnTo>
                    <a:pt x="62923" y="18491"/>
                  </a:lnTo>
                  <a:lnTo>
                    <a:pt x="61980" y="17453"/>
                  </a:lnTo>
                  <a:lnTo>
                    <a:pt x="61037" y="16509"/>
                  </a:lnTo>
                  <a:lnTo>
                    <a:pt x="61037" y="16698"/>
                  </a:lnTo>
                  <a:lnTo>
                    <a:pt x="61037" y="16887"/>
                  </a:lnTo>
                  <a:lnTo>
                    <a:pt x="60093" y="15943"/>
                  </a:lnTo>
                  <a:lnTo>
                    <a:pt x="60376" y="16321"/>
                  </a:lnTo>
                  <a:lnTo>
                    <a:pt x="59527" y="15377"/>
                  </a:lnTo>
                  <a:lnTo>
                    <a:pt x="59056" y="14906"/>
                  </a:lnTo>
                  <a:lnTo>
                    <a:pt x="59244" y="14906"/>
                  </a:lnTo>
                  <a:lnTo>
                    <a:pt x="59905" y="15472"/>
                  </a:lnTo>
                  <a:lnTo>
                    <a:pt x="59905" y="15472"/>
                  </a:lnTo>
                  <a:lnTo>
                    <a:pt x="57641" y="13396"/>
                  </a:lnTo>
                  <a:lnTo>
                    <a:pt x="58112" y="13868"/>
                  </a:lnTo>
                  <a:lnTo>
                    <a:pt x="56886" y="13019"/>
                  </a:lnTo>
                  <a:lnTo>
                    <a:pt x="55754" y="12453"/>
                  </a:lnTo>
                  <a:lnTo>
                    <a:pt x="56603" y="13113"/>
                  </a:lnTo>
                  <a:lnTo>
                    <a:pt x="57452" y="13774"/>
                  </a:lnTo>
                  <a:lnTo>
                    <a:pt x="58961" y="15283"/>
                  </a:lnTo>
                  <a:lnTo>
                    <a:pt x="60376" y="16604"/>
                  </a:lnTo>
                  <a:lnTo>
                    <a:pt x="61225" y="17264"/>
                  </a:lnTo>
                  <a:lnTo>
                    <a:pt x="62074" y="17925"/>
                  </a:lnTo>
                  <a:lnTo>
                    <a:pt x="62074" y="17925"/>
                  </a:lnTo>
                  <a:lnTo>
                    <a:pt x="61414" y="17547"/>
                  </a:lnTo>
                  <a:lnTo>
                    <a:pt x="60659" y="16981"/>
                  </a:lnTo>
                  <a:lnTo>
                    <a:pt x="60754" y="17264"/>
                  </a:lnTo>
                  <a:lnTo>
                    <a:pt x="60942" y="17642"/>
                  </a:lnTo>
                  <a:lnTo>
                    <a:pt x="61980" y="19151"/>
                  </a:lnTo>
                  <a:lnTo>
                    <a:pt x="63301" y="20943"/>
                  </a:lnTo>
                  <a:lnTo>
                    <a:pt x="63207" y="20943"/>
                  </a:lnTo>
                  <a:lnTo>
                    <a:pt x="63395" y="21038"/>
                  </a:lnTo>
                  <a:lnTo>
                    <a:pt x="63490" y="21321"/>
                  </a:lnTo>
                  <a:lnTo>
                    <a:pt x="63678" y="21604"/>
                  </a:lnTo>
                  <a:lnTo>
                    <a:pt x="63773" y="21698"/>
                  </a:lnTo>
                  <a:lnTo>
                    <a:pt x="63584" y="21321"/>
                  </a:lnTo>
                  <a:lnTo>
                    <a:pt x="63584" y="21321"/>
                  </a:lnTo>
                  <a:lnTo>
                    <a:pt x="64244" y="22170"/>
                  </a:lnTo>
                  <a:lnTo>
                    <a:pt x="64716" y="22641"/>
                  </a:lnTo>
                  <a:lnTo>
                    <a:pt x="64905" y="22830"/>
                  </a:lnTo>
                  <a:lnTo>
                    <a:pt x="64999" y="22830"/>
                  </a:lnTo>
                  <a:lnTo>
                    <a:pt x="64999" y="22641"/>
                  </a:lnTo>
                  <a:lnTo>
                    <a:pt x="64905" y="22358"/>
                  </a:lnTo>
                  <a:lnTo>
                    <a:pt x="65282" y="23207"/>
                  </a:lnTo>
                  <a:lnTo>
                    <a:pt x="65565" y="24056"/>
                  </a:lnTo>
                  <a:lnTo>
                    <a:pt x="66225" y="25943"/>
                  </a:lnTo>
                  <a:lnTo>
                    <a:pt x="66697" y="27830"/>
                  </a:lnTo>
                  <a:lnTo>
                    <a:pt x="66886" y="28490"/>
                  </a:lnTo>
                  <a:lnTo>
                    <a:pt x="66980" y="28868"/>
                  </a:lnTo>
                  <a:lnTo>
                    <a:pt x="66886" y="28962"/>
                  </a:lnTo>
                  <a:lnTo>
                    <a:pt x="66697" y="28679"/>
                  </a:lnTo>
                  <a:lnTo>
                    <a:pt x="66697" y="29245"/>
                  </a:lnTo>
                  <a:lnTo>
                    <a:pt x="66791" y="29905"/>
                  </a:lnTo>
                  <a:lnTo>
                    <a:pt x="66886" y="29905"/>
                  </a:lnTo>
                  <a:lnTo>
                    <a:pt x="66886" y="30094"/>
                  </a:lnTo>
                  <a:lnTo>
                    <a:pt x="66886" y="30566"/>
                  </a:lnTo>
                  <a:lnTo>
                    <a:pt x="66697" y="30377"/>
                  </a:lnTo>
                  <a:lnTo>
                    <a:pt x="66603" y="30188"/>
                  </a:lnTo>
                  <a:lnTo>
                    <a:pt x="66603" y="30094"/>
                  </a:lnTo>
                  <a:lnTo>
                    <a:pt x="66697" y="29905"/>
                  </a:lnTo>
                  <a:lnTo>
                    <a:pt x="66508" y="28679"/>
                  </a:lnTo>
                  <a:lnTo>
                    <a:pt x="66225" y="27358"/>
                  </a:lnTo>
                  <a:lnTo>
                    <a:pt x="66603" y="30283"/>
                  </a:lnTo>
                  <a:lnTo>
                    <a:pt x="66697" y="31792"/>
                  </a:lnTo>
                  <a:lnTo>
                    <a:pt x="66697" y="33302"/>
                  </a:lnTo>
                  <a:lnTo>
                    <a:pt x="66603" y="34717"/>
                  </a:lnTo>
                  <a:lnTo>
                    <a:pt x="66414" y="36226"/>
                  </a:lnTo>
                  <a:lnTo>
                    <a:pt x="66131" y="37547"/>
                  </a:lnTo>
                  <a:lnTo>
                    <a:pt x="65659" y="38962"/>
                  </a:lnTo>
                  <a:lnTo>
                    <a:pt x="65848" y="38584"/>
                  </a:lnTo>
                  <a:lnTo>
                    <a:pt x="65942" y="38584"/>
                  </a:lnTo>
                  <a:lnTo>
                    <a:pt x="65848" y="39245"/>
                  </a:lnTo>
                  <a:lnTo>
                    <a:pt x="65565" y="40188"/>
                  </a:lnTo>
                  <a:lnTo>
                    <a:pt x="65471" y="40471"/>
                  </a:lnTo>
                  <a:lnTo>
                    <a:pt x="65282" y="40660"/>
                  </a:lnTo>
                  <a:lnTo>
                    <a:pt x="65282" y="40566"/>
                  </a:lnTo>
                  <a:lnTo>
                    <a:pt x="65093" y="41132"/>
                  </a:lnTo>
                  <a:lnTo>
                    <a:pt x="64433" y="43018"/>
                  </a:lnTo>
                  <a:lnTo>
                    <a:pt x="63678" y="45282"/>
                  </a:lnTo>
                  <a:lnTo>
                    <a:pt x="62735" y="47264"/>
                  </a:lnTo>
                  <a:lnTo>
                    <a:pt x="61697" y="49056"/>
                  </a:lnTo>
                  <a:lnTo>
                    <a:pt x="60659" y="50943"/>
                  </a:lnTo>
                  <a:lnTo>
                    <a:pt x="59433" y="52735"/>
                  </a:lnTo>
                  <a:lnTo>
                    <a:pt x="58207" y="54433"/>
                  </a:lnTo>
                  <a:lnTo>
                    <a:pt x="56886" y="56037"/>
                  </a:lnTo>
                  <a:lnTo>
                    <a:pt x="55376" y="57641"/>
                  </a:lnTo>
                  <a:lnTo>
                    <a:pt x="53867" y="59150"/>
                  </a:lnTo>
                  <a:lnTo>
                    <a:pt x="52169" y="60376"/>
                  </a:lnTo>
                  <a:lnTo>
                    <a:pt x="48961" y="62452"/>
                  </a:lnTo>
                  <a:lnTo>
                    <a:pt x="44528" y="65282"/>
                  </a:lnTo>
                  <a:lnTo>
                    <a:pt x="44622" y="65188"/>
                  </a:lnTo>
                  <a:lnTo>
                    <a:pt x="44716" y="65093"/>
                  </a:lnTo>
                  <a:lnTo>
                    <a:pt x="45094" y="64810"/>
                  </a:lnTo>
                  <a:lnTo>
                    <a:pt x="45660" y="64527"/>
                  </a:lnTo>
                  <a:lnTo>
                    <a:pt x="43867" y="65376"/>
                  </a:lnTo>
                  <a:lnTo>
                    <a:pt x="43113" y="65754"/>
                  </a:lnTo>
                  <a:lnTo>
                    <a:pt x="42924" y="65754"/>
                  </a:lnTo>
                  <a:lnTo>
                    <a:pt x="43113" y="65659"/>
                  </a:lnTo>
                  <a:lnTo>
                    <a:pt x="41603" y="66037"/>
                  </a:lnTo>
                  <a:lnTo>
                    <a:pt x="39999" y="66320"/>
                  </a:lnTo>
                  <a:lnTo>
                    <a:pt x="38396" y="66508"/>
                  </a:lnTo>
                  <a:lnTo>
                    <a:pt x="36792" y="66697"/>
                  </a:lnTo>
                  <a:lnTo>
                    <a:pt x="33584" y="66980"/>
                  </a:lnTo>
                  <a:lnTo>
                    <a:pt x="32169" y="67169"/>
                  </a:lnTo>
                  <a:lnTo>
                    <a:pt x="30754" y="67357"/>
                  </a:lnTo>
                  <a:lnTo>
                    <a:pt x="30094" y="67357"/>
                  </a:lnTo>
                  <a:lnTo>
                    <a:pt x="29339" y="67263"/>
                  </a:lnTo>
                  <a:lnTo>
                    <a:pt x="27830" y="66886"/>
                  </a:lnTo>
                  <a:lnTo>
                    <a:pt x="26415" y="66508"/>
                  </a:lnTo>
                  <a:lnTo>
                    <a:pt x="25754" y="66414"/>
                  </a:lnTo>
                  <a:lnTo>
                    <a:pt x="25094" y="66414"/>
                  </a:lnTo>
                  <a:lnTo>
                    <a:pt x="25566" y="66980"/>
                  </a:lnTo>
                  <a:lnTo>
                    <a:pt x="25471" y="67074"/>
                  </a:lnTo>
                  <a:lnTo>
                    <a:pt x="25188" y="66980"/>
                  </a:lnTo>
                  <a:lnTo>
                    <a:pt x="24339" y="66791"/>
                  </a:lnTo>
                  <a:lnTo>
                    <a:pt x="23773" y="66508"/>
                  </a:lnTo>
                  <a:lnTo>
                    <a:pt x="24245" y="66414"/>
                  </a:lnTo>
                  <a:lnTo>
                    <a:pt x="24717" y="66603"/>
                  </a:lnTo>
                  <a:lnTo>
                    <a:pt x="24811" y="66414"/>
                  </a:lnTo>
                  <a:lnTo>
                    <a:pt x="24811" y="66320"/>
                  </a:lnTo>
                  <a:lnTo>
                    <a:pt x="24717" y="66225"/>
                  </a:lnTo>
                  <a:lnTo>
                    <a:pt x="24528" y="66131"/>
                  </a:lnTo>
                  <a:lnTo>
                    <a:pt x="24151" y="66225"/>
                  </a:lnTo>
                  <a:lnTo>
                    <a:pt x="23679" y="66320"/>
                  </a:lnTo>
                  <a:lnTo>
                    <a:pt x="23018" y="66414"/>
                  </a:lnTo>
                  <a:lnTo>
                    <a:pt x="23490" y="66225"/>
                  </a:lnTo>
                  <a:lnTo>
                    <a:pt x="22075" y="65942"/>
                  </a:lnTo>
                  <a:lnTo>
                    <a:pt x="20943" y="65659"/>
                  </a:lnTo>
                  <a:lnTo>
                    <a:pt x="20000" y="65282"/>
                  </a:lnTo>
                  <a:lnTo>
                    <a:pt x="19056" y="64810"/>
                  </a:lnTo>
                  <a:lnTo>
                    <a:pt x="19056" y="64810"/>
                  </a:lnTo>
                  <a:lnTo>
                    <a:pt x="19717" y="64999"/>
                  </a:lnTo>
                  <a:lnTo>
                    <a:pt x="19151" y="64716"/>
                  </a:lnTo>
                  <a:lnTo>
                    <a:pt x="18962" y="64810"/>
                  </a:lnTo>
                  <a:lnTo>
                    <a:pt x="19151" y="64905"/>
                  </a:lnTo>
                  <a:lnTo>
                    <a:pt x="18490" y="64905"/>
                  </a:lnTo>
                  <a:lnTo>
                    <a:pt x="17830" y="64716"/>
                  </a:lnTo>
                  <a:lnTo>
                    <a:pt x="17264" y="64527"/>
                  </a:lnTo>
                  <a:lnTo>
                    <a:pt x="16698" y="64150"/>
                  </a:lnTo>
                  <a:lnTo>
                    <a:pt x="16981" y="64056"/>
                  </a:lnTo>
                  <a:lnTo>
                    <a:pt x="17264" y="64150"/>
                  </a:lnTo>
                  <a:lnTo>
                    <a:pt x="17264" y="64150"/>
                  </a:lnTo>
                  <a:lnTo>
                    <a:pt x="15188" y="63207"/>
                  </a:lnTo>
                  <a:lnTo>
                    <a:pt x="14622" y="62829"/>
                  </a:lnTo>
                  <a:lnTo>
                    <a:pt x="14717" y="62924"/>
                  </a:lnTo>
                  <a:lnTo>
                    <a:pt x="13773" y="62546"/>
                  </a:lnTo>
                  <a:lnTo>
                    <a:pt x="12924" y="62075"/>
                  </a:lnTo>
                  <a:lnTo>
                    <a:pt x="12358" y="61697"/>
                  </a:lnTo>
                  <a:lnTo>
                    <a:pt x="12264" y="61508"/>
                  </a:lnTo>
                  <a:lnTo>
                    <a:pt x="12170" y="61320"/>
                  </a:lnTo>
                  <a:lnTo>
                    <a:pt x="11698" y="60942"/>
                  </a:lnTo>
                  <a:lnTo>
                    <a:pt x="11132" y="60471"/>
                  </a:lnTo>
                  <a:lnTo>
                    <a:pt x="9906" y="59244"/>
                  </a:lnTo>
                  <a:lnTo>
                    <a:pt x="9906" y="59244"/>
                  </a:lnTo>
                  <a:lnTo>
                    <a:pt x="10566" y="59527"/>
                  </a:lnTo>
                  <a:lnTo>
                    <a:pt x="9434" y="58584"/>
                  </a:lnTo>
                  <a:lnTo>
                    <a:pt x="8207" y="57546"/>
                  </a:lnTo>
                  <a:lnTo>
                    <a:pt x="7547" y="56886"/>
                  </a:lnTo>
                  <a:lnTo>
                    <a:pt x="6981" y="56131"/>
                  </a:lnTo>
                  <a:lnTo>
                    <a:pt x="6226" y="55094"/>
                  </a:lnTo>
                  <a:lnTo>
                    <a:pt x="6415" y="55377"/>
                  </a:lnTo>
                  <a:lnTo>
                    <a:pt x="6038" y="54905"/>
                  </a:lnTo>
                  <a:lnTo>
                    <a:pt x="5472" y="54244"/>
                  </a:lnTo>
                  <a:lnTo>
                    <a:pt x="5283" y="53961"/>
                  </a:lnTo>
                  <a:lnTo>
                    <a:pt x="5094" y="53867"/>
                  </a:lnTo>
                  <a:lnTo>
                    <a:pt x="5377" y="54622"/>
                  </a:lnTo>
                  <a:lnTo>
                    <a:pt x="5849" y="55282"/>
                  </a:lnTo>
                  <a:lnTo>
                    <a:pt x="6321" y="55943"/>
                  </a:lnTo>
                  <a:lnTo>
                    <a:pt x="6698" y="56603"/>
                  </a:lnTo>
                  <a:lnTo>
                    <a:pt x="6226" y="56226"/>
                  </a:lnTo>
                  <a:lnTo>
                    <a:pt x="5943" y="55848"/>
                  </a:lnTo>
                  <a:lnTo>
                    <a:pt x="6038" y="56037"/>
                  </a:lnTo>
                  <a:lnTo>
                    <a:pt x="5943" y="55943"/>
                  </a:lnTo>
                  <a:lnTo>
                    <a:pt x="5377" y="55188"/>
                  </a:lnTo>
                  <a:lnTo>
                    <a:pt x="5000" y="54716"/>
                  </a:lnTo>
                  <a:lnTo>
                    <a:pt x="4717" y="54150"/>
                  </a:lnTo>
                  <a:lnTo>
                    <a:pt x="4528" y="53678"/>
                  </a:lnTo>
                  <a:lnTo>
                    <a:pt x="4528" y="53584"/>
                  </a:lnTo>
                  <a:lnTo>
                    <a:pt x="4623" y="53395"/>
                  </a:lnTo>
                  <a:lnTo>
                    <a:pt x="5094" y="54244"/>
                  </a:lnTo>
                  <a:lnTo>
                    <a:pt x="4717" y="53301"/>
                  </a:lnTo>
                  <a:lnTo>
                    <a:pt x="4528" y="53018"/>
                  </a:lnTo>
                  <a:lnTo>
                    <a:pt x="4151" y="52263"/>
                  </a:lnTo>
                  <a:lnTo>
                    <a:pt x="4151" y="52169"/>
                  </a:lnTo>
                  <a:lnTo>
                    <a:pt x="3774" y="51509"/>
                  </a:lnTo>
                  <a:lnTo>
                    <a:pt x="3396" y="50660"/>
                  </a:lnTo>
                  <a:lnTo>
                    <a:pt x="3585" y="51603"/>
                  </a:lnTo>
                  <a:lnTo>
                    <a:pt x="3396" y="51226"/>
                  </a:lnTo>
                  <a:lnTo>
                    <a:pt x="3208" y="50848"/>
                  </a:lnTo>
                  <a:lnTo>
                    <a:pt x="3208" y="50471"/>
                  </a:lnTo>
                  <a:lnTo>
                    <a:pt x="3208" y="50094"/>
                  </a:lnTo>
                  <a:lnTo>
                    <a:pt x="3585" y="50754"/>
                  </a:lnTo>
                  <a:lnTo>
                    <a:pt x="3868" y="51509"/>
                  </a:lnTo>
                  <a:lnTo>
                    <a:pt x="3868" y="51509"/>
                  </a:lnTo>
                  <a:lnTo>
                    <a:pt x="3208" y="49528"/>
                  </a:lnTo>
                  <a:lnTo>
                    <a:pt x="3208" y="49528"/>
                  </a:lnTo>
                  <a:lnTo>
                    <a:pt x="3868" y="50754"/>
                  </a:lnTo>
                  <a:lnTo>
                    <a:pt x="3208" y="48962"/>
                  </a:lnTo>
                  <a:lnTo>
                    <a:pt x="3585" y="49339"/>
                  </a:lnTo>
                  <a:lnTo>
                    <a:pt x="3774" y="49433"/>
                  </a:lnTo>
                  <a:lnTo>
                    <a:pt x="3962" y="49528"/>
                  </a:lnTo>
                  <a:lnTo>
                    <a:pt x="4057" y="49905"/>
                  </a:lnTo>
                  <a:lnTo>
                    <a:pt x="3868" y="48962"/>
                  </a:lnTo>
                  <a:lnTo>
                    <a:pt x="3491" y="47924"/>
                  </a:lnTo>
                  <a:lnTo>
                    <a:pt x="2641" y="45565"/>
                  </a:lnTo>
                  <a:lnTo>
                    <a:pt x="2170" y="43867"/>
                  </a:lnTo>
                  <a:lnTo>
                    <a:pt x="1698" y="41886"/>
                  </a:lnTo>
                  <a:lnTo>
                    <a:pt x="1698" y="41886"/>
                  </a:lnTo>
                  <a:lnTo>
                    <a:pt x="1887" y="42075"/>
                  </a:lnTo>
                  <a:lnTo>
                    <a:pt x="1981" y="41981"/>
                  </a:lnTo>
                  <a:lnTo>
                    <a:pt x="2075" y="42075"/>
                  </a:lnTo>
                  <a:lnTo>
                    <a:pt x="2264" y="42169"/>
                  </a:lnTo>
                  <a:lnTo>
                    <a:pt x="2170" y="40283"/>
                  </a:lnTo>
                  <a:lnTo>
                    <a:pt x="2075" y="38301"/>
                  </a:lnTo>
                  <a:lnTo>
                    <a:pt x="2170" y="36415"/>
                  </a:lnTo>
                  <a:lnTo>
                    <a:pt x="2358" y="35566"/>
                  </a:lnTo>
                  <a:lnTo>
                    <a:pt x="2453" y="34811"/>
                  </a:lnTo>
                  <a:lnTo>
                    <a:pt x="2830" y="32830"/>
                  </a:lnTo>
                  <a:lnTo>
                    <a:pt x="2830" y="33207"/>
                  </a:lnTo>
                  <a:lnTo>
                    <a:pt x="2924" y="33490"/>
                  </a:lnTo>
                  <a:lnTo>
                    <a:pt x="2924" y="32453"/>
                  </a:lnTo>
                  <a:lnTo>
                    <a:pt x="3019" y="31415"/>
                  </a:lnTo>
                  <a:lnTo>
                    <a:pt x="3396" y="29245"/>
                  </a:lnTo>
                  <a:lnTo>
                    <a:pt x="3868" y="27075"/>
                  </a:lnTo>
                  <a:lnTo>
                    <a:pt x="4623" y="25000"/>
                  </a:lnTo>
                  <a:lnTo>
                    <a:pt x="5566" y="22830"/>
                  </a:lnTo>
                  <a:lnTo>
                    <a:pt x="6604" y="20849"/>
                  </a:lnTo>
                  <a:lnTo>
                    <a:pt x="7830" y="18868"/>
                  </a:lnTo>
                  <a:lnTo>
                    <a:pt x="9151" y="16887"/>
                  </a:lnTo>
                  <a:lnTo>
                    <a:pt x="10566" y="15094"/>
                  </a:lnTo>
                  <a:lnTo>
                    <a:pt x="12075" y="13302"/>
                  </a:lnTo>
                  <a:lnTo>
                    <a:pt x="13773" y="11698"/>
                  </a:lnTo>
                  <a:lnTo>
                    <a:pt x="15377" y="10095"/>
                  </a:lnTo>
                  <a:lnTo>
                    <a:pt x="17170" y="8679"/>
                  </a:lnTo>
                  <a:lnTo>
                    <a:pt x="18962" y="7453"/>
                  </a:lnTo>
                  <a:lnTo>
                    <a:pt x="20754" y="6321"/>
                  </a:lnTo>
                  <a:lnTo>
                    <a:pt x="22547" y="5378"/>
                  </a:lnTo>
                  <a:lnTo>
                    <a:pt x="21603" y="6227"/>
                  </a:lnTo>
                  <a:lnTo>
                    <a:pt x="22641" y="5472"/>
                  </a:lnTo>
                  <a:lnTo>
                    <a:pt x="23302" y="5095"/>
                  </a:lnTo>
                  <a:lnTo>
                    <a:pt x="25377" y="4151"/>
                  </a:lnTo>
                  <a:lnTo>
                    <a:pt x="24811" y="4151"/>
                  </a:lnTo>
                  <a:lnTo>
                    <a:pt x="25660" y="3774"/>
                  </a:lnTo>
                  <a:lnTo>
                    <a:pt x="26886" y="3208"/>
                  </a:lnTo>
                  <a:lnTo>
                    <a:pt x="26603" y="3585"/>
                  </a:lnTo>
                  <a:lnTo>
                    <a:pt x="26886" y="3585"/>
                  </a:lnTo>
                  <a:lnTo>
                    <a:pt x="26886" y="3680"/>
                  </a:lnTo>
                  <a:lnTo>
                    <a:pt x="26792" y="3774"/>
                  </a:lnTo>
                  <a:lnTo>
                    <a:pt x="28301" y="3302"/>
                  </a:lnTo>
                  <a:lnTo>
                    <a:pt x="29622" y="2736"/>
                  </a:lnTo>
                  <a:lnTo>
                    <a:pt x="31037" y="2264"/>
                  </a:lnTo>
                  <a:lnTo>
                    <a:pt x="31792" y="2076"/>
                  </a:lnTo>
                  <a:lnTo>
                    <a:pt x="32641" y="1981"/>
                  </a:lnTo>
                  <a:lnTo>
                    <a:pt x="32547" y="2076"/>
                  </a:lnTo>
                  <a:lnTo>
                    <a:pt x="32924" y="1981"/>
                  </a:lnTo>
                  <a:lnTo>
                    <a:pt x="34245" y="1793"/>
                  </a:lnTo>
                  <a:lnTo>
                    <a:pt x="35848" y="1415"/>
                  </a:lnTo>
                  <a:lnTo>
                    <a:pt x="36981" y="1132"/>
                  </a:lnTo>
                  <a:lnTo>
                    <a:pt x="36981" y="1415"/>
                  </a:lnTo>
                  <a:lnTo>
                    <a:pt x="40943" y="1227"/>
                  </a:lnTo>
                  <a:lnTo>
                    <a:pt x="41509" y="1038"/>
                  </a:lnTo>
                  <a:lnTo>
                    <a:pt x="41697" y="1132"/>
                  </a:lnTo>
                  <a:lnTo>
                    <a:pt x="41509" y="1227"/>
                  </a:lnTo>
                  <a:lnTo>
                    <a:pt x="41320" y="1321"/>
                  </a:lnTo>
                  <a:lnTo>
                    <a:pt x="42263" y="1321"/>
                  </a:lnTo>
                  <a:lnTo>
                    <a:pt x="43113" y="1227"/>
                  </a:lnTo>
                  <a:lnTo>
                    <a:pt x="43396" y="1415"/>
                  </a:lnTo>
                  <a:lnTo>
                    <a:pt x="44056" y="1604"/>
                  </a:lnTo>
                  <a:lnTo>
                    <a:pt x="45943" y="2076"/>
                  </a:lnTo>
                  <a:lnTo>
                    <a:pt x="48018" y="2359"/>
                  </a:lnTo>
                  <a:lnTo>
                    <a:pt x="49622" y="2736"/>
                  </a:lnTo>
                  <a:lnTo>
                    <a:pt x="47641" y="1981"/>
                  </a:lnTo>
                  <a:lnTo>
                    <a:pt x="45282" y="1321"/>
                  </a:lnTo>
                  <a:lnTo>
                    <a:pt x="42735" y="755"/>
                  </a:lnTo>
                  <a:lnTo>
                    <a:pt x="40188" y="283"/>
                  </a:lnTo>
                  <a:lnTo>
                    <a:pt x="37735" y="95"/>
                  </a:lnTo>
                  <a:lnTo>
                    <a:pt x="35471" y="0"/>
                  </a:lnTo>
                  <a:close/>
                </a:path>
              </a:pathLst>
            </a:custGeom>
            <a:solidFill>
              <a:schemeClr val="bg1">
                <a:lumMod val="95000"/>
              </a:schemeClr>
            </a:solidFill>
            <a:ln w="0">
              <a:solidFill>
                <a:schemeClr val="bg1"/>
              </a:solidFill>
            </a:ln>
          </p:spPr>
          <p:txBody>
            <a:bodyPr spcFirstLastPara="1" wrap="square" lIns="91425" tIns="91425" rIns="91425" bIns="91425" anchor="ctr" anchorCtr="0">
              <a:noAutofit/>
            </a:bodyPr>
            <a:lstStyle/>
            <a:p>
              <a:pPr marL="0" lvl="0" indent="0">
                <a:spcBef>
                  <a:spcPts val="0"/>
                </a:spcBef>
                <a:spcAft>
                  <a:spcPts val="0"/>
                </a:spcAft>
                <a:buNone/>
              </a:pPr>
              <a:endParaRPr sz="1200">
                <a:latin typeface="+mj-lt"/>
              </a:endParaRPr>
            </a:p>
          </p:txBody>
        </p:sp>
        <p:sp>
          <p:nvSpPr>
            <p:cNvPr id="448" name="TextBox 447">
              <a:extLst>
                <a:ext uri="{FF2B5EF4-FFF2-40B4-BE49-F238E27FC236}">
                  <a16:creationId xmlns:a16="http://schemas.microsoft.com/office/drawing/2014/main" id="{684F3E73-5920-4F4C-A26B-255C9D728179}"/>
                </a:ext>
              </a:extLst>
            </p:cNvPr>
            <p:cNvSpPr txBox="1"/>
            <p:nvPr/>
          </p:nvSpPr>
          <p:spPr>
            <a:xfrm>
              <a:off x="2200326" y="1028158"/>
              <a:ext cx="325548" cy="254124"/>
            </a:xfrm>
            <a:prstGeom prst="rect">
              <a:avLst/>
            </a:prstGeom>
            <a:noFill/>
          </p:spPr>
          <p:txBody>
            <a:bodyPr wrap="square" rtlCol="0">
              <a:spAutoFit/>
            </a:bodyPr>
            <a:lstStyle/>
            <a:p>
              <a:r>
                <a:rPr lang="en-US" sz="600" b="1" dirty="0">
                  <a:solidFill>
                    <a:schemeClr val="bg1">
                      <a:lumMod val="95000"/>
                    </a:schemeClr>
                  </a:solidFill>
                  <a:latin typeface="+mj-lt"/>
                </a:rPr>
                <a:t>10</a:t>
              </a:r>
            </a:p>
          </p:txBody>
        </p:sp>
      </p:grpSp>
    </p:spTree>
    <p:extLst>
      <p:ext uri="{BB962C8B-B14F-4D97-AF65-F5344CB8AC3E}">
        <p14:creationId xmlns:p14="http://schemas.microsoft.com/office/powerpoint/2010/main" val="3689147339"/>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ángulo 4"/>
          <p:cNvSpPr/>
          <p:nvPr/>
        </p:nvSpPr>
        <p:spPr>
          <a:xfrm>
            <a:off x="4581514" y="3028895"/>
            <a:ext cx="4022989" cy="400105"/>
          </a:xfrm>
          <a:prstGeom prst="rect">
            <a:avLst/>
          </a:prstGeom>
          <a:ln w="12700">
            <a:miter lim="400000"/>
          </a:ln>
        </p:spPr>
        <p:txBody>
          <a:bodyPr wrap="square" lIns="45718" tIns="45718" rIns="45718" bIns="45718">
            <a:spAutoFit/>
          </a:bodyPr>
          <a:lstStyle/>
          <a:p>
            <a:pPr defTabSz="914400"/>
            <a:r>
              <a:rPr lang="es-MX" sz="2000" b="1" dirty="0">
                <a:solidFill>
                  <a:srgbClr val="016AA2"/>
                </a:solidFill>
                <a:ea typeface="Arial"/>
                <a:cs typeface="Arial"/>
              </a:rPr>
              <a:t>Data completeness</a:t>
            </a:r>
          </a:p>
        </p:txBody>
      </p:sp>
    </p:spTree>
    <p:extLst>
      <p:ext uri="{BB962C8B-B14F-4D97-AF65-F5344CB8AC3E}">
        <p14:creationId xmlns:p14="http://schemas.microsoft.com/office/powerpoint/2010/main" val="472366853"/>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tangle 3">
            <a:extLst>
              <a:ext uri="{FF2B5EF4-FFF2-40B4-BE49-F238E27FC236}">
                <a16:creationId xmlns:a16="http://schemas.microsoft.com/office/drawing/2014/main" id="{A27FD23C-A522-0E4F-B70C-CC83BC4542BA}"/>
              </a:ext>
            </a:extLst>
          </p:cNvPr>
          <p:cNvSpPr txBox="1"/>
          <p:nvPr/>
        </p:nvSpPr>
        <p:spPr>
          <a:xfrm>
            <a:off x="404808" y="237462"/>
            <a:ext cx="7585857" cy="400105"/>
          </a:xfrm>
          <a:prstGeom prst="rect">
            <a:avLst/>
          </a:prstGeom>
          <a:ln w="12700">
            <a:miter lim="400000"/>
          </a:ln>
          <a:extLst>
            <a:ext uri="{C572A759-6A51-4108-AA02-DFA0A04FC94B}">
              <ma14:wrappingTextBoxFlag xmlns:ma14="http://schemas.microsoft.com/office/mac/drawingml/2011/main" xmlns="" val="1"/>
            </a:ext>
          </a:extLst>
        </p:spPr>
        <p:txBody>
          <a:bodyPr wrap="square" lIns="45718" tIns="45718" rIns="45718" bIns="45718">
            <a:spAutoFit/>
          </a:bodyPr>
          <a:lstStyle>
            <a:lvl1pPr algn="l" defTabSz="914400">
              <a:defRPr sz="2200" b="1">
                <a:solidFill>
                  <a:srgbClr val="FFFFFF"/>
                </a:solidFill>
                <a:latin typeface="Arial"/>
                <a:ea typeface="Arial"/>
                <a:cs typeface="Arial"/>
                <a:sym typeface="Arial"/>
              </a:defRPr>
            </a:lvl1pPr>
          </a:lstStyle>
          <a:p>
            <a:r>
              <a:rPr lang="en-US" sz="2000" dirty="0">
                <a:solidFill>
                  <a:srgbClr val="016AA2"/>
                </a:solidFill>
              </a:rPr>
              <a:t>Data completeness</a:t>
            </a:r>
          </a:p>
        </p:txBody>
      </p:sp>
      <p:sp>
        <p:nvSpPr>
          <p:cNvPr id="65" name="Rectangle 3"/>
          <p:cNvSpPr txBox="1"/>
          <p:nvPr/>
        </p:nvSpPr>
        <p:spPr>
          <a:xfrm>
            <a:off x="404807" y="610135"/>
            <a:ext cx="5337625" cy="369328"/>
          </a:xfrm>
          <a:prstGeom prst="rect">
            <a:avLst/>
          </a:prstGeom>
          <a:ln w="12700">
            <a:miter lim="400000"/>
          </a:ln>
          <a:extLst>
            <a:ext uri="{C572A759-6A51-4108-AA02-DFA0A04FC94B}">
              <ma14:wrappingTextBoxFlag xmlns="" xmlns:ma14="http://schemas.microsoft.com/office/mac/drawingml/2011/main" val="1"/>
            </a:ext>
          </a:extLst>
        </p:spPr>
        <p:txBody>
          <a:bodyPr wrap="square" lIns="45718" tIns="45718" rIns="45718" bIns="45718">
            <a:spAutoFit/>
          </a:bodyPr>
          <a:lstStyle>
            <a:lvl1pPr algn="l" defTabSz="914400">
              <a:defRPr sz="2000">
                <a:solidFill>
                  <a:srgbClr val="104D6A"/>
                </a:solidFill>
                <a:latin typeface="Arial"/>
                <a:ea typeface="Arial"/>
                <a:cs typeface="Arial"/>
                <a:sym typeface="Arial"/>
              </a:defRPr>
            </a:lvl1pPr>
          </a:lstStyle>
          <a:p>
            <a:pPr>
              <a:defRPr/>
            </a:pPr>
            <a:r>
              <a:rPr lang="es-ES_tradnl" sz="1800" b="1" dirty="0">
                <a:solidFill>
                  <a:srgbClr val="73C4EF"/>
                </a:solidFill>
              </a:rPr>
              <a:t>Resumen de Componentes de Infraestructura</a:t>
            </a:r>
          </a:p>
        </p:txBody>
      </p:sp>
      <p:sp>
        <p:nvSpPr>
          <p:cNvPr id="5" name="Rectangle 4">
            <a:extLst>
              <a:ext uri="{FF2B5EF4-FFF2-40B4-BE49-F238E27FC236}">
                <a16:creationId xmlns:a16="http://schemas.microsoft.com/office/drawing/2014/main" id="{927D2421-B404-4F42-A0B6-DFF4329E2E97}"/>
              </a:ext>
            </a:extLst>
          </p:cNvPr>
          <p:cNvSpPr/>
          <p:nvPr/>
        </p:nvSpPr>
        <p:spPr>
          <a:xfrm>
            <a:off x="505394" y="1167880"/>
            <a:ext cx="11155776" cy="1169551"/>
          </a:xfrm>
          <a:prstGeom prst="rect">
            <a:avLst/>
          </a:prstGeom>
        </p:spPr>
        <p:txBody>
          <a:bodyPr wrap="square">
            <a:spAutoFit/>
          </a:bodyPr>
          <a:lstStyle/>
          <a:p>
            <a:r>
              <a:rPr lang="es-ES_tradnl" sz="1400" dirty="0" err="1">
                <a:solidFill>
                  <a:srgbClr val="0067B7"/>
                </a:solidFill>
              </a:rPr>
              <a:t>With</a:t>
            </a:r>
            <a:r>
              <a:rPr lang="es-ES_tradnl" sz="1400" dirty="0">
                <a:solidFill>
                  <a:srgbClr val="0067B7"/>
                </a:solidFill>
              </a:rPr>
              <a:t> </a:t>
            </a:r>
            <a:r>
              <a:rPr lang="es-ES_tradnl" sz="1400" dirty="0" err="1">
                <a:solidFill>
                  <a:srgbClr val="0067B7"/>
                </a:solidFill>
              </a:rPr>
              <a:t>the</a:t>
            </a:r>
            <a:r>
              <a:rPr lang="es-ES_tradnl" sz="1400" dirty="0">
                <a:solidFill>
                  <a:srgbClr val="0067B7"/>
                </a:solidFill>
              </a:rPr>
              <a:t> </a:t>
            </a:r>
            <a:r>
              <a:rPr lang="es-ES_tradnl" sz="1400" dirty="0" err="1">
                <a:solidFill>
                  <a:srgbClr val="0067B7"/>
                </a:solidFill>
              </a:rPr>
              <a:t>fibnality</a:t>
            </a:r>
            <a:r>
              <a:rPr lang="es-ES_tradnl" sz="1400" dirty="0">
                <a:solidFill>
                  <a:srgbClr val="0067B7"/>
                </a:solidFill>
              </a:rPr>
              <a:t> of meeting </a:t>
            </a:r>
            <a:r>
              <a:rPr lang="es-ES_tradnl" sz="1400" dirty="0" err="1">
                <a:solidFill>
                  <a:srgbClr val="0067B7"/>
                </a:solidFill>
              </a:rPr>
              <a:t>the</a:t>
            </a:r>
            <a:r>
              <a:rPr lang="es-ES_tradnl" sz="1400" dirty="0">
                <a:solidFill>
                  <a:srgbClr val="0067B7"/>
                </a:solidFill>
              </a:rPr>
              <a:t> data </a:t>
            </a:r>
            <a:r>
              <a:rPr lang="es-ES_tradnl" sz="1400" dirty="0" err="1">
                <a:solidFill>
                  <a:srgbClr val="0067B7"/>
                </a:solidFill>
              </a:rPr>
              <a:t>complitness</a:t>
            </a:r>
            <a:r>
              <a:rPr lang="es-ES_tradnl" sz="1400" dirty="0">
                <a:solidFill>
                  <a:srgbClr val="0067B7"/>
                </a:solidFill>
              </a:rPr>
              <a:t> </a:t>
            </a:r>
            <a:r>
              <a:rPr lang="es-ES_tradnl" sz="1400" dirty="0" err="1">
                <a:solidFill>
                  <a:srgbClr val="0067B7"/>
                </a:solidFill>
              </a:rPr>
              <a:t>requirements</a:t>
            </a:r>
            <a:r>
              <a:rPr lang="es-ES_tradnl" sz="1400" dirty="0">
                <a:solidFill>
                  <a:srgbClr val="0067B7"/>
                </a:solidFill>
              </a:rPr>
              <a:t>, </a:t>
            </a:r>
            <a:r>
              <a:rPr lang="es-ES_tradnl" sz="1400" dirty="0" err="1">
                <a:solidFill>
                  <a:srgbClr val="0067B7"/>
                </a:solidFill>
              </a:rPr>
              <a:t>we</a:t>
            </a:r>
            <a:r>
              <a:rPr lang="es-ES_tradnl" sz="1400" dirty="0">
                <a:solidFill>
                  <a:srgbClr val="0067B7"/>
                </a:solidFill>
              </a:rPr>
              <a:t> </a:t>
            </a:r>
            <a:r>
              <a:rPr lang="es-ES_tradnl" sz="1400" dirty="0" err="1">
                <a:solidFill>
                  <a:srgbClr val="0067B7"/>
                </a:solidFill>
              </a:rPr>
              <a:t>present</a:t>
            </a:r>
            <a:r>
              <a:rPr lang="es-ES_tradnl" sz="1400" dirty="0">
                <a:solidFill>
                  <a:srgbClr val="0067B7"/>
                </a:solidFill>
              </a:rPr>
              <a:t> a </a:t>
            </a:r>
            <a:r>
              <a:rPr lang="es-ES_tradnl" sz="1400" dirty="0" err="1">
                <a:solidFill>
                  <a:srgbClr val="0067B7"/>
                </a:solidFill>
              </a:rPr>
              <a:t>generic</a:t>
            </a:r>
            <a:r>
              <a:rPr lang="es-ES_tradnl" sz="1400" dirty="0">
                <a:solidFill>
                  <a:srgbClr val="0067B7"/>
                </a:solidFill>
              </a:rPr>
              <a:t> </a:t>
            </a:r>
            <a:r>
              <a:rPr lang="es-ES_tradnl" sz="1400" dirty="0" err="1">
                <a:solidFill>
                  <a:srgbClr val="0067B7"/>
                </a:solidFill>
              </a:rPr>
              <a:t>view</a:t>
            </a:r>
            <a:r>
              <a:rPr lang="es-ES_tradnl" sz="1400" dirty="0">
                <a:solidFill>
                  <a:srgbClr val="0067B7"/>
                </a:solidFill>
              </a:rPr>
              <a:t> of </a:t>
            </a:r>
            <a:r>
              <a:rPr lang="es-ES_tradnl" sz="1400" dirty="0" err="1">
                <a:solidFill>
                  <a:srgbClr val="0067B7"/>
                </a:solidFill>
              </a:rPr>
              <a:t>the</a:t>
            </a:r>
            <a:r>
              <a:rPr lang="es-ES_tradnl" sz="1400" dirty="0">
                <a:solidFill>
                  <a:srgbClr val="0067B7"/>
                </a:solidFill>
              </a:rPr>
              <a:t> </a:t>
            </a:r>
            <a:r>
              <a:rPr lang="es-ES_tradnl" sz="1400" dirty="0" err="1">
                <a:solidFill>
                  <a:srgbClr val="0067B7"/>
                </a:solidFill>
              </a:rPr>
              <a:t>dimensions</a:t>
            </a:r>
            <a:r>
              <a:rPr lang="es-ES_tradnl" sz="1400" dirty="0">
                <a:solidFill>
                  <a:srgbClr val="0067B7"/>
                </a:solidFill>
              </a:rPr>
              <a:t>, and </a:t>
            </a:r>
            <a:r>
              <a:rPr lang="es-ES_tradnl" sz="1400" dirty="0" err="1">
                <a:solidFill>
                  <a:srgbClr val="0067B7"/>
                </a:solidFill>
              </a:rPr>
              <a:t>those</a:t>
            </a:r>
            <a:r>
              <a:rPr lang="es-ES_tradnl" sz="1400" dirty="0">
                <a:solidFill>
                  <a:srgbClr val="0067B7"/>
                </a:solidFill>
              </a:rPr>
              <a:t> </a:t>
            </a:r>
            <a:r>
              <a:rPr lang="es-ES_tradnl" sz="1400" dirty="0" err="1">
                <a:solidFill>
                  <a:srgbClr val="0067B7"/>
                </a:solidFill>
              </a:rPr>
              <a:t>we</a:t>
            </a:r>
            <a:r>
              <a:rPr lang="es-ES_tradnl" sz="1400" dirty="0">
                <a:solidFill>
                  <a:srgbClr val="0067B7"/>
                </a:solidFill>
              </a:rPr>
              <a:t> </a:t>
            </a:r>
            <a:r>
              <a:rPr lang="es-ES_tradnl" sz="1400" dirty="0" err="1">
                <a:solidFill>
                  <a:srgbClr val="0067B7"/>
                </a:solidFill>
              </a:rPr>
              <a:t>contemplate</a:t>
            </a:r>
            <a:r>
              <a:rPr lang="es-ES_tradnl" sz="1400" dirty="0">
                <a:solidFill>
                  <a:srgbClr val="0067B7"/>
                </a:solidFill>
              </a:rPr>
              <a:t> </a:t>
            </a:r>
            <a:r>
              <a:rPr lang="es-ES_tradnl" sz="1400" dirty="0" err="1">
                <a:solidFill>
                  <a:srgbClr val="0067B7"/>
                </a:solidFill>
              </a:rPr>
              <a:t>should</a:t>
            </a:r>
            <a:r>
              <a:rPr lang="es-ES_tradnl" sz="1400" dirty="0">
                <a:solidFill>
                  <a:srgbClr val="0067B7"/>
                </a:solidFill>
              </a:rPr>
              <a:t> be </a:t>
            </a:r>
            <a:r>
              <a:rPr lang="es-ES_tradnl" sz="1400" dirty="0" err="1">
                <a:solidFill>
                  <a:srgbClr val="0067B7"/>
                </a:solidFill>
              </a:rPr>
              <a:t>measured</a:t>
            </a:r>
            <a:r>
              <a:rPr lang="es-ES_tradnl" sz="1400" dirty="0">
                <a:solidFill>
                  <a:srgbClr val="0067B7"/>
                </a:solidFill>
              </a:rPr>
              <a:t>, </a:t>
            </a:r>
            <a:r>
              <a:rPr lang="es-ES_tradnl" sz="1400" dirty="0" err="1">
                <a:solidFill>
                  <a:srgbClr val="0067B7"/>
                </a:solidFill>
              </a:rPr>
              <a:t>based</a:t>
            </a:r>
            <a:r>
              <a:rPr lang="es-ES_tradnl" sz="1400" dirty="0">
                <a:solidFill>
                  <a:srgbClr val="0067B7"/>
                </a:solidFill>
              </a:rPr>
              <a:t> </a:t>
            </a:r>
            <a:r>
              <a:rPr lang="es-ES_tradnl" sz="1400" dirty="0" err="1">
                <a:solidFill>
                  <a:srgbClr val="0067B7"/>
                </a:solidFill>
              </a:rPr>
              <a:t>on</a:t>
            </a:r>
            <a:r>
              <a:rPr lang="es-ES_tradnl" sz="1400" dirty="0">
                <a:solidFill>
                  <a:srgbClr val="0067B7"/>
                </a:solidFill>
              </a:rPr>
              <a:t> </a:t>
            </a:r>
            <a:r>
              <a:rPr lang="es-ES_tradnl" sz="1400" dirty="0" err="1">
                <a:solidFill>
                  <a:srgbClr val="0067B7"/>
                </a:solidFill>
              </a:rPr>
              <a:t>near</a:t>
            </a:r>
            <a:r>
              <a:rPr lang="es-ES_tradnl" sz="1400" dirty="0">
                <a:solidFill>
                  <a:srgbClr val="0067B7"/>
                </a:solidFill>
              </a:rPr>
              <a:t> real time </a:t>
            </a:r>
            <a:r>
              <a:rPr lang="es-ES_tradnl" sz="1400" dirty="0" err="1">
                <a:solidFill>
                  <a:srgbClr val="0067B7"/>
                </a:solidFill>
              </a:rPr>
              <a:t>projects</a:t>
            </a:r>
            <a:r>
              <a:rPr lang="es-ES_tradnl" sz="1400" dirty="0">
                <a:solidFill>
                  <a:srgbClr val="0067B7"/>
                </a:solidFill>
              </a:rPr>
              <a:t>.</a:t>
            </a:r>
          </a:p>
          <a:p>
            <a:endParaRPr lang="es-ES_tradnl" sz="1400" dirty="0">
              <a:solidFill>
                <a:srgbClr val="0067B7"/>
              </a:solidFill>
            </a:endParaRPr>
          </a:p>
          <a:p>
            <a:pPr marL="285750" indent="-285750">
              <a:buFont typeface="Arial" panose="020B0604020202020204" pitchFamily="34" charset="0"/>
              <a:buChar char="•"/>
            </a:pPr>
            <a:r>
              <a:rPr lang="es-ES_tradnl" sz="1400" dirty="0" err="1">
                <a:solidFill>
                  <a:srgbClr val="0067B7"/>
                </a:solidFill>
              </a:rPr>
              <a:t>The</a:t>
            </a:r>
            <a:r>
              <a:rPr lang="es-ES_tradnl" sz="1400" dirty="0">
                <a:solidFill>
                  <a:srgbClr val="0067B7"/>
                </a:solidFill>
              </a:rPr>
              <a:t> </a:t>
            </a:r>
            <a:r>
              <a:rPr lang="es-ES_tradnl" sz="1400" dirty="0" err="1">
                <a:solidFill>
                  <a:srgbClr val="0067B7"/>
                </a:solidFill>
              </a:rPr>
              <a:t>quality</a:t>
            </a:r>
            <a:r>
              <a:rPr lang="es-ES_tradnl" sz="1400" dirty="0">
                <a:solidFill>
                  <a:srgbClr val="0067B7"/>
                </a:solidFill>
              </a:rPr>
              <a:t> of </a:t>
            </a:r>
            <a:r>
              <a:rPr lang="es-ES_tradnl" sz="1400" dirty="0" err="1">
                <a:solidFill>
                  <a:srgbClr val="0067B7"/>
                </a:solidFill>
              </a:rPr>
              <a:t>the</a:t>
            </a:r>
            <a:r>
              <a:rPr lang="es-ES_tradnl" sz="1400" dirty="0">
                <a:solidFill>
                  <a:srgbClr val="0067B7"/>
                </a:solidFill>
              </a:rPr>
              <a:t> data can </a:t>
            </a:r>
            <a:r>
              <a:rPr lang="es-ES_tradnl" sz="1400" dirty="0" err="1">
                <a:solidFill>
                  <a:srgbClr val="0067B7"/>
                </a:solidFill>
              </a:rPr>
              <a:t>refer</a:t>
            </a:r>
            <a:r>
              <a:rPr lang="es-ES_tradnl" sz="1400" dirty="0">
                <a:solidFill>
                  <a:srgbClr val="0067B7"/>
                </a:solidFill>
              </a:rPr>
              <a:t> to </a:t>
            </a:r>
            <a:r>
              <a:rPr lang="es-ES_tradnl" sz="1400" dirty="0" err="1">
                <a:solidFill>
                  <a:srgbClr val="0067B7"/>
                </a:solidFill>
              </a:rPr>
              <a:t>the</a:t>
            </a:r>
            <a:r>
              <a:rPr lang="es-ES_tradnl" sz="1400" dirty="0">
                <a:solidFill>
                  <a:srgbClr val="0067B7"/>
                </a:solidFill>
              </a:rPr>
              <a:t> </a:t>
            </a:r>
            <a:r>
              <a:rPr lang="es-ES_tradnl" sz="1400" dirty="0" err="1">
                <a:solidFill>
                  <a:srgbClr val="0067B7"/>
                </a:solidFill>
              </a:rPr>
              <a:t>extent</a:t>
            </a:r>
            <a:r>
              <a:rPr lang="es-ES_tradnl" sz="1400" dirty="0">
                <a:solidFill>
                  <a:srgbClr val="0067B7"/>
                </a:solidFill>
              </a:rPr>
              <a:t> of </a:t>
            </a:r>
            <a:r>
              <a:rPr lang="es-ES_tradnl" sz="1400" dirty="0" err="1">
                <a:solidFill>
                  <a:srgbClr val="0067B7"/>
                </a:solidFill>
              </a:rPr>
              <a:t>the</a:t>
            </a:r>
            <a:r>
              <a:rPr lang="es-ES_tradnl" sz="1400" dirty="0">
                <a:solidFill>
                  <a:srgbClr val="0067B7"/>
                </a:solidFill>
              </a:rPr>
              <a:t> data (i.e. </a:t>
            </a:r>
            <a:r>
              <a:rPr lang="es-ES_tradnl" sz="1400" dirty="0" err="1">
                <a:solidFill>
                  <a:srgbClr val="0067B7"/>
                </a:solidFill>
              </a:rPr>
              <a:t>the</a:t>
            </a:r>
            <a:r>
              <a:rPr lang="es-ES_tradnl" sz="1400" dirty="0">
                <a:solidFill>
                  <a:srgbClr val="0067B7"/>
                </a:solidFill>
              </a:rPr>
              <a:t> </a:t>
            </a:r>
            <a:r>
              <a:rPr lang="es-ES_tradnl" sz="1400" dirty="0" err="1">
                <a:solidFill>
                  <a:srgbClr val="0067B7"/>
                </a:solidFill>
              </a:rPr>
              <a:t>values</a:t>
            </a:r>
            <a:r>
              <a:rPr lang="es-ES_tradnl" sz="1400" dirty="0">
                <a:solidFill>
                  <a:srgbClr val="0067B7"/>
                </a:solidFill>
              </a:rPr>
              <a:t> of </a:t>
            </a:r>
            <a:r>
              <a:rPr lang="es-ES_tradnl" sz="1400" dirty="0" err="1">
                <a:solidFill>
                  <a:srgbClr val="0067B7"/>
                </a:solidFill>
              </a:rPr>
              <a:t>the</a:t>
            </a:r>
            <a:r>
              <a:rPr lang="es-ES_tradnl" sz="1400" dirty="0">
                <a:solidFill>
                  <a:srgbClr val="0067B7"/>
                </a:solidFill>
              </a:rPr>
              <a:t> data), </a:t>
            </a:r>
            <a:r>
              <a:rPr lang="es-ES_tradnl" sz="1400" dirty="0" err="1">
                <a:solidFill>
                  <a:srgbClr val="0067B7"/>
                </a:solidFill>
              </a:rPr>
              <a:t>or</a:t>
            </a:r>
            <a:r>
              <a:rPr lang="es-ES_tradnl" sz="1400" dirty="0">
                <a:solidFill>
                  <a:srgbClr val="0067B7"/>
                </a:solidFill>
              </a:rPr>
              <a:t> </a:t>
            </a:r>
            <a:r>
              <a:rPr lang="es-ES_tradnl" sz="1400" dirty="0" err="1">
                <a:solidFill>
                  <a:srgbClr val="0067B7"/>
                </a:solidFill>
              </a:rPr>
              <a:t>the</a:t>
            </a:r>
            <a:r>
              <a:rPr lang="es-ES_tradnl" sz="1400" dirty="0">
                <a:solidFill>
                  <a:srgbClr val="0067B7"/>
                </a:solidFill>
              </a:rPr>
              <a:t> </a:t>
            </a:r>
            <a:r>
              <a:rPr lang="es-ES_tradnl" sz="1400" dirty="0" err="1">
                <a:solidFill>
                  <a:srgbClr val="0067B7"/>
                </a:solidFill>
              </a:rPr>
              <a:t>tension</a:t>
            </a:r>
            <a:r>
              <a:rPr lang="es-ES_tradnl" sz="1400" dirty="0">
                <a:solidFill>
                  <a:srgbClr val="0067B7"/>
                </a:solidFill>
              </a:rPr>
              <a:t> of </a:t>
            </a:r>
            <a:r>
              <a:rPr lang="es-ES_tradnl" sz="1400" dirty="0" err="1">
                <a:solidFill>
                  <a:srgbClr val="0067B7"/>
                </a:solidFill>
              </a:rPr>
              <a:t>the</a:t>
            </a:r>
            <a:r>
              <a:rPr lang="es-ES_tradnl" sz="1400" dirty="0">
                <a:solidFill>
                  <a:srgbClr val="0067B7"/>
                </a:solidFill>
              </a:rPr>
              <a:t> data (</a:t>
            </a:r>
            <a:r>
              <a:rPr lang="es-ES_tradnl" sz="1400" dirty="0" err="1">
                <a:solidFill>
                  <a:srgbClr val="0067B7"/>
                </a:solidFill>
              </a:rPr>
              <a:t>the</a:t>
            </a:r>
            <a:r>
              <a:rPr lang="es-ES_tradnl" sz="1400" dirty="0">
                <a:solidFill>
                  <a:srgbClr val="0067B7"/>
                </a:solidFill>
              </a:rPr>
              <a:t> </a:t>
            </a:r>
            <a:r>
              <a:rPr lang="es-ES_tradnl" sz="1400" dirty="0" err="1">
                <a:solidFill>
                  <a:srgbClr val="0067B7"/>
                </a:solidFill>
              </a:rPr>
              <a:t>scheme</a:t>
            </a:r>
            <a:r>
              <a:rPr lang="es-ES_tradnl" sz="1400" dirty="0">
                <a:solidFill>
                  <a:srgbClr val="0067B7"/>
                </a:solidFill>
              </a:rPr>
              <a:t>)</a:t>
            </a:r>
          </a:p>
          <a:p>
            <a:pPr marL="285750" indent="-285750">
              <a:buFont typeface="Arial" panose="020B0604020202020204" pitchFamily="34" charset="0"/>
              <a:buChar char="•"/>
            </a:pPr>
            <a:r>
              <a:rPr lang="es-ES_tradnl" sz="1400" dirty="0" err="1">
                <a:solidFill>
                  <a:srgbClr val="0067B7"/>
                </a:solidFill>
              </a:rPr>
              <a:t>The</a:t>
            </a:r>
            <a:r>
              <a:rPr lang="es-ES_tradnl" sz="1400" dirty="0">
                <a:solidFill>
                  <a:srgbClr val="0067B7"/>
                </a:solidFill>
              </a:rPr>
              <a:t> </a:t>
            </a:r>
            <a:r>
              <a:rPr lang="es-ES_tradnl" sz="1400" dirty="0" err="1">
                <a:solidFill>
                  <a:srgbClr val="0067B7"/>
                </a:solidFill>
              </a:rPr>
              <a:t>most</a:t>
            </a:r>
            <a:r>
              <a:rPr lang="es-ES_tradnl" sz="1400" dirty="0">
                <a:solidFill>
                  <a:srgbClr val="0067B7"/>
                </a:solidFill>
              </a:rPr>
              <a:t> </a:t>
            </a:r>
            <a:r>
              <a:rPr lang="es-ES_tradnl" sz="1400" dirty="0" err="1">
                <a:solidFill>
                  <a:srgbClr val="0067B7"/>
                </a:solidFill>
              </a:rPr>
              <a:t>common</a:t>
            </a:r>
            <a:r>
              <a:rPr lang="es-ES_tradnl" sz="1400" dirty="0">
                <a:solidFill>
                  <a:srgbClr val="0067B7"/>
                </a:solidFill>
              </a:rPr>
              <a:t> </a:t>
            </a:r>
            <a:r>
              <a:rPr lang="es-ES_tradnl" sz="1400" dirty="0" err="1">
                <a:solidFill>
                  <a:srgbClr val="0067B7"/>
                </a:solidFill>
              </a:rPr>
              <a:t>dimensions</a:t>
            </a:r>
            <a:r>
              <a:rPr lang="es-ES_tradnl" sz="1400" dirty="0">
                <a:solidFill>
                  <a:srgbClr val="0067B7"/>
                </a:solidFill>
              </a:rPr>
              <a:t> of data </a:t>
            </a:r>
            <a:r>
              <a:rPr lang="es-ES_tradnl" sz="1400" dirty="0" err="1">
                <a:solidFill>
                  <a:srgbClr val="0067B7"/>
                </a:solidFill>
              </a:rPr>
              <a:t>quality</a:t>
            </a:r>
            <a:r>
              <a:rPr lang="es-ES_tradnl" sz="1400" dirty="0">
                <a:solidFill>
                  <a:srgbClr val="0067B7"/>
                </a:solidFill>
              </a:rPr>
              <a:t>:</a:t>
            </a:r>
          </a:p>
        </p:txBody>
      </p:sp>
      <p:graphicFrame>
        <p:nvGraphicFramePr>
          <p:cNvPr id="6" name="Table 5">
            <a:extLst>
              <a:ext uri="{FF2B5EF4-FFF2-40B4-BE49-F238E27FC236}">
                <a16:creationId xmlns:a16="http://schemas.microsoft.com/office/drawing/2014/main" id="{FA9B960D-DDB8-D146-B873-2B4E8382C5E4}"/>
              </a:ext>
            </a:extLst>
          </p:cNvPr>
          <p:cNvGraphicFramePr>
            <a:graphicFrameLocks noGrp="1"/>
          </p:cNvGraphicFramePr>
          <p:nvPr>
            <p:extLst>
              <p:ext uri="{D42A27DB-BD31-4B8C-83A1-F6EECF244321}">
                <p14:modId xmlns:p14="http://schemas.microsoft.com/office/powerpoint/2010/main" val="4122290083"/>
              </p:ext>
            </p:extLst>
          </p:nvPr>
        </p:nvGraphicFramePr>
        <p:xfrm>
          <a:off x="643881" y="2709500"/>
          <a:ext cx="11155776" cy="2501998"/>
        </p:xfrm>
        <a:graphic>
          <a:graphicData uri="http://schemas.openxmlformats.org/drawingml/2006/table">
            <a:tbl>
              <a:tblPr firstRow="1" firstCol="1" bandRow="1">
                <a:tableStyleId>{5C22544A-7EE6-4342-B048-85BDC9FD1C3A}</a:tableStyleId>
              </a:tblPr>
              <a:tblGrid>
                <a:gridCol w="2958958">
                  <a:extLst>
                    <a:ext uri="{9D8B030D-6E8A-4147-A177-3AD203B41FA5}">
                      <a16:colId xmlns:a16="http://schemas.microsoft.com/office/drawing/2014/main" val="4040501229"/>
                    </a:ext>
                  </a:extLst>
                </a:gridCol>
                <a:gridCol w="8196818">
                  <a:extLst>
                    <a:ext uri="{9D8B030D-6E8A-4147-A177-3AD203B41FA5}">
                      <a16:colId xmlns:a16="http://schemas.microsoft.com/office/drawing/2014/main" val="3365820587"/>
                    </a:ext>
                  </a:extLst>
                </a:gridCol>
              </a:tblGrid>
              <a:tr h="0">
                <a:tc>
                  <a:txBody>
                    <a:bodyPr/>
                    <a:lstStyle/>
                    <a:p>
                      <a:pPr algn="ctr">
                        <a:spcAft>
                          <a:spcPts val="0"/>
                        </a:spcAft>
                      </a:pPr>
                      <a:r>
                        <a:rPr lang="es-ES" sz="1400" b="0" dirty="0">
                          <a:solidFill>
                            <a:srgbClr val="C5277F"/>
                          </a:solidFill>
                          <a:effectLst/>
                        </a:rPr>
                        <a:t>Dimensiones</a:t>
                      </a:r>
                    </a:p>
                    <a:p>
                      <a:pPr algn="ctr">
                        <a:spcAft>
                          <a:spcPts val="0"/>
                        </a:spcAft>
                      </a:pPr>
                      <a:endParaRPr lang="es-ES" sz="1400" b="0" dirty="0">
                        <a:solidFill>
                          <a:srgbClr val="C5277F"/>
                        </a:solidFill>
                        <a:effectLst/>
                      </a:endParaRPr>
                    </a:p>
                  </a:txBody>
                  <a:tcPr marL="19321" marR="19321" marT="0" marB="0" anchor="ctr">
                    <a:lnL w="12700" cap="flat" cmpd="sng" algn="ctr">
                      <a:solidFill>
                        <a:srgbClr val="87CBD8"/>
                      </a:solidFill>
                      <a:prstDash val="solid"/>
                      <a:round/>
                      <a:headEnd type="none" w="med" len="med"/>
                      <a:tailEnd type="none" w="med" len="med"/>
                    </a:lnL>
                    <a:lnR w="12700" cap="flat" cmpd="sng" algn="ctr">
                      <a:solidFill>
                        <a:srgbClr val="87CBD8"/>
                      </a:solidFill>
                      <a:prstDash val="solid"/>
                      <a:round/>
                      <a:headEnd type="none" w="med" len="med"/>
                      <a:tailEnd type="none" w="med" len="med"/>
                    </a:lnR>
                    <a:lnT w="12700" cap="flat" cmpd="sng" algn="ctr">
                      <a:solidFill>
                        <a:srgbClr val="87CBD8"/>
                      </a:solidFill>
                      <a:prstDash val="solid"/>
                      <a:round/>
                      <a:headEnd type="none" w="med" len="med"/>
                      <a:tailEnd type="none" w="med" len="med"/>
                    </a:lnT>
                    <a:lnB w="12700" cap="flat" cmpd="sng" algn="ctr">
                      <a:solidFill>
                        <a:srgbClr val="87CBD8"/>
                      </a:solidFill>
                      <a:prstDash val="solid"/>
                      <a:round/>
                      <a:headEnd type="none" w="med" len="med"/>
                      <a:tailEnd type="none" w="med" len="med"/>
                    </a:lnB>
                    <a:noFill/>
                  </a:tcPr>
                </a:tc>
                <a:tc>
                  <a:txBody>
                    <a:bodyPr/>
                    <a:lstStyle/>
                    <a:p>
                      <a:pPr algn="ctr">
                        <a:spcAft>
                          <a:spcPts val="0"/>
                        </a:spcAft>
                      </a:pPr>
                      <a:r>
                        <a:rPr lang="es-ES" sz="1400" b="0" dirty="0">
                          <a:solidFill>
                            <a:srgbClr val="C5277F"/>
                          </a:solidFill>
                          <a:effectLst/>
                        </a:rPr>
                        <a:t>Definiciones</a:t>
                      </a:r>
                    </a:p>
                  </a:txBody>
                  <a:tcPr marL="19321" marR="19321" marT="0" marB="0" anchor="ctr">
                    <a:lnL w="12700" cap="flat" cmpd="sng" algn="ctr">
                      <a:solidFill>
                        <a:srgbClr val="87CBD8"/>
                      </a:solidFill>
                      <a:prstDash val="solid"/>
                      <a:round/>
                      <a:headEnd type="none" w="med" len="med"/>
                      <a:tailEnd type="none" w="med" len="med"/>
                    </a:lnL>
                    <a:lnR w="12700" cap="flat" cmpd="sng" algn="ctr">
                      <a:solidFill>
                        <a:srgbClr val="87CBD8"/>
                      </a:solidFill>
                      <a:prstDash val="solid"/>
                      <a:round/>
                      <a:headEnd type="none" w="med" len="med"/>
                      <a:tailEnd type="none" w="med" len="med"/>
                    </a:lnR>
                    <a:lnT w="12700" cap="flat" cmpd="sng" algn="ctr">
                      <a:solidFill>
                        <a:srgbClr val="87CBD8"/>
                      </a:solidFill>
                      <a:prstDash val="solid"/>
                      <a:round/>
                      <a:headEnd type="none" w="med" len="med"/>
                      <a:tailEnd type="none" w="med" len="med"/>
                    </a:lnT>
                    <a:lnB w="12700" cap="flat" cmpd="sng" algn="ctr">
                      <a:solidFill>
                        <a:srgbClr val="87CBD8"/>
                      </a:solidFill>
                      <a:prstDash val="solid"/>
                      <a:round/>
                      <a:headEnd type="none" w="med" len="med"/>
                      <a:tailEnd type="none" w="med" len="med"/>
                    </a:lnB>
                    <a:noFill/>
                  </a:tcPr>
                </a:tc>
                <a:extLst>
                  <a:ext uri="{0D108BD9-81ED-4DB2-BD59-A6C34878D82A}">
                    <a16:rowId xmlns:a16="http://schemas.microsoft.com/office/drawing/2014/main" val="2580865460"/>
                  </a:ext>
                </a:extLst>
              </a:tr>
              <a:tr h="171743">
                <a:tc>
                  <a:txBody>
                    <a:bodyPr/>
                    <a:lstStyle/>
                    <a:p>
                      <a:pPr algn="just">
                        <a:spcBef>
                          <a:spcPts val="600"/>
                        </a:spcBef>
                        <a:spcAft>
                          <a:spcPts val="0"/>
                        </a:spcAft>
                      </a:pPr>
                      <a:r>
                        <a:rPr lang="es-MX" sz="1200" b="1" dirty="0">
                          <a:solidFill>
                            <a:srgbClr val="0067B7"/>
                          </a:solidFill>
                          <a:effectLst/>
                        </a:rPr>
                        <a:t>Accesibilidad</a:t>
                      </a:r>
                      <a:endParaRPr lang="en-US" sz="1200" b="1" dirty="0">
                        <a:solidFill>
                          <a:srgbClr val="0067B7"/>
                        </a:solidFill>
                        <a:effectLst/>
                        <a:latin typeface="Times New Roman" panose="02020603050405020304" pitchFamily="18" charset="0"/>
                        <a:ea typeface="Times New Roman" panose="02020603050405020304" pitchFamily="18" charset="0"/>
                      </a:endParaRPr>
                    </a:p>
                  </a:txBody>
                  <a:tcPr marL="19321" marR="19321" marT="0" marB="0">
                    <a:lnL w="12700" cap="flat" cmpd="sng" algn="ctr">
                      <a:solidFill>
                        <a:srgbClr val="87CBD8"/>
                      </a:solidFill>
                      <a:prstDash val="solid"/>
                      <a:round/>
                      <a:headEnd type="none" w="med" len="med"/>
                      <a:tailEnd type="none" w="med" len="med"/>
                    </a:lnL>
                    <a:lnR w="12700" cap="flat" cmpd="sng" algn="ctr">
                      <a:solidFill>
                        <a:srgbClr val="87CBD8"/>
                      </a:solidFill>
                      <a:prstDash val="solid"/>
                      <a:round/>
                      <a:headEnd type="none" w="med" len="med"/>
                      <a:tailEnd type="none" w="med" len="med"/>
                    </a:lnR>
                    <a:lnT w="12700" cap="flat" cmpd="sng" algn="ctr">
                      <a:solidFill>
                        <a:srgbClr val="87CBD8"/>
                      </a:solidFill>
                      <a:prstDash val="solid"/>
                      <a:round/>
                      <a:headEnd type="none" w="med" len="med"/>
                      <a:tailEnd type="none" w="med" len="med"/>
                    </a:lnT>
                    <a:lnB w="12700" cap="flat" cmpd="sng" algn="ctr">
                      <a:solidFill>
                        <a:srgbClr val="87CBD8"/>
                      </a:solidFill>
                      <a:prstDash val="solid"/>
                      <a:round/>
                      <a:headEnd type="none" w="med" len="med"/>
                      <a:tailEnd type="none" w="med" len="med"/>
                    </a:lnB>
                    <a:noFill/>
                  </a:tcPr>
                </a:tc>
                <a:tc>
                  <a:txBody>
                    <a:bodyPr/>
                    <a:lstStyle/>
                    <a:p>
                      <a:pPr algn="just">
                        <a:spcBef>
                          <a:spcPts val="600"/>
                        </a:spcBef>
                        <a:spcAft>
                          <a:spcPts val="0"/>
                        </a:spcAft>
                      </a:pPr>
                      <a:r>
                        <a:rPr lang="es-MX" sz="1200" b="0" dirty="0">
                          <a:solidFill>
                            <a:srgbClr val="0067B7"/>
                          </a:solidFill>
                          <a:effectLst/>
                        </a:rPr>
                        <a:t>Grado de disponibilidad de los datos o recuperación fácil y rápida</a:t>
                      </a:r>
                      <a:endParaRPr lang="en-US" sz="1200" b="0" dirty="0">
                        <a:solidFill>
                          <a:srgbClr val="0067B7"/>
                        </a:solidFill>
                        <a:effectLst/>
                        <a:latin typeface="Times New Roman" panose="02020603050405020304" pitchFamily="18" charset="0"/>
                        <a:ea typeface="Times New Roman" panose="02020603050405020304" pitchFamily="18" charset="0"/>
                      </a:endParaRPr>
                    </a:p>
                  </a:txBody>
                  <a:tcPr marL="19321" marR="19321" marT="0" marB="0">
                    <a:lnL w="12700" cap="flat" cmpd="sng" algn="ctr">
                      <a:solidFill>
                        <a:srgbClr val="87CBD8"/>
                      </a:solidFill>
                      <a:prstDash val="solid"/>
                      <a:round/>
                      <a:headEnd type="none" w="med" len="med"/>
                      <a:tailEnd type="none" w="med" len="med"/>
                    </a:lnL>
                    <a:lnR w="12700" cap="flat" cmpd="sng" algn="ctr">
                      <a:solidFill>
                        <a:srgbClr val="87CBD8"/>
                      </a:solidFill>
                      <a:prstDash val="solid"/>
                      <a:round/>
                      <a:headEnd type="none" w="med" len="med"/>
                      <a:tailEnd type="none" w="med" len="med"/>
                    </a:lnR>
                    <a:lnT w="12700" cap="flat" cmpd="sng" algn="ctr">
                      <a:solidFill>
                        <a:srgbClr val="87CBD8"/>
                      </a:solidFill>
                      <a:prstDash val="solid"/>
                      <a:round/>
                      <a:headEnd type="none" w="med" len="med"/>
                      <a:tailEnd type="none" w="med" len="med"/>
                    </a:lnT>
                    <a:lnB w="12700" cap="flat" cmpd="sng" algn="ctr">
                      <a:solidFill>
                        <a:srgbClr val="87CBD8"/>
                      </a:solidFill>
                      <a:prstDash val="solid"/>
                      <a:round/>
                      <a:headEnd type="none" w="med" len="med"/>
                      <a:tailEnd type="none" w="med" len="med"/>
                    </a:lnB>
                    <a:noFill/>
                  </a:tcPr>
                </a:tc>
                <a:extLst>
                  <a:ext uri="{0D108BD9-81ED-4DB2-BD59-A6C34878D82A}">
                    <a16:rowId xmlns:a16="http://schemas.microsoft.com/office/drawing/2014/main" val="3236270780"/>
                  </a:ext>
                </a:extLst>
              </a:tr>
              <a:tr h="128807">
                <a:tc>
                  <a:txBody>
                    <a:bodyPr/>
                    <a:lstStyle/>
                    <a:p>
                      <a:pPr algn="just">
                        <a:spcBef>
                          <a:spcPts val="600"/>
                        </a:spcBef>
                        <a:spcAft>
                          <a:spcPts val="0"/>
                        </a:spcAft>
                      </a:pPr>
                      <a:r>
                        <a:rPr lang="es-MX" sz="1200" b="1" dirty="0">
                          <a:solidFill>
                            <a:srgbClr val="0067B7"/>
                          </a:solidFill>
                          <a:effectLst/>
                        </a:rPr>
                        <a:t>Cantidad apropiada de datos</a:t>
                      </a:r>
                      <a:endParaRPr lang="en-US" sz="1200" b="1" dirty="0">
                        <a:solidFill>
                          <a:srgbClr val="0067B7"/>
                        </a:solidFill>
                        <a:effectLst/>
                        <a:latin typeface="Times New Roman" panose="02020603050405020304" pitchFamily="18" charset="0"/>
                        <a:ea typeface="Times New Roman" panose="02020603050405020304" pitchFamily="18" charset="0"/>
                      </a:endParaRPr>
                    </a:p>
                  </a:txBody>
                  <a:tcPr marL="19321" marR="19321" marT="0" marB="0">
                    <a:lnL w="12700" cap="flat" cmpd="sng" algn="ctr">
                      <a:solidFill>
                        <a:srgbClr val="87CBD8"/>
                      </a:solidFill>
                      <a:prstDash val="solid"/>
                      <a:round/>
                      <a:headEnd type="none" w="med" len="med"/>
                      <a:tailEnd type="none" w="med" len="med"/>
                    </a:lnL>
                    <a:lnR w="12700" cap="flat" cmpd="sng" algn="ctr">
                      <a:solidFill>
                        <a:srgbClr val="87CBD8"/>
                      </a:solidFill>
                      <a:prstDash val="solid"/>
                      <a:round/>
                      <a:headEnd type="none" w="med" len="med"/>
                      <a:tailEnd type="none" w="med" len="med"/>
                    </a:lnR>
                    <a:lnT w="12700" cap="flat" cmpd="sng" algn="ctr">
                      <a:solidFill>
                        <a:srgbClr val="87CBD8"/>
                      </a:solidFill>
                      <a:prstDash val="solid"/>
                      <a:round/>
                      <a:headEnd type="none" w="med" len="med"/>
                      <a:tailEnd type="none" w="med" len="med"/>
                    </a:lnT>
                    <a:lnB w="12700" cap="flat" cmpd="sng" algn="ctr">
                      <a:solidFill>
                        <a:srgbClr val="87CBD8"/>
                      </a:solidFill>
                      <a:prstDash val="solid"/>
                      <a:round/>
                      <a:headEnd type="none" w="med" len="med"/>
                      <a:tailEnd type="none" w="med" len="med"/>
                    </a:lnB>
                    <a:noFill/>
                  </a:tcPr>
                </a:tc>
                <a:tc>
                  <a:txBody>
                    <a:bodyPr/>
                    <a:lstStyle/>
                    <a:p>
                      <a:pPr algn="just">
                        <a:spcBef>
                          <a:spcPts val="600"/>
                        </a:spcBef>
                        <a:spcAft>
                          <a:spcPts val="0"/>
                        </a:spcAft>
                      </a:pPr>
                      <a:r>
                        <a:rPr lang="es-MX" sz="1200" b="0" dirty="0">
                          <a:solidFill>
                            <a:srgbClr val="0067B7"/>
                          </a:solidFill>
                          <a:effectLst/>
                        </a:rPr>
                        <a:t>Grado de cual volumen de datos es apropiado para la tarea en cuestión</a:t>
                      </a:r>
                      <a:endParaRPr lang="en-US" sz="1200" b="0" dirty="0">
                        <a:solidFill>
                          <a:srgbClr val="0067B7"/>
                        </a:solidFill>
                        <a:effectLst/>
                        <a:latin typeface="Times New Roman" panose="02020603050405020304" pitchFamily="18" charset="0"/>
                        <a:ea typeface="Times New Roman" panose="02020603050405020304" pitchFamily="18" charset="0"/>
                      </a:endParaRPr>
                    </a:p>
                  </a:txBody>
                  <a:tcPr marL="19321" marR="19321" marT="0" marB="0">
                    <a:lnL w="12700" cap="flat" cmpd="sng" algn="ctr">
                      <a:solidFill>
                        <a:srgbClr val="87CBD8"/>
                      </a:solidFill>
                      <a:prstDash val="solid"/>
                      <a:round/>
                      <a:headEnd type="none" w="med" len="med"/>
                      <a:tailEnd type="none" w="med" len="med"/>
                    </a:lnL>
                    <a:lnR w="12700" cap="flat" cmpd="sng" algn="ctr">
                      <a:solidFill>
                        <a:srgbClr val="87CBD8"/>
                      </a:solidFill>
                      <a:prstDash val="solid"/>
                      <a:round/>
                      <a:headEnd type="none" w="med" len="med"/>
                      <a:tailEnd type="none" w="med" len="med"/>
                    </a:lnR>
                    <a:lnT w="12700" cap="flat" cmpd="sng" algn="ctr">
                      <a:solidFill>
                        <a:srgbClr val="87CBD8"/>
                      </a:solidFill>
                      <a:prstDash val="solid"/>
                      <a:round/>
                      <a:headEnd type="none" w="med" len="med"/>
                      <a:tailEnd type="none" w="med" len="med"/>
                    </a:lnT>
                    <a:lnB w="12700" cap="flat" cmpd="sng" algn="ctr">
                      <a:solidFill>
                        <a:srgbClr val="87CBD8"/>
                      </a:solidFill>
                      <a:prstDash val="solid"/>
                      <a:round/>
                      <a:headEnd type="none" w="med" len="med"/>
                      <a:tailEnd type="none" w="med" len="med"/>
                    </a:lnB>
                    <a:noFill/>
                  </a:tcPr>
                </a:tc>
                <a:extLst>
                  <a:ext uri="{0D108BD9-81ED-4DB2-BD59-A6C34878D82A}">
                    <a16:rowId xmlns:a16="http://schemas.microsoft.com/office/drawing/2014/main" val="1241521865"/>
                  </a:ext>
                </a:extLst>
              </a:tr>
              <a:tr h="128807">
                <a:tc>
                  <a:txBody>
                    <a:bodyPr/>
                    <a:lstStyle/>
                    <a:p>
                      <a:pPr algn="just">
                        <a:spcBef>
                          <a:spcPts val="600"/>
                        </a:spcBef>
                        <a:spcAft>
                          <a:spcPts val="0"/>
                        </a:spcAft>
                      </a:pPr>
                      <a:r>
                        <a:rPr lang="es-MX" sz="1200" b="1" dirty="0">
                          <a:solidFill>
                            <a:srgbClr val="0067B7"/>
                          </a:solidFill>
                          <a:effectLst/>
                        </a:rPr>
                        <a:t>Creibilidad</a:t>
                      </a:r>
                      <a:endParaRPr lang="en-US" sz="1200" b="1" dirty="0">
                        <a:solidFill>
                          <a:srgbClr val="0067B7"/>
                        </a:solidFill>
                        <a:effectLst/>
                        <a:latin typeface="Times New Roman" panose="02020603050405020304" pitchFamily="18" charset="0"/>
                        <a:ea typeface="Times New Roman" panose="02020603050405020304" pitchFamily="18" charset="0"/>
                      </a:endParaRPr>
                    </a:p>
                  </a:txBody>
                  <a:tcPr marL="19321" marR="19321" marT="0" marB="0">
                    <a:lnL w="12700" cap="flat" cmpd="sng" algn="ctr">
                      <a:solidFill>
                        <a:srgbClr val="87CBD8"/>
                      </a:solidFill>
                      <a:prstDash val="solid"/>
                      <a:round/>
                      <a:headEnd type="none" w="med" len="med"/>
                      <a:tailEnd type="none" w="med" len="med"/>
                    </a:lnL>
                    <a:lnR w="12700" cap="flat" cmpd="sng" algn="ctr">
                      <a:solidFill>
                        <a:srgbClr val="87CBD8"/>
                      </a:solidFill>
                      <a:prstDash val="solid"/>
                      <a:round/>
                      <a:headEnd type="none" w="med" len="med"/>
                      <a:tailEnd type="none" w="med" len="med"/>
                    </a:lnR>
                    <a:lnT w="12700" cap="flat" cmpd="sng" algn="ctr">
                      <a:solidFill>
                        <a:srgbClr val="87CBD8"/>
                      </a:solidFill>
                      <a:prstDash val="solid"/>
                      <a:round/>
                      <a:headEnd type="none" w="med" len="med"/>
                      <a:tailEnd type="none" w="med" len="med"/>
                    </a:lnT>
                    <a:lnB w="12700" cap="flat" cmpd="sng" algn="ctr">
                      <a:solidFill>
                        <a:srgbClr val="87CBD8"/>
                      </a:solidFill>
                      <a:prstDash val="solid"/>
                      <a:round/>
                      <a:headEnd type="none" w="med" len="med"/>
                      <a:tailEnd type="none" w="med" len="med"/>
                    </a:lnB>
                    <a:noFill/>
                  </a:tcPr>
                </a:tc>
                <a:tc>
                  <a:txBody>
                    <a:bodyPr/>
                    <a:lstStyle/>
                    <a:p>
                      <a:pPr algn="just">
                        <a:spcBef>
                          <a:spcPts val="600"/>
                        </a:spcBef>
                        <a:spcAft>
                          <a:spcPts val="0"/>
                        </a:spcAft>
                      </a:pPr>
                      <a:r>
                        <a:rPr lang="es-ES" sz="1200" b="0" dirty="0">
                          <a:solidFill>
                            <a:srgbClr val="0067B7"/>
                          </a:solidFill>
                          <a:effectLst/>
                        </a:rPr>
                        <a:t>Grado en que los datos se consideran verdaderos y creíbles</a:t>
                      </a:r>
                      <a:endParaRPr lang="en-US" sz="1200" b="0" dirty="0">
                        <a:solidFill>
                          <a:srgbClr val="0067B7"/>
                        </a:solidFill>
                        <a:effectLst/>
                        <a:latin typeface="Times New Roman" panose="02020603050405020304" pitchFamily="18" charset="0"/>
                        <a:ea typeface="Times New Roman" panose="02020603050405020304" pitchFamily="18" charset="0"/>
                      </a:endParaRPr>
                    </a:p>
                  </a:txBody>
                  <a:tcPr marL="19321" marR="19321" marT="0" marB="0">
                    <a:lnL w="12700" cap="flat" cmpd="sng" algn="ctr">
                      <a:solidFill>
                        <a:srgbClr val="87CBD8"/>
                      </a:solidFill>
                      <a:prstDash val="solid"/>
                      <a:round/>
                      <a:headEnd type="none" w="med" len="med"/>
                      <a:tailEnd type="none" w="med" len="med"/>
                    </a:lnL>
                    <a:lnR w="12700" cap="flat" cmpd="sng" algn="ctr">
                      <a:solidFill>
                        <a:srgbClr val="87CBD8"/>
                      </a:solidFill>
                      <a:prstDash val="solid"/>
                      <a:round/>
                      <a:headEnd type="none" w="med" len="med"/>
                      <a:tailEnd type="none" w="med" len="med"/>
                    </a:lnR>
                    <a:lnT w="12700" cap="flat" cmpd="sng" algn="ctr">
                      <a:solidFill>
                        <a:srgbClr val="87CBD8"/>
                      </a:solidFill>
                      <a:prstDash val="solid"/>
                      <a:round/>
                      <a:headEnd type="none" w="med" len="med"/>
                      <a:tailEnd type="none" w="med" len="med"/>
                    </a:lnT>
                    <a:lnB w="12700" cap="flat" cmpd="sng" algn="ctr">
                      <a:solidFill>
                        <a:srgbClr val="87CBD8"/>
                      </a:solidFill>
                      <a:prstDash val="solid"/>
                      <a:round/>
                      <a:headEnd type="none" w="med" len="med"/>
                      <a:tailEnd type="none" w="med" len="med"/>
                    </a:lnB>
                    <a:noFill/>
                  </a:tcPr>
                </a:tc>
                <a:extLst>
                  <a:ext uri="{0D108BD9-81ED-4DB2-BD59-A6C34878D82A}">
                    <a16:rowId xmlns:a16="http://schemas.microsoft.com/office/drawing/2014/main" val="1998241103"/>
                  </a:ext>
                </a:extLst>
              </a:tr>
              <a:tr h="214679">
                <a:tc>
                  <a:txBody>
                    <a:bodyPr/>
                    <a:lstStyle/>
                    <a:p>
                      <a:pPr algn="just">
                        <a:spcBef>
                          <a:spcPts val="600"/>
                        </a:spcBef>
                        <a:spcAft>
                          <a:spcPts val="0"/>
                        </a:spcAft>
                      </a:pPr>
                      <a:r>
                        <a:rPr lang="es-MX" sz="1200" b="1" dirty="0">
                          <a:solidFill>
                            <a:srgbClr val="0067B7"/>
                          </a:solidFill>
                          <a:effectLst/>
                        </a:rPr>
                        <a:t>Completo</a:t>
                      </a:r>
                      <a:endParaRPr lang="en-US" sz="1200" b="1" dirty="0">
                        <a:solidFill>
                          <a:srgbClr val="0067B7"/>
                        </a:solidFill>
                        <a:effectLst/>
                        <a:latin typeface="Times New Roman" panose="02020603050405020304" pitchFamily="18" charset="0"/>
                        <a:ea typeface="Times New Roman" panose="02020603050405020304" pitchFamily="18" charset="0"/>
                      </a:endParaRPr>
                    </a:p>
                  </a:txBody>
                  <a:tcPr marL="19321" marR="19321" marT="0" marB="0">
                    <a:lnL w="12700" cap="flat" cmpd="sng" algn="ctr">
                      <a:solidFill>
                        <a:srgbClr val="87CBD8"/>
                      </a:solidFill>
                      <a:prstDash val="solid"/>
                      <a:round/>
                      <a:headEnd type="none" w="med" len="med"/>
                      <a:tailEnd type="none" w="med" len="med"/>
                    </a:lnL>
                    <a:lnR w="12700" cap="flat" cmpd="sng" algn="ctr">
                      <a:solidFill>
                        <a:srgbClr val="87CBD8"/>
                      </a:solidFill>
                      <a:prstDash val="solid"/>
                      <a:round/>
                      <a:headEnd type="none" w="med" len="med"/>
                      <a:tailEnd type="none" w="med" len="med"/>
                    </a:lnR>
                    <a:lnT w="12700" cap="flat" cmpd="sng" algn="ctr">
                      <a:solidFill>
                        <a:srgbClr val="87CBD8"/>
                      </a:solidFill>
                      <a:prstDash val="solid"/>
                      <a:round/>
                      <a:headEnd type="none" w="med" len="med"/>
                      <a:tailEnd type="none" w="med" len="med"/>
                    </a:lnT>
                    <a:lnB w="12700" cap="flat" cmpd="sng" algn="ctr">
                      <a:solidFill>
                        <a:srgbClr val="87CBD8"/>
                      </a:solidFill>
                      <a:prstDash val="solid"/>
                      <a:round/>
                      <a:headEnd type="none" w="med" len="med"/>
                      <a:tailEnd type="none" w="med" len="med"/>
                    </a:lnB>
                    <a:noFill/>
                  </a:tcPr>
                </a:tc>
                <a:tc>
                  <a:txBody>
                    <a:bodyPr/>
                    <a:lstStyle/>
                    <a:p>
                      <a:pPr algn="just">
                        <a:spcBef>
                          <a:spcPts val="600"/>
                        </a:spcBef>
                        <a:spcAft>
                          <a:spcPts val="0"/>
                        </a:spcAft>
                      </a:pPr>
                      <a:r>
                        <a:rPr lang="es-ES" sz="1200" b="0" dirty="0">
                          <a:solidFill>
                            <a:srgbClr val="0067B7"/>
                          </a:solidFill>
                          <a:effectLst/>
                        </a:rPr>
                        <a:t>Grado en el que no faltan datos y es de suficiente amplitud y profundidad para la tarea en cuestión</a:t>
                      </a:r>
                      <a:endParaRPr lang="en-US" sz="1200" b="0" dirty="0">
                        <a:solidFill>
                          <a:srgbClr val="0067B7"/>
                        </a:solidFill>
                        <a:effectLst/>
                        <a:latin typeface="Times New Roman" panose="02020603050405020304" pitchFamily="18" charset="0"/>
                        <a:ea typeface="Times New Roman" panose="02020603050405020304" pitchFamily="18" charset="0"/>
                      </a:endParaRPr>
                    </a:p>
                  </a:txBody>
                  <a:tcPr marL="19321" marR="19321" marT="0" marB="0">
                    <a:lnL w="12700" cap="flat" cmpd="sng" algn="ctr">
                      <a:solidFill>
                        <a:srgbClr val="87CBD8"/>
                      </a:solidFill>
                      <a:prstDash val="solid"/>
                      <a:round/>
                      <a:headEnd type="none" w="med" len="med"/>
                      <a:tailEnd type="none" w="med" len="med"/>
                    </a:lnL>
                    <a:lnR w="12700" cap="flat" cmpd="sng" algn="ctr">
                      <a:solidFill>
                        <a:srgbClr val="87CBD8"/>
                      </a:solidFill>
                      <a:prstDash val="solid"/>
                      <a:round/>
                      <a:headEnd type="none" w="med" len="med"/>
                      <a:tailEnd type="none" w="med" len="med"/>
                    </a:lnR>
                    <a:lnT w="12700" cap="flat" cmpd="sng" algn="ctr">
                      <a:solidFill>
                        <a:srgbClr val="87CBD8"/>
                      </a:solidFill>
                      <a:prstDash val="solid"/>
                      <a:round/>
                      <a:headEnd type="none" w="med" len="med"/>
                      <a:tailEnd type="none" w="med" len="med"/>
                    </a:lnT>
                    <a:lnB w="12700" cap="flat" cmpd="sng" algn="ctr">
                      <a:solidFill>
                        <a:srgbClr val="87CBD8"/>
                      </a:solidFill>
                      <a:prstDash val="solid"/>
                      <a:round/>
                      <a:headEnd type="none" w="med" len="med"/>
                      <a:tailEnd type="none" w="med" len="med"/>
                    </a:lnB>
                    <a:noFill/>
                  </a:tcPr>
                </a:tc>
                <a:extLst>
                  <a:ext uri="{0D108BD9-81ED-4DB2-BD59-A6C34878D82A}">
                    <a16:rowId xmlns:a16="http://schemas.microsoft.com/office/drawing/2014/main" val="1391214773"/>
                  </a:ext>
                </a:extLst>
              </a:tr>
              <a:tr h="128807">
                <a:tc>
                  <a:txBody>
                    <a:bodyPr/>
                    <a:lstStyle/>
                    <a:p>
                      <a:pPr algn="just">
                        <a:spcBef>
                          <a:spcPts val="600"/>
                        </a:spcBef>
                        <a:spcAft>
                          <a:spcPts val="0"/>
                        </a:spcAft>
                      </a:pPr>
                      <a:r>
                        <a:rPr lang="es-MX" sz="1200" b="1" dirty="0">
                          <a:solidFill>
                            <a:srgbClr val="0067B7"/>
                          </a:solidFill>
                          <a:effectLst/>
                        </a:rPr>
                        <a:t>Representación consistente</a:t>
                      </a:r>
                      <a:endParaRPr lang="en-US" sz="1200" b="1" dirty="0">
                        <a:solidFill>
                          <a:srgbClr val="0067B7"/>
                        </a:solidFill>
                        <a:effectLst/>
                        <a:latin typeface="Times New Roman" panose="02020603050405020304" pitchFamily="18" charset="0"/>
                        <a:ea typeface="Times New Roman" panose="02020603050405020304" pitchFamily="18" charset="0"/>
                      </a:endParaRPr>
                    </a:p>
                  </a:txBody>
                  <a:tcPr marL="19321" marR="19321" marT="0" marB="0">
                    <a:lnL w="12700" cap="flat" cmpd="sng" algn="ctr">
                      <a:solidFill>
                        <a:srgbClr val="87CBD8"/>
                      </a:solidFill>
                      <a:prstDash val="solid"/>
                      <a:round/>
                      <a:headEnd type="none" w="med" len="med"/>
                      <a:tailEnd type="none" w="med" len="med"/>
                    </a:lnL>
                    <a:lnR w="12700" cap="flat" cmpd="sng" algn="ctr">
                      <a:solidFill>
                        <a:srgbClr val="87CBD8"/>
                      </a:solidFill>
                      <a:prstDash val="solid"/>
                      <a:round/>
                      <a:headEnd type="none" w="med" len="med"/>
                      <a:tailEnd type="none" w="med" len="med"/>
                    </a:lnR>
                    <a:lnT w="12700" cap="flat" cmpd="sng" algn="ctr">
                      <a:solidFill>
                        <a:srgbClr val="87CBD8"/>
                      </a:solidFill>
                      <a:prstDash val="solid"/>
                      <a:round/>
                      <a:headEnd type="none" w="med" len="med"/>
                      <a:tailEnd type="none" w="med" len="med"/>
                    </a:lnT>
                    <a:lnB w="12700" cap="flat" cmpd="sng" algn="ctr">
                      <a:solidFill>
                        <a:srgbClr val="87CBD8"/>
                      </a:solidFill>
                      <a:prstDash val="solid"/>
                      <a:round/>
                      <a:headEnd type="none" w="med" len="med"/>
                      <a:tailEnd type="none" w="med" len="med"/>
                    </a:lnB>
                    <a:noFill/>
                  </a:tcPr>
                </a:tc>
                <a:tc>
                  <a:txBody>
                    <a:bodyPr/>
                    <a:lstStyle/>
                    <a:p>
                      <a:pPr algn="just">
                        <a:spcBef>
                          <a:spcPts val="600"/>
                        </a:spcBef>
                        <a:spcAft>
                          <a:spcPts val="0"/>
                        </a:spcAft>
                      </a:pPr>
                      <a:r>
                        <a:rPr lang="es-MX" sz="1200" b="0" dirty="0">
                          <a:solidFill>
                            <a:srgbClr val="0067B7"/>
                          </a:solidFill>
                          <a:effectLst/>
                        </a:rPr>
                        <a:t>Grado en que los datos se presentan en el mismo formato</a:t>
                      </a:r>
                      <a:endParaRPr lang="en-US" sz="1200" b="0" dirty="0">
                        <a:solidFill>
                          <a:srgbClr val="0067B7"/>
                        </a:solidFill>
                        <a:effectLst/>
                        <a:latin typeface="Times New Roman" panose="02020603050405020304" pitchFamily="18" charset="0"/>
                        <a:ea typeface="Times New Roman" panose="02020603050405020304" pitchFamily="18" charset="0"/>
                      </a:endParaRPr>
                    </a:p>
                  </a:txBody>
                  <a:tcPr marL="19321" marR="19321" marT="0" marB="0">
                    <a:lnL w="12700" cap="flat" cmpd="sng" algn="ctr">
                      <a:solidFill>
                        <a:srgbClr val="87CBD8"/>
                      </a:solidFill>
                      <a:prstDash val="solid"/>
                      <a:round/>
                      <a:headEnd type="none" w="med" len="med"/>
                      <a:tailEnd type="none" w="med" len="med"/>
                    </a:lnL>
                    <a:lnR w="12700" cap="flat" cmpd="sng" algn="ctr">
                      <a:solidFill>
                        <a:srgbClr val="87CBD8"/>
                      </a:solidFill>
                      <a:prstDash val="solid"/>
                      <a:round/>
                      <a:headEnd type="none" w="med" len="med"/>
                      <a:tailEnd type="none" w="med" len="med"/>
                    </a:lnR>
                    <a:lnT w="12700" cap="flat" cmpd="sng" algn="ctr">
                      <a:solidFill>
                        <a:srgbClr val="87CBD8"/>
                      </a:solidFill>
                      <a:prstDash val="solid"/>
                      <a:round/>
                      <a:headEnd type="none" w="med" len="med"/>
                      <a:tailEnd type="none" w="med" len="med"/>
                    </a:lnT>
                    <a:lnB w="12700" cap="flat" cmpd="sng" algn="ctr">
                      <a:solidFill>
                        <a:srgbClr val="87CBD8"/>
                      </a:solidFill>
                      <a:prstDash val="solid"/>
                      <a:round/>
                      <a:headEnd type="none" w="med" len="med"/>
                      <a:tailEnd type="none" w="med" len="med"/>
                    </a:lnB>
                    <a:noFill/>
                  </a:tcPr>
                </a:tc>
                <a:extLst>
                  <a:ext uri="{0D108BD9-81ED-4DB2-BD59-A6C34878D82A}">
                    <a16:rowId xmlns:a16="http://schemas.microsoft.com/office/drawing/2014/main" val="3650465365"/>
                  </a:ext>
                </a:extLst>
              </a:tr>
              <a:tr h="171743">
                <a:tc>
                  <a:txBody>
                    <a:bodyPr/>
                    <a:lstStyle/>
                    <a:p>
                      <a:pPr algn="just">
                        <a:spcBef>
                          <a:spcPts val="600"/>
                        </a:spcBef>
                        <a:spcAft>
                          <a:spcPts val="0"/>
                        </a:spcAft>
                      </a:pPr>
                      <a:r>
                        <a:rPr lang="es-MX" sz="1200" b="1" dirty="0">
                          <a:solidFill>
                            <a:srgbClr val="0067B7"/>
                          </a:solidFill>
                          <a:effectLst/>
                        </a:rPr>
                        <a:t>Facilidad de manipulación</a:t>
                      </a:r>
                      <a:endParaRPr lang="en-US" sz="1200" b="1" dirty="0">
                        <a:solidFill>
                          <a:srgbClr val="0067B7"/>
                        </a:solidFill>
                        <a:effectLst/>
                        <a:latin typeface="Times New Roman" panose="02020603050405020304" pitchFamily="18" charset="0"/>
                        <a:ea typeface="Times New Roman" panose="02020603050405020304" pitchFamily="18" charset="0"/>
                      </a:endParaRPr>
                    </a:p>
                  </a:txBody>
                  <a:tcPr marL="19321" marR="19321" marT="0" marB="0">
                    <a:lnL w="12700" cap="flat" cmpd="sng" algn="ctr">
                      <a:solidFill>
                        <a:srgbClr val="87CBD8"/>
                      </a:solidFill>
                      <a:prstDash val="solid"/>
                      <a:round/>
                      <a:headEnd type="none" w="med" len="med"/>
                      <a:tailEnd type="none" w="med" len="med"/>
                    </a:lnL>
                    <a:lnR w="12700" cap="flat" cmpd="sng" algn="ctr">
                      <a:solidFill>
                        <a:srgbClr val="87CBD8"/>
                      </a:solidFill>
                      <a:prstDash val="solid"/>
                      <a:round/>
                      <a:headEnd type="none" w="med" len="med"/>
                      <a:tailEnd type="none" w="med" len="med"/>
                    </a:lnR>
                    <a:lnT w="12700" cap="flat" cmpd="sng" algn="ctr">
                      <a:solidFill>
                        <a:srgbClr val="87CBD8"/>
                      </a:solidFill>
                      <a:prstDash val="solid"/>
                      <a:round/>
                      <a:headEnd type="none" w="med" len="med"/>
                      <a:tailEnd type="none" w="med" len="med"/>
                    </a:lnT>
                    <a:lnB w="12700" cap="flat" cmpd="sng" algn="ctr">
                      <a:solidFill>
                        <a:srgbClr val="87CBD8"/>
                      </a:solidFill>
                      <a:prstDash val="solid"/>
                      <a:round/>
                      <a:headEnd type="none" w="med" len="med"/>
                      <a:tailEnd type="none" w="med" len="med"/>
                    </a:lnB>
                    <a:noFill/>
                  </a:tcPr>
                </a:tc>
                <a:tc>
                  <a:txBody>
                    <a:bodyPr/>
                    <a:lstStyle/>
                    <a:p>
                      <a:pPr algn="just">
                        <a:spcBef>
                          <a:spcPts val="600"/>
                        </a:spcBef>
                        <a:spcAft>
                          <a:spcPts val="0"/>
                        </a:spcAft>
                      </a:pPr>
                      <a:r>
                        <a:rPr lang="es-MX" sz="1200" b="0" dirty="0">
                          <a:solidFill>
                            <a:srgbClr val="0067B7"/>
                          </a:solidFill>
                          <a:effectLst/>
                        </a:rPr>
                        <a:t>Grado en que los datos son fáciles de manipular y aplicar a diferentes tareas</a:t>
                      </a:r>
                      <a:endParaRPr lang="en-US" sz="1200" b="0" dirty="0">
                        <a:solidFill>
                          <a:srgbClr val="0067B7"/>
                        </a:solidFill>
                        <a:effectLst/>
                        <a:latin typeface="Times New Roman" panose="02020603050405020304" pitchFamily="18" charset="0"/>
                        <a:ea typeface="Times New Roman" panose="02020603050405020304" pitchFamily="18" charset="0"/>
                      </a:endParaRPr>
                    </a:p>
                  </a:txBody>
                  <a:tcPr marL="19321" marR="19321" marT="0" marB="0">
                    <a:lnL w="12700" cap="flat" cmpd="sng" algn="ctr">
                      <a:solidFill>
                        <a:srgbClr val="87CBD8"/>
                      </a:solidFill>
                      <a:prstDash val="solid"/>
                      <a:round/>
                      <a:headEnd type="none" w="med" len="med"/>
                      <a:tailEnd type="none" w="med" len="med"/>
                    </a:lnL>
                    <a:lnR w="12700" cap="flat" cmpd="sng" algn="ctr">
                      <a:solidFill>
                        <a:srgbClr val="87CBD8"/>
                      </a:solidFill>
                      <a:prstDash val="solid"/>
                      <a:round/>
                      <a:headEnd type="none" w="med" len="med"/>
                      <a:tailEnd type="none" w="med" len="med"/>
                    </a:lnR>
                    <a:lnT w="12700" cap="flat" cmpd="sng" algn="ctr">
                      <a:solidFill>
                        <a:srgbClr val="87CBD8"/>
                      </a:solidFill>
                      <a:prstDash val="solid"/>
                      <a:round/>
                      <a:headEnd type="none" w="med" len="med"/>
                      <a:tailEnd type="none" w="med" len="med"/>
                    </a:lnT>
                    <a:lnB w="12700" cap="flat" cmpd="sng" algn="ctr">
                      <a:solidFill>
                        <a:srgbClr val="87CBD8"/>
                      </a:solidFill>
                      <a:prstDash val="solid"/>
                      <a:round/>
                      <a:headEnd type="none" w="med" len="med"/>
                      <a:tailEnd type="none" w="med" len="med"/>
                    </a:lnB>
                    <a:noFill/>
                  </a:tcPr>
                </a:tc>
                <a:extLst>
                  <a:ext uri="{0D108BD9-81ED-4DB2-BD59-A6C34878D82A}">
                    <a16:rowId xmlns:a16="http://schemas.microsoft.com/office/drawing/2014/main" val="3179380783"/>
                  </a:ext>
                </a:extLst>
              </a:tr>
              <a:tr h="128807">
                <a:tc>
                  <a:txBody>
                    <a:bodyPr/>
                    <a:lstStyle/>
                    <a:p>
                      <a:pPr algn="just">
                        <a:spcBef>
                          <a:spcPts val="600"/>
                        </a:spcBef>
                        <a:spcAft>
                          <a:spcPts val="0"/>
                        </a:spcAft>
                      </a:pPr>
                      <a:r>
                        <a:rPr lang="es-MX" sz="1200" b="1" dirty="0">
                          <a:solidFill>
                            <a:srgbClr val="0067B7"/>
                          </a:solidFill>
                          <a:effectLst/>
                        </a:rPr>
                        <a:t>Libre de errores</a:t>
                      </a:r>
                      <a:endParaRPr lang="en-US" sz="1200" b="1" dirty="0">
                        <a:solidFill>
                          <a:srgbClr val="0067B7"/>
                        </a:solidFill>
                        <a:effectLst/>
                        <a:latin typeface="Times New Roman" panose="02020603050405020304" pitchFamily="18" charset="0"/>
                        <a:ea typeface="Times New Roman" panose="02020603050405020304" pitchFamily="18" charset="0"/>
                      </a:endParaRPr>
                    </a:p>
                  </a:txBody>
                  <a:tcPr marL="19321" marR="19321" marT="0" marB="0">
                    <a:lnL w="12700" cap="flat" cmpd="sng" algn="ctr">
                      <a:solidFill>
                        <a:srgbClr val="87CBD8"/>
                      </a:solidFill>
                      <a:prstDash val="solid"/>
                      <a:round/>
                      <a:headEnd type="none" w="med" len="med"/>
                      <a:tailEnd type="none" w="med" len="med"/>
                    </a:lnL>
                    <a:lnR w="12700" cap="flat" cmpd="sng" algn="ctr">
                      <a:solidFill>
                        <a:srgbClr val="87CBD8"/>
                      </a:solidFill>
                      <a:prstDash val="solid"/>
                      <a:round/>
                      <a:headEnd type="none" w="med" len="med"/>
                      <a:tailEnd type="none" w="med" len="med"/>
                    </a:lnR>
                    <a:lnT w="12700" cap="flat" cmpd="sng" algn="ctr">
                      <a:solidFill>
                        <a:srgbClr val="87CBD8"/>
                      </a:solidFill>
                      <a:prstDash val="solid"/>
                      <a:round/>
                      <a:headEnd type="none" w="med" len="med"/>
                      <a:tailEnd type="none" w="med" len="med"/>
                    </a:lnT>
                    <a:lnB w="12700" cap="flat" cmpd="sng" algn="ctr">
                      <a:solidFill>
                        <a:srgbClr val="87CBD8"/>
                      </a:solidFill>
                      <a:prstDash val="solid"/>
                      <a:round/>
                      <a:headEnd type="none" w="med" len="med"/>
                      <a:tailEnd type="none" w="med" len="med"/>
                    </a:lnB>
                    <a:noFill/>
                  </a:tcPr>
                </a:tc>
                <a:tc>
                  <a:txBody>
                    <a:bodyPr/>
                    <a:lstStyle/>
                    <a:p>
                      <a:pPr algn="just">
                        <a:spcBef>
                          <a:spcPts val="600"/>
                        </a:spcBef>
                        <a:spcAft>
                          <a:spcPts val="0"/>
                        </a:spcAft>
                      </a:pPr>
                      <a:r>
                        <a:rPr lang="es-MX" sz="1200" b="0">
                          <a:solidFill>
                            <a:srgbClr val="0067B7"/>
                          </a:solidFill>
                          <a:effectLst/>
                        </a:rPr>
                        <a:t>Grado en que los datos son correctos y confiables</a:t>
                      </a:r>
                      <a:endParaRPr lang="en-US" sz="1200" b="0">
                        <a:solidFill>
                          <a:srgbClr val="0067B7"/>
                        </a:solidFill>
                        <a:effectLst/>
                        <a:latin typeface="Times New Roman" panose="02020603050405020304" pitchFamily="18" charset="0"/>
                        <a:ea typeface="Times New Roman" panose="02020603050405020304" pitchFamily="18" charset="0"/>
                      </a:endParaRPr>
                    </a:p>
                  </a:txBody>
                  <a:tcPr marL="19321" marR="19321" marT="0" marB="0">
                    <a:lnL w="12700" cap="flat" cmpd="sng" algn="ctr">
                      <a:solidFill>
                        <a:srgbClr val="87CBD8"/>
                      </a:solidFill>
                      <a:prstDash val="solid"/>
                      <a:round/>
                      <a:headEnd type="none" w="med" len="med"/>
                      <a:tailEnd type="none" w="med" len="med"/>
                    </a:lnL>
                    <a:lnR w="12700" cap="flat" cmpd="sng" algn="ctr">
                      <a:solidFill>
                        <a:srgbClr val="87CBD8"/>
                      </a:solidFill>
                      <a:prstDash val="solid"/>
                      <a:round/>
                      <a:headEnd type="none" w="med" len="med"/>
                      <a:tailEnd type="none" w="med" len="med"/>
                    </a:lnR>
                    <a:lnT w="12700" cap="flat" cmpd="sng" algn="ctr">
                      <a:solidFill>
                        <a:srgbClr val="87CBD8"/>
                      </a:solidFill>
                      <a:prstDash val="solid"/>
                      <a:round/>
                      <a:headEnd type="none" w="med" len="med"/>
                      <a:tailEnd type="none" w="med" len="med"/>
                    </a:lnT>
                    <a:lnB w="12700" cap="flat" cmpd="sng" algn="ctr">
                      <a:solidFill>
                        <a:srgbClr val="87CBD8"/>
                      </a:solidFill>
                      <a:prstDash val="solid"/>
                      <a:round/>
                      <a:headEnd type="none" w="med" len="med"/>
                      <a:tailEnd type="none" w="med" len="med"/>
                    </a:lnB>
                    <a:noFill/>
                  </a:tcPr>
                </a:tc>
                <a:extLst>
                  <a:ext uri="{0D108BD9-81ED-4DB2-BD59-A6C34878D82A}">
                    <a16:rowId xmlns:a16="http://schemas.microsoft.com/office/drawing/2014/main" val="8554222"/>
                  </a:ext>
                </a:extLst>
              </a:tr>
              <a:tr h="103126">
                <a:tc>
                  <a:txBody>
                    <a:bodyPr/>
                    <a:lstStyle/>
                    <a:p>
                      <a:pPr algn="just">
                        <a:spcBef>
                          <a:spcPts val="600"/>
                        </a:spcBef>
                        <a:spcAft>
                          <a:spcPts val="0"/>
                        </a:spcAft>
                      </a:pPr>
                      <a:r>
                        <a:rPr lang="es-MX" sz="1200" b="1" dirty="0">
                          <a:solidFill>
                            <a:srgbClr val="0067B7"/>
                          </a:solidFill>
                          <a:effectLst/>
                        </a:rPr>
                        <a:t>Interpretabilidad</a:t>
                      </a:r>
                      <a:endParaRPr lang="en-US" sz="1200" b="1" dirty="0">
                        <a:solidFill>
                          <a:srgbClr val="0067B7"/>
                        </a:solidFill>
                        <a:effectLst/>
                        <a:latin typeface="Times New Roman" panose="02020603050405020304" pitchFamily="18" charset="0"/>
                        <a:ea typeface="Times New Roman" panose="02020603050405020304" pitchFamily="18" charset="0"/>
                      </a:endParaRPr>
                    </a:p>
                  </a:txBody>
                  <a:tcPr marL="19321" marR="19321" marT="0" marB="0">
                    <a:lnL w="12700" cap="flat" cmpd="sng" algn="ctr">
                      <a:solidFill>
                        <a:srgbClr val="87CBD8"/>
                      </a:solidFill>
                      <a:prstDash val="solid"/>
                      <a:round/>
                      <a:headEnd type="none" w="med" len="med"/>
                      <a:tailEnd type="none" w="med" len="med"/>
                    </a:lnL>
                    <a:lnR w="12700" cap="flat" cmpd="sng" algn="ctr">
                      <a:solidFill>
                        <a:srgbClr val="87CBD8"/>
                      </a:solidFill>
                      <a:prstDash val="solid"/>
                      <a:round/>
                      <a:headEnd type="none" w="med" len="med"/>
                      <a:tailEnd type="none" w="med" len="med"/>
                    </a:lnR>
                    <a:lnT w="12700" cap="flat" cmpd="sng" algn="ctr">
                      <a:solidFill>
                        <a:srgbClr val="87CBD8"/>
                      </a:solidFill>
                      <a:prstDash val="solid"/>
                      <a:round/>
                      <a:headEnd type="none" w="med" len="med"/>
                      <a:tailEnd type="none" w="med" len="med"/>
                    </a:lnT>
                    <a:lnB w="12700" cap="flat" cmpd="sng" algn="ctr">
                      <a:solidFill>
                        <a:srgbClr val="87CBD8"/>
                      </a:solidFill>
                      <a:prstDash val="solid"/>
                      <a:round/>
                      <a:headEnd type="none" w="med" len="med"/>
                      <a:tailEnd type="none" w="med" len="med"/>
                    </a:lnB>
                    <a:noFill/>
                  </a:tcPr>
                </a:tc>
                <a:tc>
                  <a:txBody>
                    <a:bodyPr/>
                    <a:lstStyle/>
                    <a:p>
                      <a:pPr algn="just">
                        <a:spcBef>
                          <a:spcPts val="600"/>
                        </a:spcBef>
                        <a:spcAft>
                          <a:spcPts val="0"/>
                        </a:spcAft>
                      </a:pPr>
                      <a:r>
                        <a:rPr lang="es-MX" sz="1200" b="0" dirty="0">
                          <a:solidFill>
                            <a:srgbClr val="0067B7"/>
                          </a:solidFill>
                          <a:effectLst/>
                        </a:rPr>
                        <a:t>Grado en que los datos están en los idiomas, símbolos y unidades apropiados, y las definiciones son claras</a:t>
                      </a:r>
                      <a:endParaRPr lang="en-US" sz="1200" b="0" dirty="0">
                        <a:solidFill>
                          <a:srgbClr val="0067B7"/>
                        </a:solidFill>
                        <a:effectLst/>
                        <a:latin typeface="Times New Roman" panose="02020603050405020304" pitchFamily="18" charset="0"/>
                        <a:ea typeface="Times New Roman" panose="02020603050405020304" pitchFamily="18" charset="0"/>
                      </a:endParaRPr>
                    </a:p>
                  </a:txBody>
                  <a:tcPr marL="19321" marR="19321" marT="0" marB="0">
                    <a:lnL w="12700" cap="flat" cmpd="sng" algn="ctr">
                      <a:solidFill>
                        <a:srgbClr val="87CBD8"/>
                      </a:solidFill>
                      <a:prstDash val="solid"/>
                      <a:round/>
                      <a:headEnd type="none" w="med" len="med"/>
                      <a:tailEnd type="none" w="med" len="med"/>
                    </a:lnL>
                    <a:lnR w="12700" cap="flat" cmpd="sng" algn="ctr">
                      <a:solidFill>
                        <a:srgbClr val="87CBD8"/>
                      </a:solidFill>
                      <a:prstDash val="solid"/>
                      <a:round/>
                      <a:headEnd type="none" w="med" len="med"/>
                      <a:tailEnd type="none" w="med" len="med"/>
                    </a:lnR>
                    <a:lnT w="12700" cap="flat" cmpd="sng" algn="ctr">
                      <a:solidFill>
                        <a:srgbClr val="87CBD8"/>
                      </a:solidFill>
                      <a:prstDash val="solid"/>
                      <a:round/>
                      <a:headEnd type="none" w="med" len="med"/>
                      <a:tailEnd type="none" w="med" len="med"/>
                    </a:lnT>
                    <a:lnB w="12700" cap="flat" cmpd="sng" algn="ctr">
                      <a:solidFill>
                        <a:srgbClr val="87CBD8"/>
                      </a:solidFill>
                      <a:prstDash val="solid"/>
                      <a:round/>
                      <a:headEnd type="none" w="med" len="med"/>
                      <a:tailEnd type="none" w="med" len="med"/>
                    </a:lnB>
                    <a:noFill/>
                  </a:tcPr>
                </a:tc>
                <a:extLst>
                  <a:ext uri="{0D108BD9-81ED-4DB2-BD59-A6C34878D82A}">
                    <a16:rowId xmlns:a16="http://schemas.microsoft.com/office/drawing/2014/main" val="3902399979"/>
                  </a:ext>
                </a:extLst>
              </a:tr>
              <a:tr h="128807">
                <a:tc>
                  <a:txBody>
                    <a:bodyPr/>
                    <a:lstStyle/>
                    <a:p>
                      <a:pPr algn="just">
                        <a:spcBef>
                          <a:spcPts val="600"/>
                        </a:spcBef>
                        <a:spcAft>
                          <a:spcPts val="0"/>
                        </a:spcAft>
                      </a:pPr>
                      <a:r>
                        <a:rPr lang="es-MX" sz="1200" b="1" dirty="0">
                          <a:solidFill>
                            <a:srgbClr val="0067B7"/>
                          </a:solidFill>
                          <a:effectLst/>
                        </a:rPr>
                        <a:t>Objetividad</a:t>
                      </a:r>
                      <a:endParaRPr lang="en-US" sz="1200" b="1" dirty="0">
                        <a:solidFill>
                          <a:srgbClr val="0067B7"/>
                        </a:solidFill>
                        <a:effectLst/>
                        <a:latin typeface="Times New Roman" panose="02020603050405020304" pitchFamily="18" charset="0"/>
                        <a:ea typeface="Times New Roman" panose="02020603050405020304" pitchFamily="18" charset="0"/>
                      </a:endParaRPr>
                    </a:p>
                  </a:txBody>
                  <a:tcPr marL="19321" marR="19321" marT="0" marB="0">
                    <a:lnL w="12700" cap="flat" cmpd="sng" algn="ctr">
                      <a:solidFill>
                        <a:srgbClr val="87CBD8"/>
                      </a:solidFill>
                      <a:prstDash val="solid"/>
                      <a:round/>
                      <a:headEnd type="none" w="med" len="med"/>
                      <a:tailEnd type="none" w="med" len="med"/>
                    </a:lnL>
                    <a:lnR w="12700" cap="flat" cmpd="sng" algn="ctr">
                      <a:solidFill>
                        <a:srgbClr val="87CBD8"/>
                      </a:solidFill>
                      <a:prstDash val="solid"/>
                      <a:round/>
                      <a:headEnd type="none" w="med" len="med"/>
                      <a:tailEnd type="none" w="med" len="med"/>
                    </a:lnR>
                    <a:lnT w="12700" cap="flat" cmpd="sng" algn="ctr">
                      <a:solidFill>
                        <a:srgbClr val="87CBD8"/>
                      </a:solidFill>
                      <a:prstDash val="solid"/>
                      <a:round/>
                      <a:headEnd type="none" w="med" len="med"/>
                      <a:tailEnd type="none" w="med" len="med"/>
                    </a:lnT>
                    <a:lnB w="12700" cap="flat" cmpd="sng" algn="ctr">
                      <a:solidFill>
                        <a:srgbClr val="87CBD8"/>
                      </a:solidFill>
                      <a:prstDash val="solid"/>
                      <a:round/>
                      <a:headEnd type="none" w="med" len="med"/>
                      <a:tailEnd type="none" w="med" len="med"/>
                    </a:lnB>
                    <a:noFill/>
                  </a:tcPr>
                </a:tc>
                <a:tc>
                  <a:txBody>
                    <a:bodyPr/>
                    <a:lstStyle/>
                    <a:p>
                      <a:pPr algn="just">
                        <a:spcBef>
                          <a:spcPts val="600"/>
                        </a:spcBef>
                        <a:spcAft>
                          <a:spcPts val="0"/>
                        </a:spcAft>
                      </a:pPr>
                      <a:r>
                        <a:rPr lang="es-MX" sz="1200" b="0" dirty="0">
                          <a:solidFill>
                            <a:srgbClr val="0067B7"/>
                          </a:solidFill>
                          <a:effectLst/>
                        </a:rPr>
                        <a:t>Grado en que los datos son imparciales, sin prejuicios e imparciales</a:t>
                      </a:r>
                      <a:endParaRPr lang="en-US" sz="1200" b="0" dirty="0">
                        <a:solidFill>
                          <a:srgbClr val="0067B7"/>
                        </a:solidFill>
                        <a:effectLst/>
                        <a:latin typeface="Times New Roman" panose="02020603050405020304" pitchFamily="18" charset="0"/>
                        <a:ea typeface="Times New Roman" panose="02020603050405020304" pitchFamily="18" charset="0"/>
                      </a:endParaRPr>
                    </a:p>
                  </a:txBody>
                  <a:tcPr marL="19321" marR="19321" marT="0" marB="0">
                    <a:lnL w="12700" cap="flat" cmpd="sng" algn="ctr">
                      <a:solidFill>
                        <a:srgbClr val="87CBD8"/>
                      </a:solidFill>
                      <a:prstDash val="solid"/>
                      <a:round/>
                      <a:headEnd type="none" w="med" len="med"/>
                      <a:tailEnd type="none" w="med" len="med"/>
                    </a:lnL>
                    <a:lnR w="12700" cap="flat" cmpd="sng" algn="ctr">
                      <a:solidFill>
                        <a:srgbClr val="87CBD8"/>
                      </a:solidFill>
                      <a:prstDash val="solid"/>
                      <a:round/>
                      <a:headEnd type="none" w="med" len="med"/>
                      <a:tailEnd type="none" w="med" len="med"/>
                    </a:lnR>
                    <a:lnT w="12700" cap="flat" cmpd="sng" algn="ctr">
                      <a:solidFill>
                        <a:srgbClr val="87CBD8"/>
                      </a:solidFill>
                      <a:prstDash val="solid"/>
                      <a:round/>
                      <a:headEnd type="none" w="med" len="med"/>
                      <a:tailEnd type="none" w="med" len="med"/>
                    </a:lnT>
                    <a:lnB w="12700" cap="flat" cmpd="sng" algn="ctr">
                      <a:solidFill>
                        <a:srgbClr val="87CBD8"/>
                      </a:solidFill>
                      <a:prstDash val="solid"/>
                      <a:round/>
                      <a:headEnd type="none" w="med" len="med"/>
                      <a:tailEnd type="none" w="med" len="med"/>
                    </a:lnB>
                    <a:noFill/>
                  </a:tcPr>
                </a:tc>
                <a:extLst>
                  <a:ext uri="{0D108BD9-81ED-4DB2-BD59-A6C34878D82A}">
                    <a16:rowId xmlns:a16="http://schemas.microsoft.com/office/drawing/2014/main" val="3615220981"/>
                  </a:ext>
                </a:extLst>
              </a:tr>
              <a:tr h="0">
                <a:tc>
                  <a:txBody>
                    <a:bodyPr/>
                    <a:lstStyle/>
                    <a:p>
                      <a:pPr algn="just">
                        <a:spcBef>
                          <a:spcPts val="600"/>
                        </a:spcBef>
                        <a:spcAft>
                          <a:spcPts val="0"/>
                        </a:spcAft>
                      </a:pPr>
                      <a:r>
                        <a:rPr lang="es-MX" sz="1200" b="1" dirty="0">
                          <a:solidFill>
                            <a:srgbClr val="0067B7"/>
                          </a:solidFill>
                          <a:effectLst/>
                        </a:rPr>
                        <a:t>Pertinencia</a:t>
                      </a:r>
                      <a:endParaRPr lang="en-US" sz="1200" b="1" dirty="0">
                        <a:solidFill>
                          <a:srgbClr val="0067B7"/>
                        </a:solidFill>
                        <a:effectLst/>
                        <a:latin typeface="Times New Roman" panose="02020603050405020304" pitchFamily="18" charset="0"/>
                        <a:ea typeface="Times New Roman" panose="02020603050405020304" pitchFamily="18" charset="0"/>
                      </a:endParaRPr>
                    </a:p>
                  </a:txBody>
                  <a:tcPr marL="19321" marR="19321" marT="0" marB="0">
                    <a:lnL w="12700" cap="flat" cmpd="sng" algn="ctr">
                      <a:solidFill>
                        <a:srgbClr val="87CBD8"/>
                      </a:solidFill>
                      <a:prstDash val="solid"/>
                      <a:round/>
                      <a:headEnd type="none" w="med" len="med"/>
                      <a:tailEnd type="none" w="med" len="med"/>
                    </a:lnL>
                    <a:lnR w="12700" cap="flat" cmpd="sng" algn="ctr">
                      <a:solidFill>
                        <a:srgbClr val="87CBD8"/>
                      </a:solidFill>
                      <a:prstDash val="solid"/>
                      <a:round/>
                      <a:headEnd type="none" w="med" len="med"/>
                      <a:tailEnd type="none" w="med" len="med"/>
                    </a:lnR>
                    <a:lnT w="12700" cap="flat" cmpd="sng" algn="ctr">
                      <a:solidFill>
                        <a:srgbClr val="87CBD8"/>
                      </a:solidFill>
                      <a:prstDash val="solid"/>
                      <a:round/>
                      <a:headEnd type="none" w="med" len="med"/>
                      <a:tailEnd type="none" w="med" len="med"/>
                    </a:lnT>
                    <a:lnB w="12700" cap="flat" cmpd="sng" algn="ctr">
                      <a:solidFill>
                        <a:srgbClr val="87CBD8"/>
                      </a:solidFill>
                      <a:prstDash val="solid"/>
                      <a:round/>
                      <a:headEnd type="none" w="med" len="med"/>
                      <a:tailEnd type="none" w="med" len="med"/>
                    </a:lnB>
                    <a:noFill/>
                  </a:tcPr>
                </a:tc>
                <a:tc>
                  <a:txBody>
                    <a:bodyPr/>
                    <a:lstStyle/>
                    <a:p>
                      <a:pPr algn="just">
                        <a:spcBef>
                          <a:spcPts val="600"/>
                        </a:spcBef>
                        <a:spcAft>
                          <a:spcPts val="0"/>
                        </a:spcAft>
                      </a:pPr>
                      <a:r>
                        <a:rPr lang="es-MX" sz="1200" b="0" dirty="0">
                          <a:solidFill>
                            <a:srgbClr val="0067B7"/>
                          </a:solidFill>
                          <a:effectLst/>
                        </a:rPr>
                        <a:t>Grado en que los datos son aplicables y útiles para la tarea en cuestión</a:t>
                      </a:r>
                      <a:endParaRPr lang="en-US" sz="1200" b="0" dirty="0">
                        <a:solidFill>
                          <a:srgbClr val="0067B7"/>
                        </a:solidFill>
                        <a:effectLst/>
                        <a:latin typeface="Times New Roman" panose="02020603050405020304" pitchFamily="18" charset="0"/>
                        <a:ea typeface="Times New Roman" panose="02020603050405020304" pitchFamily="18" charset="0"/>
                      </a:endParaRPr>
                    </a:p>
                  </a:txBody>
                  <a:tcPr marL="19321" marR="19321" marT="0" marB="0">
                    <a:lnL w="12700" cap="flat" cmpd="sng" algn="ctr">
                      <a:solidFill>
                        <a:srgbClr val="87CBD8"/>
                      </a:solidFill>
                      <a:prstDash val="solid"/>
                      <a:round/>
                      <a:headEnd type="none" w="med" len="med"/>
                      <a:tailEnd type="none" w="med" len="med"/>
                    </a:lnL>
                    <a:lnR w="12700" cap="flat" cmpd="sng" algn="ctr">
                      <a:solidFill>
                        <a:srgbClr val="87CBD8"/>
                      </a:solidFill>
                      <a:prstDash val="solid"/>
                      <a:round/>
                      <a:headEnd type="none" w="med" len="med"/>
                      <a:tailEnd type="none" w="med" len="med"/>
                    </a:lnR>
                    <a:lnT w="12700" cap="flat" cmpd="sng" algn="ctr">
                      <a:solidFill>
                        <a:srgbClr val="87CBD8"/>
                      </a:solidFill>
                      <a:prstDash val="solid"/>
                      <a:round/>
                      <a:headEnd type="none" w="med" len="med"/>
                      <a:tailEnd type="none" w="med" len="med"/>
                    </a:lnT>
                    <a:lnB w="12700" cap="flat" cmpd="sng" algn="ctr">
                      <a:solidFill>
                        <a:srgbClr val="87CBD8"/>
                      </a:solidFill>
                      <a:prstDash val="solid"/>
                      <a:round/>
                      <a:headEnd type="none" w="med" len="med"/>
                      <a:tailEnd type="none" w="med" len="med"/>
                    </a:lnB>
                    <a:noFill/>
                  </a:tcPr>
                </a:tc>
                <a:extLst>
                  <a:ext uri="{0D108BD9-81ED-4DB2-BD59-A6C34878D82A}">
                    <a16:rowId xmlns:a16="http://schemas.microsoft.com/office/drawing/2014/main" val="4181188274"/>
                  </a:ext>
                </a:extLst>
              </a:tr>
              <a:tr h="214679">
                <a:tc>
                  <a:txBody>
                    <a:bodyPr/>
                    <a:lstStyle/>
                    <a:p>
                      <a:pPr algn="just">
                        <a:spcBef>
                          <a:spcPts val="600"/>
                        </a:spcBef>
                        <a:spcAft>
                          <a:spcPts val="0"/>
                        </a:spcAft>
                      </a:pPr>
                      <a:r>
                        <a:rPr lang="es-MX" sz="1200" b="1" dirty="0">
                          <a:solidFill>
                            <a:srgbClr val="0067B7"/>
                          </a:solidFill>
                          <a:effectLst/>
                        </a:rPr>
                        <a:t>Reputación</a:t>
                      </a:r>
                      <a:endParaRPr lang="en-US" sz="1200" b="1" dirty="0">
                        <a:solidFill>
                          <a:srgbClr val="0067B7"/>
                        </a:solidFill>
                        <a:effectLst/>
                        <a:latin typeface="Times New Roman" panose="02020603050405020304" pitchFamily="18" charset="0"/>
                        <a:ea typeface="Times New Roman" panose="02020603050405020304" pitchFamily="18" charset="0"/>
                      </a:endParaRPr>
                    </a:p>
                  </a:txBody>
                  <a:tcPr marL="19321" marR="19321" marT="0" marB="0">
                    <a:lnL w="12700" cap="flat" cmpd="sng" algn="ctr">
                      <a:solidFill>
                        <a:srgbClr val="87CBD8"/>
                      </a:solidFill>
                      <a:prstDash val="solid"/>
                      <a:round/>
                      <a:headEnd type="none" w="med" len="med"/>
                      <a:tailEnd type="none" w="med" len="med"/>
                    </a:lnL>
                    <a:lnR w="12700" cap="flat" cmpd="sng" algn="ctr">
                      <a:solidFill>
                        <a:srgbClr val="87CBD8"/>
                      </a:solidFill>
                      <a:prstDash val="solid"/>
                      <a:round/>
                      <a:headEnd type="none" w="med" len="med"/>
                      <a:tailEnd type="none" w="med" len="med"/>
                    </a:lnR>
                    <a:lnT w="12700" cap="flat" cmpd="sng" algn="ctr">
                      <a:solidFill>
                        <a:srgbClr val="87CBD8"/>
                      </a:solidFill>
                      <a:prstDash val="solid"/>
                      <a:round/>
                      <a:headEnd type="none" w="med" len="med"/>
                      <a:tailEnd type="none" w="med" len="med"/>
                    </a:lnT>
                    <a:lnB w="12700" cap="flat" cmpd="sng" algn="ctr">
                      <a:solidFill>
                        <a:srgbClr val="87CBD8"/>
                      </a:solidFill>
                      <a:prstDash val="solid"/>
                      <a:round/>
                      <a:headEnd type="none" w="med" len="med"/>
                      <a:tailEnd type="none" w="med" len="med"/>
                    </a:lnB>
                    <a:noFill/>
                  </a:tcPr>
                </a:tc>
                <a:tc>
                  <a:txBody>
                    <a:bodyPr/>
                    <a:lstStyle/>
                    <a:p>
                      <a:pPr algn="just">
                        <a:spcBef>
                          <a:spcPts val="600"/>
                        </a:spcBef>
                        <a:spcAft>
                          <a:spcPts val="0"/>
                        </a:spcAft>
                      </a:pPr>
                      <a:r>
                        <a:rPr lang="es-MX" sz="1200" b="0" dirty="0">
                          <a:solidFill>
                            <a:srgbClr val="0067B7"/>
                          </a:solidFill>
                          <a:effectLst/>
                        </a:rPr>
                        <a:t>Grado en que los datos son altamente considerados en términos de su fuente y contenido</a:t>
                      </a:r>
                      <a:endParaRPr lang="en-US" sz="1200" b="0" dirty="0">
                        <a:solidFill>
                          <a:srgbClr val="0067B7"/>
                        </a:solidFill>
                        <a:effectLst/>
                        <a:latin typeface="Times New Roman" panose="02020603050405020304" pitchFamily="18" charset="0"/>
                        <a:ea typeface="Times New Roman" panose="02020603050405020304" pitchFamily="18" charset="0"/>
                      </a:endParaRPr>
                    </a:p>
                  </a:txBody>
                  <a:tcPr marL="19321" marR="19321" marT="0" marB="0">
                    <a:lnL w="12700" cap="flat" cmpd="sng" algn="ctr">
                      <a:solidFill>
                        <a:srgbClr val="87CBD8"/>
                      </a:solidFill>
                      <a:prstDash val="solid"/>
                      <a:round/>
                      <a:headEnd type="none" w="med" len="med"/>
                      <a:tailEnd type="none" w="med" len="med"/>
                    </a:lnL>
                    <a:lnR w="12700" cap="flat" cmpd="sng" algn="ctr">
                      <a:solidFill>
                        <a:srgbClr val="87CBD8"/>
                      </a:solidFill>
                      <a:prstDash val="solid"/>
                      <a:round/>
                      <a:headEnd type="none" w="med" len="med"/>
                      <a:tailEnd type="none" w="med" len="med"/>
                    </a:lnR>
                    <a:lnT w="12700" cap="flat" cmpd="sng" algn="ctr">
                      <a:solidFill>
                        <a:srgbClr val="87CBD8"/>
                      </a:solidFill>
                      <a:prstDash val="solid"/>
                      <a:round/>
                      <a:headEnd type="none" w="med" len="med"/>
                      <a:tailEnd type="none" w="med" len="med"/>
                    </a:lnT>
                    <a:lnB w="12700" cap="flat" cmpd="sng" algn="ctr">
                      <a:solidFill>
                        <a:srgbClr val="87CBD8"/>
                      </a:solidFill>
                      <a:prstDash val="solid"/>
                      <a:round/>
                      <a:headEnd type="none" w="med" len="med"/>
                      <a:tailEnd type="none" w="med" len="med"/>
                    </a:lnB>
                    <a:noFill/>
                  </a:tcPr>
                </a:tc>
                <a:extLst>
                  <a:ext uri="{0D108BD9-81ED-4DB2-BD59-A6C34878D82A}">
                    <a16:rowId xmlns:a16="http://schemas.microsoft.com/office/drawing/2014/main" val="945687113"/>
                  </a:ext>
                </a:extLst>
              </a:tr>
            </a:tbl>
          </a:graphicData>
        </a:graphic>
      </p:graphicFrame>
    </p:spTree>
    <p:extLst>
      <p:ext uri="{BB962C8B-B14F-4D97-AF65-F5344CB8AC3E}">
        <p14:creationId xmlns:p14="http://schemas.microsoft.com/office/powerpoint/2010/main" val="1847245674"/>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tangle 3">
            <a:extLst>
              <a:ext uri="{FF2B5EF4-FFF2-40B4-BE49-F238E27FC236}">
                <a16:creationId xmlns:a16="http://schemas.microsoft.com/office/drawing/2014/main" id="{A27FD23C-A522-0E4F-B70C-CC83BC4542BA}"/>
              </a:ext>
            </a:extLst>
          </p:cNvPr>
          <p:cNvSpPr txBox="1"/>
          <p:nvPr/>
        </p:nvSpPr>
        <p:spPr>
          <a:xfrm>
            <a:off x="404808" y="237462"/>
            <a:ext cx="7585857" cy="400105"/>
          </a:xfrm>
          <a:prstGeom prst="rect">
            <a:avLst/>
          </a:prstGeom>
          <a:ln w="12700">
            <a:miter lim="400000"/>
          </a:ln>
          <a:extLst>
            <a:ext uri="{C572A759-6A51-4108-AA02-DFA0A04FC94B}">
              <ma14:wrappingTextBoxFlag xmlns:ma14="http://schemas.microsoft.com/office/mac/drawingml/2011/main" xmlns="" val="1"/>
            </a:ext>
          </a:extLst>
        </p:spPr>
        <p:txBody>
          <a:bodyPr wrap="square" lIns="45718" tIns="45718" rIns="45718" bIns="45718">
            <a:spAutoFit/>
          </a:bodyPr>
          <a:lstStyle>
            <a:lvl1pPr algn="l" defTabSz="914400">
              <a:defRPr sz="2200" b="1">
                <a:solidFill>
                  <a:srgbClr val="FFFFFF"/>
                </a:solidFill>
                <a:latin typeface="Arial"/>
                <a:ea typeface="Arial"/>
                <a:cs typeface="Arial"/>
                <a:sym typeface="Arial"/>
              </a:defRPr>
            </a:lvl1pPr>
          </a:lstStyle>
          <a:p>
            <a:r>
              <a:rPr lang="en-US" sz="2000" dirty="0">
                <a:solidFill>
                  <a:srgbClr val="016AA2"/>
                </a:solidFill>
              </a:rPr>
              <a:t>Data completeness</a:t>
            </a:r>
          </a:p>
        </p:txBody>
      </p:sp>
      <p:sp>
        <p:nvSpPr>
          <p:cNvPr id="65" name="Rectangle 3"/>
          <p:cNvSpPr txBox="1"/>
          <p:nvPr/>
        </p:nvSpPr>
        <p:spPr>
          <a:xfrm>
            <a:off x="404807" y="610135"/>
            <a:ext cx="5337625" cy="369328"/>
          </a:xfrm>
          <a:prstGeom prst="rect">
            <a:avLst/>
          </a:prstGeom>
          <a:ln w="12700">
            <a:miter lim="400000"/>
          </a:ln>
          <a:extLst>
            <a:ext uri="{C572A759-6A51-4108-AA02-DFA0A04FC94B}">
              <ma14:wrappingTextBoxFlag xmlns="" xmlns:ma14="http://schemas.microsoft.com/office/mac/drawingml/2011/main" val="1"/>
            </a:ext>
          </a:extLst>
        </p:spPr>
        <p:txBody>
          <a:bodyPr wrap="square" lIns="45718" tIns="45718" rIns="45718" bIns="45718">
            <a:spAutoFit/>
          </a:bodyPr>
          <a:lstStyle>
            <a:lvl1pPr algn="l" defTabSz="914400">
              <a:defRPr sz="2000">
                <a:solidFill>
                  <a:srgbClr val="104D6A"/>
                </a:solidFill>
                <a:latin typeface="Arial"/>
                <a:ea typeface="Arial"/>
                <a:cs typeface="Arial"/>
                <a:sym typeface="Arial"/>
              </a:defRPr>
            </a:lvl1pPr>
          </a:lstStyle>
          <a:p>
            <a:pPr>
              <a:defRPr/>
            </a:pPr>
            <a:r>
              <a:rPr lang="es-ES_tradnl" sz="1800" b="1" dirty="0">
                <a:solidFill>
                  <a:srgbClr val="73C4EF"/>
                </a:solidFill>
              </a:rPr>
              <a:t>Data </a:t>
            </a:r>
            <a:r>
              <a:rPr lang="es-ES_tradnl" sz="1800" b="1" dirty="0" err="1">
                <a:solidFill>
                  <a:srgbClr val="73C4EF"/>
                </a:solidFill>
              </a:rPr>
              <a:t>Quality</a:t>
            </a:r>
            <a:r>
              <a:rPr lang="es-ES_tradnl" sz="1800" b="1" dirty="0">
                <a:solidFill>
                  <a:srgbClr val="73C4EF"/>
                </a:solidFill>
              </a:rPr>
              <a:t> </a:t>
            </a:r>
            <a:r>
              <a:rPr lang="es-ES_tradnl" sz="1800" b="1" dirty="0" err="1">
                <a:solidFill>
                  <a:srgbClr val="73C4EF"/>
                </a:solidFill>
              </a:rPr>
              <a:t>Dimensions</a:t>
            </a:r>
            <a:endParaRPr lang="es-ES_tradnl" sz="1800" b="1" dirty="0">
              <a:solidFill>
                <a:srgbClr val="73C4EF"/>
              </a:solidFill>
            </a:endParaRPr>
          </a:p>
        </p:txBody>
      </p:sp>
      <p:graphicFrame>
        <p:nvGraphicFramePr>
          <p:cNvPr id="7" name="Table 6">
            <a:extLst>
              <a:ext uri="{FF2B5EF4-FFF2-40B4-BE49-F238E27FC236}">
                <a16:creationId xmlns:a16="http://schemas.microsoft.com/office/drawing/2014/main" id="{48D1DFB5-7723-474C-9C2B-A53DC90B9872}"/>
              </a:ext>
            </a:extLst>
          </p:cNvPr>
          <p:cNvGraphicFramePr>
            <a:graphicFrameLocks noGrp="1"/>
          </p:cNvGraphicFramePr>
          <p:nvPr>
            <p:extLst>
              <p:ext uri="{D42A27DB-BD31-4B8C-83A1-F6EECF244321}">
                <p14:modId xmlns:p14="http://schemas.microsoft.com/office/powerpoint/2010/main" val="22850516"/>
              </p:ext>
            </p:extLst>
          </p:nvPr>
        </p:nvGraphicFramePr>
        <p:xfrm>
          <a:off x="566503" y="1165117"/>
          <a:ext cx="11053570" cy="3140759"/>
        </p:xfrm>
        <a:graphic>
          <a:graphicData uri="http://schemas.openxmlformats.org/drawingml/2006/table">
            <a:tbl>
              <a:tblPr firstRow="1" firstCol="1" bandRow="1">
                <a:tableStyleId>{5C22544A-7EE6-4342-B048-85BDC9FD1C3A}</a:tableStyleId>
              </a:tblPr>
              <a:tblGrid>
                <a:gridCol w="2287080">
                  <a:extLst>
                    <a:ext uri="{9D8B030D-6E8A-4147-A177-3AD203B41FA5}">
                      <a16:colId xmlns:a16="http://schemas.microsoft.com/office/drawing/2014/main" val="4040501229"/>
                    </a:ext>
                  </a:extLst>
                </a:gridCol>
                <a:gridCol w="8766490">
                  <a:extLst>
                    <a:ext uri="{9D8B030D-6E8A-4147-A177-3AD203B41FA5}">
                      <a16:colId xmlns:a16="http://schemas.microsoft.com/office/drawing/2014/main" val="3365820587"/>
                    </a:ext>
                  </a:extLst>
                </a:gridCol>
              </a:tblGrid>
              <a:tr h="392385">
                <a:tc>
                  <a:txBody>
                    <a:bodyPr/>
                    <a:lstStyle/>
                    <a:p>
                      <a:pPr algn="ctr">
                        <a:spcAft>
                          <a:spcPts val="0"/>
                        </a:spcAft>
                      </a:pPr>
                      <a:endParaRPr lang="es-ES" sz="1200" dirty="0">
                        <a:solidFill>
                          <a:srgbClr val="C5277F"/>
                        </a:solidFill>
                        <a:effectLst/>
                      </a:endParaRPr>
                    </a:p>
                    <a:p>
                      <a:pPr algn="ctr">
                        <a:spcAft>
                          <a:spcPts val="0"/>
                        </a:spcAft>
                      </a:pPr>
                      <a:r>
                        <a:rPr lang="es-ES" sz="1200" dirty="0">
                          <a:solidFill>
                            <a:srgbClr val="C5277F"/>
                          </a:solidFill>
                          <a:effectLst/>
                        </a:rPr>
                        <a:t>Dimensiones</a:t>
                      </a:r>
                    </a:p>
                    <a:p>
                      <a:pPr algn="ctr">
                        <a:spcAft>
                          <a:spcPts val="0"/>
                        </a:spcAft>
                      </a:pPr>
                      <a:endParaRPr lang="en-US" sz="1200" dirty="0">
                        <a:solidFill>
                          <a:srgbClr val="C5277F"/>
                        </a:solidFill>
                        <a:effectLst/>
                        <a:latin typeface="Times New Roman" panose="02020603050405020304" pitchFamily="18" charset="0"/>
                        <a:ea typeface="Times New Roman" panose="02020603050405020304" pitchFamily="18" charset="0"/>
                      </a:endParaRPr>
                    </a:p>
                  </a:txBody>
                  <a:tcPr marL="19321" marR="19321" marT="0" marB="0">
                    <a:lnL w="12700" cap="flat" cmpd="sng" algn="ctr">
                      <a:solidFill>
                        <a:srgbClr val="87CBD8"/>
                      </a:solidFill>
                      <a:prstDash val="solid"/>
                      <a:round/>
                      <a:headEnd type="none" w="med" len="med"/>
                      <a:tailEnd type="none" w="med" len="med"/>
                    </a:lnL>
                    <a:lnR w="12700" cap="flat" cmpd="sng" algn="ctr">
                      <a:solidFill>
                        <a:srgbClr val="87CBD8"/>
                      </a:solidFill>
                      <a:prstDash val="solid"/>
                      <a:round/>
                      <a:headEnd type="none" w="med" len="med"/>
                      <a:tailEnd type="none" w="med" len="med"/>
                    </a:lnR>
                    <a:lnT w="12700" cap="flat" cmpd="sng" algn="ctr">
                      <a:solidFill>
                        <a:srgbClr val="87CBD8"/>
                      </a:solidFill>
                      <a:prstDash val="solid"/>
                      <a:round/>
                      <a:headEnd type="none" w="med" len="med"/>
                      <a:tailEnd type="none" w="med" len="med"/>
                    </a:lnT>
                    <a:lnB w="12700" cap="flat" cmpd="sng" algn="ctr">
                      <a:solidFill>
                        <a:srgbClr val="87CBD8"/>
                      </a:solidFill>
                      <a:prstDash val="solid"/>
                      <a:round/>
                      <a:headEnd type="none" w="med" len="med"/>
                      <a:tailEnd type="none" w="med" len="med"/>
                    </a:lnB>
                    <a:noFill/>
                  </a:tcPr>
                </a:tc>
                <a:tc>
                  <a:txBody>
                    <a:bodyPr/>
                    <a:lstStyle/>
                    <a:p>
                      <a:pPr algn="ctr">
                        <a:spcAft>
                          <a:spcPts val="0"/>
                        </a:spcAft>
                      </a:pPr>
                      <a:endParaRPr lang="es-ES" sz="1200" dirty="0">
                        <a:solidFill>
                          <a:srgbClr val="C5277F"/>
                        </a:solidFill>
                        <a:effectLst/>
                      </a:endParaRPr>
                    </a:p>
                    <a:p>
                      <a:pPr algn="ctr">
                        <a:spcAft>
                          <a:spcPts val="0"/>
                        </a:spcAft>
                      </a:pPr>
                      <a:r>
                        <a:rPr lang="es-ES" sz="1200" dirty="0">
                          <a:solidFill>
                            <a:srgbClr val="C5277F"/>
                          </a:solidFill>
                          <a:effectLst/>
                        </a:rPr>
                        <a:t>Definiciones</a:t>
                      </a:r>
                    </a:p>
                  </a:txBody>
                  <a:tcPr marL="19321" marR="19321" marT="0" marB="0">
                    <a:lnL w="12700" cap="flat" cmpd="sng" algn="ctr">
                      <a:solidFill>
                        <a:srgbClr val="87CBD8"/>
                      </a:solidFill>
                      <a:prstDash val="solid"/>
                      <a:round/>
                      <a:headEnd type="none" w="med" len="med"/>
                      <a:tailEnd type="none" w="med" len="med"/>
                    </a:lnL>
                    <a:lnR w="12700" cap="flat" cmpd="sng" algn="ctr">
                      <a:solidFill>
                        <a:srgbClr val="87CBD8"/>
                      </a:solidFill>
                      <a:prstDash val="solid"/>
                      <a:round/>
                      <a:headEnd type="none" w="med" len="med"/>
                      <a:tailEnd type="none" w="med" len="med"/>
                    </a:lnR>
                    <a:lnT w="12700" cap="flat" cmpd="sng" algn="ctr">
                      <a:solidFill>
                        <a:srgbClr val="87CBD8"/>
                      </a:solidFill>
                      <a:prstDash val="solid"/>
                      <a:round/>
                      <a:headEnd type="none" w="med" len="med"/>
                      <a:tailEnd type="none" w="med" len="med"/>
                    </a:lnT>
                    <a:lnB w="12700" cap="flat" cmpd="sng" algn="ctr">
                      <a:solidFill>
                        <a:srgbClr val="87CBD8"/>
                      </a:solidFill>
                      <a:prstDash val="solid"/>
                      <a:round/>
                      <a:headEnd type="none" w="med" len="med"/>
                      <a:tailEnd type="none" w="med" len="med"/>
                    </a:lnB>
                    <a:noFill/>
                  </a:tcPr>
                </a:tc>
                <a:extLst>
                  <a:ext uri="{0D108BD9-81ED-4DB2-BD59-A6C34878D82A}">
                    <a16:rowId xmlns:a16="http://schemas.microsoft.com/office/drawing/2014/main" val="2580865460"/>
                  </a:ext>
                </a:extLst>
              </a:tr>
              <a:tr h="171743">
                <a:tc>
                  <a:txBody>
                    <a:bodyPr/>
                    <a:lstStyle/>
                    <a:p>
                      <a:pPr algn="just">
                        <a:spcBef>
                          <a:spcPts val="600"/>
                        </a:spcBef>
                        <a:spcAft>
                          <a:spcPts val="0"/>
                        </a:spcAft>
                      </a:pPr>
                      <a:r>
                        <a:rPr lang="es-MX" sz="1300">
                          <a:solidFill>
                            <a:srgbClr val="0067B7"/>
                          </a:solidFill>
                          <a:effectLst/>
                          <a:latin typeface="Times New Roman" panose="02020603050405020304" pitchFamily="18" charset="0"/>
                          <a:ea typeface="Times New Roman" panose="02020603050405020304" pitchFamily="18" charset="0"/>
                        </a:rPr>
                        <a:t>Seguridad</a:t>
                      </a:r>
                      <a:endParaRPr lang="en-US" sz="1300">
                        <a:solidFill>
                          <a:srgbClr val="0067B7"/>
                        </a:solidFill>
                        <a:effectLst/>
                        <a:latin typeface="Times New Roman" panose="02020603050405020304" pitchFamily="18" charset="0"/>
                        <a:ea typeface="Times New Roman" panose="02020603050405020304" pitchFamily="18" charset="0"/>
                      </a:endParaRPr>
                    </a:p>
                  </a:txBody>
                  <a:tcPr marL="68580" marR="68580" marT="0" marB="0">
                    <a:lnL w="12700" cap="flat" cmpd="sng" algn="ctr">
                      <a:solidFill>
                        <a:srgbClr val="87CBD8"/>
                      </a:solidFill>
                      <a:prstDash val="solid"/>
                      <a:round/>
                      <a:headEnd type="none" w="med" len="med"/>
                      <a:tailEnd type="none" w="med" len="med"/>
                    </a:lnL>
                    <a:lnR w="12700" cap="flat" cmpd="sng" algn="ctr">
                      <a:solidFill>
                        <a:srgbClr val="87CBD8"/>
                      </a:solidFill>
                      <a:prstDash val="solid"/>
                      <a:round/>
                      <a:headEnd type="none" w="med" len="med"/>
                      <a:tailEnd type="none" w="med" len="med"/>
                    </a:lnR>
                    <a:lnT w="12700" cap="flat" cmpd="sng" algn="ctr">
                      <a:solidFill>
                        <a:srgbClr val="87CBD8"/>
                      </a:solidFill>
                      <a:prstDash val="solid"/>
                      <a:round/>
                      <a:headEnd type="none" w="med" len="med"/>
                      <a:tailEnd type="none" w="med" len="med"/>
                    </a:lnT>
                    <a:lnB w="12700" cap="flat" cmpd="sng" algn="ctr">
                      <a:solidFill>
                        <a:srgbClr val="87CBD8"/>
                      </a:solidFill>
                      <a:prstDash val="solid"/>
                      <a:round/>
                      <a:headEnd type="none" w="med" len="med"/>
                      <a:tailEnd type="none" w="med" len="med"/>
                    </a:lnB>
                    <a:noFill/>
                  </a:tcPr>
                </a:tc>
                <a:tc>
                  <a:txBody>
                    <a:bodyPr/>
                    <a:lstStyle/>
                    <a:p>
                      <a:pPr algn="just">
                        <a:spcBef>
                          <a:spcPts val="600"/>
                        </a:spcBef>
                        <a:spcAft>
                          <a:spcPts val="0"/>
                        </a:spcAft>
                      </a:pPr>
                      <a:r>
                        <a:rPr lang="es-MX" sz="1300">
                          <a:solidFill>
                            <a:srgbClr val="0067B7"/>
                          </a:solidFill>
                          <a:effectLst/>
                          <a:latin typeface="Times New Roman" panose="02020603050405020304" pitchFamily="18" charset="0"/>
                          <a:ea typeface="Times New Roman" panose="02020603050405020304" pitchFamily="18" charset="0"/>
                        </a:rPr>
                        <a:t>Grado en que el acceso a los datos se restringe de forma adecuada para mantener su seguridad</a:t>
                      </a:r>
                      <a:endParaRPr lang="en-US" sz="1300">
                        <a:solidFill>
                          <a:srgbClr val="0067B7"/>
                        </a:solidFill>
                        <a:effectLst/>
                        <a:latin typeface="Times New Roman" panose="02020603050405020304" pitchFamily="18" charset="0"/>
                        <a:ea typeface="Times New Roman" panose="02020603050405020304" pitchFamily="18" charset="0"/>
                      </a:endParaRPr>
                    </a:p>
                  </a:txBody>
                  <a:tcPr marL="68580" marR="68580" marT="0" marB="0">
                    <a:lnL w="12700" cap="flat" cmpd="sng" algn="ctr">
                      <a:solidFill>
                        <a:srgbClr val="87CBD8"/>
                      </a:solidFill>
                      <a:prstDash val="solid"/>
                      <a:round/>
                      <a:headEnd type="none" w="med" len="med"/>
                      <a:tailEnd type="none" w="med" len="med"/>
                    </a:lnL>
                    <a:lnR w="12700" cap="flat" cmpd="sng" algn="ctr">
                      <a:solidFill>
                        <a:srgbClr val="87CBD8"/>
                      </a:solidFill>
                      <a:prstDash val="solid"/>
                      <a:round/>
                      <a:headEnd type="none" w="med" len="med"/>
                      <a:tailEnd type="none" w="med" len="med"/>
                    </a:lnR>
                    <a:lnT w="12700" cap="flat" cmpd="sng" algn="ctr">
                      <a:solidFill>
                        <a:srgbClr val="87CBD8"/>
                      </a:solidFill>
                      <a:prstDash val="solid"/>
                      <a:round/>
                      <a:headEnd type="none" w="med" len="med"/>
                      <a:tailEnd type="none" w="med" len="med"/>
                    </a:lnT>
                    <a:lnB w="12700" cap="flat" cmpd="sng" algn="ctr">
                      <a:solidFill>
                        <a:srgbClr val="87CBD8"/>
                      </a:solidFill>
                      <a:prstDash val="solid"/>
                      <a:round/>
                      <a:headEnd type="none" w="med" len="med"/>
                      <a:tailEnd type="none" w="med" len="med"/>
                    </a:lnB>
                    <a:noFill/>
                  </a:tcPr>
                </a:tc>
                <a:extLst>
                  <a:ext uri="{0D108BD9-81ED-4DB2-BD59-A6C34878D82A}">
                    <a16:rowId xmlns:a16="http://schemas.microsoft.com/office/drawing/2014/main" val="3236270780"/>
                  </a:ext>
                </a:extLst>
              </a:tr>
              <a:tr h="128807">
                <a:tc>
                  <a:txBody>
                    <a:bodyPr/>
                    <a:lstStyle/>
                    <a:p>
                      <a:pPr algn="just">
                        <a:spcBef>
                          <a:spcPts val="600"/>
                        </a:spcBef>
                        <a:spcAft>
                          <a:spcPts val="0"/>
                        </a:spcAft>
                      </a:pPr>
                      <a:r>
                        <a:rPr lang="es-MX" sz="1300" dirty="0">
                          <a:solidFill>
                            <a:srgbClr val="0067B7"/>
                          </a:solidFill>
                          <a:effectLst/>
                          <a:latin typeface="Times New Roman" panose="02020603050405020304" pitchFamily="18" charset="0"/>
                          <a:ea typeface="Times New Roman" panose="02020603050405020304" pitchFamily="18" charset="0"/>
                        </a:rPr>
                        <a:t>Oportunidad</a:t>
                      </a:r>
                      <a:endParaRPr lang="en-US" sz="1300" dirty="0">
                        <a:solidFill>
                          <a:srgbClr val="0067B7"/>
                        </a:solidFill>
                        <a:effectLst/>
                        <a:latin typeface="Times New Roman" panose="02020603050405020304" pitchFamily="18" charset="0"/>
                        <a:ea typeface="Times New Roman" panose="02020603050405020304" pitchFamily="18" charset="0"/>
                      </a:endParaRPr>
                    </a:p>
                  </a:txBody>
                  <a:tcPr marL="68580" marR="68580" marT="0" marB="0">
                    <a:lnL w="12700" cap="flat" cmpd="sng" algn="ctr">
                      <a:solidFill>
                        <a:srgbClr val="87CBD8"/>
                      </a:solidFill>
                      <a:prstDash val="solid"/>
                      <a:round/>
                      <a:headEnd type="none" w="med" len="med"/>
                      <a:tailEnd type="none" w="med" len="med"/>
                    </a:lnL>
                    <a:lnR w="12700" cap="flat" cmpd="sng" algn="ctr">
                      <a:solidFill>
                        <a:srgbClr val="87CBD8"/>
                      </a:solidFill>
                      <a:prstDash val="solid"/>
                      <a:round/>
                      <a:headEnd type="none" w="med" len="med"/>
                      <a:tailEnd type="none" w="med" len="med"/>
                    </a:lnR>
                    <a:lnT w="12700" cap="flat" cmpd="sng" algn="ctr">
                      <a:solidFill>
                        <a:srgbClr val="87CBD8"/>
                      </a:solidFill>
                      <a:prstDash val="solid"/>
                      <a:round/>
                      <a:headEnd type="none" w="med" len="med"/>
                      <a:tailEnd type="none" w="med" len="med"/>
                    </a:lnT>
                    <a:lnB w="12700" cap="flat" cmpd="sng" algn="ctr">
                      <a:solidFill>
                        <a:srgbClr val="87CBD8"/>
                      </a:solidFill>
                      <a:prstDash val="solid"/>
                      <a:round/>
                      <a:headEnd type="none" w="med" len="med"/>
                      <a:tailEnd type="none" w="med" len="med"/>
                    </a:lnB>
                    <a:noFill/>
                  </a:tcPr>
                </a:tc>
                <a:tc>
                  <a:txBody>
                    <a:bodyPr/>
                    <a:lstStyle/>
                    <a:p>
                      <a:pPr algn="just">
                        <a:spcBef>
                          <a:spcPts val="600"/>
                        </a:spcBef>
                        <a:spcAft>
                          <a:spcPts val="0"/>
                        </a:spcAft>
                      </a:pPr>
                      <a:r>
                        <a:rPr lang="es-MX" sz="1300">
                          <a:solidFill>
                            <a:srgbClr val="0067B7"/>
                          </a:solidFill>
                          <a:effectLst/>
                          <a:latin typeface="Times New Roman" panose="02020603050405020304" pitchFamily="18" charset="0"/>
                          <a:ea typeface="Times New Roman" panose="02020603050405020304" pitchFamily="18" charset="0"/>
                        </a:rPr>
                        <a:t>Grado en que los datos están suficientemente actualizados</a:t>
                      </a:r>
                      <a:endParaRPr lang="en-US" sz="1300">
                        <a:solidFill>
                          <a:srgbClr val="0067B7"/>
                        </a:solidFill>
                        <a:effectLst/>
                        <a:latin typeface="Times New Roman" panose="02020603050405020304" pitchFamily="18" charset="0"/>
                        <a:ea typeface="Times New Roman" panose="02020603050405020304" pitchFamily="18" charset="0"/>
                      </a:endParaRPr>
                    </a:p>
                  </a:txBody>
                  <a:tcPr marL="68580" marR="68580" marT="0" marB="0">
                    <a:lnL w="12700" cap="flat" cmpd="sng" algn="ctr">
                      <a:solidFill>
                        <a:srgbClr val="87CBD8"/>
                      </a:solidFill>
                      <a:prstDash val="solid"/>
                      <a:round/>
                      <a:headEnd type="none" w="med" len="med"/>
                      <a:tailEnd type="none" w="med" len="med"/>
                    </a:lnL>
                    <a:lnR w="12700" cap="flat" cmpd="sng" algn="ctr">
                      <a:solidFill>
                        <a:srgbClr val="87CBD8"/>
                      </a:solidFill>
                      <a:prstDash val="solid"/>
                      <a:round/>
                      <a:headEnd type="none" w="med" len="med"/>
                      <a:tailEnd type="none" w="med" len="med"/>
                    </a:lnR>
                    <a:lnT w="12700" cap="flat" cmpd="sng" algn="ctr">
                      <a:solidFill>
                        <a:srgbClr val="87CBD8"/>
                      </a:solidFill>
                      <a:prstDash val="solid"/>
                      <a:round/>
                      <a:headEnd type="none" w="med" len="med"/>
                      <a:tailEnd type="none" w="med" len="med"/>
                    </a:lnT>
                    <a:lnB w="12700" cap="flat" cmpd="sng" algn="ctr">
                      <a:solidFill>
                        <a:srgbClr val="87CBD8"/>
                      </a:solidFill>
                      <a:prstDash val="solid"/>
                      <a:round/>
                      <a:headEnd type="none" w="med" len="med"/>
                      <a:tailEnd type="none" w="med" len="med"/>
                    </a:lnB>
                    <a:noFill/>
                  </a:tcPr>
                </a:tc>
                <a:extLst>
                  <a:ext uri="{0D108BD9-81ED-4DB2-BD59-A6C34878D82A}">
                    <a16:rowId xmlns:a16="http://schemas.microsoft.com/office/drawing/2014/main" val="1241521865"/>
                  </a:ext>
                </a:extLst>
              </a:tr>
              <a:tr h="128807">
                <a:tc>
                  <a:txBody>
                    <a:bodyPr/>
                    <a:lstStyle/>
                    <a:p>
                      <a:pPr algn="just">
                        <a:spcBef>
                          <a:spcPts val="600"/>
                        </a:spcBef>
                        <a:spcAft>
                          <a:spcPts val="0"/>
                        </a:spcAft>
                      </a:pPr>
                      <a:r>
                        <a:rPr lang="es-MX" sz="1300">
                          <a:solidFill>
                            <a:srgbClr val="0067B7"/>
                          </a:solidFill>
                          <a:effectLst/>
                          <a:latin typeface="Times New Roman" panose="02020603050405020304" pitchFamily="18" charset="0"/>
                          <a:ea typeface="Times New Roman" panose="02020603050405020304" pitchFamily="18" charset="0"/>
                        </a:rPr>
                        <a:t>Comprensibilidad</a:t>
                      </a:r>
                      <a:endParaRPr lang="en-US" sz="1300">
                        <a:solidFill>
                          <a:srgbClr val="0067B7"/>
                        </a:solidFill>
                        <a:effectLst/>
                        <a:latin typeface="Times New Roman" panose="02020603050405020304" pitchFamily="18" charset="0"/>
                        <a:ea typeface="Times New Roman" panose="02020603050405020304" pitchFamily="18" charset="0"/>
                      </a:endParaRPr>
                    </a:p>
                  </a:txBody>
                  <a:tcPr marL="68580" marR="68580" marT="0" marB="0">
                    <a:lnL w="12700" cap="flat" cmpd="sng" algn="ctr">
                      <a:solidFill>
                        <a:srgbClr val="87CBD8"/>
                      </a:solidFill>
                      <a:prstDash val="solid"/>
                      <a:round/>
                      <a:headEnd type="none" w="med" len="med"/>
                      <a:tailEnd type="none" w="med" len="med"/>
                    </a:lnL>
                    <a:lnR w="12700" cap="flat" cmpd="sng" algn="ctr">
                      <a:solidFill>
                        <a:srgbClr val="87CBD8"/>
                      </a:solidFill>
                      <a:prstDash val="solid"/>
                      <a:round/>
                      <a:headEnd type="none" w="med" len="med"/>
                      <a:tailEnd type="none" w="med" len="med"/>
                    </a:lnR>
                    <a:lnT w="12700" cap="flat" cmpd="sng" algn="ctr">
                      <a:solidFill>
                        <a:srgbClr val="87CBD8"/>
                      </a:solidFill>
                      <a:prstDash val="solid"/>
                      <a:round/>
                      <a:headEnd type="none" w="med" len="med"/>
                      <a:tailEnd type="none" w="med" len="med"/>
                    </a:lnT>
                    <a:lnB w="12700" cap="flat" cmpd="sng" algn="ctr">
                      <a:solidFill>
                        <a:srgbClr val="87CBD8"/>
                      </a:solidFill>
                      <a:prstDash val="solid"/>
                      <a:round/>
                      <a:headEnd type="none" w="med" len="med"/>
                      <a:tailEnd type="none" w="med" len="med"/>
                    </a:lnB>
                    <a:noFill/>
                  </a:tcPr>
                </a:tc>
                <a:tc>
                  <a:txBody>
                    <a:bodyPr/>
                    <a:lstStyle/>
                    <a:p>
                      <a:pPr algn="just">
                        <a:spcBef>
                          <a:spcPts val="600"/>
                        </a:spcBef>
                        <a:spcAft>
                          <a:spcPts val="0"/>
                        </a:spcAft>
                      </a:pPr>
                      <a:r>
                        <a:rPr lang="es-ES" sz="1300" dirty="0">
                          <a:solidFill>
                            <a:srgbClr val="0067B7"/>
                          </a:solidFill>
                          <a:effectLst/>
                          <a:latin typeface="Times New Roman" panose="02020603050405020304" pitchFamily="18" charset="0"/>
                          <a:ea typeface="Times New Roman" panose="02020603050405020304" pitchFamily="18" charset="0"/>
                        </a:rPr>
                        <a:t>Grado en que los datos se comprenden fácilmente</a:t>
                      </a:r>
                      <a:endParaRPr lang="en-US" sz="1300" dirty="0">
                        <a:solidFill>
                          <a:srgbClr val="0067B7"/>
                        </a:solidFill>
                        <a:effectLst/>
                        <a:latin typeface="Times New Roman" panose="02020603050405020304" pitchFamily="18" charset="0"/>
                        <a:ea typeface="Times New Roman" panose="02020603050405020304" pitchFamily="18" charset="0"/>
                      </a:endParaRPr>
                    </a:p>
                  </a:txBody>
                  <a:tcPr marL="68580" marR="68580" marT="0" marB="0">
                    <a:lnL w="12700" cap="flat" cmpd="sng" algn="ctr">
                      <a:solidFill>
                        <a:srgbClr val="87CBD8"/>
                      </a:solidFill>
                      <a:prstDash val="solid"/>
                      <a:round/>
                      <a:headEnd type="none" w="med" len="med"/>
                      <a:tailEnd type="none" w="med" len="med"/>
                    </a:lnL>
                    <a:lnR w="12700" cap="flat" cmpd="sng" algn="ctr">
                      <a:solidFill>
                        <a:srgbClr val="87CBD8"/>
                      </a:solidFill>
                      <a:prstDash val="solid"/>
                      <a:round/>
                      <a:headEnd type="none" w="med" len="med"/>
                      <a:tailEnd type="none" w="med" len="med"/>
                    </a:lnR>
                    <a:lnT w="12700" cap="flat" cmpd="sng" algn="ctr">
                      <a:solidFill>
                        <a:srgbClr val="87CBD8"/>
                      </a:solidFill>
                      <a:prstDash val="solid"/>
                      <a:round/>
                      <a:headEnd type="none" w="med" len="med"/>
                      <a:tailEnd type="none" w="med" len="med"/>
                    </a:lnT>
                    <a:lnB w="12700" cap="flat" cmpd="sng" algn="ctr">
                      <a:solidFill>
                        <a:srgbClr val="87CBD8"/>
                      </a:solidFill>
                      <a:prstDash val="solid"/>
                      <a:round/>
                      <a:headEnd type="none" w="med" len="med"/>
                      <a:tailEnd type="none" w="med" len="med"/>
                    </a:lnB>
                    <a:noFill/>
                  </a:tcPr>
                </a:tc>
                <a:extLst>
                  <a:ext uri="{0D108BD9-81ED-4DB2-BD59-A6C34878D82A}">
                    <a16:rowId xmlns:a16="http://schemas.microsoft.com/office/drawing/2014/main" val="1998241103"/>
                  </a:ext>
                </a:extLst>
              </a:tr>
              <a:tr h="214679">
                <a:tc>
                  <a:txBody>
                    <a:bodyPr/>
                    <a:lstStyle/>
                    <a:p>
                      <a:pPr algn="just">
                        <a:spcBef>
                          <a:spcPts val="600"/>
                        </a:spcBef>
                        <a:spcAft>
                          <a:spcPts val="0"/>
                        </a:spcAft>
                      </a:pPr>
                      <a:r>
                        <a:rPr lang="es-MX" sz="1300">
                          <a:solidFill>
                            <a:srgbClr val="0067B7"/>
                          </a:solidFill>
                          <a:effectLst/>
                          <a:latin typeface="Times New Roman" panose="02020603050405020304" pitchFamily="18" charset="0"/>
                          <a:ea typeface="Times New Roman" panose="02020603050405020304" pitchFamily="18" charset="0"/>
                        </a:rPr>
                        <a:t>Valor añadido</a:t>
                      </a:r>
                      <a:endParaRPr lang="en-US" sz="1300">
                        <a:solidFill>
                          <a:srgbClr val="0067B7"/>
                        </a:solidFill>
                        <a:effectLst/>
                        <a:latin typeface="Times New Roman" panose="02020603050405020304" pitchFamily="18" charset="0"/>
                        <a:ea typeface="Times New Roman" panose="02020603050405020304" pitchFamily="18" charset="0"/>
                      </a:endParaRPr>
                    </a:p>
                  </a:txBody>
                  <a:tcPr marL="68580" marR="68580" marT="0" marB="0">
                    <a:lnL w="12700" cap="flat" cmpd="sng" algn="ctr">
                      <a:solidFill>
                        <a:srgbClr val="87CBD8"/>
                      </a:solidFill>
                      <a:prstDash val="solid"/>
                      <a:round/>
                      <a:headEnd type="none" w="med" len="med"/>
                      <a:tailEnd type="none" w="med" len="med"/>
                    </a:lnL>
                    <a:lnR w="12700" cap="flat" cmpd="sng" algn="ctr">
                      <a:solidFill>
                        <a:srgbClr val="87CBD8"/>
                      </a:solidFill>
                      <a:prstDash val="solid"/>
                      <a:round/>
                      <a:headEnd type="none" w="med" len="med"/>
                      <a:tailEnd type="none" w="med" len="med"/>
                    </a:lnR>
                    <a:lnT w="12700" cap="flat" cmpd="sng" algn="ctr">
                      <a:solidFill>
                        <a:srgbClr val="87CBD8"/>
                      </a:solidFill>
                      <a:prstDash val="solid"/>
                      <a:round/>
                      <a:headEnd type="none" w="med" len="med"/>
                      <a:tailEnd type="none" w="med" len="med"/>
                    </a:lnT>
                    <a:lnB w="12700" cap="flat" cmpd="sng" algn="ctr">
                      <a:solidFill>
                        <a:srgbClr val="87CBD8"/>
                      </a:solidFill>
                      <a:prstDash val="solid"/>
                      <a:round/>
                      <a:headEnd type="none" w="med" len="med"/>
                      <a:tailEnd type="none" w="med" len="med"/>
                    </a:lnB>
                    <a:noFill/>
                  </a:tcPr>
                </a:tc>
                <a:tc>
                  <a:txBody>
                    <a:bodyPr/>
                    <a:lstStyle/>
                    <a:p>
                      <a:pPr algn="just">
                        <a:spcBef>
                          <a:spcPts val="600"/>
                        </a:spcBef>
                        <a:spcAft>
                          <a:spcPts val="0"/>
                        </a:spcAft>
                      </a:pPr>
                      <a:r>
                        <a:rPr lang="es-MX" sz="1300" dirty="0">
                          <a:solidFill>
                            <a:srgbClr val="0067B7"/>
                          </a:solidFill>
                          <a:effectLst/>
                          <a:latin typeface="Times New Roman" panose="02020603050405020304" pitchFamily="18" charset="0"/>
                          <a:ea typeface="Times New Roman" panose="02020603050405020304" pitchFamily="18" charset="0"/>
                        </a:rPr>
                        <a:t>Grado en que los datos son beneficiosos y proporciona ventajas de sus usos</a:t>
                      </a:r>
                      <a:endParaRPr lang="en-US" sz="1300" dirty="0">
                        <a:solidFill>
                          <a:srgbClr val="0067B7"/>
                        </a:solidFill>
                        <a:effectLst/>
                        <a:latin typeface="Times New Roman" panose="02020603050405020304" pitchFamily="18" charset="0"/>
                        <a:ea typeface="Times New Roman" panose="02020603050405020304" pitchFamily="18" charset="0"/>
                      </a:endParaRPr>
                    </a:p>
                  </a:txBody>
                  <a:tcPr marL="68580" marR="68580" marT="0" marB="0">
                    <a:lnL w="12700" cap="flat" cmpd="sng" algn="ctr">
                      <a:solidFill>
                        <a:srgbClr val="87CBD8"/>
                      </a:solidFill>
                      <a:prstDash val="solid"/>
                      <a:round/>
                      <a:headEnd type="none" w="med" len="med"/>
                      <a:tailEnd type="none" w="med" len="med"/>
                    </a:lnL>
                    <a:lnR w="12700" cap="flat" cmpd="sng" algn="ctr">
                      <a:solidFill>
                        <a:srgbClr val="87CBD8"/>
                      </a:solidFill>
                      <a:prstDash val="solid"/>
                      <a:round/>
                      <a:headEnd type="none" w="med" len="med"/>
                      <a:tailEnd type="none" w="med" len="med"/>
                    </a:lnR>
                    <a:lnT w="12700" cap="flat" cmpd="sng" algn="ctr">
                      <a:solidFill>
                        <a:srgbClr val="87CBD8"/>
                      </a:solidFill>
                      <a:prstDash val="solid"/>
                      <a:round/>
                      <a:headEnd type="none" w="med" len="med"/>
                      <a:tailEnd type="none" w="med" len="med"/>
                    </a:lnT>
                    <a:lnB w="12700" cap="flat" cmpd="sng" algn="ctr">
                      <a:solidFill>
                        <a:srgbClr val="87CBD8"/>
                      </a:solidFill>
                      <a:prstDash val="solid"/>
                      <a:round/>
                      <a:headEnd type="none" w="med" len="med"/>
                      <a:tailEnd type="none" w="med" len="med"/>
                    </a:lnB>
                    <a:noFill/>
                  </a:tcPr>
                </a:tc>
                <a:extLst>
                  <a:ext uri="{0D108BD9-81ED-4DB2-BD59-A6C34878D82A}">
                    <a16:rowId xmlns:a16="http://schemas.microsoft.com/office/drawing/2014/main" val="1391214773"/>
                  </a:ext>
                </a:extLst>
              </a:tr>
              <a:tr h="128807">
                <a:tc>
                  <a:txBody>
                    <a:bodyPr/>
                    <a:lstStyle/>
                    <a:p>
                      <a:pPr algn="just">
                        <a:spcBef>
                          <a:spcPts val="600"/>
                        </a:spcBef>
                        <a:spcAft>
                          <a:spcPts val="0"/>
                        </a:spcAft>
                      </a:pPr>
                      <a:r>
                        <a:rPr lang="es-MX" sz="1300">
                          <a:solidFill>
                            <a:srgbClr val="0067B7"/>
                          </a:solidFill>
                          <a:effectLst/>
                          <a:latin typeface="Times New Roman" panose="02020603050405020304" pitchFamily="18" charset="0"/>
                          <a:ea typeface="Times New Roman" panose="02020603050405020304" pitchFamily="18" charset="0"/>
                        </a:rPr>
                        <a:t>Exactitud</a:t>
                      </a:r>
                      <a:endParaRPr lang="en-US" sz="1300">
                        <a:solidFill>
                          <a:srgbClr val="0067B7"/>
                        </a:solidFill>
                        <a:effectLst/>
                        <a:latin typeface="Times New Roman" panose="02020603050405020304" pitchFamily="18" charset="0"/>
                        <a:ea typeface="Times New Roman" panose="02020603050405020304" pitchFamily="18" charset="0"/>
                      </a:endParaRPr>
                    </a:p>
                  </a:txBody>
                  <a:tcPr marL="68580" marR="68580" marT="0" marB="0">
                    <a:lnL w="12700" cap="flat" cmpd="sng" algn="ctr">
                      <a:solidFill>
                        <a:srgbClr val="87CBD8"/>
                      </a:solidFill>
                      <a:prstDash val="solid"/>
                      <a:round/>
                      <a:headEnd type="none" w="med" len="med"/>
                      <a:tailEnd type="none" w="med" len="med"/>
                    </a:lnL>
                    <a:lnR w="12700" cap="flat" cmpd="sng" algn="ctr">
                      <a:solidFill>
                        <a:srgbClr val="87CBD8"/>
                      </a:solidFill>
                      <a:prstDash val="solid"/>
                      <a:round/>
                      <a:headEnd type="none" w="med" len="med"/>
                      <a:tailEnd type="none" w="med" len="med"/>
                    </a:lnR>
                    <a:lnT w="12700" cap="flat" cmpd="sng" algn="ctr">
                      <a:solidFill>
                        <a:srgbClr val="87CBD8"/>
                      </a:solidFill>
                      <a:prstDash val="solid"/>
                      <a:round/>
                      <a:headEnd type="none" w="med" len="med"/>
                      <a:tailEnd type="none" w="med" len="med"/>
                    </a:lnT>
                    <a:lnB w="12700" cap="flat" cmpd="sng" algn="ctr">
                      <a:solidFill>
                        <a:srgbClr val="87CBD8"/>
                      </a:solidFill>
                      <a:prstDash val="solid"/>
                      <a:round/>
                      <a:headEnd type="none" w="med" len="med"/>
                      <a:tailEnd type="none" w="med" len="med"/>
                    </a:lnB>
                    <a:noFill/>
                  </a:tcPr>
                </a:tc>
                <a:tc>
                  <a:txBody>
                    <a:bodyPr/>
                    <a:lstStyle/>
                    <a:p>
                      <a:pPr algn="just">
                        <a:spcBef>
                          <a:spcPts val="600"/>
                        </a:spcBef>
                        <a:spcAft>
                          <a:spcPts val="0"/>
                        </a:spcAft>
                      </a:pPr>
                      <a:r>
                        <a:rPr lang="es-MX" sz="1300" dirty="0">
                          <a:solidFill>
                            <a:srgbClr val="0067B7"/>
                          </a:solidFill>
                          <a:effectLst/>
                          <a:latin typeface="Times New Roman" panose="02020603050405020304" pitchFamily="18" charset="0"/>
                          <a:ea typeface="Times New Roman" panose="02020603050405020304" pitchFamily="18" charset="0"/>
                        </a:rPr>
                        <a:t>La cercanía de la representación de un fenómeno de la vida real que un valor de datos intenta representar; medido por las funciones de comparación de distancia de edición</a:t>
                      </a:r>
                      <a:endParaRPr lang="en-US" sz="1300" dirty="0">
                        <a:solidFill>
                          <a:srgbClr val="0067B7"/>
                        </a:solidFill>
                        <a:effectLst/>
                        <a:latin typeface="Times New Roman" panose="02020603050405020304" pitchFamily="18" charset="0"/>
                        <a:ea typeface="Times New Roman" panose="02020603050405020304" pitchFamily="18" charset="0"/>
                      </a:endParaRPr>
                    </a:p>
                  </a:txBody>
                  <a:tcPr marL="68580" marR="68580" marT="0" marB="0">
                    <a:lnL w="12700" cap="flat" cmpd="sng" algn="ctr">
                      <a:solidFill>
                        <a:srgbClr val="87CBD8"/>
                      </a:solidFill>
                      <a:prstDash val="solid"/>
                      <a:round/>
                      <a:headEnd type="none" w="med" len="med"/>
                      <a:tailEnd type="none" w="med" len="med"/>
                    </a:lnL>
                    <a:lnR w="12700" cap="flat" cmpd="sng" algn="ctr">
                      <a:solidFill>
                        <a:srgbClr val="87CBD8"/>
                      </a:solidFill>
                      <a:prstDash val="solid"/>
                      <a:round/>
                      <a:headEnd type="none" w="med" len="med"/>
                      <a:tailEnd type="none" w="med" len="med"/>
                    </a:lnR>
                    <a:lnT w="12700" cap="flat" cmpd="sng" algn="ctr">
                      <a:solidFill>
                        <a:srgbClr val="87CBD8"/>
                      </a:solidFill>
                      <a:prstDash val="solid"/>
                      <a:round/>
                      <a:headEnd type="none" w="med" len="med"/>
                      <a:tailEnd type="none" w="med" len="med"/>
                    </a:lnT>
                    <a:lnB w="12700" cap="flat" cmpd="sng" algn="ctr">
                      <a:solidFill>
                        <a:srgbClr val="87CBD8"/>
                      </a:solidFill>
                      <a:prstDash val="solid"/>
                      <a:round/>
                      <a:headEnd type="none" w="med" len="med"/>
                      <a:tailEnd type="none" w="med" len="med"/>
                    </a:lnB>
                    <a:noFill/>
                  </a:tcPr>
                </a:tc>
                <a:extLst>
                  <a:ext uri="{0D108BD9-81ED-4DB2-BD59-A6C34878D82A}">
                    <a16:rowId xmlns:a16="http://schemas.microsoft.com/office/drawing/2014/main" val="3650465365"/>
                  </a:ext>
                </a:extLst>
              </a:tr>
              <a:tr h="171743">
                <a:tc>
                  <a:txBody>
                    <a:bodyPr/>
                    <a:lstStyle/>
                    <a:p>
                      <a:pPr algn="just">
                        <a:spcBef>
                          <a:spcPts val="600"/>
                        </a:spcBef>
                        <a:spcAft>
                          <a:spcPts val="0"/>
                        </a:spcAft>
                      </a:pPr>
                      <a:r>
                        <a:rPr lang="es-MX" sz="1300" dirty="0">
                          <a:solidFill>
                            <a:srgbClr val="0067B7"/>
                          </a:solidFill>
                          <a:effectLst/>
                          <a:latin typeface="Times New Roman" panose="02020603050405020304" pitchFamily="18" charset="0"/>
                          <a:ea typeface="Times New Roman" panose="02020603050405020304" pitchFamily="18" charset="0"/>
                        </a:rPr>
                        <a:t>Correcto</a:t>
                      </a:r>
                      <a:endParaRPr lang="en-US" sz="1300" dirty="0">
                        <a:solidFill>
                          <a:srgbClr val="0067B7"/>
                        </a:solidFill>
                        <a:effectLst/>
                        <a:latin typeface="Times New Roman" panose="02020603050405020304" pitchFamily="18" charset="0"/>
                        <a:ea typeface="Times New Roman" panose="02020603050405020304" pitchFamily="18" charset="0"/>
                      </a:endParaRPr>
                    </a:p>
                  </a:txBody>
                  <a:tcPr marL="68580" marR="68580" marT="0" marB="0">
                    <a:lnL w="12700" cap="flat" cmpd="sng" algn="ctr">
                      <a:solidFill>
                        <a:srgbClr val="87CBD8"/>
                      </a:solidFill>
                      <a:prstDash val="solid"/>
                      <a:round/>
                      <a:headEnd type="none" w="med" len="med"/>
                      <a:tailEnd type="none" w="med" len="med"/>
                    </a:lnL>
                    <a:lnR w="12700" cap="flat" cmpd="sng" algn="ctr">
                      <a:solidFill>
                        <a:srgbClr val="87CBD8"/>
                      </a:solidFill>
                      <a:prstDash val="solid"/>
                      <a:round/>
                      <a:headEnd type="none" w="med" len="med"/>
                      <a:tailEnd type="none" w="med" len="med"/>
                    </a:lnR>
                    <a:lnT w="12700" cap="flat" cmpd="sng" algn="ctr">
                      <a:solidFill>
                        <a:srgbClr val="87CBD8"/>
                      </a:solidFill>
                      <a:prstDash val="solid"/>
                      <a:round/>
                      <a:headEnd type="none" w="med" len="med"/>
                      <a:tailEnd type="none" w="med" len="med"/>
                    </a:lnT>
                    <a:lnB w="12700" cap="flat" cmpd="sng" algn="ctr">
                      <a:solidFill>
                        <a:srgbClr val="87CBD8"/>
                      </a:solidFill>
                      <a:prstDash val="solid"/>
                      <a:round/>
                      <a:headEnd type="none" w="med" len="med"/>
                      <a:tailEnd type="none" w="med" len="med"/>
                    </a:lnB>
                    <a:noFill/>
                  </a:tcPr>
                </a:tc>
                <a:tc>
                  <a:txBody>
                    <a:bodyPr/>
                    <a:lstStyle/>
                    <a:p>
                      <a:pPr algn="just">
                        <a:spcBef>
                          <a:spcPts val="600"/>
                        </a:spcBef>
                        <a:spcAft>
                          <a:spcPts val="0"/>
                        </a:spcAft>
                      </a:pPr>
                      <a:r>
                        <a:rPr lang="es-MX" sz="1300">
                          <a:solidFill>
                            <a:srgbClr val="0067B7"/>
                          </a:solidFill>
                          <a:effectLst/>
                          <a:latin typeface="Times New Roman" panose="02020603050405020304" pitchFamily="18" charset="0"/>
                          <a:ea typeface="Times New Roman" panose="02020603050405020304" pitchFamily="18" charset="0"/>
                        </a:rPr>
                        <a:t>Se denomina precisión sintáctica, que se refiere a la cercanía de un valor de datos con respecto a un dominio</a:t>
                      </a:r>
                      <a:endParaRPr lang="en-US" sz="1300">
                        <a:solidFill>
                          <a:srgbClr val="0067B7"/>
                        </a:solidFill>
                        <a:effectLst/>
                        <a:latin typeface="Times New Roman" panose="02020603050405020304" pitchFamily="18" charset="0"/>
                        <a:ea typeface="Times New Roman" panose="02020603050405020304" pitchFamily="18" charset="0"/>
                      </a:endParaRPr>
                    </a:p>
                  </a:txBody>
                  <a:tcPr marL="68580" marR="68580" marT="0" marB="0">
                    <a:lnL w="12700" cap="flat" cmpd="sng" algn="ctr">
                      <a:solidFill>
                        <a:srgbClr val="87CBD8"/>
                      </a:solidFill>
                      <a:prstDash val="solid"/>
                      <a:round/>
                      <a:headEnd type="none" w="med" len="med"/>
                      <a:tailEnd type="none" w="med" len="med"/>
                    </a:lnL>
                    <a:lnR w="12700" cap="flat" cmpd="sng" algn="ctr">
                      <a:solidFill>
                        <a:srgbClr val="87CBD8"/>
                      </a:solidFill>
                      <a:prstDash val="solid"/>
                      <a:round/>
                      <a:headEnd type="none" w="med" len="med"/>
                      <a:tailEnd type="none" w="med" len="med"/>
                    </a:lnR>
                    <a:lnT w="12700" cap="flat" cmpd="sng" algn="ctr">
                      <a:solidFill>
                        <a:srgbClr val="87CBD8"/>
                      </a:solidFill>
                      <a:prstDash val="solid"/>
                      <a:round/>
                      <a:headEnd type="none" w="med" len="med"/>
                      <a:tailEnd type="none" w="med" len="med"/>
                    </a:lnT>
                    <a:lnB w="12700" cap="flat" cmpd="sng" algn="ctr">
                      <a:solidFill>
                        <a:srgbClr val="87CBD8"/>
                      </a:solidFill>
                      <a:prstDash val="solid"/>
                      <a:round/>
                      <a:headEnd type="none" w="med" len="med"/>
                      <a:tailEnd type="none" w="med" len="med"/>
                    </a:lnB>
                    <a:noFill/>
                  </a:tcPr>
                </a:tc>
                <a:extLst>
                  <a:ext uri="{0D108BD9-81ED-4DB2-BD59-A6C34878D82A}">
                    <a16:rowId xmlns:a16="http://schemas.microsoft.com/office/drawing/2014/main" val="3179380783"/>
                  </a:ext>
                </a:extLst>
              </a:tr>
              <a:tr h="128807">
                <a:tc>
                  <a:txBody>
                    <a:bodyPr/>
                    <a:lstStyle/>
                    <a:p>
                      <a:pPr algn="just">
                        <a:spcBef>
                          <a:spcPts val="600"/>
                        </a:spcBef>
                        <a:spcAft>
                          <a:spcPts val="0"/>
                        </a:spcAft>
                      </a:pPr>
                      <a:r>
                        <a:rPr lang="es-MX" sz="1300">
                          <a:solidFill>
                            <a:srgbClr val="0067B7"/>
                          </a:solidFill>
                          <a:effectLst/>
                          <a:latin typeface="Times New Roman" panose="02020603050405020304" pitchFamily="18" charset="0"/>
                          <a:ea typeface="Times New Roman" panose="02020603050405020304" pitchFamily="18" charset="0"/>
                        </a:rPr>
                        <a:t>Predominio</a:t>
                      </a:r>
                      <a:endParaRPr lang="en-US" sz="1300">
                        <a:solidFill>
                          <a:srgbClr val="0067B7"/>
                        </a:solidFill>
                        <a:effectLst/>
                        <a:latin typeface="Times New Roman" panose="02020603050405020304" pitchFamily="18" charset="0"/>
                        <a:ea typeface="Times New Roman" panose="02020603050405020304" pitchFamily="18" charset="0"/>
                      </a:endParaRPr>
                    </a:p>
                  </a:txBody>
                  <a:tcPr marL="68580" marR="68580" marT="0" marB="0">
                    <a:lnL w="12700" cap="flat" cmpd="sng" algn="ctr">
                      <a:solidFill>
                        <a:srgbClr val="87CBD8"/>
                      </a:solidFill>
                      <a:prstDash val="solid"/>
                      <a:round/>
                      <a:headEnd type="none" w="med" len="med"/>
                      <a:tailEnd type="none" w="med" len="med"/>
                    </a:lnL>
                    <a:lnR w="12700" cap="flat" cmpd="sng" algn="ctr">
                      <a:solidFill>
                        <a:srgbClr val="87CBD8"/>
                      </a:solidFill>
                      <a:prstDash val="solid"/>
                      <a:round/>
                      <a:headEnd type="none" w="med" len="med"/>
                      <a:tailEnd type="none" w="med" len="med"/>
                    </a:lnR>
                    <a:lnT w="12700" cap="flat" cmpd="sng" algn="ctr">
                      <a:solidFill>
                        <a:srgbClr val="87CBD8"/>
                      </a:solidFill>
                      <a:prstDash val="solid"/>
                      <a:round/>
                      <a:headEnd type="none" w="med" len="med"/>
                      <a:tailEnd type="none" w="med" len="med"/>
                    </a:lnT>
                    <a:lnB w="12700" cap="flat" cmpd="sng" algn="ctr">
                      <a:solidFill>
                        <a:srgbClr val="87CBD8"/>
                      </a:solidFill>
                      <a:prstDash val="solid"/>
                      <a:round/>
                      <a:headEnd type="none" w="med" len="med"/>
                      <a:tailEnd type="none" w="med" len="med"/>
                    </a:lnB>
                    <a:noFill/>
                  </a:tcPr>
                </a:tc>
                <a:tc>
                  <a:txBody>
                    <a:bodyPr/>
                    <a:lstStyle/>
                    <a:p>
                      <a:pPr algn="just">
                        <a:spcBef>
                          <a:spcPts val="600"/>
                        </a:spcBef>
                        <a:spcAft>
                          <a:spcPts val="0"/>
                        </a:spcAft>
                      </a:pPr>
                      <a:r>
                        <a:rPr lang="es-MX" sz="1300" dirty="0">
                          <a:solidFill>
                            <a:srgbClr val="0067B7"/>
                          </a:solidFill>
                          <a:effectLst/>
                          <a:latin typeface="Times New Roman" panose="02020603050405020304" pitchFamily="18" charset="0"/>
                          <a:ea typeface="Times New Roman" panose="02020603050405020304" pitchFamily="18" charset="0"/>
                        </a:rPr>
                        <a:t>Preocupa la rapidez con que se actualizan los datos; puede medirse por los últimos metadatos actualizados</a:t>
                      </a:r>
                      <a:endParaRPr lang="en-US" sz="1300" dirty="0">
                        <a:solidFill>
                          <a:srgbClr val="0067B7"/>
                        </a:solidFill>
                        <a:effectLst/>
                        <a:latin typeface="Times New Roman" panose="02020603050405020304" pitchFamily="18" charset="0"/>
                        <a:ea typeface="Times New Roman" panose="02020603050405020304" pitchFamily="18" charset="0"/>
                      </a:endParaRPr>
                    </a:p>
                  </a:txBody>
                  <a:tcPr marL="68580" marR="68580" marT="0" marB="0">
                    <a:lnL w="12700" cap="flat" cmpd="sng" algn="ctr">
                      <a:solidFill>
                        <a:srgbClr val="87CBD8"/>
                      </a:solidFill>
                      <a:prstDash val="solid"/>
                      <a:round/>
                      <a:headEnd type="none" w="med" len="med"/>
                      <a:tailEnd type="none" w="med" len="med"/>
                    </a:lnL>
                    <a:lnR w="12700" cap="flat" cmpd="sng" algn="ctr">
                      <a:solidFill>
                        <a:srgbClr val="87CBD8"/>
                      </a:solidFill>
                      <a:prstDash val="solid"/>
                      <a:round/>
                      <a:headEnd type="none" w="med" len="med"/>
                      <a:tailEnd type="none" w="med" len="med"/>
                    </a:lnR>
                    <a:lnT w="12700" cap="flat" cmpd="sng" algn="ctr">
                      <a:solidFill>
                        <a:srgbClr val="87CBD8"/>
                      </a:solidFill>
                      <a:prstDash val="solid"/>
                      <a:round/>
                      <a:headEnd type="none" w="med" len="med"/>
                      <a:tailEnd type="none" w="med" len="med"/>
                    </a:lnT>
                    <a:lnB w="12700" cap="flat" cmpd="sng" algn="ctr">
                      <a:solidFill>
                        <a:srgbClr val="87CBD8"/>
                      </a:solidFill>
                      <a:prstDash val="solid"/>
                      <a:round/>
                      <a:headEnd type="none" w="med" len="med"/>
                      <a:tailEnd type="none" w="med" len="med"/>
                    </a:lnB>
                    <a:noFill/>
                  </a:tcPr>
                </a:tc>
                <a:extLst>
                  <a:ext uri="{0D108BD9-81ED-4DB2-BD59-A6C34878D82A}">
                    <a16:rowId xmlns:a16="http://schemas.microsoft.com/office/drawing/2014/main" val="8554222"/>
                  </a:ext>
                </a:extLst>
              </a:tr>
              <a:tr h="214679">
                <a:tc>
                  <a:txBody>
                    <a:bodyPr/>
                    <a:lstStyle/>
                    <a:p>
                      <a:pPr algn="just">
                        <a:spcBef>
                          <a:spcPts val="600"/>
                        </a:spcBef>
                        <a:spcAft>
                          <a:spcPts val="0"/>
                        </a:spcAft>
                      </a:pPr>
                      <a:r>
                        <a:rPr lang="es-MX" sz="1300">
                          <a:solidFill>
                            <a:srgbClr val="0067B7"/>
                          </a:solidFill>
                          <a:effectLst/>
                          <a:latin typeface="Times New Roman" panose="02020603050405020304" pitchFamily="18" charset="0"/>
                          <a:ea typeface="Times New Roman" panose="02020603050405020304" pitchFamily="18" charset="0"/>
                        </a:rPr>
                        <a:t>Volatilidad</a:t>
                      </a:r>
                      <a:endParaRPr lang="en-US" sz="1300">
                        <a:solidFill>
                          <a:srgbClr val="0067B7"/>
                        </a:solidFill>
                        <a:effectLst/>
                        <a:latin typeface="Times New Roman" panose="02020603050405020304" pitchFamily="18" charset="0"/>
                        <a:ea typeface="Times New Roman" panose="02020603050405020304" pitchFamily="18" charset="0"/>
                      </a:endParaRPr>
                    </a:p>
                  </a:txBody>
                  <a:tcPr marL="68580" marR="68580" marT="0" marB="0">
                    <a:lnL w="12700" cap="flat" cmpd="sng" algn="ctr">
                      <a:solidFill>
                        <a:srgbClr val="87CBD8"/>
                      </a:solidFill>
                      <a:prstDash val="solid"/>
                      <a:round/>
                      <a:headEnd type="none" w="med" len="med"/>
                      <a:tailEnd type="none" w="med" len="med"/>
                    </a:lnL>
                    <a:lnR w="12700" cap="flat" cmpd="sng" algn="ctr">
                      <a:solidFill>
                        <a:srgbClr val="87CBD8"/>
                      </a:solidFill>
                      <a:prstDash val="solid"/>
                      <a:round/>
                      <a:headEnd type="none" w="med" len="med"/>
                      <a:tailEnd type="none" w="med" len="med"/>
                    </a:lnR>
                    <a:lnT w="12700" cap="flat" cmpd="sng" algn="ctr">
                      <a:solidFill>
                        <a:srgbClr val="87CBD8"/>
                      </a:solidFill>
                      <a:prstDash val="solid"/>
                      <a:round/>
                      <a:headEnd type="none" w="med" len="med"/>
                      <a:tailEnd type="none" w="med" len="med"/>
                    </a:lnT>
                    <a:lnB w="12700" cap="flat" cmpd="sng" algn="ctr">
                      <a:solidFill>
                        <a:srgbClr val="87CBD8"/>
                      </a:solidFill>
                      <a:prstDash val="solid"/>
                      <a:round/>
                      <a:headEnd type="none" w="med" len="med"/>
                      <a:tailEnd type="none" w="med" len="med"/>
                    </a:lnB>
                    <a:noFill/>
                  </a:tcPr>
                </a:tc>
                <a:tc>
                  <a:txBody>
                    <a:bodyPr/>
                    <a:lstStyle/>
                    <a:p>
                      <a:pPr algn="just">
                        <a:spcBef>
                          <a:spcPts val="600"/>
                        </a:spcBef>
                        <a:spcAft>
                          <a:spcPts val="0"/>
                        </a:spcAft>
                      </a:pPr>
                      <a:r>
                        <a:rPr lang="es-MX" sz="1300" dirty="0">
                          <a:solidFill>
                            <a:srgbClr val="0067B7"/>
                          </a:solidFill>
                          <a:effectLst/>
                          <a:latin typeface="Times New Roman" panose="02020603050405020304" pitchFamily="18" charset="0"/>
                          <a:ea typeface="Times New Roman" panose="02020603050405020304" pitchFamily="18" charset="0"/>
                        </a:rPr>
                        <a:t>Caracteriza la frecuencia con la cual los datos varían en el tiempo; métrica dada por la longitud de los datos de tiempo sigue siendo válida</a:t>
                      </a:r>
                      <a:endParaRPr lang="en-US" sz="1300" dirty="0">
                        <a:solidFill>
                          <a:srgbClr val="0067B7"/>
                        </a:solidFill>
                        <a:effectLst/>
                        <a:latin typeface="Times New Roman" panose="02020603050405020304" pitchFamily="18" charset="0"/>
                        <a:ea typeface="Times New Roman" panose="02020603050405020304" pitchFamily="18" charset="0"/>
                      </a:endParaRPr>
                    </a:p>
                  </a:txBody>
                  <a:tcPr marL="68580" marR="68580" marT="0" marB="0">
                    <a:lnL w="12700" cap="flat" cmpd="sng" algn="ctr">
                      <a:solidFill>
                        <a:srgbClr val="87CBD8"/>
                      </a:solidFill>
                      <a:prstDash val="solid"/>
                      <a:round/>
                      <a:headEnd type="none" w="med" len="med"/>
                      <a:tailEnd type="none" w="med" len="med"/>
                    </a:lnL>
                    <a:lnR w="12700" cap="flat" cmpd="sng" algn="ctr">
                      <a:solidFill>
                        <a:srgbClr val="87CBD8"/>
                      </a:solidFill>
                      <a:prstDash val="solid"/>
                      <a:round/>
                      <a:headEnd type="none" w="med" len="med"/>
                      <a:tailEnd type="none" w="med" len="med"/>
                    </a:lnR>
                    <a:lnT w="12700" cap="flat" cmpd="sng" algn="ctr">
                      <a:solidFill>
                        <a:srgbClr val="87CBD8"/>
                      </a:solidFill>
                      <a:prstDash val="solid"/>
                      <a:round/>
                      <a:headEnd type="none" w="med" len="med"/>
                      <a:tailEnd type="none" w="med" len="med"/>
                    </a:lnT>
                    <a:lnB w="12700" cap="flat" cmpd="sng" algn="ctr">
                      <a:solidFill>
                        <a:srgbClr val="87CBD8"/>
                      </a:solidFill>
                      <a:prstDash val="solid"/>
                      <a:round/>
                      <a:headEnd type="none" w="med" len="med"/>
                      <a:tailEnd type="none" w="med" len="med"/>
                    </a:lnB>
                    <a:noFill/>
                  </a:tcPr>
                </a:tc>
                <a:extLst>
                  <a:ext uri="{0D108BD9-81ED-4DB2-BD59-A6C34878D82A}">
                    <a16:rowId xmlns:a16="http://schemas.microsoft.com/office/drawing/2014/main" val="3902399979"/>
                  </a:ext>
                </a:extLst>
              </a:tr>
              <a:tr h="128807">
                <a:tc>
                  <a:txBody>
                    <a:bodyPr/>
                    <a:lstStyle/>
                    <a:p>
                      <a:pPr algn="just">
                        <a:spcBef>
                          <a:spcPts val="600"/>
                        </a:spcBef>
                        <a:spcAft>
                          <a:spcPts val="0"/>
                        </a:spcAft>
                      </a:pPr>
                      <a:r>
                        <a:rPr lang="es-MX" sz="1300">
                          <a:solidFill>
                            <a:srgbClr val="0067B7"/>
                          </a:solidFill>
                          <a:effectLst/>
                          <a:latin typeface="Times New Roman" panose="02020603050405020304" pitchFamily="18" charset="0"/>
                          <a:ea typeface="Times New Roman" panose="02020603050405020304" pitchFamily="18" charset="0"/>
                        </a:rPr>
                        <a:t>Consistencia</a:t>
                      </a:r>
                      <a:endParaRPr lang="en-US" sz="1300">
                        <a:solidFill>
                          <a:srgbClr val="0067B7"/>
                        </a:solidFill>
                        <a:effectLst/>
                        <a:latin typeface="Times New Roman" panose="02020603050405020304" pitchFamily="18" charset="0"/>
                        <a:ea typeface="Times New Roman" panose="02020603050405020304" pitchFamily="18" charset="0"/>
                      </a:endParaRPr>
                    </a:p>
                  </a:txBody>
                  <a:tcPr marL="68580" marR="68580" marT="0" marB="0">
                    <a:lnL w="12700" cap="flat" cmpd="sng" algn="ctr">
                      <a:solidFill>
                        <a:srgbClr val="87CBD8"/>
                      </a:solidFill>
                      <a:prstDash val="solid"/>
                      <a:round/>
                      <a:headEnd type="none" w="med" len="med"/>
                      <a:tailEnd type="none" w="med" len="med"/>
                    </a:lnL>
                    <a:lnR w="12700" cap="flat" cmpd="sng" algn="ctr">
                      <a:solidFill>
                        <a:srgbClr val="87CBD8"/>
                      </a:solidFill>
                      <a:prstDash val="solid"/>
                      <a:round/>
                      <a:headEnd type="none" w="med" len="med"/>
                      <a:tailEnd type="none" w="med" len="med"/>
                    </a:lnR>
                    <a:lnT w="12700" cap="flat" cmpd="sng" algn="ctr">
                      <a:solidFill>
                        <a:srgbClr val="87CBD8"/>
                      </a:solidFill>
                      <a:prstDash val="solid"/>
                      <a:round/>
                      <a:headEnd type="none" w="med" len="med"/>
                      <a:tailEnd type="none" w="med" len="med"/>
                    </a:lnT>
                    <a:lnB w="12700" cap="flat" cmpd="sng" algn="ctr">
                      <a:solidFill>
                        <a:srgbClr val="87CBD8"/>
                      </a:solidFill>
                      <a:prstDash val="solid"/>
                      <a:round/>
                      <a:headEnd type="none" w="med" len="med"/>
                      <a:tailEnd type="none" w="med" len="med"/>
                    </a:lnB>
                    <a:noFill/>
                  </a:tcPr>
                </a:tc>
                <a:tc>
                  <a:txBody>
                    <a:bodyPr/>
                    <a:lstStyle/>
                    <a:p>
                      <a:pPr algn="just">
                        <a:spcBef>
                          <a:spcPts val="600"/>
                        </a:spcBef>
                        <a:spcAft>
                          <a:spcPts val="0"/>
                        </a:spcAft>
                      </a:pPr>
                      <a:r>
                        <a:rPr lang="es-MX" sz="1300" dirty="0">
                          <a:solidFill>
                            <a:srgbClr val="0067B7"/>
                          </a:solidFill>
                          <a:effectLst/>
                          <a:latin typeface="Times New Roman" panose="02020603050405020304" pitchFamily="18" charset="0"/>
                          <a:ea typeface="Times New Roman" panose="02020603050405020304" pitchFamily="18" charset="0"/>
                        </a:rPr>
                        <a:t>Se refiere a la violación de las reglas semánticas definidas sobre los elementos de datos y generalmente expresa una restricción de integridad</a:t>
                      </a:r>
                      <a:endParaRPr lang="en-US" sz="1300" dirty="0">
                        <a:solidFill>
                          <a:srgbClr val="0067B7"/>
                        </a:solidFill>
                        <a:effectLst/>
                        <a:latin typeface="Times New Roman" panose="02020603050405020304" pitchFamily="18" charset="0"/>
                        <a:ea typeface="Times New Roman" panose="02020603050405020304" pitchFamily="18" charset="0"/>
                      </a:endParaRPr>
                    </a:p>
                  </a:txBody>
                  <a:tcPr marL="68580" marR="68580" marT="0" marB="0">
                    <a:lnL w="12700" cap="flat" cmpd="sng" algn="ctr">
                      <a:solidFill>
                        <a:srgbClr val="87CBD8"/>
                      </a:solidFill>
                      <a:prstDash val="solid"/>
                      <a:round/>
                      <a:headEnd type="none" w="med" len="med"/>
                      <a:tailEnd type="none" w="med" len="med"/>
                    </a:lnL>
                    <a:lnR w="12700" cap="flat" cmpd="sng" algn="ctr">
                      <a:solidFill>
                        <a:srgbClr val="87CBD8"/>
                      </a:solidFill>
                      <a:prstDash val="solid"/>
                      <a:round/>
                      <a:headEnd type="none" w="med" len="med"/>
                      <a:tailEnd type="none" w="med" len="med"/>
                    </a:lnR>
                    <a:lnT w="12700" cap="flat" cmpd="sng" algn="ctr">
                      <a:solidFill>
                        <a:srgbClr val="87CBD8"/>
                      </a:solidFill>
                      <a:prstDash val="solid"/>
                      <a:round/>
                      <a:headEnd type="none" w="med" len="med"/>
                      <a:tailEnd type="none" w="med" len="med"/>
                    </a:lnT>
                    <a:lnB w="12700" cap="flat" cmpd="sng" algn="ctr">
                      <a:solidFill>
                        <a:srgbClr val="87CBD8"/>
                      </a:solidFill>
                      <a:prstDash val="solid"/>
                      <a:round/>
                      <a:headEnd type="none" w="med" len="med"/>
                      <a:tailEnd type="none" w="med" len="med"/>
                    </a:lnB>
                    <a:noFill/>
                  </a:tcPr>
                </a:tc>
                <a:extLst>
                  <a:ext uri="{0D108BD9-81ED-4DB2-BD59-A6C34878D82A}">
                    <a16:rowId xmlns:a16="http://schemas.microsoft.com/office/drawing/2014/main" val="3615220981"/>
                  </a:ext>
                </a:extLst>
              </a:tr>
              <a:tr h="128807">
                <a:tc>
                  <a:txBody>
                    <a:bodyPr/>
                    <a:lstStyle/>
                    <a:p>
                      <a:pPr algn="just">
                        <a:spcBef>
                          <a:spcPts val="600"/>
                        </a:spcBef>
                        <a:spcAft>
                          <a:spcPts val="0"/>
                        </a:spcAft>
                      </a:pPr>
                      <a:r>
                        <a:rPr lang="es-MX" sz="1300" dirty="0">
                          <a:solidFill>
                            <a:srgbClr val="0067B7"/>
                          </a:solidFill>
                          <a:effectLst/>
                          <a:latin typeface="Times New Roman" panose="02020603050405020304" pitchFamily="18" charset="0"/>
                          <a:ea typeface="Times New Roman" panose="02020603050405020304" pitchFamily="18" charset="0"/>
                        </a:rPr>
                        <a:t>Facilidad de comprensión</a:t>
                      </a:r>
                      <a:endParaRPr lang="en-US" sz="1300" dirty="0">
                        <a:solidFill>
                          <a:srgbClr val="0067B7"/>
                        </a:solidFill>
                        <a:effectLst/>
                        <a:latin typeface="Times New Roman" panose="02020603050405020304" pitchFamily="18" charset="0"/>
                        <a:ea typeface="Times New Roman" panose="02020603050405020304" pitchFamily="18" charset="0"/>
                      </a:endParaRPr>
                    </a:p>
                  </a:txBody>
                  <a:tcPr marL="68580" marR="68580" marT="0" marB="0">
                    <a:lnL w="12700" cap="flat" cmpd="sng" algn="ctr">
                      <a:solidFill>
                        <a:srgbClr val="87CBD8"/>
                      </a:solidFill>
                      <a:prstDash val="solid"/>
                      <a:round/>
                      <a:headEnd type="none" w="med" len="med"/>
                      <a:tailEnd type="none" w="med" len="med"/>
                    </a:lnL>
                    <a:lnR w="12700" cap="flat" cmpd="sng" algn="ctr">
                      <a:solidFill>
                        <a:srgbClr val="87CBD8"/>
                      </a:solidFill>
                      <a:prstDash val="solid"/>
                      <a:round/>
                      <a:headEnd type="none" w="med" len="med"/>
                      <a:tailEnd type="none" w="med" len="med"/>
                    </a:lnR>
                    <a:lnT w="12700" cap="flat" cmpd="sng" algn="ctr">
                      <a:solidFill>
                        <a:srgbClr val="87CBD8"/>
                      </a:solidFill>
                      <a:prstDash val="solid"/>
                      <a:round/>
                      <a:headEnd type="none" w="med" len="med"/>
                      <a:tailEnd type="none" w="med" len="med"/>
                    </a:lnT>
                    <a:lnB w="12700" cap="flat" cmpd="sng" algn="ctr">
                      <a:solidFill>
                        <a:srgbClr val="87CBD8"/>
                      </a:solidFill>
                      <a:prstDash val="solid"/>
                      <a:round/>
                      <a:headEnd type="none" w="med" len="med"/>
                      <a:tailEnd type="none" w="med" len="med"/>
                    </a:lnB>
                    <a:noFill/>
                  </a:tcPr>
                </a:tc>
                <a:tc>
                  <a:txBody>
                    <a:bodyPr/>
                    <a:lstStyle/>
                    <a:p>
                      <a:pPr algn="just">
                        <a:spcBef>
                          <a:spcPts val="600"/>
                        </a:spcBef>
                        <a:spcAft>
                          <a:spcPts val="0"/>
                        </a:spcAft>
                      </a:pPr>
                      <a:r>
                        <a:rPr lang="es-MX" sz="1300" dirty="0">
                          <a:solidFill>
                            <a:srgbClr val="0067B7"/>
                          </a:solidFill>
                          <a:effectLst/>
                          <a:latin typeface="Times New Roman" panose="02020603050405020304" pitchFamily="18" charset="0"/>
                          <a:ea typeface="Times New Roman" panose="02020603050405020304" pitchFamily="18" charset="0"/>
                        </a:rPr>
                        <a:t>Cuantos datos son claros, sin ambigüedad y fácilmente comprensibles</a:t>
                      </a:r>
                      <a:endParaRPr lang="en-US" sz="1300" dirty="0">
                        <a:solidFill>
                          <a:srgbClr val="0067B7"/>
                        </a:solidFill>
                        <a:effectLst/>
                        <a:latin typeface="Times New Roman" panose="02020603050405020304" pitchFamily="18" charset="0"/>
                        <a:ea typeface="Times New Roman" panose="02020603050405020304" pitchFamily="18" charset="0"/>
                      </a:endParaRPr>
                    </a:p>
                  </a:txBody>
                  <a:tcPr marL="68580" marR="68580" marT="0" marB="0">
                    <a:lnL w="12700" cap="flat" cmpd="sng" algn="ctr">
                      <a:solidFill>
                        <a:srgbClr val="87CBD8"/>
                      </a:solidFill>
                      <a:prstDash val="solid"/>
                      <a:round/>
                      <a:headEnd type="none" w="med" len="med"/>
                      <a:tailEnd type="none" w="med" len="med"/>
                    </a:lnL>
                    <a:lnR w="12700" cap="flat" cmpd="sng" algn="ctr">
                      <a:solidFill>
                        <a:srgbClr val="87CBD8"/>
                      </a:solidFill>
                      <a:prstDash val="solid"/>
                      <a:round/>
                      <a:headEnd type="none" w="med" len="med"/>
                      <a:tailEnd type="none" w="med" len="med"/>
                    </a:lnR>
                    <a:lnT w="12700" cap="flat" cmpd="sng" algn="ctr">
                      <a:solidFill>
                        <a:srgbClr val="87CBD8"/>
                      </a:solidFill>
                      <a:prstDash val="solid"/>
                      <a:round/>
                      <a:headEnd type="none" w="med" len="med"/>
                      <a:tailEnd type="none" w="med" len="med"/>
                    </a:lnT>
                    <a:lnB w="12700" cap="flat" cmpd="sng" algn="ctr">
                      <a:solidFill>
                        <a:srgbClr val="87CBD8"/>
                      </a:solidFill>
                      <a:prstDash val="solid"/>
                      <a:round/>
                      <a:headEnd type="none" w="med" len="med"/>
                      <a:tailEnd type="none" w="med" len="med"/>
                    </a:lnB>
                    <a:noFill/>
                  </a:tcPr>
                </a:tc>
                <a:extLst>
                  <a:ext uri="{0D108BD9-81ED-4DB2-BD59-A6C34878D82A}">
                    <a16:rowId xmlns:a16="http://schemas.microsoft.com/office/drawing/2014/main" val="4181188274"/>
                  </a:ext>
                </a:extLst>
              </a:tr>
            </a:tbl>
          </a:graphicData>
        </a:graphic>
      </p:graphicFrame>
    </p:spTree>
    <p:extLst>
      <p:ext uri="{BB962C8B-B14F-4D97-AF65-F5344CB8AC3E}">
        <p14:creationId xmlns:p14="http://schemas.microsoft.com/office/powerpoint/2010/main" val="3628410121"/>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ángulo 4"/>
          <p:cNvSpPr/>
          <p:nvPr/>
        </p:nvSpPr>
        <p:spPr>
          <a:xfrm>
            <a:off x="4581514" y="3028895"/>
            <a:ext cx="4022989" cy="400105"/>
          </a:xfrm>
          <a:prstGeom prst="rect">
            <a:avLst/>
          </a:prstGeom>
          <a:ln w="12700">
            <a:miter lim="400000"/>
          </a:ln>
        </p:spPr>
        <p:txBody>
          <a:bodyPr wrap="square" lIns="45718" tIns="45718" rIns="45718" bIns="45718">
            <a:spAutoFit/>
          </a:bodyPr>
          <a:lstStyle/>
          <a:p>
            <a:pPr defTabSz="914400"/>
            <a:r>
              <a:rPr lang="es-MX" sz="2000" b="1" dirty="0">
                <a:solidFill>
                  <a:srgbClr val="016AA2"/>
                </a:solidFill>
                <a:ea typeface="Arial"/>
                <a:cs typeface="Arial"/>
              </a:rPr>
              <a:t>Infrastructure and Connectivity</a:t>
            </a:r>
          </a:p>
        </p:txBody>
      </p:sp>
    </p:spTree>
    <p:extLst>
      <p:ext uri="{BB962C8B-B14F-4D97-AF65-F5344CB8AC3E}">
        <p14:creationId xmlns:p14="http://schemas.microsoft.com/office/powerpoint/2010/main" val="184759778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7" name="Rounded Rectangle 466">
            <a:extLst>
              <a:ext uri="{FF2B5EF4-FFF2-40B4-BE49-F238E27FC236}">
                <a16:creationId xmlns:a16="http://schemas.microsoft.com/office/drawing/2014/main" id="{5D266F00-6962-D249-A592-9725163AC8FC}"/>
              </a:ext>
            </a:extLst>
          </p:cNvPr>
          <p:cNvSpPr/>
          <p:nvPr/>
        </p:nvSpPr>
        <p:spPr>
          <a:xfrm>
            <a:off x="4071503" y="1622916"/>
            <a:ext cx="2453796" cy="3779481"/>
          </a:xfrm>
          <a:prstGeom prst="roundRect">
            <a:avLst/>
          </a:prstGeom>
          <a:solidFill>
            <a:schemeClr val="bg1">
              <a:lumMod val="85000"/>
              <a:alpha val="33000"/>
            </a:schemeClr>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800" b="1" dirty="0">
                <a:solidFill>
                  <a:schemeClr val="bg1">
                    <a:lumMod val="50000"/>
                  </a:schemeClr>
                </a:solidFill>
                <a:latin typeface="Comic Sans MS" panose="030F0902030302020204" pitchFamily="66" charset="0"/>
                <a:ea typeface="Nanum Pen Script" panose="03040600000000000000" pitchFamily="66" charset="-127"/>
              </a:rPr>
              <a:t>Kafka Cluster (Brokers, Zookeeper)</a:t>
            </a:r>
          </a:p>
          <a:p>
            <a:pPr algn="ctr"/>
            <a:endParaRPr lang="en-US" sz="800" b="1" dirty="0">
              <a:solidFill>
                <a:schemeClr val="bg1">
                  <a:lumMod val="50000"/>
                </a:schemeClr>
              </a:solidFill>
              <a:latin typeface="Comic Sans MS" panose="030F0902030302020204" pitchFamily="66" charset="0"/>
              <a:ea typeface="Nanum Pen Script" panose="03040600000000000000" pitchFamily="66" charset="-127"/>
            </a:endParaRPr>
          </a:p>
          <a:p>
            <a:pPr algn="ctr"/>
            <a:endParaRPr lang="en-US" sz="800" b="1" dirty="0">
              <a:solidFill>
                <a:schemeClr val="bg1">
                  <a:lumMod val="50000"/>
                </a:schemeClr>
              </a:solidFill>
              <a:latin typeface="Comic Sans MS" panose="030F0902030302020204" pitchFamily="66" charset="0"/>
              <a:ea typeface="Nanum Pen Script" panose="03040600000000000000" pitchFamily="66" charset="-127"/>
            </a:endParaRPr>
          </a:p>
          <a:p>
            <a:pPr algn="ctr"/>
            <a:endParaRPr lang="en-US" sz="800" b="1" dirty="0">
              <a:solidFill>
                <a:schemeClr val="bg1">
                  <a:lumMod val="50000"/>
                </a:schemeClr>
              </a:solidFill>
              <a:latin typeface="Comic Sans MS" panose="030F0902030302020204" pitchFamily="66" charset="0"/>
              <a:ea typeface="Nanum Pen Script" panose="03040600000000000000" pitchFamily="66" charset="-127"/>
            </a:endParaRPr>
          </a:p>
          <a:p>
            <a:pPr algn="ctr"/>
            <a:endParaRPr lang="en-US" sz="700" b="1" dirty="0">
              <a:solidFill>
                <a:schemeClr val="bg1">
                  <a:lumMod val="50000"/>
                </a:schemeClr>
              </a:solidFill>
              <a:latin typeface="Comic Sans MS" panose="030F0902030302020204" pitchFamily="66" charset="0"/>
              <a:ea typeface="Nanum Pen Script" panose="03040600000000000000" pitchFamily="66" charset="-127"/>
            </a:endParaRPr>
          </a:p>
          <a:p>
            <a:pPr algn="ctr"/>
            <a:endParaRPr lang="en-US" sz="700" b="1" dirty="0">
              <a:solidFill>
                <a:schemeClr val="bg1">
                  <a:lumMod val="50000"/>
                </a:schemeClr>
              </a:solidFill>
              <a:latin typeface="Comic Sans MS" panose="030F0902030302020204" pitchFamily="66" charset="0"/>
              <a:ea typeface="Nanum Pen Script" panose="03040600000000000000" pitchFamily="66" charset="-127"/>
            </a:endParaRPr>
          </a:p>
          <a:p>
            <a:pPr algn="ctr"/>
            <a:endParaRPr lang="en-US" sz="700" b="1" dirty="0">
              <a:solidFill>
                <a:schemeClr val="bg1">
                  <a:lumMod val="50000"/>
                </a:schemeClr>
              </a:solidFill>
              <a:latin typeface="Comic Sans MS" panose="030F0902030302020204" pitchFamily="66" charset="0"/>
              <a:ea typeface="Nanum Pen Script" panose="03040600000000000000" pitchFamily="66" charset="-127"/>
            </a:endParaRPr>
          </a:p>
          <a:p>
            <a:pPr algn="ctr"/>
            <a:endParaRPr lang="en-US" sz="700" b="1" dirty="0">
              <a:solidFill>
                <a:schemeClr val="bg1">
                  <a:lumMod val="50000"/>
                </a:schemeClr>
              </a:solidFill>
              <a:latin typeface="Comic Sans MS" panose="030F0902030302020204" pitchFamily="66" charset="0"/>
              <a:ea typeface="Nanum Pen Script" panose="03040600000000000000" pitchFamily="66" charset="-127"/>
            </a:endParaRPr>
          </a:p>
          <a:p>
            <a:pPr algn="ctr"/>
            <a:endParaRPr lang="en-US" sz="1600" dirty="0">
              <a:solidFill>
                <a:schemeClr val="tx1"/>
              </a:solidFill>
              <a:latin typeface="Comic Sans MS" panose="030F0902030302020204" pitchFamily="66" charset="0"/>
              <a:ea typeface="Nanum Pen Script" panose="03040600000000000000" pitchFamily="66" charset="-127"/>
            </a:endParaRPr>
          </a:p>
          <a:p>
            <a:pPr algn="ctr"/>
            <a:endParaRPr lang="en-US" sz="1600" dirty="0">
              <a:solidFill>
                <a:schemeClr val="tx1"/>
              </a:solidFill>
              <a:latin typeface="Comic Sans MS" panose="030F0902030302020204" pitchFamily="66" charset="0"/>
              <a:ea typeface="Nanum Pen Script" panose="03040600000000000000" pitchFamily="66" charset="-127"/>
            </a:endParaRPr>
          </a:p>
        </p:txBody>
      </p:sp>
      <p:sp>
        <p:nvSpPr>
          <p:cNvPr id="31" name="Rectangle 3">
            <a:extLst>
              <a:ext uri="{FF2B5EF4-FFF2-40B4-BE49-F238E27FC236}">
                <a16:creationId xmlns:a16="http://schemas.microsoft.com/office/drawing/2014/main" id="{A27FD23C-A522-0E4F-B70C-CC83BC4542BA}"/>
              </a:ext>
            </a:extLst>
          </p:cNvPr>
          <p:cNvSpPr txBox="1"/>
          <p:nvPr/>
        </p:nvSpPr>
        <p:spPr>
          <a:xfrm>
            <a:off x="404808" y="237462"/>
            <a:ext cx="7585857" cy="400105"/>
          </a:xfrm>
          <a:prstGeom prst="rect">
            <a:avLst/>
          </a:prstGeom>
          <a:ln w="12700">
            <a:miter lim="400000"/>
          </a:ln>
          <a:extLst>
            <a:ext uri="{C572A759-6A51-4108-AA02-DFA0A04FC94B}">
              <ma14:wrappingTextBoxFlag xmlns:ma14="http://schemas.microsoft.com/office/mac/drawingml/2011/main" xmlns="" val="1"/>
            </a:ext>
          </a:extLst>
        </p:spPr>
        <p:txBody>
          <a:bodyPr wrap="square" lIns="45718" tIns="45718" rIns="45718" bIns="45718">
            <a:spAutoFit/>
          </a:bodyPr>
          <a:lstStyle>
            <a:lvl1pPr algn="l" defTabSz="914400">
              <a:defRPr sz="2200" b="1">
                <a:solidFill>
                  <a:srgbClr val="FFFFFF"/>
                </a:solidFill>
                <a:latin typeface="Arial"/>
                <a:ea typeface="Arial"/>
                <a:cs typeface="Arial"/>
                <a:sym typeface="Arial"/>
              </a:defRPr>
            </a:lvl1pPr>
          </a:lstStyle>
          <a:p>
            <a:r>
              <a:rPr lang="en-US" sz="2000" dirty="0">
                <a:solidFill>
                  <a:srgbClr val="016AA2"/>
                </a:solidFill>
              </a:rPr>
              <a:t>Features and terminology (I)</a:t>
            </a:r>
          </a:p>
        </p:txBody>
      </p:sp>
      <p:sp>
        <p:nvSpPr>
          <p:cNvPr id="65" name="Rectangle 3"/>
          <p:cNvSpPr txBox="1"/>
          <p:nvPr/>
        </p:nvSpPr>
        <p:spPr>
          <a:xfrm>
            <a:off x="404807" y="610135"/>
            <a:ext cx="4788378" cy="369328"/>
          </a:xfrm>
          <a:prstGeom prst="rect">
            <a:avLst/>
          </a:prstGeom>
          <a:ln w="12700">
            <a:miter lim="400000"/>
          </a:ln>
          <a:extLst>
            <a:ext uri="{C572A759-6A51-4108-AA02-DFA0A04FC94B}">
              <ma14:wrappingTextBoxFlag xmlns="" xmlns:ma14="http://schemas.microsoft.com/office/mac/drawingml/2011/main" val="1"/>
            </a:ext>
          </a:extLst>
        </p:spPr>
        <p:txBody>
          <a:bodyPr wrap="square" lIns="45718" tIns="45718" rIns="45718" bIns="45718">
            <a:spAutoFit/>
          </a:bodyPr>
          <a:lstStyle>
            <a:lvl1pPr algn="l" defTabSz="914400">
              <a:defRPr sz="2000">
                <a:solidFill>
                  <a:srgbClr val="104D6A"/>
                </a:solidFill>
                <a:latin typeface="Arial"/>
                <a:ea typeface="Arial"/>
                <a:cs typeface="Arial"/>
                <a:sym typeface="Arial"/>
              </a:defRPr>
            </a:lvl1pPr>
          </a:lstStyle>
          <a:p>
            <a:pPr>
              <a:defRPr/>
            </a:pPr>
            <a:r>
              <a:rPr lang="en-US" sz="1800" b="1" dirty="0">
                <a:solidFill>
                  <a:srgbClr val="73C4EF"/>
                </a:solidFill>
              </a:rPr>
              <a:t>Event Hub Architecture – Kafka Connect </a:t>
            </a:r>
          </a:p>
        </p:txBody>
      </p:sp>
      <p:sp>
        <p:nvSpPr>
          <p:cNvPr id="57" name="Rounded Rectangle 56">
            <a:extLst>
              <a:ext uri="{FF2B5EF4-FFF2-40B4-BE49-F238E27FC236}">
                <a16:creationId xmlns:a16="http://schemas.microsoft.com/office/drawing/2014/main" id="{68CCAA71-6BFF-DD4A-9DFF-9FE9EA64657D}"/>
              </a:ext>
            </a:extLst>
          </p:cNvPr>
          <p:cNvSpPr/>
          <p:nvPr/>
        </p:nvSpPr>
        <p:spPr>
          <a:xfrm>
            <a:off x="570775" y="2626303"/>
            <a:ext cx="1172463" cy="400105"/>
          </a:xfrm>
          <a:prstGeom prst="roundRect">
            <a:avLst/>
          </a:prstGeom>
          <a:solidFill>
            <a:schemeClr val="bg1">
              <a:lumMod val="85000"/>
            </a:schemeClr>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b="1" dirty="0">
              <a:solidFill>
                <a:schemeClr val="bg1">
                  <a:lumMod val="50000"/>
                </a:schemeClr>
              </a:solidFill>
              <a:latin typeface="Comic Sans MS" panose="030F0902030302020204" pitchFamily="66" charset="0"/>
              <a:ea typeface="Nanum Pen Script" panose="03040600000000000000" pitchFamily="66" charset="-127"/>
            </a:endParaRPr>
          </a:p>
          <a:p>
            <a:pPr algn="ctr"/>
            <a:endParaRPr lang="en-US" sz="800" b="1" dirty="0">
              <a:solidFill>
                <a:schemeClr val="bg1">
                  <a:lumMod val="50000"/>
                </a:schemeClr>
              </a:solidFill>
              <a:latin typeface="Comic Sans MS" panose="030F0902030302020204" pitchFamily="66" charset="0"/>
              <a:ea typeface="Nanum Pen Script" panose="03040600000000000000" pitchFamily="66" charset="-127"/>
            </a:endParaRPr>
          </a:p>
          <a:p>
            <a:pPr algn="ctr"/>
            <a:endParaRPr lang="en-US" sz="800" b="1" dirty="0">
              <a:solidFill>
                <a:schemeClr val="bg1">
                  <a:lumMod val="50000"/>
                </a:schemeClr>
              </a:solidFill>
              <a:latin typeface="Comic Sans MS" panose="030F0902030302020204" pitchFamily="66" charset="0"/>
              <a:ea typeface="Nanum Pen Script" panose="03040600000000000000" pitchFamily="66" charset="-127"/>
            </a:endParaRPr>
          </a:p>
          <a:p>
            <a:pPr algn="ctr"/>
            <a:endParaRPr lang="en-US" sz="800" b="1" dirty="0">
              <a:solidFill>
                <a:schemeClr val="bg1">
                  <a:lumMod val="50000"/>
                </a:schemeClr>
              </a:solidFill>
              <a:latin typeface="Comic Sans MS" panose="030F0902030302020204" pitchFamily="66" charset="0"/>
              <a:ea typeface="Nanum Pen Script" panose="03040600000000000000" pitchFamily="66" charset="-127"/>
            </a:endParaRPr>
          </a:p>
          <a:p>
            <a:pPr algn="ctr"/>
            <a:endParaRPr lang="en-US" sz="700" b="1" dirty="0">
              <a:solidFill>
                <a:schemeClr val="bg1">
                  <a:lumMod val="50000"/>
                </a:schemeClr>
              </a:solidFill>
              <a:latin typeface="Comic Sans MS" panose="030F0902030302020204" pitchFamily="66" charset="0"/>
              <a:ea typeface="Nanum Pen Script" panose="03040600000000000000" pitchFamily="66" charset="-127"/>
            </a:endParaRPr>
          </a:p>
          <a:p>
            <a:pPr algn="ctr"/>
            <a:endParaRPr lang="en-US" sz="700" b="1" dirty="0">
              <a:solidFill>
                <a:schemeClr val="bg1">
                  <a:lumMod val="50000"/>
                </a:schemeClr>
              </a:solidFill>
              <a:latin typeface="Comic Sans MS" panose="030F0902030302020204" pitchFamily="66" charset="0"/>
              <a:ea typeface="Nanum Pen Script" panose="03040600000000000000" pitchFamily="66" charset="-127"/>
            </a:endParaRPr>
          </a:p>
          <a:p>
            <a:pPr algn="ctr">
              <a:spcBef>
                <a:spcPts val="0"/>
              </a:spcBef>
            </a:pPr>
            <a:r>
              <a:rPr lang="en-US" sz="7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Search</a:t>
            </a:r>
          </a:p>
          <a:p>
            <a:pPr algn="ctr">
              <a:spcBef>
                <a:spcPts val="0"/>
              </a:spcBef>
            </a:pPr>
            <a:endParaRPr lang="en-US" sz="1600" dirty="0">
              <a:solidFill>
                <a:schemeClr val="tx1"/>
              </a:solidFill>
              <a:latin typeface="Comic Sans MS" panose="030F0902030302020204" pitchFamily="66" charset="0"/>
              <a:ea typeface="Nanum Pen Script" panose="03040600000000000000" pitchFamily="66" charset="-127"/>
            </a:endParaRPr>
          </a:p>
          <a:p>
            <a:pPr algn="ctr"/>
            <a:endParaRPr lang="en-US" sz="1600" dirty="0">
              <a:solidFill>
                <a:schemeClr val="tx1"/>
              </a:solidFill>
              <a:latin typeface="Comic Sans MS" panose="030F0902030302020204" pitchFamily="66" charset="0"/>
              <a:ea typeface="Nanum Pen Script" panose="03040600000000000000" pitchFamily="66" charset="-127"/>
            </a:endParaRPr>
          </a:p>
        </p:txBody>
      </p:sp>
      <p:sp>
        <p:nvSpPr>
          <p:cNvPr id="58" name="Rounded Rectangle 57">
            <a:extLst>
              <a:ext uri="{FF2B5EF4-FFF2-40B4-BE49-F238E27FC236}">
                <a16:creationId xmlns:a16="http://schemas.microsoft.com/office/drawing/2014/main" id="{993274D1-9061-F94C-B97B-770F04F5B988}"/>
              </a:ext>
            </a:extLst>
          </p:cNvPr>
          <p:cNvSpPr/>
          <p:nvPr/>
        </p:nvSpPr>
        <p:spPr>
          <a:xfrm>
            <a:off x="2217579" y="3142092"/>
            <a:ext cx="1004924" cy="802492"/>
          </a:xfrm>
          <a:prstGeom prst="roundRect">
            <a:avLst/>
          </a:prstGeom>
          <a:solidFill>
            <a:schemeClr val="bg1">
              <a:lumMod val="85000"/>
            </a:schemeClr>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b="1" dirty="0">
              <a:solidFill>
                <a:schemeClr val="bg1">
                  <a:lumMod val="50000"/>
                </a:schemeClr>
              </a:solidFill>
              <a:latin typeface="Comic Sans MS" panose="030F0902030302020204" pitchFamily="66" charset="0"/>
              <a:ea typeface="Nanum Pen Script" panose="03040600000000000000" pitchFamily="66" charset="-127"/>
            </a:endParaRPr>
          </a:p>
          <a:p>
            <a:pPr algn="ctr"/>
            <a:endParaRPr lang="en-US" sz="800" b="1" dirty="0">
              <a:solidFill>
                <a:schemeClr val="bg1">
                  <a:lumMod val="50000"/>
                </a:schemeClr>
              </a:solidFill>
              <a:latin typeface="Comic Sans MS" panose="030F0902030302020204" pitchFamily="66" charset="0"/>
              <a:ea typeface="Nanum Pen Script" panose="03040600000000000000" pitchFamily="66" charset="-127"/>
            </a:endParaRPr>
          </a:p>
          <a:p>
            <a:pPr algn="ctr"/>
            <a:endParaRPr lang="en-US" sz="800" b="1" dirty="0">
              <a:solidFill>
                <a:schemeClr val="bg1">
                  <a:lumMod val="50000"/>
                </a:schemeClr>
              </a:solidFill>
              <a:latin typeface="Comic Sans MS" panose="030F0902030302020204" pitchFamily="66" charset="0"/>
              <a:ea typeface="Nanum Pen Script" panose="03040600000000000000" pitchFamily="66" charset="-127"/>
            </a:endParaRPr>
          </a:p>
          <a:p>
            <a:pPr algn="ctr"/>
            <a:endParaRPr lang="en-US" sz="800" b="1" dirty="0">
              <a:solidFill>
                <a:schemeClr val="bg1">
                  <a:lumMod val="50000"/>
                </a:schemeClr>
              </a:solidFill>
              <a:latin typeface="Comic Sans MS" panose="030F0902030302020204" pitchFamily="66" charset="0"/>
              <a:ea typeface="Nanum Pen Script" panose="03040600000000000000" pitchFamily="66" charset="-127"/>
            </a:endParaRPr>
          </a:p>
          <a:p>
            <a:pPr algn="ctr"/>
            <a:endParaRPr lang="en-US" sz="700" b="1" dirty="0">
              <a:solidFill>
                <a:schemeClr val="bg1">
                  <a:lumMod val="50000"/>
                </a:schemeClr>
              </a:solidFill>
              <a:latin typeface="Comic Sans MS" panose="030F0902030302020204" pitchFamily="66" charset="0"/>
              <a:ea typeface="Nanum Pen Script" panose="03040600000000000000" pitchFamily="66" charset="-127"/>
            </a:endParaRPr>
          </a:p>
          <a:p>
            <a:pPr algn="ctr"/>
            <a:r>
              <a:rPr lang="en-US" sz="900" b="1" dirty="0">
                <a:solidFill>
                  <a:schemeClr val="bg1">
                    <a:lumMod val="50000"/>
                  </a:schemeClr>
                </a:solidFill>
                <a:latin typeface="Comic Sans MS" panose="030F0902030302020204" pitchFamily="66" charset="0"/>
                <a:ea typeface="Nanum Pen Script" panose="03040600000000000000" pitchFamily="66" charset="-127"/>
              </a:rPr>
              <a:t>Kafka Connect</a:t>
            </a:r>
          </a:p>
          <a:p>
            <a:pPr algn="ctr"/>
            <a:r>
              <a:rPr lang="en-US" sz="900" b="1" dirty="0">
                <a:solidFill>
                  <a:schemeClr val="bg1">
                    <a:lumMod val="50000"/>
                  </a:schemeClr>
                </a:solidFill>
                <a:latin typeface="Comic Sans MS" panose="030F0902030302020204" pitchFamily="66" charset="0"/>
                <a:ea typeface="Nanum Pen Script" panose="03040600000000000000" pitchFamily="66" charset="-127"/>
              </a:rPr>
              <a:t>Sink</a:t>
            </a:r>
          </a:p>
          <a:p>
            <a:pPr algn="ctr"/>
            <a:endParaRPr lang="en-US" sz="1600" dirty="0">
              <a:solidFill>
                <a:schemeClr val="tx1"/>
              </a:solidFill>
              <a:latin typeface="Comic Sans MS" panose="030F0902030302020204" pitchFamily="66" charset="0"/>
              <a:ea typeface="Nanum Pen Script" panose="03040600000000000000" pitchFamily="66" charset="-127"/>
            </a:endParaRPr>
          </a:p>
          <a:p>
            <a:pPr algn="ctr"/>
            <a:endParaRPr lang="en-US" sz="1600" dirty="0">
              <a:solidFill>
                <a:schemeClr val="tx1"/>
              </a:solidFill>
              <a:latin typeface="Comic Sans MS" panose="030F0902030302020204" pitchFamily="66" charset="0"/>
              <a:ea typeface="Nanum Pen Script" panose="03040600000000000000" pitchFamily="66" charset="-127"/>
            </a:endParaRPr>
          </a:p>
        </p:txBody>
      </p:sp>
      <p:cxnSp>
        <p:nvCxnSpPr>
          <p:cNvPr id="64" name="Elbow Connector 63">
            <a:extLst>
              <a:ext uri="{FF2B5EF4-FFF2-40B4-BE49-F238E27FC236}">
                <a16:creationId xmlns:a16="http://schemas.microsoft.com/office/drawing/2014/main" id="{F68CF58E-B9B6-3D47-B10C-229422A0EB0E}"/>
              </a:ext>
            </a:extLst>
          </p:cNvPr>
          <p:cNvCxnSpPr>
            <a:cxnSpLocks/>
            <a:stCxn id="57" idx="3"/>
            <a:endCxn id="58" idx="1"/>
          </p:cNvCxnSpPr>
          <p:nvPr/>
        </p:nvCxnSpPr>
        <p:spPr>
          <a:xfrm>
            <a:off x="1743238" y="2826356"/>
            <a:ext cx="474341" cy="716982"/>
          </a:xfrm>
          <a:prstGeom prst="bentConnector3">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66" name="Rounded Rectangle 65">
            <a:extLst>
              <a:ext uri="{FF2B5EF4-FFF2-40B4-BE49-F238E27FC236}">
                <a16:creationId xmlns:a16="http://schemas.microsoft.com/office/drawing/2014/main" id="{6C353438-892E-574A-AF55-116BF3B2D7C0}"/>
              </a:ext>
            </a:extLst>
          </p:cNvPr>
          <p:cNvSpPr/>
          <p:nvPr/>
        </p:nvSpPr>
        <p:spPr>
          <a:xfrm>
            <a:off x="570775" y="3100199"/>
            <a:ext cx="1172464" cy="427418"/>
          </a:xfrm>
          <a:prstGeom prst="roundRect">
            <a:avLst/>
          </a:prstGeom>
          <a:solidFill>
            <a:schemeClr val="bg1">
              <a:lumMod val="85000"/>
            </a:schemeClr>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b="1" dirty="0">
              <a:solidFill>
                <a:schemeClr val="bg1">
                  <a:lumMod val="50000"/>
                </a:schemeClr>
              </a:solidFill>
              <a:latin typeface="Comic Sans MS" panose="030F0902030302020204" pitchFamily="66" charset="0"/>
              <a:ea typeface="Nanum Pen Script" panose="03040600000000000000" pitchFamily="66" charset="-127"/>
            </a:endParaRPr>
          </a:p>
          <a:p>
            <a:pPr algn="ctr"/>
            <a:endParaRPr lang="en-US" sz="800" b="1" dirty="0">
              <a:solidFill>
                <a:schemeClr val="bg1">
                  <a:lumMod val="50000"/>
                </a:schemeClr>
              </a:solidFill>
              <a:latin typeface="Comic Sans MS" panose="030F0902030302020204" pitchFamily="66" charset="0"/>
              <a:ea typeface="Nanum Pen Script" panose="03040600000000000000" pitchFamily="66" charset="-127"/>
            </a:endParaRPr>
          </a:p>
          <a:p>
            <a:pPr algn="ctr"/>
            <a:endParaRPr lang="en-US" sz="800" b="1" dirty="0">
              <a:solidFill>
                <a:schemeClr val="bg1">
                  <a:lumMod val="50000"/>
                </a:schemeClr>
              </a:solidFill>
              <a:latin typeface="Comic Sans MS" panose="030F0902030302020204" pitchFamily="66" charset="0"/>
              <a:ea typeface="Nanum Pen Script" panose="03040600000000000000" pitchFamily="66" charset="-127"/>
            </a:endParaRPr>
          </a:p>
          <a:p>
            <a:pPr algn="ctr"/>
            <a:endParaRPr lang="en-US" sz="800" b="1" dirty="0">
              <a:solidFill>
                <a:schemeClr val="bg1">
                  <a:lumMod val="50000"/>
                </a:schemeClr>
              </a:solidFill>
              <a:latin typeface="Comic Sans MS" panose="030F0902030302020204" pitchFamily="66" charset="0"/>
              <a:ea typeface="Nanum Pen Script" panose="03040600000000000000" pitchFamily="66" charset="-127"/>
            </a:endParaRPr>
          </a:p>
          <a:p>
            <a:pPr algn="ctr"/>
            <a:endParaRPr lang="en-US" sz="700" b="1" dirty="0">
              <a:solidFill>
                <a:schemeClr val="bg1">
                  <a:lumMod val="50000"/>
                </a:schemeClr>
              </a:solidFill>
              <a:latin typeface="Comic Sans MS" panose="030F0902030302020204" pitchFamily="66" charset="0"/>
              <a:ea typeface="Nanum Pen Script" panose="03040600000000000000" pitchFamily="66" charset="-127"/>
            </a:endParaRPr>
          </a:p>
          <a:p>
            <a:pPr algn="ctr"/>
            <a:endParaRPr lang="en-US" sz="700" b="1" dirty="0">
              <a:solidFill>
                <a:schemeClr val="bg1">
                  <a:lumMod val="50000"/>
                </a:schemeClr>
              </a:solidFill>
              <a:latin typeface="Comic Sans MS" panose="030F0902030302020204" pitchFamily="66" charset="0"/>
              <a:ea typeface="Nanum Pen Script" panose="03040600000000000000" pitchFamily="66" charset="-127"/>
            </a:endParaRPr>
          </a:p>
          <a:p>
            <a:pPr algn="ctr"/>
            <a:endParaRPr lang="en-US" sz="700" b="1" dirty="0">
              <a:solidFill>
                <a:schemeClr val="bg1">
                  <a:lumMod val="50000"/>
                </a:schemeClr>
              </a:solidFill>
              <a:latin typeface="Comic Sans MS" panose="030F0902030302020204" pitchFamily="66" charset="0"/>
              <a:ea typeface="Nanum Pen Script" panose="03040600000000000000" pitchFamily="66" charset="-127"/>
            </a:endParaRPr>
          </a:p>
          <a:p>
            <a:pPr algn="ctr">
              <a:spcBef>
                <a:spcPts val="0"/>
              </a:spcBef>
            </a:pPr>
            <a:endParaRPr lang="en-US" sz="7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endParaRPr>
          </a:p>
          <a:p>
            <a:pPr algn="ctr">
              <a:spcBef>
                <a:spcPts val="0"/>
              </a:spcBef>
            </a:pPr>
            <a:r>
              <a:rPr lang="en-US" sz="7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Key Value Storage</a:t>
            </a:r>
          </a:p>
          <a:p>
            <a:pPr algn="ctr">
              <a:spcBef>
                <a:spcPts val="0"/>
              </a:spcBef>
            </a:pPr>
            <a:endParaRPr lang="en-US" sz="7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endParaRPr>
          </a:p>
          <a:p>
            <a:pPr algn="ctr">
              <a:spcBef>
                <a:spcPts val="0"/>
              </a:spcBef>
            </a:pPr>
            <a:endParaRPr lang="en-US" sz="700" dirty="0">
              <a:solidFill>
                <a:schemeClr val="tx1">
                  <a:lumMod val="50000"/>
                  <a:lumOff val="50000"/>
                </a:schemeClr>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endParaRPr>
          </a:p>
          <a:p>
            <a:pPr algn="ctr"/>
            <a:endParaRPr lang="en-US" sz="1600" dirty="0">
              <a:solidFill>
                <a:schemeClr val="tx1"/>
              </a:solidFill>
              <a:latin typeface="Comic Sans MS" panose="030F0902030302020204" pitchFamily="66" charset="0"/>
              <a:ea typeface="Nanum Pen Script" panose="03040600000000000000" pitchFamily="66" charset="-127"/>
            </a:endParaRPr>
          </a:p>
          <a:p>
            <a:pPr algn="ctr"/>
            <a:endParaRPr lang="en-US" sz="1600" dirty="0">
              <a:solidFill>
                <a:schemeClr val="tx1"/>
              </a:solidFill>
              <a:latin typeface="Comic Sans MS" panose="030F0902030302020204" pitchFamily="66" charset="0"/>
              <a:ea typeface="Nanum Pen Script" panose="03040600000000000000" pitchFamily="66" charset="-127"/>
            </a:endParaRPr>
          </a:p>
        </p:txBody>
      </p:sp>
      <p:sp>
        <p:nvSpPr>
          <p:cNvPr id="67" name="Rounded Rectangle 66">
            <a:extLst>
              <a:ext uri="{FF2B5EF4-FFF2-40B4-BE49-F238E27FC236}">
                <a16:creationId xmlns:a16="http://schemas.microsoft.com/office/drawing/2014/main" id="{376BB176-2D15-4149-8FA9-1F4484B8CE8D}"/>
              </a:ext>
            </a:extLst>
          </p:cNvPr>
          <p:cNvSpPr/>
          <p:nvPr/>
        </p:nvSpPr>
        <p:spPr>
          <a:xfrm>
            <a:off x="570774" y="3604917"/>
            <a:ext cx="1172464" cy="441074"/>
          </a:xfrm>
          <a:prstGeom prst="roundRect">
            <a:avLst/>
          </a:prstGeom>
          <a:solidFill>
            <a:schemeClr val="bg1">
              <a:lumMod val="85000"/>
            </a:schemeClr>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b="1" dirty="0">
              <a:solidFill>
                <a:schemeClr val="bg1">
                  <a:lumMod val="50000"/>
                </a:schemeClr>
              </a:solidFill>
              <a:latin typeface="Comic Sans MS" panose="030F0902030302020204" pitchFamily="66" charset="0"/>
              <a:ea typeface="Nanum Pen Script" panose="03040600000000000000" pitchFamily="66" charset="-127"/>
            </a:endParaRPr>
          </a:p>
          <a:p>
            <a:pPr algn="ctr"/>
            <a:endParaRPr lang="en-US" sz="800" b="1" dirty="0">
              <a:solidFill>
                <a:schemeClr val="bg1">
                  <a:lumMod val="50000"/>
                </a:schemeClr>
              </a:solidFill>
              <a:latin typeface="Comic Sans MS" panose="030F0902030302020204" pitchFamily="66" charset="0"/>
              <a:ea typeface="Nanum Pen Script" panose="03040600000000000000" pitchFamily="66" charset="-127"/>
            </a:endParaRPr>
          </a:p>
          <a:p>
            <a:pPr algn="ctr"/>
            <a:endParaRPr lang="en-US" sz="800" b="1" dirty="0">
              <a:solidFill>
                <a:schemeClr val="bg1">
                  <a:lumMod val="50000"/>
                </a:schemeClr>
              </a:solidFill>
              <a:latin typeface="Comic Sans MS" panose="030F0902030302020204" pitchFamily="66" charset="0"/>
              <a:ea typeface="Nanum Pen Script" panose="03040600000000000000" pitchFamily="66" charset="-127"/>
            </a:endParaRPr>
          </a:p>
          <a:p>
            <a:pPr algn="ctr"/>
            <a:endParaRPr lang="en-US" sz="800" b="1" dirty="0">
              <a:solidFill>
                <a:schemeClr val="bg1">
                  <a:lumMod val="50000"/>
                </a:schemeClr>
              </a:solidFill>
              <a:latin typeface="Comic Sans MS" panose="030F0902030302020204" pitchFamily="66" charset="0"/>
              <a:ea typeface="Nanum Pen Script" panose="03040600000000000000" pitchFamily="66" charset="-127"/>
            </a:endParaRPr>
          </a:p>
          <a:p>
            <a:pPr algn="ctr"/>
            <a:endParaRPr lang="en-US" sz="700" b="1" dirty="0">
              <a:solidFill>
                <a:schemeClr val="bg1">
                  <a:lumMod val="50000"/>
                </a:schemeClr>
              </a:solidFill>
              <a:latin typeface="Comic Sans MS" panose="030F0902030302020204" pitchFamily="66" charset="0"/>
              <a:ea typeface="Nanum Pen Script" panose="03040600000000000000" pitchFamily="66" charset="-127"/>
            </a:endParaRPr>
          </a:p>
          <a:p>
            <a:pPr algn="ctr"/>
            <a:endParaRPr lang="en-US" sz="700" b="1" dirty="0">
              <a:solidFill>
                <a:schemeClr val="bg1">
                  <a:lumMod val="50000"/>
                </a:schemeClr>
              </a:solidFill>
              <a:latin typeface="Comic Sans MS" panose="030F0902030302020204" pitchFamily="66" charset="0"/>
              <a:ea typeface="Nanum Pen Script" panose="03040600000000000000" pitchFamily="66" charset="-127"/>
            </a:endParaRPr>
          </a:p>
          <a:p>
            <a:pPr algn="ctr">
              <a:spcBef>
                <a:spcPts val="0"/>
              </a:spcBef>
            </a:pPr>
            <a:r>
              <a:rPr lang="en-US" sz="7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Oracle</a:t>
            </a:r>
          </a:p>
          <a:p>
            <a:pPr algn="ctr"/>
            <a:endParaRPr lang="en-US" sz="1600" dirty="0">
              <a:solidFill>
                <a:schemeClr val="tx1"/>
              </a:solidFill>
              <a:latin typeface="Comic Sans MS" panose="030F0902030302020204" pitchFamily="66" charset="0"/>
              <a:ea typeface="Nanum Pen Script" panose="03040600000000000000" pitchFamily="66" charset="-127"/>
            </a:endParaRPr>
          </a:p>
          <a:p>
            <a:pPr algn="ctr"/>
            <a:endParaRPr lang="en-US" sz="1600" dirty="0">
              <a:solidFill>
                <a:schemeClr val="tx1"/>
              </a:solidFill>
              <a:latin typeface="Comic Sans MS" panose="030F0902030302020204" pitchFamily="66" charset="0"/>
              <a:ea typeface="Nanum Pen Script" panose="03040600000000000000" pitchFamily="66" charset="-127"/>
            </a:endParaRPr>
          </a:p>
        </p:txBody>
      </p:sp>
      <p:grpSp>
        <p:nvGrpSpPr>
          <p:cNvPr id="71" name="Group 70">
            <a:extLst>
              <a:ext uri="{FF2B5EF4-FFF2-40B4-BE49-F238E27FC236}">
                <a16:creationId xmlns:a16="http://schemas.microsoft.com/office/drawing/2014/main" id="{BD18CC97-F89F-D14E-BBEC-4AEF7BBB872D}"/>
              </a:ext>
            </a:extLst>
          </p:cNvPr>
          <p:cNvGrpSpPr/>
          <p:nvPr/>
        </p:nvGrpSpPr>
        <p:grpSpPr>
          <a:xfrm rot="21011211">
            <a:off x="567771" y="2677653"/>
            <a:ext cx="292910" cy="222927"/>
            <a:chOff x="702590" y="1203599"/>
            <a:chExt cx="301686" cy="290724"/>
          </a:xfrm>
        </p:grpSpPr>
        <p:sp>
          <p:nvSpPr>
            <p:cNvPr id="72" name="Google Shape;431;p39">
              <a:extLst>
                <a:ext uri="{FF2B5EF4-FFF2-40B4-BE49-F238E27FC236}">
                  <a16:creationId xmlns:a16="http://schemas.microsoft.com/office/drawing/2014/main" id="{1CA89DEE-71C4-B749-A5A1-017C10973F68}"/>
                </a:ext>
              </a:extLst>
            </p:cNvPr>
            <p:cNvSpPr/>
            <p:nvPr/>
          </p:nvSpPr>
          <p:spPr>
            <a:xfrm>
              <a:off x="736556" y="1203599"/>
              <a:ext cx="219241" cy="290724"/>
            </a:xfrm>
            <a:custGeom>
              <a:avLst/>
              <a:gdLst/>
              <a:ahLst/>
              <a:cxnLst/>
              <a:rect l="0" t="0" r="0" b="0"/>
              <a:pathLst>
                <a:path w="67641" h="69056" extrusionOk="0">
                  <a:moveTo>
                    <a:pt x="49622" y="2736"/>
                  </a:moveTo>
                  <a:lnTo>
                    <a:pt x="49622" y="2736"/>
                  </a:lnTo>
                  <a:lnTo>
                    <a:pt x="49622" y="2736"/>
                  </a:lnTo>
                  <a:close/>
                  <a:moveTo>
                    <a:pt x="59622" y="55565"/>
                  </a:moveTo>
                  <a:lnTo>
                    <a:pt x="59622" y="55565"/>
                  </a:lnTo>
                  <a:lnTo>
                    <a:pt x="59622" y="55565"/>
                  </a:lnTo>
                  <a:close/>
                  <a:moveTo>
                    <a:pt x="35471" y="0"/>
                  </a:moveTo>
                  <a:lnTo>
                    <a:pt x="34433" y="95"/>
                  </a:lnTo>
                  <a:lnTo>
                    <a:pt x="33584" y="189"/>
                  </a:lnTo>
                  <a:lnTo>
                    <a:pt x="32735" y="378"/>
                  </a:lnTo>
                  <a:lnTo>
                    <a:pt x="32169" y="566"/>
                  </a:lnTo>
                  <a:lnTo>
                    <a:pt x="31509" y="472"/>
                  </a:lnTo>
                  <a:lnTo>
                    <a:pt x="30754" y="472"/>
                  </a:lnTo>
                  <a:lnTo>
                    <a:pt x="29339" y="566"/>
                  </a:lnTo>
                  <a:lnTo>
                    <a:pt x="27830" y="849"/>
                  </a:lnTo>
                  <a:lnTo>
                    <a:pt x="26320" y="1321"/>
                  </a:lnTo>
                  <a:lnTo>
                    <a:pt x="24811" y="1981"/>
                  </a:lnTo>
                  <a:lnTo>
                    <a:pt x="23207" y="2736"/>
                  </a:lnTo>
                  <a:lnTo>
                    <a:pt x="21698" y="3585"/>
                  </a:lnTo>
                  <a:lnTo>
                    <a:pt x="20188" y="4623"/>
                  </a:lnTo>
                  <a:lnTo>
                    <a:pt x="18679" y="5661"/>
                  </a:lnTo>
                  <a:lnTo>
                    <a:pt x="17170" y="6793"/>
                  </a:lnTo>
                  <a:lnTo>
                    <a:pt x="15754" y="8019"/>
                  </a:lnTo>
                  <a:lnTo>
                    <a:pt x="14434" y="9151"/>
                  </a:lnTo>
                  <a:lnTo>
                    <a:pt x="11981" y="11510"/>
                  </a:lnTo>
                  <a:lnTo>
                    <a:pt x="10000" y="13774"/>
                  </a:lnTo>
                  <a:lnTo>
                    <a:pt x="7736" y="16981"/>
                  </a:lnTo>
                  <a:lnTo>
                    <a:pt x="8019" y="16321"/>
                  </a:lnTo>
                  <a:lnTo>
                    <a:pt x="8302" y="15660"/>
                  </a:lnTo>
                  <a:lnTo>
                    <a:pt x="7736" y="16604"/>
                  </a:lnTo>
                  <a:lnTo>
                    <a:pt x="7075" y="17642"/>
                  </a:lnTo>
                  <a:lnTo>
                    <a:pt x="7170" y="17830"/>
                  </a:lnTo>
                  <a:lnTo>
                    <a:pt x="6509" y="18868"/>
                  </a:lnTo>
                  <a:lnTo>
                    <a:pt x="7075" y="17359"/>
                  </a:lnTo>
                  <a:lnTo>
                    <a:pt x="6132" y="19057"/>
                  </a:lnTo>
                  <a:lnTo>
                    <a:pt x="5189" y="20849"/>
                  </a:lnTo>
                  <a:lnTo>
                    <a:pt x="4434" y="22736"/>
                  </a:lnTo>
                  <a:lnTo>
                    <a:pt x="3679" y="24622"/>
                  </a:lnTo>
                  <a:lnTo>
                    <a:pt x="2453" y="28490"/>
                  </a:lnTo>
                  <a:lnTo>
                    <a:pt x="1321" y="32169"/>
                  </a:lnTo>
                  <a:lnTo>
                    <a:pt x="1509" y="32264"/>
                  </a:lnTo>
                  <a:lnTo>
                    <a:pt x="1604" y="32453"/>
                  </a:lnTo>
                  <a:lnTo>
                    <a:pt x="1604" y="32641"/>
                  </a:lnTo>
                  <a:lnTo>
                    <a:pt x="1509" y="32924"/>
                  </a:lnTo>
                  <a:lnTo>
                    <a:pt x="1226" y="33396"/>
                  </a:lnTo>
                  <a:lnTo>
                    <a:pt x="1038" y="33585"/>
                  </a:lnTo>
                  <a:lnTo>
                    <a:pt x="1038" y="33773"/>
                  </a:lnTo>
                  <a:lnTo>
                    <a:pt x="1038" y="35000"/>
                  </a:lnTo>
                  <a:lnTo>
                    <a:pt x="849" y="36132"/>
                  </a:lnTo>
                  <a:lnTo>
                    <a:pt x="660" y="37358"/>
                  </a:lnTo>
                  <a:lnTo>
                    <a:pt x="472" y="38867"/>
                  </a:lnTo>
                  <a:lnTo>
                    <a:pt x="283" y="38301"/>
                  </a:lnTo>
                  <a:lnTo>
                    <a:pt x="94" y="39811"/>
                  </a:lnTo>
                  <a:lnTo>
                    <a:pt x="0" y="41509"/>
                  </a:lnTo>
                  <a:lnTo>
                    <a:pt x="94" y="43301"/>
                  </a:lnTo>
                  <a:lnTo>
                    <a:pt x="283" y="44056"/>
                  </a:lnTo>
                  <a:lnTo>
                    <a:pt x="472" y="44622"/>
                  </a:lnTo>
                  <a:lnTo>
                    <a:pt x="566" y="45660"/>
                  </a:lnTo>
                  <a:lnTo>
                    <a:pt x="755" y="46792"/>
                  </a:lnTo>
                  <a:lnTo>
                    <a:pt x="1226" y="48962"/>
                  </a:lnTo>
                  <a:lnTo>
                    <a:pt x="1981" y="51037"/>
                  </a:lnTo>
                  <a:lnTo>
                    <a:pt x="2924" y="53112"/>
                  </a:lnTo>
                  <a:lnTo>
                    <a:pt x="4057" y="55094"/>
                  </a:lnTo>
                  <a:lnTo>
                    <a:pt x="5283" y="56980"/>
                  </a:lnTo>
                  <a:lnTo>
                    <a:pt x="6698" y="58678"/>
                  </a:lnTo>
                  <a:lnTo>
                    <a:pt x="8113" y="60282"/>
                  </a:lnTo>
                  <a:lnTo>
                    <a:pt x="9056" y="61131"/>
                  </a:lnTo>
                  <a:lnTo>
                    <a:pt x="10000" y="61980"/>
                  </a:lnTo>
                  <a:lnTo>
                    <a:pt x="11038" y="62829"/>
                  </a:lnTo>
                  <a:lnTo>
                    <a:pt x="12075" y="63584"/>
                  </a:lnTo>
                  <a:lnTo>
                    <a:pt x="14339" y="64905"/>
                  </a:lnTo>
                  <a:lnTo>
                    <a:pt x="16604" y="66131"/>
                  </a:lnTo>
                  <a:lnTo>
                    <a:pt x="19056" y="67169"/>
                  </a:lnTo>
                  <a:lnTo>
                    <a:pt x="21509" y="67923"/>
                  </a:lnTo>
                  <a:lnTo>
                    <a:pt x="24056" y="68584"/>
                  </a:lnTo>
                  <a:lnTo>
                    <a:pt x="26603" y="69055"/>
                  </a:lnTo>
                  <a:lnTo>
                    <a:pt x="27830" y="69055"/>
                  </a:lnTo>
                  <a:lnTo>
                    <a:pt x="30188" y="68867"/>
                  </a:lnTo>
                  <a:lnTo>
                    <a:pt x="33113" y="68678"/>
                  </a:lnTo>
                  <a:lnTo>
                    <a:pt x="36509" y="68301"/>
                  </a:lnTo>
                  <a:lnTo>
                    <a:pt x="39811" y="67923"/>
                  </a:lnTo>
                  <a:lnTo>
                    <a:pt x="42735" y="67452"/>
                  </a:lnTo>
                  <a:lnTo>
                    <a:pt x="44905" y="66980"/>
                  </a:lnTo>
                  <a:lnTo>
                    <a:pt x="45565" y="66791"/>
                  </a:lnTo>
                  <a:lnTo>
                    <a:pt x="45943" y="66508"/>
                  </a:lnTo>
                  <a:lnTo>
                    <a:pt x="47358" y="65942"/>
                  </a:lnTo>
                  <a:lnTo>
                    <a:pt x="48018" y="65565"/>
                  </a:lnTo>
                  <a:lnTo>
                    <a:pt x="48678" y="65188"/>
                  </a:lnTo>
                  <a:lnTo>
                    <a:pt x="47924" y="65471"/>
                  </a:lnTo>
                  <a:lnTo>
                    <a:pt x="51509" y="62924"/>
                  </a:lnTo>
                  <a:lnTo>
                    <a:pt x="53301" y="61508"/>
                  </a:lnTo>
                  <a:lnTo>
                    <a:pt x="55093" y="59905"/>
                  </a:lnTo>
                  <a:lnTo>
                    <a:pt x="55093" y="59905"/>
                  </a:lnTo>
                  <a:lnTo>
                    <a:pt x="54810" y="60376"/>
                  </a:lnTo>
                  <a:lnTo>
                    <a:pt x="54339" y="60754"/>
                  </a:lnTo>
                  <a:lnTo>
                    <a:pt x="55376" y="59999"/>
                  </a:lnTo>
                  <a:lnTo>
                    <a:pt x="56320" y="59056"/>
                  </a:lnTo>
                  <a:lnTo>
                    <a:pt x="57075" y="58395"/>
                  </a:lnTo>
                  <a:lnTo>
                    <a:pt x="57169" y="58207"/>
                  </a:lnTo>
                  <a:lnTo>
                    <a:pt x="57075" y="58207"/>
                  </a:lnTo>
                  <a:lnTo>
                    <a:pt x="57924" y="57546"/>
                  </a:lnTo>
                  <a:lnTo>
                    <a:pt x="58678" y="56697"/>
                  </a:lnTo>
                  <a:lnTo>
                    <a:pt x="59339" y="55754"/>
                  </a:lnTo>
                  <a:lnTo>
                    <a:pt x="59905" y="54905"/>
                  </a:lnTo>
                  <a:lnTo>
                    <a:pt x="59716" y="54999"/>
                  </a:lnTo>
                  <a:lnTo>
                    <a:pt x="59622" y="54999"/>
                  </a:lnTo>
                  <a:lnTo>
                    <a:pt x="59810" y="54622"/>
                  </a:lnTo>
                  <a:lnTo>
                    <a:pt x="59150" y="55565"/>
                  </a:lnTo>
                  <a:lnTo>
                    <a:pt x="59527" y="55094"/>
                  </a:lnTo>
                  <a:lnTo>
                    <a:pt x="59433" y="55377"/>
                  </a:lnTo>
                  <a:lnTo>
                    <a:pt x="58867" y="56037"/>
                  </a:lnTo>
                  <a:lnTo>
                    <a:pt x="59056" y="55660"/>
                  </a:lnTo>
                  <a:lnTo>
                    <a:pt x="59056" y="55660"/>
                  </a:lnTo>
                  <a:lnTo>
                    <a:pt x="58678" y="56037"/>
                  </a:lnTo>
                  <a:lnTo>
                    <a:pt x="59810" y="54339"/>
                  </a:lnTo>
                  <a:lnTo>
                    <a:pt x="60282" y="53490"/>
                  </a:lnTo>
                  <a:lnTo>
                    <a:pt x="60282" y="53301"/>
                  </a:lnTo>
                  <a:lnTo>
                    <a:pt x="60188" y="53395"/>
                  </a:lnTo>
                  <a:lnTo>
                    <a:pt x="60188" y="53395"/>
                  </a:lnTo>
                  <a:lnTo>
                    <a:pt x="60565" y="52924"/>
                  </a:lnTo>
                  <a:lnTo>
                    <a:pt x="61037" y="52452"/>
                  </a:lnTo>
                  <a:lnTo>
                    <a:pt x="61886" y="51509"/>
                  </a:lnTo>
                  <a:lnTo>
                    <a:pt x="61508" y="52452"/>
                  </a:lnTo>
                  <a:lnTo>
                    <a:pt x="60848" y="53584"/>
                  </a:lnTo>
                  <a:lnTo>
                    <a:pt x="59622" y="55565"/>
                  </a:lnTo>
                  <a:lnTo>
                    <a:pt x="60376" y="54528"/>
                  </a:lnTo>
                  <a:lnTo>
                    <a:pt x="60942" y="53678"/>
                  </a:lnTo>
                  <a:lnTo>
                    <a:pt x="61980" y="51792"/>
                  </a:lnTo>
                  <a:lnTo>
                    <a:pt x="61886" y="51886"/>
                  </a:lnTo>
                  <a:lnTo>
                    <a:pt x="61886" y="51697"/>
                  </a:lnTo>
                  <a:lnTo>
                    <a:pt x="62169" y="51037"/>
                  </a:lnTo>
                  <a:lnTo>
                    <a:pt x="62735" y="49999"/>
                  </a:lnTo>
                  <a:lnTo>
                    <a:pt x="61508" y="51603"/>
                  </a:lnTo>
                  <a:lnTo>
                    <a:pt x="61603" y="51037"/>
                  </a:lnTo>
                  <a:lnTo>
                    <a:pt x="61697" y="50377"/>
                  </a:lnTo>
                  <a:lnTo>
                    <a:pt x="62169" y="48962"/>
                  </a:lnTo>
                  <a:lnTo>
                    <a:pt x="62829" y="47358"/>
                  </a:lnTo>
                  <a:lnTo>
                    <a:pt x="63678" y="45565"/>
                  </a:lnTo>
                  <a:lnTo>
                    <a:pt x="65376" y="42169"/>
                  </a:lnTo>
                  <a:lnTo>
                    <a:pt x="66131" y="40660"/>
                  </a:lnTo>
                  <a:lnTo>
                    <a:pt x="66697" y="39339"/>
                  </a:lnTo>
                  <a:lnTo>
                    <a:pt x="66603" y="39528"/>
                  </a:lnTo>
                  <a:lnTo>
                    <a:pt x="66697" y="39056"/>
                  </a:lnTo>
                  <a:lnTo>
                    <a:pt x="66791" y="38962"/>
                  </a:lnTo>
                  <a:lnTo>
                    <a:pt x="66791" y="39056"/>
                  </a:lnTo>
                  <a:lnTo>
                    <a:pt x="66886" y="38584"/>
                  </a:lnTo>
                  <a:lnTo>
                    <a:pt x="66791" y="38867"/>
                  </a:lnTo>
                  <a:lnTo>
                    <a:pt x="66980" y="38207"/>
                  </a:lnTo>
                  <a:lnTo>
                    <a:pt x="67169" y="37264"/>
                  </a:lnTo>
                  <a:lnTo>
                    <a:pt x="67263" y="36415"/>
                  </a:lnTo>
                  <a:lnTo>
                    <a:pt x="67357" y="36509"/>
                  </a:lnTo>
                  <a:lnTo>
                    <a:pt x="67452" y="36509"/>
                  </a:lnTo>
                  <a:lnTo>
                    <a:pt x="67546" y="35943"/>
                  </a:lnTo>
                  <a:lnTo>
                    <a:pt x="67546" y="34811"/>
                  </a:lnTo>
                  <a:lnTo>
                    <a:pt x="67640" y="31037"/>
                  </a:lnTo>
                  <a:lnTo>
                    <a:pt x="67640" y="28490"/>
                  </a:lnTo>
                  <a:lnTo>
                    <a:pt x="67546" y="27736"/>
                  </a:lnTo>
                  <a:lnTo>
                    <a:pt x="67546" y="27547"/>
                  </a:lnTo>
                  <a:lnTo>
                    <a:pt x="67452" y="27547"/>
                  </a:lnTo>
                  <a:lnTo>
                    <a:pt x="67074" y="26792"/>
                  </a:lnTo>
                  <a:lnTo>
                    <a:pt x="66791" y="25660"/>
                  </a:lnTo>
                  <a:lnTo>
                    <a:pt x="66508" y="24528"/>
                  </a:lnTo>
                  <a:lnTo>
                    <a:pt x="66414" y="23585"/>
                  </a:lnTo>
                  <a:lnTo>
                    <a:pt x="66320" y="23679"/>
                  </a:lnTo>
                  <a:lnTo>
                    <a:pt x="66320" y="23490"/>
                  </a:lnTo>
                  <a:lnTo>
                    <a:pt x="65942" y="22924"/>
                  </a:lnTo>
                  <a:lnTo>
                    <a:pt x="65565" y="22358"/>
                  </a:lnTo>
                  <a:lnTo>
                    <a:pt x="64527" y="21132"/>
                  </a:lnTo>
                  <a:lnTo>
                    <a:pt x="63584" y="19906"/>
                  </a:lnTo>
                  <a:lnTo>
                    <a:pt x="63207" y="19340"/>
                  </a:lnTo>
                  <a:lnTo>
                    <a:pt x="63018" y="18774"/>
                  </a:lnTo>
                  <a:lnTo>
                    <a:pt x="63112" y="18962"/>
                  </a:lnTo>
                  <a:lnTo>
                    <a:pt x="63301" y="19057"/>
                  </a:lnTo>
                  <a:lnTo>
                    <a:pt x="63301" y="19057"/>
                  </a:lnTo>
                  <a:lnTo>
                    <a:pt x="63207" y="18868"/>
                  </a:lnTo>
                  <a:lnTo>
                    <a:pt x="62923" y="18491"/>
                  </a:lnTo>
                  <a:lnTo>
                    <a:pt x="61980" y="17453"/>
                  </a:lnTo>
                  <a:lnTo>
                    <a:pt x="61037" y="16509"/>
                  </a:lnTo>
                  <a:lnTo>
                    <a:pt x="61037" y="16698"/>
                  </a:lnTo>
                  <a:lnTo>
                    <a:pt x="61037" y="16887"/>
                  </a:lnTo>
                  <a:lnTo>
                    <a:pt x="60093" y="15943"/>
                  </a:lnTo>
                  <a:lnTo>
                    <a:pt x="60376" y="16321"/>
                  </a:lnTo>
                  <a:lnTo>
                    <a:pt x="59527" y="15377"/>
                  </a:lnTo>
                  <a:lnTo>
                    <a:pt x="59056" y="14906"/>
                  </a:lnTo>
                  <a:lnTo>
                    <a:pt x="59244" y="14906"/>
                  </a:lnTo>
                  <a:lnTo>
                    <a:pt x="59905" y="15472"/>
                  </a:lnTo>
                  <a:lnTo>
                    <a:pt x="59905" y="15472"/>
                  </a:lnTo>
                  <a:lnTo>
                    <a:pt x="57641" y="13396"/>
                  </a:lnTo>
                  <a:lnTo>
                    <a:pt x="58112" y="13868"/>
                  </a:lnTo>
                  <a:lnTo>
                    <a:pt x="56886" y="13019"/>
                  </a:lnTo>
                  <a:lnTo>
                    <a:pt x="55754" y="12453"/>
                  </a:lnTo>
                  <a:lnTo>
                    <a:pt x="56603" y="13113"/>
                  </a:lnTo>
                  <a:lnTo>
                    <a:pt x="57452" y="13774"/>
                  </a:lnTo>
                  <a:lnTo>
                    <a:pt x="58961" y="15283"/>
                  </a:lnTo>
                  <a:lnTo>
                    <a:pt x="60376" y="16604"/>
                  </a:lnTo>
                  <a:lnTo>
                    <a:pt x="61225" y="17264"/>
                  </a:lnTo>
                  <a:lnTo>
                    <a:pt x="62074" y="17925"/>
                  </a:lnTo>
                  <a:lnTo>
                    <a:pt x="62074" y="17925"/>
                  </a:lnTo>
                  <a:lnTo>
                    <a:pt x="61414" y="17547"/>
                  </a:lnTo>
                  <a:lnTo>
                    <a:pt x="60659" y="16981"/>
                  </a:lnTo>
                  <a:lnTo>
                    <a:pt x="60754" y="17264"/>
                  </a:lnTo>
                  <a:lnTo>
                    <a:pt x="60942" y="17642"/>
                  </a:lnTo>
                  <a:lnTo>
                    <a:pt x="61980" y="19151"/>
                  </a:lnTo>
                  <a:lnTo>
                    <a:pt x="63301" y="20943"/>
                  </a:lnTo>
                  <a:lnTo>
                    <a:pt x="63207" y="20943"/>
                  </a:lnTo>
                  <a:lnTo>
                    <a:pt x="63395" y="21038"/>
                  </a:lnTo>
                  <a:lnTo>
                    <a:pt x="63490" y="21321"/>
                  </a:lnTo>
                  <a:lnTo>
                    <a:pt x="63678" y="21604"/>
                  </a:lnTo>
                  <a:lnTo>
                    <a:pt x="63773" y="21698"/>
                  </a:lnTo>
                  <a:lnTo>
                    <a:pt x="63584" y="21321"/>
                  </a:lnTo>
                  <a:lnTo>
                    <a:pt x="63584" y="21321"/>
                  </a:lnTo>
                  <a:lnTo>
                    <a:pt x="64244" y="22170"/>
                  </a:lnTo>
                  <a:lnTo>
                    <a:pt x="64716" y="22641"/>
                  </a:lnTo>
                  <a:lnTo>
                    <a:pt x="64905" y="22830"/>
                  </a:lnTo>
                  <a:lnTo>
                    <a:pt x="64999" y="22830"/>
                  </a:lnTo>
                  <a:lnTo>
                    <a:pt x="64999" y="22641"/>
                  </a:lnTo>
                  <a:lnTo>
                    <a:pt x="64905" y="22358"/>
                  </a:lnTo>
                  <a:lnTo>
                    <a:pt x="65282" y="23207"/>
                  </a:lnTo>
                  <a:lnTo>
                    <a:pt x="65565" y="24056"/>
                  </a:lnTo>
                  <a:lnTo>
                    <a:pt x="66225" y="25943"/>
                  </a:lnTo>
                  <a:lnTo>
                    <a:pt x="66697" y="27830"/>
                  </a:lnTo>
                  <a:lnTo>
                    <a:pt x="66886" y="28490"/>
                  </a:lnTo>
                  <a:lnTo>
                    <a:pt x="66980" y="28868"/>
                  </a:lnTo>
                  <a:lnTo>
                    <a:pt x="66886" y="28962"/>
                  </a:lnTo>
                  <a:lnTo>
                    <a:pt x="66697" y="28679"/>
                  </a:lnTo>
                  <a:lnTo>
                    <a:pt x="66697" y="29245"/>
                  </a:lnTo>
                  <a:lnTo>
                    <a:pt x="66791" y="29905"/>
                  </a:lnTo>
                  <a:lnTo>
                    <a:pt x="66886" y="29905"/>
                  </a:lnTo>
                  <a:lnTo>
                    <a:pt x="66886" y="30094"/>
                  </a:lnTo>
                  <a:lnTo>
                    <a:pt x="66886" y="30566"/>
                  </a:lnTo>
                  <a:lnTo>
                    <a:pt x="66697" y="30377"/>
                  </a:lnTo>
                  <a:lnTo>
                    <a:pt x="66603" y="30188"/>
                  </a:lnTo>
                  <a:lnTo>
                    <a:pt x="66603" y="30094"/>
                  </a:lnTo>
                  <a:lnTo>
                    <a:pt x="66697" y="29905"/>
                  </a:lnTo>
                  <a:lnTo>
                    <a:pt x="66508" y="28679"/>
                  </a:lnTo>
                  <a:lnTo>
                    <a:pt x="66225" y="27358"/>
                  </a:lnTo>
                  <a:lnTo>
                    <a:pt x="66603" y="30283"/>
                  </a:lnTo>
                  <a:lnTo>
                    <a:pt x="66697" y="31792"/>
                  </a:lnTo>
                  <a:lnTo>
                    <a:pt x="66697" y="33302"/>
                  </a:lnTo>
                  <a:lnTo>
                    <a:pt x="66603" y="34717"/>
                  </a:lnTo>
                  <a:lnTo>
                    <a:pt x="66414" y="36226"/>
                  </a:lnTo>
                  <a:lnTo>
                    <a:pt x="66131" y="37547"/>
                  </a:lnTo>
                  <a:lnTo>
                    <a:pt x="65659" y="38962"/>
                  </a:lnTo>
                  <a:lnTo>
                    <a:pt x="65848" y="38584"/>
                  </a:lnTo>
                  <a:lnTo>
                    <a:pt x="65942" y="38584"/>
                  </a:lnTo>
                  <a:lnTo>
                    <a:pt x="65848" y="39245"/>
                  </a:lnTo>
                  <a:lnTo>
                    <a:pt x="65565" y="40188"/>
                  </a:lnTo>
                  <a:lnTo>
                    <a:pt x="65471" y="40471"/>
                  </a:lnTo>
                  <a:lnTo>
                    <a:pt x="65282" y="40660"/>
                  </a:lnTo>
                  <a:lnTo>
                    <a:pt x="65282" y="40566"/>
                  </a:lnTo>
                  <a:lnTo>
                    <a:pt x="65093" y="41132"/>
                  </a:lnTo>
                  <a:lnTo>
                    <a:pt x="64433" y="43018"/>
                  </a:lnTo>
                  <a:lnTo>
                    <a:pt x="63678" y="45282"/>
                  </a:lnTo>
                  <a:lnTo>
                    <a:pt x="62735" y="47264"/>
                  </a:lnTo>
                  <a:lnTo>
                    <a:pt x="61697" y="49056"/>
                  </a:lnTo>
                  <a:lnTo>
                    <a:pt x="60659" y="50943"/>
                  </a:lnTo>
                  <a:lnTo>
                    <a:pt x="59433" y="52735"/>
                  </a:lnTo>
                  <a:lnTo>
                    <a:pt x="58207" y="54433"/>
                  </a:lnTo>
                  <a:lnTo>
                    <a:pt x="56886" y="56037"/>
                  </a:lnTo>
                  <a:lnTo>
                    <a:pt x="55376" y="57641"/>
                  </a:lnTo>
                  <a:lnTo>
                    <a:pt x="53867" y="59150"/>
                  </a:lnTo>
                  <a:lnTo>
                    <a:pt x="52169" y="60376"/>
                  </a:lnTo>
                  <a:lnTo>
                    <a:pt x="48961" y="62452"/>
                  </a:lnTo>
                  <a:lnTo>
                    <a:pt x="44528" y="65282"/>
                  </a:lnTo>
                  <a:lnTo>
                    <a:pt x="44622" y="65188"/>
                  </a:lnTo>
                  <a:lnTo>
                    <a:pt x="44716" y="65093"/>
                  </a:lnTo>
                  <a:lnTo>
                    <a:pt x="45094" y="64810"/>
                  </a:lnTo>
                  <a:lnTo>
                    <a:pt x="45660" y="64527"/>
                  </a:lnTo>
                  <a:lnTo>
                    <a:pt x="43867" y="65376"/>
                  </a:lnTo>
                  <a:lnTo>
                    <a:pt x="43113" y="65754"/>
                  </a:lnTo>
                  <a:lnTo>
                    <a:pt x="42924" y="65754"/>
                  </a:lnTo>
                  <a:lnTo>
                    <a:pt x="43113" y="65659"/>
                  </a:lnTo>
                  <a:lnTo>
                    <a:pt x="41603" y="66037"/>
                  </a:lnTo>
                  <a:lnTo>
                    <a:pt x="39999" y="66320"/>
                  </a:lnTo>
                  <a:lnTo>
                    <a:pt x="38396" y="66508"/>
                  </a:lnTo>
                  <a:lnTo>
                    <a:pt x="36792" y="66697"/>
                  </a:lnTo>
                  <a:lnTo>
                    <a:pt x="33584" y="66980"/>
                  </a:lnTo>
                  <a:lnTo>
                    <a:pt x="32169" y="67169"/>
                  </a:lnTo>
                  <a:lnTo>
                    <a:pt x="30754" y="67357"/>
                  </a:lnTo>
                  <a:lnTo>
                    <a:pt x="30094" y="67357"/>
                  </a:lnTo>
                  <a:lnTo>
                    <a:pt x="29339" y="67263"/>
                  </a:lnTo>
                  <a:lnTo>
                    <a:pt x="27830" y="66886"/>
                  </a:lnTo>
                  <a:lnTo>
                    <a:pt x="26415" y="66508"/>
                  </a:lnTo>
                  <a:lnTo>
                    <a:pt x="25754" y="66414"/>
                  </a:lnTo>
                  <a:lnTo>
                    <a:pt x="25094" y="66414"/>
                  </a:lnTo>
                  <a:lnTo>
                    <a:pt x="25566" y="66980"/>
                  </a:lnTo>
                  <a:lnTo>
                    <a:pt x="25471" y="67074"/>
                  </a:lnTo>
                  <a:lnTo>
                    <a:pt x="25188" y="66980"/>
                  </a:lnTo>
                  <a:lnTo>
                    <a:pt x="24339" y="66791"/>
                  </a:lnTo>
                  <a:lnTo>
                    <a:pt x="23773" y="66508"/>
                  </a:lnTo>
                  <a:lnTo>
                    <a:pt x="24245" y="66414"/>
                  </a:lnTo>
                  <a:lnTo>
                    <a:pt x="24717" y="66603"/>
                  </a:lnTo>
                  <a:lnTo>
                    <a:pt x="24811" y="66414"/>
                  </a:lnTo>
                  <a:lnTo>
                    <a:pt x="24811" y="66320"/>
                  </a:lnTo>
                  <a:lnTo>
                    <a:pt x="24717" y="66225"/>
                  </a:lnTo>
                  <a:lnTo>
                    <a:pt x="24528" y="66131"/>
                  </a:lnTo>
                  <a:lnTo>
                    <a:pt x="24151" y="66225"/>
                  </a:lnTo>
                  <a:lnTo>
                    <a:pt x="23679" y="66320"/>
                  </a:lnTo>
                  <a:lnTo>
                    <a:pt x="23018" y="66414"/>
                  </a:lnTo>
                  <a:lnTo>
                    <a:pt x="23490" y="66225"/>
                  </a:lnTo>
                  <a:lnTo>
                    <a:pt x="22075" y="65942"/>
                  </a:lnTo>
                  <a:lnTo>
                    <a:pt x="20943" y="65659"/>
                  </a:lnTo>
                  <a:lnTo>
                    <a:pt x="20000" y="65282"/>
                  </a:lnTo>
                  <a:lnTo>
                    <a:pt x="19056" y="64810"/>
                  </a:lnTo>
                  <a:lnTo>
                    <a:pt x="19056" y="64810"/>
                  </a:lnTo>
                  <a:lnTo>
                    <a:pt x="19717" y="64999"/>
                  </a:lnTo>
                  <a:lnTo>
                    <a:pt x="19151" y="64716"/>
                  </a:lnTo>
                  <a:lnTo>
                    <a:pt x="18962" y="64810"/>
                  </a:lnTo>
                  <a:lnTo>
                    <a:pt x="19151" y="64905"/>
                  </a:lnTo>
                  <a:lnTo>
                    <a:pt x="18490" y="64905"/>
                  </a:lnTo>
                  <a:lnTo>
                    <a:pt x="17830" y="64716"/>
                  </a:lnTo>
                  <a:lnTo>
                    <a:pt x="17264" y="64527"/>
                  </a:lnTo>
                  <a:lnTo>
                    <a:pt x="16698" y="64150"/>
                  </a:lnTo>
                  <a:lnTo>
                    <a:pt x="16981" y="64056"/>
                  </a:lnTo>
                  <a:lnTo>
                    <a:pt x="17264" y="64150"/>
                  </a:lnTo>
                  <a:lnTo>
                    <a:pt x="17264" y="64150"/>
                  </a:lnTo>
                  <a:lnTo>
                    <a:pt x="15188" y="63207"/>
                  </a:lnTo>
                  <a:lnTo>
                    <a:pt x="14622" y="62829"/>
                  </a:lnTo>
                  <a:lnTo>
                    <a:pt x="14717" y="62924"/>
                  </a:lnTo>
                  <a:lnTo>
                    <a:pt x="13773" y="62546"/>
                  </a:lnTo>
                  <a:lnTo>
                    <a:pt x="12924" y="62075"/>
                  </a:lnTo>
                  <a:lnTo>
                    <a:pt x="12358" y="61697"/>
                  </a:lnTo>
                  <a:lnTo>
                    <a:pt x="12264" y="61508"/>
                  </a:lnTo>
                  <a:lnTo>
                    <a:pt x="12170" y="61320"/>
                  </a:lnTo>
                  <a:lnTo>
                    <a:pt x="11698" y="60942"/>
                  </a:lnTo>
                  <a:lnTo>
                    <a:pt x="11132" y="60471"/>
                  </a:lnTo>
                  <a:lnTo>
                    <a:pt x="9906" y="59244"/>
                  </a:lnTo>
                  <a:lnTo>
                    <a:pt x="9906" y="59244"/>
                  </a:lnTo>
                  <a:lnTo>
                    <a:pt x="10566" y="59527"/>
                  </a:lnTo>
                  <a:lnTo>
                    <a:pt x="9434" y="58584"/>
                  </a:lnTo>
                  <a:lnTo>
                    <a:pt x="8207" y="57546"/>
                  </a:lnTo>
                  <a:lnTo>
                    <a:pt x="7547" y="56886"/>
                  </a:lnTo>
                  <a:lnTo>
                    <a:pt x="6981" y="56131"/>
                  </a:lnTo>
                  <a:lnTo>
                    <a:pt x="6226" y="55094"/>
                  </a:lnTo>
                  <a:lnTo>
                    <a:pt x="6415" y="55377"/>
                  </a:lnTo>
                  <a:lnTo>
                    <a:pt x="6038" y="54905"/>
                  </a:lnTo>
                  <a:lnTo>
                    <a:pt x="5472" y="54244"/>
                  </a:lnTo>
                  <a:lnTo>
                    <a:pt x="5283" y="53961"/>
                  </a:lnTo>
                  <a:lnTo>
                    <a:pt x="5094" y="53867"/>
                  </a:lnTo>
                  <a:lnTo>
                    <a:pt x="5377" y="54622"/>
                  </a:lnTo>
                  <a:lnTo>
                    <a:pt x="5849" y="55282"/>
                  </a:lnTo>
                  <a:lnTo>
                    <a:pt x="6321" y="55943"/>
                  </a:lnTo>
                  <a:lnTo>
                    <a:pt x="6698" y="56603"/>
                  </a:lnTo>
                  <a:lnTo>
                    <a:pt x="6226" y="56226"/>
                  </a:lnTo>
                  <a:lnTo>
                    <a:pt x="5943" y="55848"/>
                  </a:lnTo>
                  <a:lnTo>
                    <a:pt x="6038" y="56037"/>
                  </a:lnTo>
                  <a:lnTo>
                    <a:pt x="5943" y="55943"/>
                  </a:lnTo>
                  <a:lnTo>
                    <a:pt x="5377" y="55188"/>
                  </a:lnTo>
                  <a:lnTo>
                    <a:pt x="5000" y="54716"/>
                  </a:lnTo>
                  <a:lnTo>
                    <a:pt x="4717" y="54150"/>
                  </a:lnTo>
                  <a:lnTo>
                    <a:pt x="4528" y="53678"/>
                  </a:lnTo>
                  <a:lnTo>
                    <a:pt x="4528" y="53584"/>
                  </a:lnTo>
                  <a:lnTo>
                    <a:pt x="4623" y="53395"/>
                  </a:lnTo>
                  <a:lnTo>
                    <a:pt x="5094" y="54244"/>
                  </a:lnTo>
                  <a:lnTo>
                    <a:pt x="4717" y="53301"/>
                  </a:lnTo>
                  <a:lnTo>
                    <a:pt x="4528" y="53018"/>
                  </a:lnTo>
                  <a:lnTo>
                    <a:pt x="4151" y="52263"/>
                  </a:lnTo>
                  <a:lnTo>
                    <a:pt x="4151" y="52169"/>
                  </a:lnTo>
                  <a:lnTo>
                    <a:pt x="3774" y="51509"/>
                  </a:lnTo>
                  <a:lnTo>
                    <a:pt x="3396" y="50660"/>
                  </a:lnTo>
                  <a:lnTo>
                    <a:pt x="3585" y="51603"/>
                  </a:lnTo>
                  <a:lnTo>
                    <a:pt x="3396" y="51226"/>
                  </a:lnTo>
                  <a:lnTo>
                    <a:pt x="3208" y="50848"/>
                  </a:lnTo>
                  <a:lnTo>
                    <a:pt x="3208" y="50471"/>
                  </a:lnTo>
                  <a:lnTo>
                    <a:pt x="3208" y="50094"/>
                  </a:lnTo>
                  <a:lnTo>
                    <a:pt x="3585" y="50754"/>
                  </a:lnTo>
                  <a:lnTo>
                    <a:pt x="3868" y="51509"/>
                  </a:lnTo>
                  <a:lnTo>
                    <a:pt x="3868" y="51509"/>
                  </a:lnTo>
                  <a:lnTo>
                    <a:pt x="3208" y="49528"/>
                  </a:lnTo>
                  <a:lnTo>
                    <a:pt x="3208" y="49528"/>
                  </a:lnTo>
                  <a:lnTo>
                    <a:pt x="3868" y="50754"/>
                  </a:lnTo>
                  <a:lnTo>
                    <a:pt x="3208" y="48962"/>
                  </a:lnTo>
                  <a:lnTo>
                    <a:pt x="3585" y="49339"/>
                  </a:lnTo>
                  <a:lnTo>
                    <a:pt x="3774" y="49433"/>
                  </a:lnTo>
                  <a:lnTo>
                    <a:pt x="3962" y="49528"/>
                  </a:lnTo>
                  <a:lnTo>
                    <a:pt x="4057" y="49905"/>
                  </a:lnTo>
                  <a:lnTo>
                    <a:pt x="3868" y="48962"/>
                  </a:lnTo>
                  <a:lnTo>
                    <a:pt x="3491" y="47924"/>
                  </a:lnTo>
                  <a:lnTo>
                    <a:pt x="2641" y="45565"/>
                  </a:lnTo>
                  <a:lnTo>
                    <a:pt x="2170" y="43867"/>
                  </a:lnTo>
                  <a:lnTo>
                    <a:pt x="1698" y="41886"/>
                  </a:lnTo>
                  <a:lnTo>
                    <a:pt x="1698" y="41886"/>
                  </a:lnTo>
                  <a:lnTo>
                    <a:pt x="1887" y="42075"/>
                  </a:lnTo>
                  <a:lnTo>
                    <a:pt x="1981" y="41981"/>
                  </a:lnTo>
                  <a:lnTo>
                    <a:pt x="2075" y="42075"/>
                  </a:lnTo>
                  <a:lnTo>
                    <a:pt x="2264" y="42169"/>
                  </a:lnTo>
                  <a:lnTo>
                    <a:pt x="2170" y="40283"/>
                  </a:lnTo>
                  <a:lnTo>
                    <a:pt x="2075" y="38301"/>
                  </a:lnTo>
                  <a:lnTo>
                    <a:pt x="2170" y="36415"/>
                  </a:lnTo>
                  <a:lnTo>
                    <a:pt x="2358" y="35566"/>
                  </a:lnTo>
                  <a:lnTo>
                    <a:pt x="2453" y="34811"/>
                  </a:lnTo>
                  <a:lnTo>
                    <a:pt x="2830" y="32830"/>
                  </a:lnTo>
                  <a:lnTo>
                    <a:pt x="2830" y="33207"/>
                  </a:lnTo>
                  <a:lnTo>
                    <a:pt x="2924" y="33490"/>
                  </a:lnTo>
                  <a:lnTo>
                    <a:pt x="2924" y="32453"/>
                  </a:lnTo>
                  <a:lnTo>
                    <a:pt x="3019" y="31415"/>
                  </a:lnTo>
                  <a:lnTo>
                    <a:pt x="3396" y="29245"/>
                  </a:lnTo>
                  <a:lnTo>
                    <a:pt x="3868" y="27075"/>
                  </a:lnTo>
                  <a:lnTo>
                    <a:pt x="4623" y="25000"/>
                  </a:lnTo>
                  <a:lnTo>
                    <a:pt x="5566" y="22830"/>
                  </a:lnTo>
                  <a:lnTo>
                    <a:pt x="6604" y="20849"/>
                  </a:lnTo>
                  <a:lnTo>
                    <a:pt x="7830" y="18868"/>
                  </a:lnTo>
                  <a:lnTo>
                    <a:pt x="9151" y="16887"/>
                  </a:lnTo>
                  <a:lnTo>
                    <a:pt x="10566" y="15094"/>
                  </a:lnTo>
                  <a:lnTo>
                    <a:pt x="12075" y="13302"/>
                  </a:lnTo>
                  <a:lnTo>
                    <a:pt x="13773" y="11698"/>
                  </a:lnTo>
                  <a:lnTo>
                    <a:pt x="15377" y="10095"/>
                  </a:lnTo>
                  <a:lnTo>
                    <a:pt x="17170" y="8679"/>
                  </a:lnTo>
                  <a:lnTo>
                    <a:pt x="18962" y="7453"/>
                  </a:lnTo>
                  <a:lnTo>
                    <a:pt x="20754" y="6321"/>
                  </a:lnTo>
                  <a:lnTo>
                    <a:pt x="22547" y="5378"/>
                  </a:lnTo>
                  <a:lnTo>
                    <a:pt x="21603" y="6227"/>
                  </a:lnTo>
                  <a:lnTo>
                    <a:pt x="22641" y="5472"/>
                  </a:lnTo>
                  <a:lnTo>
                    <a:pt x="23302" y="5095"/>
                  </a:lnTo>
                  <a:lnTo>
                    <a:pt x="25377" y="4151"/>
                  </a:lnTo>
                  <a:lnTo>
                    <a:pt x="24811" y="4151"/>
                  </a:lnTo>
                  <a:lnTo>
                    <a:pt x="25660" y="3774"/>
                  </a:lnTo>
                  <a:lnTo>
                    <a:pt x="26886" y="3208"/>
                  </a:lnTo>
                  <a:lnTo>
                    <a:pt x="26603" y="3585"/>
                  </a:lnTo>
                  <a:lnTo>
                    <a:pt x="26886" y="3585"/>
                  </a:lnTo>
                  <a:lnTo>
                    <a:pt x="26886" y="3680"/>
                  </a:lnTo>
                  <a:lnTo>
                    <a:pt x="26792" y="3774"/>
                  </a:lnTo>
                  <a:lnTo>
                    <a:pt x="28301" y="3302"/>
                  </a:lnTo>
                  <a:lnTo>
                    <a:pt x="29622" y="2736"/>
                  </a:lnTo>
                  <a:lnTo>
                    <a:pt x="31037" y="2264"/>
                  </a:lnTo>
                  <a:lnTo>
                    <a:pt x="31792" y="2076"/>
                  </a:lnTo>
                  <a:lnTo>
                    <a:pt x="32641" y="1981"/>
                  </a:lnTo>
                  <a:lnTo>
                    <a:pt x="32547" y="2076"/>
                  </a:lnTo>
                  <a:lnTo>
                    <a:pt x="32924" y="1981"/>
                  </a:lnTo>
                  <a:lnTo>
                    <a:pt x="34245" y="1793"/>
                  </a:lnTo>
                  <a:lnTo>
                    <a:pt x="35848" y="1415"/>
                  </a:lnTo>
                  <a:lnTo>
                    <a:pt x="36981" y="1132"/>
                  </a:lnTo>
                  <a:lnTo>
                    <a:pt x="36981" y="1415"/>
                  </a:lnTo>
                  <a:lnTo>
                    <a:pt x="40943" y="1227"/>
                  </a:lnTo>
                  <a:lnTo>
                    <a:pt x="41509" y="1038"/>
                  </a:lnTo>
                  <a:lnTo>
                    <a:pt x="41697" y="1132"/>
                  </a:lnTo>
                  <a:lnTo>
                    <a:pt x="41509" y="1227"/>
                  </a:lnTo>
                  <a:lnTo>
                    <a:pt x="41320" y="1321"/>
                  </a:lnTo>
                  <a:lnTo>
                    <a:pt x="42263" y="1321"/>
                  </a:lnTo>
                  <a:lnTo>
                    <a:pt x="43113" y="1227"/>
                  </a:lnTo>
                  <a:lnTo>
                    <a:pt x="43396" y="1415"/>
                  </a:lnTo>
                  <a:lnTo>
                    <a:pt x="44056" y="1604"/>
                  </a:lnTo>
                  <a:lnTo>
                    <a:pt x="45943" y="2076"/>
                  </a:lnTo>
                  <a:lnTo>
                    <a:pt x="48018" y="2359"/>
                  </a:lnTo>
                  <a:lnTo>
                    <a:pt x="49622" y="2736"/>
                  </a:lnTo>
                  <a:lnTo>
                    <a:pt x="47641" y="1981"/>
                  </a:lnTo>
                  <a:lnTo>
                    <a:pt x="45282" y="1321"/>
                  </a:lnTo>
                  <a:lnTo>
                    <a:pt x="42735" y="755"/>
                  </a:lnTo>
                  <a:lnTo>
                    <a:pt x="40188" y="283"/>
                  </a:lnTo>
                  <a:lnTo>
                    <a:pt x="37735" y="95"/>
                  </a:lnTo>
                  <a:lnTo>
                    <a:pt x="35471" y="0"/>
                  </a:lnTo>
                  <a:close/>
                </a:path>
              </a:pathLst>
            </a:custGeom>
            <a:solidFill>
              <a:srgbClr val="FF0000"/>
            </a:solidFill>
            <a:ln>
              <a:noFill/>
            </a:ln>
          </p:spPr>
          <p:txBody>
            <a:bodyPr spcFirstLastPara="1" wrap="square" lIns="91425" tIns="91425" rIns="91425" bIns="91425" anchor="ctr" anchorCtr="0">
              <a:noAutofit/>
            </a:bodyPr>
            <a:lstStyle/>
            <a:p>
              <a:pPr marL="0" lvl="0" indent="0">
                <a:spcBef>
                  <a:spcPts val="0"/>
                </a:spcBef>
                <a:spcAft>
                  <a:spcPts val="0"/>
                </a:spcAft>
                <a:buNone/>
              </a:pPr>
              <a:endParaRPr sz="800">
                <a:latin typeface="Comic Sans MS" panose="030F0902030302020204" pitchFamily="66" charset="0"/>
              </a:endParaRPr>
            </a:p>
          </p:txBody>
        </p:sp>
        <p:sp>
          <p:nvSpPr>
            <p:cNvPr id="73" name="TextBox 72">
              <a:extLst>
                <a:ext uri="{FF2B5EF4-FFF2-40B4-BE49-F238E27FC236}">
                  <a16:creationId xmlns:a16="http://schemas.microsoft.com/office/drawing/2014/main" id="{D4BBE169-03E0-5146-99B3-CE4CF7FCBC4C}"/>
                </a:ext>
              </a:extLst>
            </p:cNvPr>
            <p:cNvSpPr txBox="1"/>
            <p:nvPr/>
          </p:nvSpPr>
          <p:spPr>
            <a:xfrm>
              <a:off x="702590" y="1244892"/>
              <a:ext cx="301686" cy="180620"/>
            </a:xfrm>
            <a:prstGeom prst="rect">
              <a:avLst/>
            </a:prstGeom>
            <a:noFill/>
          </p:spPr>
          <p:txBody>
            <a:bodyPr wrap="square" rtlCol="0">
              <a:spAutoFit/>
            </a:bodyPr>
            <a:lstStyle/>
            <a:p>
              <a:r>
                <a:rPr lang="en-US" sz="300" dirty="0">
                  <a:solidFill>
                    <a:srgbClr val="FF0000"/>
                  </a:solidFill>
                  <a:latin typeface="Comic Sans MS" panose="030F0902030302020204" pitchFamily="66" charset="0"/>
                </a:rPr>
                <a:t>3.</a:t>
              </a:r>
            </a:p>
          </p:txBody>
        </p:sp>
      </p:grpSp>
      <p:grpSp>
        <p:nvGrpSpPr>
          <p:cNvPr id="74" name="Group 73">
            <a:extLst>
              <a:ext uri="{FF2B5EF4-FFF2-40B4-BE49-F238E27FC236}">
                <a16:creationId xmlns:a16="http://schemas.microsoft.com/office/drawing/2014/main" id="{BD30D652-5713-A246-8C26-B761C351C21B}"/>
              </a:ext>
            </a:extLst>
          </p:cNvPr>
          <p:cNvGrpSpPr/>
          <p:nvPr/>
        </p:nvGrpSpPr>
        <p:grpSpPr>
          <a:xfrm rot="21011211">
            <a:off x="567771" y="3641347"/>
            <a:ext cx="292910" cy="222927"/>
            <a:chOff x="702590" y="1203599"/>
            <a:chExt cx="301686" cy="290724"/>
          </a:xfrm>
        </p:grpSpPr>
        <p:sp>
          <p:nvSpPr>
            <p:cNvPr id="75" name="Google Shape;431;p39">
              <a:extLst>
                <a:ext uri="{FF2B5EF4-FFF2-40B4-BE49-F238E27FC236}">
                  <a16:creationId xmlns:a16="http://schemas.microsoft.com/office/drawing/2014/main" id="{652090E6-7BFB-0D4D-85BA-2AEA55B0A3FC}"/>
                </a:ext>
              </a:extLst>
            </p:cNvPr>
            <p:cNvSpPr/>
            <p:nvPr/>
          </p:nvSpPr>
          <p:spPr>
            <a:xfrm>
              <a:off x="736556" y="1203599"/>
              <a:ext cx="219241" cy="290724"/>
            </a:xfrm>
            <a:custGeom>
              <a:avLst/>
              <a:gdLst/>
              <a:ahLst/>
              <a:cxnLst/>
              <a:rect l="0" t="0" r="0" b="0"/>
              <a:pathLst>
                <a:path w="67641" h="69056" extrusionOk="0">
                  <a:moveTo>
                    <a:pt x="49622" y="2736"/>
                  </a:moveTo>
                  <a:lnTo>
                    <a:pt x="49622" y="2736"/>
                  </a:lnTo>
                  <a:lnTo>
                    <a:pt x="49622" y="2736"/>
                  </a:lnTo>
                  <a:close/>
                  <a:moveTo>
                    <a:pt x="59622" y="55565"/>
                  </a:moveTo>
                  <a:lnTo>
                    <a:pt x="59622" y="55565"/>
                  </a:lnTo>
                  <a:lnTo>
                    <a:pt x="59622" y="55565"/>
                  </a:lnTo>
                  <a:close/>
                  <a:moveTo>
                    <a:pt x="35471" y="0"/>
                  </a:moveTo>
                  <a:lnTo>
                    <a:pt x="34433" y="95"/>
                  </a:lnTo>
                  <a:lnTo>
                    <a:pt x="33584" y="189"/>
                  </a:lnTo>
                  <a:lnTo>
                    <a:pt x="32735" y="378"/>
                  </a:lnTo>
                  <a:lnTo>
                    <a:pt x="32169" y="566"/>
                  </a:lnTo>
                  <a:lnTo>
                    <a:pt x="31509" y="472"/>
                  </a:lnTo>
                  <a:lnTo>
                    <a:pt x="30754" y="472"/>
                  </a:lnTo>
                  <a:lnTo>
                    <a:pt x="29339" y="566"/>
                  </a:lnTo>
                  <a:lnTo>
                    <a:pt x="27830" y="849"/>
                  </a:lnTo>
                  <a:lnTo>
                    <a:pt x="26320" y="1321"/>
                  </a:lnTo>
                  <a:lnTo>
                    <a:pt x="24811" y="1981"/>
                  </a:lnTo>
                  <a:lnTo>
                    <a:pt x="23207" y="2736"/>
                  </a:lnTo>
                  <a:lnTo>
                    <a:pt x="21698" y="3585"/>
                  </a:lnTo>
                  <a:lnTo>
                    <a:pt x="20188" y="4623"/>
                  </a:lnTo>
                  <a:lnTo>
                    <a:pt x="18679" y="5661"/>
                  </a:lnTo>
                  <a:lnTo>
                    <a:pt x="17170" y="6793"/>
                  </a:lnTo>
                  <a:lnTo>
                    <a:pt x="15754" y="8019"/>
                  </a:lnTo>
                  <a:lnTo>
                    <a:pt x="14434" y="9151"/>
                  </a:lnTo>
                  <a:lnTo>
                    <a:pt x="11981" y="11510"/>
                  </a:lnTo>
                  <a:lnTo>
                    <a:pt x="10000" y="13774"/>
                  </a:lnTo>
                  <a:lnTo>
                    <a:pt x="7736" y="16981"/>
                  </a:lnTo>
                  <a:lnTo>
                    <a:pt x="8019" y="16321"/>
                  </a:lnTo>
                  <a:lnTo>
                    <a:pt x="8302" y="15660"/>
                  </a:lnTo>
                  <a:lnTo>
                    <a:pt x="7736" y="16604"/>
                  </a:lnTo>
                  <a:lnTo>
                    <a:pt x="7075" y="17642"/>
                  </a:lnTo>
                  <a:lnTo>
                    <a:pt x="7170" y="17830"/>
                  </a:lnTo>
                  <a:lnTo>
                    <a:pt x="6509" y="18868"/>
                  </a:lnTo>
                  <a:lnTo>
                    <a:pt x="7075" y="17359"/>
                  </a:lnTo>
                  <a:lnTo>
                    <a:pt x="6132" y="19057"/>
                  </a:lnTo>
                  <a:lnTo>
                    <a:pt x="5189" y="20849"/>
                  </a:lnTo>
                  <a:lnTo>
                    <a:pt x="4434" y="22736"/>
                  </a:lnTo>
                  <a:lnTo>
                    <a:pt x="3679" y="24622"/>
                  </a:lnTo>
                  <a:lnTo>
                    <a:pt x="2453" y="28490"/>
                  </a:lnTo>
                  <a:lnTo>
                    <a:pt x="1321" y="32169"/>
                  </a:lnTo>
                  <a:lnTo>
                    <a:pt x="1509" y="32264"/>
                  </a:lnTo>
                  <a:lnTo>
                    <a:pt x="1604" y="32453"/>
                  </a:lnTo>
                  <a:lnTo>
                    <a:pt x="1604" y="32641"/>
                  </a:lnTo>
                  <a:lnTo>
                    <a:pt x="1509" y="32924"/>
                  </a:lnTo>
                  <a:lnTo>
                    <a:pt x="1226" y="33396"/>
                  </a:lnTo>
                  <a:lnTo>
                    <a:pt x="1038" y="33585"/>
                  </a:lnTo>
                  <a:lnTo>
                    <a:pt x="1038" y="33773"/>
                  </a:lnTo>
                  <a:lnTo>
                    <a:pt x="1038" y="35000"/>
                  </a:lnTo>
                  <a:lnTo>
                    <a:pt x="849" y="36132"/>
                  </a:lnTo>
                  <a:lnTo>
                    <a:pt x="660" y="37358"/>
                  </a:lnTo>
                  <a:lnTo>
                    <a:pt x="472" y="38867"/>
                  </a:lnTo>
                  <a:lnTo>
                    <a:pt x="283" y="38301"/>
                  </a:lnTo>
                  <a:lnTo>
                    <a:pt x="94" y="39811"/>
                  </a:lnTo>
                  <a:lnTo>
                    <a:pt x="0" y="41509"/>
                  </a:lnTo>
                  <a:lnTo>
                    <a:pt x="94" y="43301"/>
                  </a:lnTo>
                  <a:lnTo>
                    <a:pt x="283" y="44056"/>
                  </a:lnTo>
                  <a:lnTo>
                    <a:pt x="472" y="44622"/>
                  </a:lnTo>
                  <a:lnTo>
                    <a:pt x="566" y="45660"/>
                  </a:lnTo>
                  <a:lnTo>
                    <a:pt x="755" y="46792"/>
                  </a:lnTo>
                  <a:lnTo>
                    <a:pt x="1226" y="48962"/>
                  </a:lnTo>
                  <a:lnTo>
                    <a:pt x="1981" y="51037"/>
                  </a:lnTo>
                  <a:lnTo>
                    <a:pt x="2924" y="53112"/>
                  </a:lnTo>
                  <a:lnTo>
                    <a:pt x="4057" y="55094"/>
                  </a:lnTo>
                  <a:lnTo>
                    <a:pt x="5283" y="56980"/>
                  </a:lnTo>
                  <a:lnTo>
                    <a:pt x="6698" y="58678"/>
                  </a:lnTo>
                  <a:lnTo>
                    <a:pt x="8113" y="60282"/>
                  </a:lnTo>
                  <a:lnTo>
                    <a:pt x="9056" y="61131"/>
                  </a:lnTo>
                  <a:lnTo>
                    <a:pt x="10000" y="61980"/>
                  </a:lnTo>
                  <a:lnTo>
                    <a:pt x="11038" y="62829"/>
                  </a:lnTo>
                  <a:lnTo>
                    <a:pt x="12075" y="63584"/>
                  </a:lnTo>
                  <a:lnTo>
                    <a:pt x="14339" y="64905"/>
                  </a:lnTo>
                  <a:lnTo>
                    <a:pt x="16604" y="66131"/>
                  </a:lnTo>
                  <a:lnTo>
                    <a:pt x="19056" y="67169"/>
                  </a:lnTo>
                  <a:lnTo>
                    <a:pt x="21509" y="67923"/>
                  </a:lnTo>
                  <a:lnTo>
                    <a:pt x="24056" y="68584"/>
                  </a:lnTo>
                  <a:lnTo>
                    <a:pt x="26603" y="69055"/>
                  </a:lnTo>
                  <a:lnTo>
                    <a:pt x="27830" y="69055"/>
                  </a:lnTo>
                  <a:lnTo>
                    <a:pt x="30188" y="68867"/>
                  </a:lnTo>
                  <a:lnTo>
                    <a:pt x="33113" y="68678"/>
                  </a:lnTo>
                  <a:lnTo>
                    <a:pt x="36509" y="68301"/>
                  </a:lnTo>
                  <a:lnTo>
                    <a:pt x="39811" y="67923"/>
                  </a:lnTo>
                  <a:lnTo>
                    <a:pt x="42735" y="67452"/>
                  </a:lnTo>
                  <a:lnTo>
                    <a:pt x="44905" y="66980"/>
                  </a:lnTo>
                  <a:lnTo>
                    <a:pt x="45565" y="66791"/>
                  </a:lnTo>
                  <a:lnTo>
                    <a:pt x="45943" y="66508"/>
                  </a:lnTo>
                  <a:lnTo>
                    <a:pt x="47358" y="65942"/>
                  </a:lnTo>
                  <a:lnTo>
                    <a:pt x="48018" y="65565"/>
                  </a:lnTo>
                  <a:lnTo>
                    <a:pt x="48678" y="65188"/>
                  </a:lnTo>
                  <a:lnTo>
                    <a:pt x="47924" y="65471"/>
                  </a:lnTo>
                  <a:lnTo>
                    <a:pt x="51509" y="62924"/>
                  </a:lnTo>
                  <a:lnTo>
                    <a:pt x="53301" y="61508"/>
                  </a:lnTo>
                  <a:lnTo>
                    <a:pt x="55093" y="59905"/>
                  </a:lnTo>
                  <a:lnTo>
                    <a:pt x="55093" y="59905"/>
                  </a:lnTo>
                  <a:lnTo>
                    <a:pt x="54810" y="60376"/>
                  </a:lnTo>
                  <a:lnTo>
                    <a:pt x="54339" y="60754"/>
                  </a:lnTo>
                  <a:lnTo>
                    <a:pt x="55376" y="59999"/>
                  </a:lnTo>
                  <a:lnTo>
                    <a:pt x="56320" y="59056"/>
                  </a:lnTo>
                  <a:lnTo>
                    <a:pt x="57075" y="58395"/>
                  </a:lnTo>
                  <a:lnTo>
                    <a:pt x="57169" y="58207"/>
                  </a:lnTo>
                  <a:lnTo>
                    <a:pt x="57075" y="58207"/>
                  </a:lnTo>
                  <a:lnTo>
                    <a:pt x="57924" y="57546"/>
                  </a:lnTo>
                  <a:lnTo>
                    <a:pt x="58678" y="56697"/>
                  </a:lnTo>
                  <a:lnTo>
                    <a:pt x="59339" y="55754"/>
                  </a:lnTo>
                  <a:lnTo>
                    <a:pt x="59905" y="54905"/>
                  </a:lnTo>
                  <a:lnTo>
                    <a:pt x="59716" y="54999"/>
                  </a:lnTo>
                  <a:lnTo>
                    <a:pt x="59622" y="54999"/>
                  </a:lnTo>
                  <a:lnTo>
                    <a:pt x="59810" y="54622"/>
                  </a:lnTo>
                  <a:lnTo>
                    <a:pt x="59150" y="55565"/>
                  </a:lnTo>
                  <a:lnTo>
                    <a:pt x="59527" y="55094"/>
                  </a:lnTo>
                  <a:lnTo>
                    <a:pt x="59433" y="55377"/>
                  </a:lnTo>
                  <a:lnTo>
                    <a:pt x="58867" y="56037"/>
                  </a:lnTo>
                  <a:lnTo>
                    <a:pt x="59056" y="55660"/>
                  </a:lnTo>
                  <a:lnTo>
                    <a:pt x="59056" y="55660"/>
                  </a:lnTo>
                  <a:lnTo>
                    <a:pt x="58678" y="56037"/>
                  </a:lnTo>
                  <a:lnTo>
                    <a:pt x="59810" y="54339"/>
                  </a:lnTo>
                  <a:lnTo>
                    <a:pt x="60282" y="53490"/>
                  </a:lnTo>
                  <a:lnTo>
                    <a:pt x="60282" y="53301"/>
                  </a:lnTo>
                  <a:lnTo>
                    <a:pt x="60188" y="53395"/>
                  </a:lnTo>
                  <a:lnTo>
                    <a:pt x="60188" y="53395"/>
                  </a:lnTo>
                  <a:lnTo>
                    <a:pt x="60565" y="52924"/>
                  </a:lnTo>
                  <a:lnTo>
                    <a:pt x="61037" y="52452"/>
                  </a:lnTo>
                  <a:lnTo>
                    <a:pt x="61886" y="51509"/>
                  </a:lnTo>
                  <a:lnTo>
                    <a:pt x="61508" y="52452"/>
                  </a:lnTo>
                  <a:lnTo>
                    <a:pt x="60848" y="53584"/>
                  </a:lnTo>
                  <a:lnTo>
                    <a:pt x="59622" y="55565"/>
                  </a:lnTo>
                  <a:lnTo>
                    <a:pt x="60376" y="54528"/>
                  </a:lnTo>
                  <a:lnTo>
                    <a:pt x="60942" y="53678"/>
                  </a:lnTo>
                  <a:lnTo>
                    <a:pt x="61980" y="51792"/>
                  </a:lnTo>
                  <a:lnTo>
                    <a:pt x="61886" y="51886"/>
                  </a:lnTo>
                  <a:lnTo>
                    <a:pt x="61886" y="51697"/>
                  </a:lnTo>
                  <a:lnTo>
                    <a:pt x="62169" y="51037"/>
                  </a:lnTo>
                  <a:lnTo>
                    <a:pt x="62735" y="49999"/>
                  </a:lnTo>
                  <a:lnTo>
                    <a:pt x="61508" y="51603"/>
                  </a:lnTo>
                  <a:lnTo>
                    <a:pt x="61603" y="51037"/>
                  </a:lnTo>
                  <a:lnTo>
                    <a:pt x="61697" y="50377"/>
                  </a:lnTo>
                  <a:lnTo>
                    <a:pt x="62169" y="48962"/>
                  </a:lnTo>
                  <a:lnTo>
                    <a:pt x="62829" y="47358"/>
                  </a:lnTo>
                  <a:lnTo>
                    <a:pt x="63678" y="45565"/>
                  </a:lnTo>
                  <a:lnTo>
                    <a:pt x="65376" y="42169"/>
                  </a:lnTo>
                  <a:lnTo>
                    <a:pt x="66131" y="40660"/>
                  </a:lnTo>
                  <a:lnTo>
                    <a:pt x="66697" y="39339"/>
                  </a:lnTo>
                  <a:lnTo>
                    <a:pt x="66603" y="39528"/>
                  </a:lnTo>
                  <a:lnTo>
                    <a:pt x="66697" y="39056"/>
                  </a:lnTo>
                  <a:lnTo>
                    <a:pt x="66791" y="38962"/>
                  </a:lnTo>
                  <a:lnTo>
                    <a:pt x="66791" y="39056"/>
                  </a:lnTo>
                  <a:lnTo>
                    <a:pt x="66886" y="38584"/>
                  </a:lnTo>
                  <a:lnTo>
                    <a:pt x="66791" y="38867"/>
                  </a:lnTo>
                  <a:lnTo>
                    <a:pt x="66980" y="38207"/>
                  </a:lnTo>
                  <a:lnTo>
                    <a:pt x="67169" y="37264"/>
                  </a:lnTo>
                  <a:lnTo>
                    <a:pt x="67263" y="36415"/>
                  </a:lnTo>
                  <a:lnTo>
                    <a:pt x="67357" y="36509"/>
                  </a:lnTo>
                  <a:lnTo>
                    <a:pt x="67452" y="36509"/>
                  </a:lnTo>
                  <a:lnTo>
                    <a:pt x="67546" y="35943"/>
                  </a:lnTo>
                  <a:lnTo>
                    <a:pt x="67546" y="34811"/>
                  </a:lnTo>
                  <a:lnTo>
                    <a:pt x="67640" y="31037"/>
                  </a:lnTo>
                  <a:lnTo>
                    <a:pt x="67640" y="28490"/>
                  </a:lnTo>
                  <a:lnTo>
                    <a:pt x="67546" y="27736"/>
                  </a:lnTo>
                  <a:lnTo>
                    <a:pt x="67546" y="27547"/>
                  </a:lnTo>
                  <a:lnTo>
                    <a:pt x="67452" y="27547"/>
                  </a:lnTo>
                  <a:lnTo>
                    <a:pt x="67074" y="26792"/>
                  </a:lnTo>
                  <a:lnTo>
                    <a:pt x="66791" y="25660"/>
                  </a:lnTo>
                  <a:lnTo>
                    <a:pt x="66508" y="24528"/>
                  </a:lnTo>
                  <a:lnTo>
                    <a:pt x="66414" y="23585"/>
                  </a:lnTo>
                  <a:lnTo>
                    <a:pt x="66320" y="23679"/>
                  </a:lnTo>
                  <a:lnTo>
                    <a:pt x="66320" y="23490"/>
                  </a:lnTo>
                  <a:lnTo>
                    <a:pt x="65942" y="22924"/>
                  </a:lnTo>
                  <a:lnTo>
                    <a:pt x="65565" y="22358"/>
                  </a:lnTo>
                  <a:lnTo>
                    <a:pt x="64527" y="21132"/>
                  </a:lnTo>
                  <a:lnTo>
                    <a:pt x="63584" y="19906"/>
                  </a:lnTo>
                  <a:lnTo>
                    <a:pt x="63207" y="19340"/>
                  </a:lnTo>
                  <a:lnTo>
                    <a:pt x="63018" y="18774"/>
                  </a:lnTo>
                  <a:lnTo>
                    <a:pt x="63112" y="18962"/>
                  </a:lnTo>
                  <a:lnTo>
                    <a:pt x="63301" y="19057"/>
                  </a:lnTo>
                  <a:lnTo>
                    <a:pt x="63301" y="19057"/>
                  </a:lnTo>
                  <a:lnTo>
                    <a:pt x="63207" y="18868"/>
                  </a:lnTo>
                  <a:lnTo>
                    <a:pt x="62923" y="18491"/>
                  </a:lnTo>
                  <a:lnTo>
                    <a:pt x="61980" y="17453"/>
                  </a:lnTo>
                  <a:lnTo>
                    <a:pt x="61037" y="16509"/>
                  </a:lnTo>
                  <a:lnTo>
                    <a:pt x="61037" y="16698"/>
                  </a:lnTo>
                  <a:lnTo>
                    <a:pt x="61037" y="16887"/>
                  </a:lnTo>
                  <a:lnTo>
                    <a:pt x="60093" y="15943"/>
                  </a:lnTo>
                  <a:lnTo>
                    <a:pt x="60376" y="16321"/>
                  </a:lnTo>
                  <a:lnTo>
                    <a:pt x="59527" y="15377"/>
                  </a:lnTo>
                  <a:lnTo>
                    <a:pt x="59056" y="14906"/>
                  </a:lnTo>
                  <a:lnTo>
                    <a:pt x="59244" y="14906"/>
                  </a:lnTo>
                  <a:lnTo>
                    <a:pt x="59905" y="15472"/>
                  </a:lnTo>
                  <a:lnTo>
                    <a:pt x="59905" y="15472"/>
                  </a:lnTo>
                  <a:lnTo>
                    <a:pt x="57641" y="13396"/>
                  </a:lnTo>
                  <a:lnTo>
                    <a:pt x="58112" y="13868"/>
                  </a:lnTo>
                  <a:lnTo>
                    <a:pt x="56886" y="13019"/>
                  </a:lnTo>
                  <a:lnTo>
                    <a:pt x="55754" y="12453"/>
                  </a:lnTo>
                  <a:lnTo>
                    <a:pt x="56603" y="13113"/>
                  </a:lnTo>
                  <a:lnTo>
                    <a:pt x="57452" y="13774"/>
                  </a:lnTo>
                  <a:lnTo>
                    <a:pt x="58961" y="15283"/>
                  </a:lnTo>
                  <a:lnTo>
                    <a:pt x="60376" y="16604"/>
                  </a:lnTo>
                  <a:lnTo>
                    <a:pt x="61225" y="17264"/>
                  </a:lnTo>
                  <a:lnTo>
                    <a:pt x="62074" y="17925"/>
                  </a:lnTo>
                  <a:lnTo>
                    <a:pt x="62074" y="17925"/>
                  </a:lnTo>
                  <a:lnTo>
                    <a:pt x="61414" y="17547"/>
                  </a:lnTo>
                  <a:lnTo>
                    <a:pt x="60659" y="16981"/>
                  </a:lnTo>
                  <a:lnTo>
                    <a:pt x="60754" y="17264"/>
                  </a:lnTo>
                  <a:lnTo>
                    <a:pt x="60942" y="17642"/>
                  </a:lnTo>
                  <a:lnTo>
                    <a:pt x="61980" y="19151"/>
                  </a:lnTo>
                  <a:lnTo>
                    <a:pt x="63301" y="20943"/>
                  </a:lnTo>
                  <a:lnTo>
                    <a:pt x="63207" y="20943"/>
                  </a:lnTo>
                  <a:lnTo>
                    <a:pt x="63395" y="21038"/>
                  </a:lnTo>
                  <a:lnTo>
                    <a:pt x="63490" y="21321"/>
                  </a:lnTo>
                  <a:lnTo>
                    <a:pt x="63678" y="21604"/>
                  </a:lnTo>
                  <a:lnTo>
                    <a:pt x="63773" y="21698"/>
                  </a:lnTo>
                  <a:lnTo>
                    <a:pt x="63584" y="21321"/>
                  </a:lnTo>
                  <a:lnTo>
                    <a:pt x="63584" y="21321"/>
                  </a:lnTo>
                  <a:lnTo>
                    <a:pt x="64244" y="22170"/>
                  </a:lnTo>
                  <a:lnTo>
                    <a:pt x="64716" y="22641"/>
                  </a:lnTo>
                  <a:lnTo>
                    <a:pt x="64905" y="22830"/>
                  </a:lnTo>
                  <a:lnTo>
                    <a:pt x="64999" y="22830"/>
                  </a:lnTo>
                  <a:lnTo>
                    <a:pt x="64999" y="22641"/>
                  </a:lnTo>
                  <a:lnTo>
                    <a:pt x="64905" y="22358"/>
                  </a:lnTo>
                  <a:lnTo>
                    <a:pt x="65282" y="23207"/>
                  </a:lnTo>
                  <a:lnTo>
                    <a:pt x="65565" y="24056"/>
                  </a:lnTo>
                  <a:lnTo>
                    <a:pt x="66225" y="25943"/>
                  </a:lnTo>
                  <a:lnTo>
                    <a:pt x="66697" y="27830"/>
                  </a:lnTo>
                  <a:lnTo>
                    <a:pt x="66886" y="28490"/>
                  </a:lnTo>
                  <a:lnTo>
                    <a:pt x="66980" y="28868"/>
                  </a:lnTo>
                  <a:lnTo>
                    <a:pt x="66886" y="28962"/>
                  </a:lnTo>
                  <a:lnTo>
                    <a:pt x="66697" y="28679"/>
                  </a:lnTo>
                  <a:lnTo>
                    <a:pt x="66697" y="29245"/>
                  </a:lnTo>
                  <a:lnTo>
                    <a:pt x="66791" y="29905"/>
                  </a:lnTo>
                  <a:lnTo>
                    <a:pt x="66886" y="29905"/>
                  </a:lnTo>
                  <a:lnTo>
                    <a:pt x="66886" y="30094"/>
                  </a:lnTo>
                  <a:lnTo>
                    <a:pt x="66886" y="30566"/>
                  </a:lnTo>
                  <a:lnTo>
                    <a:pt x="66697" y="30377"/>
                  </a:lnTo>
                  <a:lnTo>
                    <a:pt x="66603" y="30188"/>
                  </a:lnTo>
                  <a:lnTo>
                    <a:pt x="66603" y="30094"/>
                  </a:lnTo>
                  <a:lnTo>
                    <a:pt x="66697" y="29905"/>
                  </a:lnTo>
                  <a:lnTo>
                    <a:pt x="66508" y="28679"/>
                  </a:lnTo>
                  <a:lnTo>
                    <a:pt x="66225" y="27358"/>
                  </a:lnTo>
                  <a:lnTo>
                    <a:pt x="66603" y="30283"/>
                  </a:lnTo>
                  <a:lnTo>
                    <a:pt x="66697" y="31792"/>
                  </a:lnTo>
                  <a:lnTo>
                    <a:pt x="66697" y="33302"/>
                  </a:lnTo>
                  <a:lnTo>
                    <a:pt x="66603" y="34717"/>
                  </a:lnTo>
                  <a:lnTo>
                    <a:pt x="66414" y="36226"/>
                  </a:lnTo>
                  <a:lnTo>
                    <a:pt x="66131" y="37547"/>
                  </a:lnTo>
                  <a:lnTo>
                    <a:pt x="65659" y="38962"/>
                  </a:lnTo>
                  <a:lnTo>
                    <a:pt x="65848" y="38584"/>
                  </a:lnTo>
                  <a:lnTo>
                    <a:pt x="65942" y="38584"/>
                  </a:lnTo>
                  <a:lnTo>
                    <a:pt x="65848" y="39245"/>
                  </a:lnTo>
                  <a:lnTo>
                    <a:pt x="65565" y="40188"/>
                  </a:lnTo>
                  <a:lnTo>
                    <a:pt x="65471" y="40471"/>
                  </a:lnTo>
                  <a:lnTo>
                    <a:pt x="65282" y="40660"/>
                  </a:lnTo>
                  <a:lnTo>
                    <a:pt x="65282" y="40566"/>
                  </a:lnTo>
                  <a:lnTo>
                    <a:pt x="65093" y="41132"/>
                  </a:lnTo>
                  <a:lnTo>
                    <a:pt x="64433" y="43018"/>
                  </a:lnTo>
                  <a:lnTo>
                    <a:pt x="63678" y="45282"/>
                  </a:lnTo>
                  <a:lnTo>
                    <a:pt x="62735" y="47264"/>
                  </a:lnTo>
                  <a:lnTo>
                    <a:pt x="61697" y="49056"/>
                  </a:lnTo>
                  <a:lnTo>
                    <a:pt x="60659" y="50943"/>
                  </a:lnTo>
                  <a:lnTo>
                    <a:pt x="59433" y="52735"/>
                  </a:lnTo>
                  <a:lnTo>
                    <a:pt x="58207" y="54433"/>
                  </a:lnTo>
                  <a:lnTo>
                    <a:pt x="56886" y="56037"/>
                  </a:lnTo>
                  <a:lnTo>
                    <a:pt x="55376" y="57641"/>
                  </a:lnTo>
                  <a:lnTo>
                    <a:pt x="53867" y="59150"/>
                  </a:lnTo>
                  <a:lnTo>
                    <a:pt x="52169" y="60376"/>
                  </a:lnTo>
                  <a:lnTo>
                    <a:pt x="48961" y="62452"/>
                  </a:lnTo>
                  <a:lnTo>
                    <a:pt x="44528" y="65282"/>
                  </a:lnTo>
                  <a:lnTo>
                    <a:pt x="44622" y="65188"/>
                  </a:lnTo>
                  <a:lnTo>
                    <a:pt x="44716" y="65093"/>
                  </a:lnTo>
                  <a:lnTo>
                    <a:pt x="45094" y="64810"/>
                  </a:lnTo>
                  <a:lnTo>
                    <a:pt x="45660" y="64527"/>
                  </a:lnTo>
                  <a:lnTo>
                    <a:pt x="43867" y="65376"/>
                  </a:lnTo>
                  <a:lnTo>
                    <a:pt x="43113" y="65754"/>
                  </a:lnTo>
                  <a:lnTo>
                    <a:pt x="42924" y="65754"/>
                  </a:lnTo>
                  <a:lnTo>
                    <a:pt x="43113" y="65659"/>
                  </a:lnTo>
                  <a:lnTo>
                    <a:pt x="41603" y="66037"/>
                  </a:lnTo>
                  <a:lnTo>
                    <a:pt x="39999" y="66320"/>
                  </a:lnTo>
                  <a:lnTo>
                    <a:pt x="38396" y="66508"/>
                  </a:lnTo>
                  <a:lnTo>
                    <a:pt x="36792" y="66697"/>
                  </a:lnTo>
                  <a:lnTo>
                    <a:pt x="33584" y="66980"/>
                  </a:lnTo>
                  <a:lnTo>
                    <a:pt x="32169" y="67169"/>
                  </a:lnTo>
                  <a:lnTo>
                    <a:pt x="30754" y="67357"/>
                  </a:lnTo>
                  <a:lnTo>
                    <a:pt x="30094" y="67357"/>
                  </a:lnTo>
                  <a:lnTo>
                    <a:pt x="29339" y="67263"/>
                  </a:lnTo>
                  <a:lnTo>
                    <a:pt x="27830" y="66886"/>
                  </a:lnTo>
                  <a:lnTo>
                    <a:pt x="26415" y="66508"/>
                  </a:lnTo>
                  <a:lnTo>
                    <a:pt x="25754" y="66414"/>
                  </a:lnTo>
                  <a:lnTo>
                    <a:pt x="25094" y="66414"/>
                  </a:lnTo>
                  <a:lnTo>
                    <a:pt x="25566" y="66980"/>
                  </a:lnTo>
                  <a:lnTo>
                    <a:pt x="25471" y="67074"/>
                  </a:lnTo>
                  <a:lnTo>
                    <a:pt x="25188" y="66980"/>
                  </a:lnTo>
                  <a:lnTo>
                    <a:pt x="24339" y="66791"/>
                  </a:lnTo>
                  <a:lnTo>
                    <a:pt x="23773" y="66508"/>
                  </a:lnTo>
                  <a:lnTo>
                    <a:pt x="24245" y="66414"/>
                  </a:lnTo>
                  <a:lnTo>
                    <a:pt x="24717" y="66603"/>
                  </a:lnTo>
                  <a:lnTo>
                    <a:pt x="24811" y="66414"/>
                  </a:lnTo>
                  <a:lnTo>
                    <a:pt x="24811" y="66320"/>
                  </a:lnTo>
                  <a:lnTo>
                    <a:pt x="24717" y="66225"/>
                  </a:lnTo>
                  <a:lnTo>
                    <a:pt x="24528" y="66131"/>
                  </a:lnTo>
                  <a:lnTo>
                    <a:pt x="24151" y="66225"/>
                  </a:lnTo>
                  <a:lnTo>
                    <a:pt x="23679" y="66320"/>
                  </a:lnTo>
                  <a:lnTo>
                    <a:pt x="23018" y="66414"/>
                  </a:lnTo>
                  <a:lnTo>
                    <a:pt x="23490" y="66225"/>
                  </a:lnTo>
                  <a:lnTo>
                    <a:pt x="22075" y="65942"/>
                  </a:lnTo>
                  <a:lnTo>
                    <a:pt x="20943" y="65659"/>
                  </a:lnTo>
                  <a:lnTo>
                    <a:pt x="20000" y="65282"/>
                  </a:lnTo>
                  <a:lnTo>
                    <a:pt x="19056" y="64810"/>
                  </a:lnTo>
                  <a:lnTo>
                    <a:pt x="19056" y="64810"/>
                  </a:lnTo>
                  <a:lnTo>
                    <a:pt x="19717" y="64999"/>
                  </a:lnTo>
                  <a:lnTo>
                    <a:pt x="19151" y="64716"/>
                  </a:lnTo>
                  <a:lnTo>
                    <a:pt x="18962" y="64810"/>
                  </a:lnTo>
                  <a:lnTo>
                    <a:pt x="19151" y="64905"/>
                  </a:lnTo>
                  <a:lnTo>
                    <a:pt x="18490" y="64905"/>
                  </a:lnTo>
                  <a:lnTo>
                    <a:pt x="17830" y="64716"/>
                  </a:lnTo>
                  <a:lnTo>
                    <a:pt x="17264" y="64527"/>
                  </a:lnTo>
                  <a:lnTo>
                    <a:pt x="16698" y="64150"/>
                  </a:lnTo>
                  <a:lnTo>
                    <a:pt x="16981" y="64056"/>
                  </a:lnTo>
                  <a:lnTo>
                    <a:pt x="17264" y="64150"/>
                  </a:lnTo>
                  <a:lnTo>
                    <a:pt x="17264" y="64150"/>
                  </a:lnTo>
                  <a:lnTo>
                    <a:pt x="15188" y="63207"/>
                  </a:lnTo>
                  <a:lnTo>
                    <a:pt x="14622" y="62829"/>
                  </a:lnTo>
                  <a:lnTo>
                    <a:pt x="14717" y="62924"/>
                  </a:lnTo>
                  <a:lnTo>
                    <a:pt x="13773" y="62546"/>
                  </a:lnTo>
                  <a:lnTo>
                    <a:pt x="12924" y="62075"/>
                  </a:lnTo>
                  <a:lnTo>
                    <a:pt x="12358" y="61697"/>
                  </a:lnTo>
                  <a:lnTo>
                    <a:pt x="12264" y="61508"/>
                  </a:lnTo>
                  <a:lnTo>
                    <a:pt x="12170" y="61320"/>
                  </a:lnTo>
                  <a:lnTo>
                    <a:pt x="11698" y="60942"/>
                  </a:lnTo>
                  <a:lnTo>
                    <a:pt x="11132" y="60471"/>
                  </a:lnTo>
                  <a:lnTo>
                    <a:pt x="9906" y="59244"/>
                  </a:lnTo>
                  <a:lnTo>
                    <a:pt x="9906" y="59244"/>
                  </a:lnTo>
                  <a:lnTo>
                    <a:pt x="10566" y="59527"/>
                  </a:lnTo>
                  <a:lnTo>
                    <a:pt x="9434" y="58584"/>
                  </a:lnTo>
                  <a:lnTo>
                    <a:pt x="8207" y="57546"/>
                  </a:lnTo>
                  <a:lnTo>
                    <a:pt x="7547" y="56886"/>
                  </a:lnTo>
                  <a:lnTo>
                    <a:pt x="6981" y="56131"/>
                  </a:lnTo>
                  <a:lnTo>
                    <a:pt x="6226" y="55094"/>
                  </a:lnTo>
                  <a:lnTo>
                    <a:pt x="6415" y="55377"/>
                  </a:lnTo>
                  <a:lnTo>
                    <a:pt x="6038" y="54905"/>
                  </a:lnTo>
                  <a:lnTo>
                    <a:pt x="5472" y="54244"/>
                  </a:lnTo>
                  <a:lnTo>
                    <a:pt x="5283" y="53961"/>
                  </a:lnTo>
                  <a:lnTo>
                    <a:pt x="5094" y="53867"/>
                  </a:lnTo>
                  <a:lnTo>
                    <a:pt x="5377" y="54622"/>
                  </a:lnTo>
                  <a:lnTo>
                    <a:pt x="5849" y="55282"/>
                  </a:lnTo>
                  <a:lnTo>
                    <a:pt x="6321" y="55943"/>
                  </a:lnTo>
                  <a:lnTo>
                    <a:pt x="6698" y="56603"/>
                  </a:lnTo>
                  <a:lnTo>
                    <a:pt x="6226" y="56226"/>
                  </a:lnTo>
                  <a:lnTo>
                    <a:pt x="5943" y="55848"/>
                  </a:lnTo>
                  <a:lnTo>
                    <a:pt x="6038" y="56037"/>
                  </a:lnTo>
                  <a:lnTo>
                    <a:pt x="5943" y="55943"/>
                  </a:lnTo>
                  <a:lnTo>
                    <a:pt x="5377" y="55188"/>
                  </a:lnTo>
                  <a:lnTo>
                    <a:pt x="5000" y="54716"/>
                  </a:lnTo>
                  <a:lnTo>
                    <a:pt x="4717" y="54150"/>
                  </a:lnTo>
                  <a:lnTo>
                    <a:pt x="4528" y="53678"/>
                  </a:lnTo>
                  <a:lnTo>
                    <a:pt x="4528" y="53584"/>
                  </a:lnTo>
                  <a:lnTo>
                    <a:pt x="4623" y="53395"/>
                  </a:lnTo>
                  <a:lnTo>
                    <a:pt x="5094" y="54244"/>
                  </a:lnTo>
                  <a:lnTo>
                    <a:pt x="4717" y="53301"/>
                  </a:lnTo>
                  <a:lnTo>
                    <a:pt x="4528" y="53018"/>
                  </a:lnTo>
                  <a:lnTo>
                    <a:pt x="4151" y="52263"/>
                  </a:lnTo>
                  <a:lnTo>
                    <a:pt x="4151" y="52169"/>
                  </a:lnTo>
                  <a:lnTo>
                    <a:pt x="3774" y="51509"/>
                  </a:lnTo>
                  <a:lnTo>
                    <a:pt x="3396" y="50660"/>
                  </a:lnTo>
                  <a:lnTo>
                    <a:pt x="3585" y="51603"/>
                  </a:lnTo>
                  <a:lnTo>
                    <a:pt x="3396" y="51226"/>
                  </a:lnTo>
                  <a:lnTo>
                    <a:pt x="3208" y="50848"/>
                  </a:lnTo>
                  <a:lnTo>
                    <a:pt x="3208" y="50471"/>
                  </a:lnTo>
                  <a:lnTo>
                    <a:pt x="3208" y="50094"/>
                  </a:lnTo>
                  <a:lnTo>
                    <a:pt x="3585" y="50754"/>
                  </a:lnTo>
                  <a:lnTo>
                    <a:pt x="3868" y="51509"/>
                  </a:lnTo>
                  <a:lnTo>
                    <a:pt x="3868" y="51509"/>
                  </a:lnTo>
                  <a:lnTo>
                    <a:pt x="3208" y="49528"/>
                  </a:lnTo>
                  <a:lnTo>
                    <a:pt x="3208" y="49528"/>
                  </a:lnTo>
                  <a:lnTo>
                    <a:pt x="3868" y="50754"/>
                  </a:lnTo>
                  <a:lnTo>
                    <a:pt x="3208" y="48962"/>
                  </a:lnTo>
                  <a:lnTo>
                    <a:pt x="3585" y="49339"/>
                  </a:lnTo>
                  <a:lnTo>
                    <a:pt x="3774" y="49433"/>
                  </a:lnTo>
                  <a:lnTo>
                    <a:pt x="3962" y="49528"/>
                  </a:lnTo>
                  <a:lnTo>
                    <a:pt x="4057" y="49905"/>
                  </a:lnTo>
                  <a:lnTo>
                    <a:pt x="3868" y="48962"/>
                  </a:lnTo>
                  <a:lnTo>
                    <a:pt x="3491" y="47924"/>
                  </a:lnTo>
                  <a:lnTo>
                    <a:pt x="2641" y="45565"/>
                  </a:lnTo>
                  <a:lnTo>
                    <a:pt x="2170" y="43867"/>
                  </a:lnTo>
                  <a:lnTo>
                    <a:pt x="1698" y="41886"/>
                  </a:lnTo>
                  <a:lnTo>
                    <a:pt x="1698" y="41886"/>
                  </a:lnTo>
                  <a:lnTo>
                    <a:pt x="1887" y="42075"/>
                  </a:lnTo>
                  <a:lnTo>
                    <a:pt x="1981" y="41981"/>
                  </a:lnTo>
                  <a:lnTo>
                    <a:pt x="2075" y="42075"/>
                  </a:lnTo>
                  <a:lnTo>
                    <a:pt x="2264" y="42169"/>
                  </a:lnTo>
                  <a:lnTo>
                    <a:pt x="2170" y="40283"/>
                  </a:lnTo>
                  <a:lnTo>
                    <a:pt x="2075" y="38301"/>
                  </a:lnTo>
                  <a:lnTo>
                    <a:pt x="2170" y="36415"/>
                  </a:lnTo>
                  <a:lnTo>
                    <a:pt x="2358" y="35566"/>
                  </a:lnTo>
                  <a:lnTo>
                    <a:pt x="2453" y="34811"/>
                  </a:lnTo>
                  <a:lnTo>
                    <a:pt x="2830" y="32830"/>
                  </a:lnTo>
                  <a:lnTo>
                    <a:pt x="2830" y="33207"/>
                  </a:lnTo>
                  <a:lnTo>
                    <a:pt x="2924" y="33490"/>
                  </a:lnTo>
                  <a:lnTo>
                    <a:pt x="2924" y="32453"/>
                  </a:lnTo>
                  <a:lnTo>
                    <a:pt x="3019" y="31415"/>
                  </a:lnTo>
                  <a:lnTo>
                    <a:pt x="3396" y="29245"/>
                  </a:lnTo>
                  <a:lnTo>
                    <a:pt x="3868" y="27075"/>
                  </a:lnTo>
                  <a:lnTo>
                    <a:pt x="4623" y="25000"/>
                  </a:lnTo>
                  <a:lnTo>
                    <a:pt x="5566" y="22830"/>
                  </a:lnTo>
                  <a:lnTo>
                    <a:pt x="6604" y="20849"/>
                  </a:lnTo>
                  <a:lnTo>
                    <a:pt x="7830" y="18868"/>
                  </a:lnTo>
                  <a:lnTo>
                    <a:pt x="9151" y="16887"/>
                  </a:lnTo>
                  <a:lnTo>
                    <a:pt x="10566" y="15094"/>
                  </a:lnTo>
                  <a:lnTo>
                    <a:pt x="12075" y="13302"/>
                  </a:lnTo>
                  <a:lnTo>
                    <a:pt x="13773" y="11698"/>
                  </a:lnTo>
                  <a:lnTo>
                    <a:pt x="15377" y="10095"/>
                  </a:lnTo>
                  <a:lnTo>
                    <a:pt x="17170" y="8679"/>
                  </a:lnTo>
                  <a:lnTo>
                    <a:pt x="18962" y="7453"/>
                  </a:lnTo>
                  <a:lnTo>
                    <a:pt x="20754" y="6321"/>
                  </a:lnTo>
                  <a:lnTo>
                    <a:pt x="22547" y="5378"/>
                  </a:lnTo>
                  <a:lnTo>
                    <a:pt x="21603" y="6227"/>
                  </a:lnTo>
                  <a:lnTo>
                    <a:pt x="22641" y="5472"/>
                  </a:lnTo>
                  <a:lnTo>
                    <a:pt x="23302" y="5095"/>
                  </a:lnTo>
                  <a:lnTo>
                    <a:pt x="25377" y="4151"/>
                  </a:lnTo>
                  <a:lnTo>
                    <a:pt x="24811" y="4151"/>
                  </a:lnTo>
                  <a:lnTo>
                    <a:pt x="25660" y="3774"/>
                  </a:lnTo>
                  <a:lnTo>
                    <a:pt x="26886" y="3208"/>
                  </a:lnTo>
                  <a:lnTo>
                    <a:pt x="26603" y="3585"/>
                  </a:lnTo>
                  <a:lnTo>
                    <a:pt x="26886" y="3585"/>
                  </a:lnTo>
                  <a:lnTo>
                    <a:pt x="26886" y="3680"/>
                  </a:lnTo>
                  <a:lnTo>
                    <a:pt x="26792" y="3774"/>
                  </a:lnTo>
                  <a:lnTo>
                    <a:pt x="28301" y="3302"/>
                  </a:lnTo>
                  <a:lnTo>
                    <a:pt x="29622" y="2736"/>
                  </a:lnTo>
                  <a:lnTo>
                    <a:pt x="31037" y="2264"/>
                  </a:lnTo>
                  <a:lnTo>
                    <a:pt x="31792" y="2076"/>
                  </a:lnTo>
                  <a:lnTo>
                    <a:pt x="32641" y="1981"/>
                  </a:lnTo>
                  <a:lnTo>
                    <a:pt x="32547" y="2076"/>
                  </a:lnTo>
                  <a:lnTo>
                    <a:pt x="32924" y="1981"/>
                  </a:lnTo>
                  <a:lnTo>
                    <a:pt x="34245" y="1793"/>
                  </a:lnTo>
                  <a:lnTo>
                    <a:pt x="35848" y="1415"/>
                  </a:lnTo>
                  <a:lnTo>
                    <a:pt x="36981" y="1132"/>
                  </a:lnTo>
                  <a:lnTo>
                    <a:pt x="36981" y="1415"/>
                  </a:lnTo>
                  <a:lnTo>
                    <a:pt x="40943" y="1227"/>
                  </a:lnTo>
                  <a:lnTo>
                    <a:pt x="41509" y="1038"/>
                  </a:lnTo>
                  <a:lnTo>
                    <a:pt x="41697" y="1132"/>
                  </a:lnTo>
                  <a:lnTo>
                    <a:pt x="41509" y="1227"/>
                  </a:lnTo>
                  <a:lnTo>
                    <a:pt x="41320" y="1321"/>
                  </a:lnTo>
                  <a:lnTo>
                    <a:pt x="42263" y="1321"/>
                  </a:lnTo>
                  <a:lnTo>
                    <a:pt x="43113" y="1227"/>
                  </a:lnTo>
                  <a:lnTo>
                    <a:pt x="43396" y="1415"/>
                  </a:lnTo>
                  <a:lnTo>
                    <a:pt x="44056" y="1604"/>
                  </a:lnTo>
                  <a:lnTo>
                    <a:pt x="45943" y="2076"/>
                  </a:lnTo>
                  <a:lnTo>
                    <a:pt x="48018" y="2359"/>
                  </a:lnTo>
                  <a:lnTo>
                    <a:pt x="49622" y="2736"/>
                  </a:lnTo>
                  <a:lnTo>
                    <a:pt x="47641" y="1981"/>
                  </a:lnTo>
                  <a:lnTo>
                    <a:pt x="45282" y="1321"/>
                  </a:lnTo>
                  <a:lnTo>
                    <a:pt x="42735" y="755"/>
                  </a:lnTo>
                  <a:lnTo>
                    <a:pt x="40188" y="283"/>
                  </a:lnTo>
                  <a:lnTo>
                    <a:pt x="37735" y="95"/>
                  </a:lnTo>
                  <a:lnTo>
                    <a:pt x="35471" y="0"/>
                  </a:lnTo>
                  <a:close/>
                </a:path>
              </a:pathLst>
            </a:custGeom>
            <a:solidFill>
              <a:srgbClr val="FF0000"/>
            </a:solidFill>
            <a:ln>
              <a:noFill/>
            </a:ln>
          </p:spPr>
          <p:txBody>
            <a:bodyPr spcFirstLastPara="1" wrap="square" lIns="91425" tIns="91425" rIns="91425" bIns="91425" anchor="ctr" anchorCtr="0">
              <a:noAutofit/>
            </a:bodyPr>
            <a:lstStyle/>
            <a:p>
              <a:pPr marL="0" lvl="0" indent="0">
                <a:spcBef>
                  <a:spcPts val="0"/>
                </a:spcBef>
                <a:spcAft>
                  <a:spcPts val="0"/>
                </a:spcAft>
                <a:buNone/>
              </a:pPr>
              <a:endParaRPr sz="800">
                <a:latin typeface="Comic Sans MS" panose="030F0902030302020204" pitchFamily="66" charset="0"/>
              </a:endParaRPr>
            </a:p>
          </p:txBody>
        </p:sp>
        <p:sp>
          <p:nvSpPr>
            <p:cNvPr id="76" name="TextBox 75">
              <a:extLst>
                <a:ext uri="{FF2B5EF4-FFF2-40B4-BE49-F238E27FC236}">
                  <a16:creationId xmlns:a16="http://schemas.microsoft.com/office/drawing/2014/main" id="{14473FF1-CCB1-9C4C-AE8A-702089930F16}"/>
                </a:ext>
              </a:extLst>
            </p:cNvPr>
            <p:cNvSpPr txBox="1"/>
            <p:nvPr/>
          </p:nvSpPr>
          <p:spPr>
            <a:xfrm>
              <a:off x="702590" y="1244892"/>
              <a:ext cx="301686" cy="180620"/>
            </a:xfrm>
            <a:prstGeom prst="rect">
              <a:avLst/>
            </a:prstGeom>
            <a:noFill/>
          </p:spPr>
          <p:txBody>
            <a:bodyPr wrap="square" rtlCol="0">
              <a:spAutoFit/>
            </a:bodyPr>
            <a:lstStyle/>
            <a:p>
              <a:r>
                <a:rPr lang="en-US" sz="300" dirty="0">
                  <a:solidFill>
                    <a:srgbClr val="FF0000"/>
                  </a:solidFill>
                  <a:latin typeface="Comic Sans MS" panose="030F0902030302020204" pitchFamily="66" charset="0"/>
                </a:rPr>
                <a:t>5.</a:t>
              </a:r>
            </a:p>
          </p:txBody>
        </p:sp>
      </p:grpSp>
      <p:sp>
        <p:nvSpPr>
          <p:cNvPr id="77" name="Rounded Rectangle 76">
            <a:extLst>
              <a:ext uri="{FF2B5EF4-FFF2-40B4-BE49-F238E27FC236}">
                <a16:creationId xmlns:a16="http://schemas.microsoft.com/office/drawing/2014/main" id="{F79147E9-5D93-234A-8FA5-21F23562A96C}"/>
              </a:ext>
            </a:extLst>
          </p:cNvPr>
          <p:cNvSpPr/>
          <p:nvPr/>
        </p:nvSpPr>
        <p:spPr>
          <a:xfrm>
            <a:off x="560499" y="4118931"/>
            <a:ext cx="1177919" cy="420294"/>
          </a:xfrm>
          <a:prstGeom prst="roundRect">
            <a:avLst/>
          </a:prstGeom>
          <a:solidFill>
            <a:schemeClr val="bg1">
              <a:lumMod val="85000"/>
            </a:schemeClr>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b="1" dirty="0">
              <a:solidFill>
                <a:schemeClr val="bg1">
                  <a:lumMod val="50000"/>
                </a:schemeClr>
              </a:solidFill>
              <a:latin typeface="Comic Sans MS" panose="030F0902030302020204" pitchFamily="66" charset="0"/>
              <a:ea typeface="Nanum Pen Script" panose="03040600000000000000" pitchFamily="66" charset="-127"/>
            </a:endParaRPr>
          </a:p>
          <a:p>
            <a:pPr algn="ctr"/>
            <a:endParaRPr lang="en-US" sz="800" b="1" dirty="0">
              <a:solidFill>
                <a:schemeClr val="bg1">
                  <a:lumMod val="50000"/>
                </a:schemeClr>
              </a:solidFill>
              <a:latin typeface="Comic Sans MS" panose="030F0902030302020204" pitchFamily="66" charset="0"/>
              <a:ea typeface="Nanum Pen Script" panose="03040600000000000000" pitchFamily="66" charset="-127"/>
            </a:endParaRPr>
          </a:p>
          <a:p>
            <a:pPr algn="ctr"/>
            <a:endParaRPr lang="en-US" sz="800" b="1" dirty="0">
              <a:solidFill>
                <a:schemeClr val="bg1">
                  <a:lumMod val="50000"/>
                </a:schemeClr>
              </a:solidFill>
              <a:latin typeface="Comic Sans MS" panose="030F0902030302020204" pitchFamily="66" charset="0"/>
              <a:ea typeface="Nanum Pen Script" panose="03040600000000000000" pitchFamily="66" charset="-127"/>
            </a:endParaRPr>
          </a:p>
          <a:p>
            <a:pPr algn="ctr"/>
            <a:endParaRPr lang="en-US" sz="800" b="1" dirty="0">
              <a:solidFill>
                <a:schemeClr val="bg1">
                  <a:lumMod val="50000"/>
                </a:schemeClr>
              </a:solidFill>
              <a:latin typeface="Comic Sans MS" panose="030F0902030302020204" pitchFamily="66" charset="0"/>
              <a:ea typeface="Nanum Pen Script" panose="03040600000000000000" pitchFamily="66" charset="-127"/>
            </a:endParaRPr>
          </a:p>
          <a:p>
            <a:pPr algn="ctr"/>
            <a:endParaRPr lang="en-US" sz="700" b="1" dirty="0">
              <a:solidFill>
                <a:schemeClr val="bg1">
                  <a:lumMod val="50000"/>
                </a:schemeClr>
              </a:solidFill>
              <a:latin typeface="Comic Sans MS" panose="030F0902030302020204" pitchFamily="66" charset="0"/>
              <a:ea typeface="Nanum Pen Script" panose="03040600000000000000" pitchFamily="66" charset="-127"/>
            </a:endParaRPr>
          </a:p>
          <a:p>
            <a:pPr algn="ctr"/>
            <a:endParaRPr lang="en-US" sz="700" b="1" dirty="0">
              <a:solidFill>
                <a:schemeClr val="bg1">
                  <a:lumMod val="50000"/>
                </a:schemeClr>
              </a:solidFill>
              <a:latin typeface="Comic Sans MS" panose="030F0902030302020204" pitchFamily="66" charset="0"/>
              <a:ea typeface="Nanum Pen Script" panose="03040600000000000000" pitchFamily="66" charset="-127"/>
            </a:endParaRPr>
          </a:p>
          <a:p>
            <a:pPr algn="ctr">
              <a:spcBef>
                <a:spcPts val="0"/>
              </a:spcBef>
            </a:pPr>
            <a:r>
              <a:rPr lang="en-US" sz="7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Newsfeed</a:t>
            </a:r>
          </a:p>
          <a:p>
            <a:pPr algn="ctr"/>
            <a:endParaRPr lang="en-US" sz="1600" dirty="0">
              <a:solidFill>
                <a:schemeClr val="tx1"/>
              </a:solidFill>
              <a:latin typeface="Comic Sans MS" panose="030F0902030302020204" pitchFamily="66" charset="0"/>
              <a:ea typeface="Nanum Pen Script" panose="03040600000000000000" pitchFamily="66" charset="-127"/>
            </a:endParaRPr>
          </a:p>
          <a:p>
            <a:pPr algn="ctr"/>
            <a:endParaRPr lang="en-US" sz="1600" dirty="0">
              <a:solidFill>
                <a:schemeClr val="tx1"/>
              </a:solidFill>
              <a:latin typeface="Comic Sans MS" panose="030F0902030302020204" pitchFamily="66" charset="0"/>
              <a:ea typeface="Nanum Pen Script" panose="03040600000000000000" pitchFamily="66" charset="-127"/>
            </a:endParaRPr>
          </a:p>
        </p:txBody>
      </p:sp>
      <p:cxnSp>
        <p:nvCxnSpPr>
          <p:cNvPr id="82" name="Elbow Connector 81">
            <a:extLst>
              <a:ext uri="{FF2B5EF4-FFF2-40B4-BE49-F238E27FC236}">
                <a16:creationId xmlns:a16="http://schemas.microsoft.com/office/drawing/2014/main" id="{93C9FD68-8ADC-994F-8CE8-F26085891033}"/>
              </a:ext>
            </a:extLst>
          </p:cNvPr>
          <p:cNvCxnSpPr>
            <a:cxnSpLocks/>
            <a:stCxn id="66" idx="3"/>
            <a:endCxn id="58" idx="1"/>
          </p:cNvCxnSpPr>
          <p:nvPr/>
        </p:nvCxnSpPr>
        <p:spPr>
          <a:xfrm>
            <a:off x="1743239" y="3313908"/>
            <a:ext cx="474340" cy="229430"/>
          </a:xfrm>
          <a:prstGeom prst="bentConnector3">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86" name="Elbow Connector 85">
            <a:extLst>
              <a:ext uri="{FF2B5EF4-FFF2-40B4-BE49-F238E27FC236}">
                <a16:creationId xmlns:a16="http://schemas.microsoft.com/office/drawing/2014/main" id="{67A4E660-C12D-4545-8490-B5942F06FEE4}"/>
              </a:ext>
            </a:extLst>
          </p:cNvPr>
          <p:cNvCxnSpPr>
            <a:cxnSpLocks/>
            <a:stCxn id="67" idx="3"/>
            <a:endCxn id="58" idx="1"/>
          </p:cNvCxnSpPr>
          <p:nvPr/>
        </p:nvCxnSpPr>
        <p:spPr>
          <a:xfrm flipV="1">
            <a:off x="1743238" y="3543338"/>
            <a:ext cx="474341" cy="282116"/>
          </a:xfrm>
          <a:prstGeom prst="bentConnector3">
            <a:avLst>
              <a:gd name="adj1" fmla="val 50000"/>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89" name="Elbow Connector 88">
            <a:extLst>
              <a:ext uri="{FF2B5EF4-FFF2-40B4-BE49-F238E27FC236}">
                <a16:creationId xmlns:a16="http://schemas.microsoft.com/office/drawing/2014/main" id="{2B2D0A42-CF1A-AF4D-A4C4-043028256778}"/>
              </a:ext>
            </a:extLst>
          </p:cNvPr>
          <p:cNvCxnSpPr>
            <a:cxnSpLocks/>
            <a:stCxn id="77" idx="3"/>
            <a:endCxn id="58" idx="1"/>
          </p:cNvCxnSpPr>
          <p:nvPr/>
        </p:nvCxnSpPr>
        <p:spPr>
          <a:xfrm flipV="1">
            <a:off x="1738418" y="3543338"/>
            <a:ext cx="479161" cy="785740"/>
          </a:xfrm>
          <a:prstGeom prst="bentConnector3">
            <a:avLst>
              <a:gd name="adj1" fmla="val 50000"/>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18" name="Rounded Rectangle 117">
            <a:extLst>
              <a:ext uri="{FF2B5EF4-FFF2-40B4-BE49-F238E27FC236}">
                <a16:creationId xmlns:a16="http://schemas.microsoft.com/office/drawing/2014/main" id="{B6BDD48D-E55C-CC47-B038-E380D237D786}"/>
              </a:ext>
            </a:extLst>
          </p:cNvPr>
          <p:cNvSpPr/>
          <p:nvPr/>
        </p:nvSpPr>
        <p:spPr>
          <a:xfrm>
            <a:off x="4370395" y="2017927"/>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Comic Sans MS" panose="030F0902030302020204" pitchFamily="66" charset="0"/>
              <a:ea typeface="Nanum Pen Script" panose="03040600000000000000" pitchFamily="66" charset="-127"/>
            </a:endParaRPr>
          </a:p>
        </p:txBody>
      </p:sp>
      <p:sp>
        <p:nvSpPr>
          <p:cNvPr id="119" name="Rounded Rectangle 118">
            <a:extLst>
              <a:ext uri="{FF2B5EF4-FFF2-40B4-BE49-F238E27FC236}">
                <a16:creationId xmlns:a16="http://schemas.microsoft.com/office/drawing/2014/main" id="{F90E4255-3755-344D-81BC-615524F604F1}"/>
              </a:ext>
            </a:extLst>
          </p:cNvPr>
          <p:cNvSpPr/>
          <p:nvPr/>
        </p:nvSpPr>
        <p:spPr>
          <a:xfrm>
            <a:off x="4564558" y="2017926"/>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Comic Sans MS" panose="030F0902030302020204" pitchFamily="66" charset="0"/>
              <a:ea typeface="Nanum Pen Script" panose="03040600000000000000" pitchFamily="66" charset="-127"/>
            </a:endParaRPr>
          </a:p>
        </p:txBody>
      </p:sp>
      <p:sp>
        <p:nvSpPr>
          <p:cNvPr id="125" name="Rounded Rectangle 124">
            <a:extLst>
              <a:ext uri="{FF2B5EF4-FFF2-40B4-BE49-F238E27FC236}">
                <a16:creationId xmlns:a16="http://schemas.microsoft.com/office/drawing/2014/main" id="{3E7D38A7-EF3F-0A4E-A74C-FCC5C7C9D9CE}"/>
              </a:ext>
            </a:extLst>
          </p:cNvPr>
          <p:cNvSpPr/>
          <p:nvPr/>
        </p:nvSpPr>
        <p:spPr>
          <a:xfrm>
            <a:off x="4758721" y="2015368"/>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Comic Sans MS" panose="030F0902030302020204" pitchFamily="66" charset="0"/>
              <a:ea typeface="Nanum Pen Script" panose="03040600000000000000" pitchFamily="66" charset="-127"/>
            </a:endParaRPr>
          </a:p>
        </p:txBody>
      </p:sp>
      <p:sp>
        <p:nvSpPr>
          <p:cNvPr id="126" name="Rounded Rectangle 125">
            <a:extLst>
              <a:ext uri="{FF2B5EF4-FFF2-40B4-BE49-F238E27FC236}">
                <a16:creationId xmlns:a16="http://schemas.microsoft.com/office/drawing/2014/main" id="{D8C1254D-BC1D-0F45-B2CA-9450EA685D30}"/>
              </a:ext>
            </a:extLst>
          </p:cNvPr>
          <p:cNvSpPr/>
          <p:nvPr/>
        </p:nvSpPr>
        <p:spPr>
          <a:xfrm>
            <a:off x="4951130" y="2018204"/>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Comic Sans MS" panose="030F0902030302020204" pitchFamily="66" charset="0"/>
              <a:ea typeface="Nanum Pen Script" panose="03040600000000000000" pitchFamily="66" charset="-127"/>
            </a:endParaRPr>
          </a:p>
        </p:txBody>
      </p:sp>
      <p:sp>
        <p:nvSpPr>
          <p:cNvPr id="173" name="Rounded Rectangle 172">
            <a:extLst>
              <a:ext uri="{FF2B5EF4-FFF2-40B4-BE49-F238E27FC236}">
                <a16:creationId xmlns:a16="http://schemas.microsoft.com/office/drawing/2014/main" id="{C4A22EE5-4C6F-FB40-AC29-7F7A831F24FC}"/>
              </a:ext>
            </a:extLst>
          </p:cNvPr>
          <p:cNvSpPr/>
          <p:nvPr/>
        </p:nvSpPr>
        <p:spPr>
          <a:xfrm>
            <a:off x="10520250" y="1506687"/>
            <a:ext cx="1125759" cy="4556156"/>
          </a:xfrm>
          <a:prstGeom prst="roundRect">
            <a:avLst/>
          </a:prstGeom>
          <a:solidFill>
            <a:schemeClr val="bg1">
              <a:lumMod val="85000"/>
            </a:schemeClr>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endParaRPr lang="en-US" sz="1200" b="1" dirty="0">
              <a:solidFill>
                <a:schemeClr val="bg1">
                  <a:lumMod val="50000"/>
                </a:schemeClr>
              </a:solidFill>
              <a:latin typeface="Comic Sans MS" panose="030F0902030302020204" pitchFamily="66" charset="0"/>
              <a:ea typeface="Nanum Pen Script" panose="03040600000000000000" pitchFamily="66" charset="-127"/>
            </a:endParaRPr>
          </a:p>
          <a:p>
            <a:pPr algn="ctr"/>
            <a:endParaRPr lang="en-US" sz="1200" b="1" dirty="0">
              <a:solidFill>
                <a:schemeClr val="bg1">
                  <a:lumMod val="50000"/>
                </a:schemeClr>
              </a:solidFill>
              <a:latin typeface="Comic Sans MS" panose="030F0902030302020204" pitchFamily="66" charset="0"/>
              <a:ea typeface="Nanum Pen Script" panose="03040600000000000000" pitchFamily="66" charset="-127"/>
            </a:endParaRPr>
          </a:p>
          <a:p>
            <a:pPr algn="ctr"/>
            <a:endParaRPr lang="en-US" sz="1200" b="1" dirty="0">
              <a:solidFill>
                <a:schemeClr val="bg1">
                  <a:lumMod val="50000"/>
                </a:schemeClr>
              </a:solidFill>
              <a:latin typeface="Comic Sans MS" panose="030F0902030302020204" pitchFamily="66" charset="0"/>
              <a:ea typeface="Nanum Pen Script" panose="03040600000000000000" pitchFamily="66" charset="-127"/>
            </a:endParaRPr>
          </a:p>
          <a:p>
            <a:pPr algn="ctr"/>
            <a:endParaRPr lang="en-US" sz="1200" b="1" dirty="0">
              <a:solidFill>
                <a:schemeClr val="bg1">
                  <a:lumMod val="50000"/>
                </a:schemeClr>
              </a:solidFill>
              <a:latin typeface="Comic Sans MS" panose="030F0902030302020204" pitchFamily="66" charset="0"/>
              <a:ea typeface="Nanum Pen Script" panose="03040600000000000000" pitchFamily="66" charset="-127"/>
            </a:endParaRPr>
          </a:p>
          <a:p>
            <a:pPr algn="ctr"/>
            <a:endParaRPr lang="en-US" sz="1100" b="1" dirty="0">
              <a:solidFill>
                <a:schemeClr val="bg1">
                  <a:lumMod val="50000"/>
                </a:schemeClr>
              </a:solidFill>
              <a:latin typeface="Comic Sans MS" panose="030F0902030302020204" pitchFamily="66" charset="0"/>
              <a:ea typeface="Nanum Pen Script" panose="03040600000000000000" pitchFamily="66" charset="-127"/>
            </a:endParaRPr>
          </a:p>
          <a:p>
            <a:pPr algn="ctr"/>
            <a:endParaRPr lang="en-US" sz="1100" b="1" dirty="0">
              <a:solidFill>
                <a:schemeClr val="bg1">
                  <a:lumMod val="50000"/>
                </a:schemeClr>
              </a:solidFill>
              <a:latin typeface="Comic Sans MS" panose="030F0902030302020204" pitchFamily="66" charset="0"/>
              <a:ea typeface="Nanum Pen Script" panose="03040600000000000000" pitchFamily="66" charset="-127"/>
            </a:endParaRPr>
          </a:p>
          <a:p>
            <a:pPr algn="ctr"/>
            <a:endParaRPr lang="en-US" sz="800" dirty="0">
              <a:solidFill>
                <a:schemeClr val="bg1">
                  <a:lumMod val="50000"/>
                </a:schemeClr>
              </a:solidFill>
              <a:latin typeface="Comic Sans MS" panose="030F0902030302020204" pitchFamily="66" charset="0"/>
              <a:ea typeface="Nanum Pen Script" panose="03040600000000000000" pitchFamily="66" charset="-127"/>
            </a:endParaRPr>
          </a:p>
          <a:p>
            <a:pPr algn="ctr"/>
            <a:endParaRPr lang="en-US" sz="800" dirty="0">
              <a:solidFill>
                <a:schemeClr val="bg1">
                  <a:lumMod val="50000"/>
                </a:schemeClr>
              </a:solidFill>
              <a:latin typeface="Comic Sans MS" panose="030F0902030302020204" pitchFamily="66" charset="0"/>
              <a:ea typeface="Nanum Pen Script" panose="03040600000000000000" pitchFamily="66" charset="-127"/>
            </a:endParaRPr>
          </a:p>
          <a:p>
            <a:pPr algn="ctr"/>
            <a:endParaRPr lang="en-US" sz="800" dirty="0">
              <a:solidFill>
                <a:schemeClr val="bg1">
                  <a:lumMod val="50000"/>
                </a:schemeClr>
              </a:solidFill>
              <a:latin typeface="Comic Sans MS" panose="030F0902030302020204" pitchFamily="66" charset="0"/>
              <a:ea typeface="Nanum Pen Script" panose="03040600000000000000" pitchFamily="66" charset="-127"/>
            </a:endParaRPr>
          </a:p>
          <a:p>
            <a:pPr algn="ctr"/>
            <a:endParaRPr lang="en-US" sz="800" dirty="0">
              <a:solidFill>
                <a:schemeClr val="bg1">
                  <a:lumMod val="50000"/>
                </a:schemeClr>
              </a:solidFill>
              <a:latin typeface="Comic Sans MS" panose="030F0902030302020204" pitchFamily="66" charset="0"/>
              <a:ea typeface="Nanum Pen Script" panose="03040600000000000000" pitchFamily="66" charset="-127"/>
            </a:endParaRPr>
          </a:p>
          <a:p>
            <a:pPr algn="ctr"/>
            <a:endParaRPr lang="en-US" sz="800" dirty="0">
              <a:solidFill>
                <a:schemeClr val="bg1">
                  <a:lumMod val="50000"/>
                </a:schemeClr>
              </a:solidFill>
              <a:latin typeface="Comic Sans MS" panose="030F0902030302020204" pitchFamily="66" charset="0"/>
              <a:ea typeface="Nanum Pen Script" panose="03040600000000000000" pitchFamily="66" charset="-127"/>
            </a:endParaRPr>
          </a:p>
          <a:p>
            <a:pPr algn="ctr"/>
            <a:endParaRPr lang="en-US" sz="800" dirty="0">
              <a:solidFill>
                <a:schemeClr val="bg1">
                  <a:lumMod val="50000"/>
                </a:schemeClr>
              </a:solidFill>
              <a:latin typeface="Comic Sans MS" panose="030F0902030302020204" pitchFamily="66" charset="0"/>
              <a:ea typeface="Nanum Pen Script" panose="03040600000000000000" pitchFamily="66" charset="-127"/>
            </a:endParaRPr>
          </a:p>
          <a:p>
            <a:pPr algn="ctr"/>
            <a:endParaRPr lang="en-US" sz="800" dirty="0">
              <a:solidFill>
                <a:schemeClr val="bg1">
                  <a:lumMod val="50000"/>
                </a:schemeClr>
              </a:solidFill>
              <a:latin typeface="Comic Sans MS" panose="030F0902030302020204" pitchFamily="66" charset="0"/>
              <a:ea typeface="Nanum Pen Script" panose="03040600000000000000" pitchFamily="66" charset="-127"/>
            </a:endParaRPr>
          </a:p>
          <a:p>
            <a:pPr algn="ctr"/>
            <a:endParaRPr lang="en-US" sz="800" dirty="0">
              <a:solidFill>
                <a:schemeClr val="bg1">
                  <a:lumMod val="50000"/>
                </a:schemeClr>
              </a:solidFill>
              <a:latin typeface="Comic Sans MS" panose="030F0902030302020204" pitchFamily="66" charset="0"/>
              <a:ea typeface="Nanum Pen Script" panose="03040600000000000000" pitchFamily="66" charset="-127"/>
            </a:endParaRPr>
          </a:p>
          <a:p>
            <a:pPr algn="ctr"/>
            <a:endParaRPr lang="en-US" sz="800" dirty="0">
              <a:solidFill>
                <a:schemeClr val="bg1">
                  <a:lumMod val="50000"/>
                </a:schemeClr>
              </a:solidFill>
              <a:latin typeface="Comic Sans MS" panose="030F0902030302020204" pitchFamily="66" charset="0"/>
              <a:ea typeface="Nanum Pen Script" panose="03040600000000000000" pitchFamily="66" charset="-127"/>
            </a:endParaRPr>
          </a:p>
          <a:p>
            <a:pPr algn="ctr"/>
            <a:r>
              <a:rPr lang="en-US" sz="800" dirty="0">
                <a:solidFill>
                  <a:schemeClr val="bg1">
                    <a:lumMod val="50000"/>
                  </a:schemeClr>
                </a:solidFill>
                <a:latin typeface="Comic Sans MS" panose="030F0902030302020204" pitchFamily="66" charset="0"/>
                <a:ea typeface="Nanum Pen Script" panose="03040600000000000000" pitchFamily="66" charset="-127"/>
              </a:rPr>
              <a:t>Serving Layer</a:t>
            </a:r>
          </a:p>
          <a:p>
            <a:pPr algn="ctr"/>
            <a:endParaRPr lang="en-US" sz="800" dirty="0">
              <a:solidFill>
                <a:schemeClr val="bg1">
                  <a:lumMod val="50000"/>
                </a:schemeClr>
              </a:solidFill>
              <a:latin typeface="Comic Sans MS" panose="030F0902030302020204" pitchFamily="66" charset="0"/>
              <a:ea typeface="Nanum Pen Script" panose="03040600000000000000" pitchFamily="66" charset="-127"/>
            </a:endParaRPr>
          </a:p>
          <a:p>
            <a:pPr algn="ctr"/>
            <a:endParaRPr lang="en-US" sz="800" dirty="0">
              <a:solidFill>
                <a:schemeClr val="bg1">
                  <a:lumMod val="50000"/>
                </a:schemeClr>
              </a:solidFill>
              <a:latin typeface="Comic Sans MS" panose="030F0902030302020204" pitchFamily="66" charset="0"/>
              <a:ea typeface="Nanum Pen Script" panose="03040600000000000000" pitchFamily="66" charset="-127"/>
            </a:endParaRPr>
          </a:p>
          <a:p>
            <a:pPr algn="ctr"/>
            <a:endParaRPr lang="en-US" sz="800" dirty="0">
              <a:solidFill>
                <a:schemeClr val="bg1">
                  <a:lumMod val="50000"/>
                </a:schemeClr>
              </a:solidFill>
              <a:latin typeface="Comic Sans MS" panose="030F0902030302020204" pitchFamily="66" charset="0"/>
              <a:ea typeface="Nanum Pen Script" panose="03040600000000000000" pitchFamily="66" charset="-127"/>
            </a:endParaRPr>
          </a:p>
          <a:p>
            <a:pPr algn="ctr"/>
            <a:endParaRPr lang="en-US" sz="800" dirty="0">
              <a:solidFill>
                <a:schemeClr val="bg1">
                  <a:lumMod val="50000"/>
                </a:schemeClr>
              </a:solidFill>
              <a:latin typeface="Comic Sans MS" panose="030F0902030302020204" pitchFamily="66" charset="0"/>
              <a:ea typeface="Nanum Pen Script" panose="03040600000000000000" pitchFamily="66" charset="-127"/>
            </a:endParaRPr>
          </a:p>
          <a:p>
            <a:pPr algn="ctr"/>
            <a:endParaRPr lang="en-US" sz="800" dirty="0">
              <a:solidFill>
                <a:schemeClr val="bg1">
                  <a:lumMod val="50000"/>
                </a:schemeClr>
              </a:solidFill>
              <a:latin typeface="Comic Sans MS" panose="030F0902030302020204" pitchFamily="66" charset="0"/>
              <a:ea typeface="Nanum Pen Script" panose="03040600000000000000" pitchFamily="66" charset="-127"/>
            </a:endParaRPr>
          </a:p>
          <a:p>
            <a:pPr algn="ctr"/>
            <a:endParaRPr lang="en-US" sz="800" dirty="0">
              <a:solidFill>
                <a:schemeClr val="bg1">
                  <a:lumMod val="50000"/>
                </a:schemeClr>
              </a:solidFill>
              <a:latin typeface="Comic Sans MS" panose="030F0902030302020204" pitchFamily="66" charset="0"/>
              <a:ea typeface="Nanum Pen Script" panose="03040600000000000000" pitchFamily="66" charset="-127"/>
            </a:endParaRPr>
          </a:p>
          <a:p>
            <a:pPr algn="ctr"/>
            <a:endParaRPr lang="en-US" sz="800" dirty="0">
              <a:solidFill>
                <a:schemeClr val="bg1">
                  <a:lumMod val="50000"/>
                </a:schemeClr>
              </a:solidFill>
              <a:latin typeface="Comic Sans MS" panose="030F0902030302020204" pitchFamily="66" charset="0"/>
              <a:ea typeface="Nanum Pen Script" panose="03040600000000000000" pitchFamily="66" charset="-127"/>
            </a:endParaRPr>
          </a:p>
          <a:p>
            <a:pPr algn="ctr"/>
            <a:endParaRPr lang="en-US" sz="800" dirty="0">
              <a:solidFill>
                <a:schemeClr val="bg1">
                  <a:lumMod val="50000"/>
                </a:schemeClr>
              </a:solidFill>
              <a:latin typeface="Comic Sans MS" panose="030F0902030302020204" pitchFamily="66" charset="0"/>
              <a:ea typeface="Nanum Pen Script" panose="03040600000000000000" pitchFamily="66" charset="-127"/>
            </a:endParaRPr>
          </a:p>
          <a:p>
            <a:pPr algn="ctr"/>
            <a:endParaRPr lang="en-US" sz="800" dirty="0">
              <a:solidFill>
                <a:schemeClr val="bg1">
                  <a:lumMod val="50000"/>
                </a:schemeClr>
              </a:solidFill>
              <a:latin typeface="Comic Sans MS" panose="030F0902030302020204" pitchFamily="66" charset="0"/>
              <a:ea typeface="Nanum Pen Script" panose="03040600000000000000" pitchFamily="66" charset="-127"/>
            </a:endParaRPr>
          </a:p>
          <a:p>
            <a:pPr algn="ctr"/>
            <a:endParaRPr lang="en-US" sz="800" dirty="0">
              <a:solidFill>
                <a:schemeClr val="bg1">
                  <a:lumMod val="50000"/>
                </a:schemeClr>
              </a:solidFill>
              <a:latin typeface="Comic Sans MS" panose="030F0902030302020204" pitchFamily="66" charset="0"/>
              <a:ea typeface="Nanum Pen Script" panose="03040600000000000000" pitchFamily="66" charset="-127"/>
            </a:endParaRPr>
          </a:p>
          <a:p>
            <a:pPr algn="ctr"/>
            <a:endParaRPr lang="en-US" sz="800" dirty="0">
              <a:solidFill>
                <a:schemeClr val="bg1">
                  <a:lumMod val="50000"/>
                </a:schemeClr>
              </a:solidFill>
              <a:latin typeface="Comic Sans MS" panose="030F0902030302020204" pitchFamily="66" charset="0"/>
              <a:ea typeface="Nanum Pen Script" panose="03040600000000000000" pitchFamily="66" charset="-127"/>
            </a:endParaRPr>
          </a:p>
          <a:p>
            <a:pPr algn="ctr"/>
            <a:endParaRPr lang="en-US" sz="800" dirty="0">
              <a:solidFill>
                <a:schemeClr val="bg1">
                  <a:lumMod val="50000"/>
                </a:schemeClr>
              </a:solidFill>
              <a:latin typeface="Comic Sans MS" panose="030F0902030302020204" pitchFamily="66" charset="0"/>
              <a:ea typeface="Nanum Pen Script" panose="03040600000000000000" pitchFamily="66" charset="-127"/>
            </a:endParaRPr>
          </a:p>
          <a:p>
            <a:pPr algn="ctr"/>
            <a:endParaRPr lang="en-US" sz="800" dirty="0">
              <a:solidFill>
                <a:schemeClr val="bg1">
                  <a:lumMod val="50000"/>
                </a:schemeClr>
              </a:solidFill>
              <a:latin typeface="Comic Sans MS" panose="030F0902030302020204" pitchFamily="66" charset="0"/>
              <a:ea typeface="Nanum Pen Script" panose="03040600000000000000" pitchFamily="66" charset="-127"/>
            </a:endParaRPr>
          </a:p>
          <a:p>
            <a:pPr algn="ctr"/>
            <a:endParaRPr lang="en-US" sz="800" dirty="0">
              <a:solidFill>
                <a:schemeClr val="bg1">
                  <a:lumMod val="50000"/>
                </a:schemeClr>
              </a:solidFill>
              <a:latin typeface="Comic Sans MS" panose="030F0902030302020204" pitchFamily="66" charset="0"/>
              <a:ea typeface="Nanum Pen Script" panose="03040600000000000000" pitchFamily="66" charset="-127"/>
            </a:endParaRPr>
          </a:p>
          <a:p>
            <a:pPr algn="ctr"/>
            <a:endParaRPr lang="en-US" sz="3200" dirty="0">
              <a:solidFill>
                <a:schemeClr val="tx1"/>
              </a:solidFill>
              <a:latin typeface="Comic Sans MS" panose="030F0902030302020204" pitchFamily="66" charset="0"/>
              <a:ea typeface="Nanum Pen Script" panose="03040600000000000000" pitchFamily="66" charset="-127"/>
            </a:endParaRPr>
          </a:p>
          <a:p>
            <a:pPr algn="ctr"/>
            <a:endParaRPr lang="en-US" sz="3200" dirty="0">
              <a:solidFill>
                <a:schemeClr val="tx1"/>
              </a:solidFill>
              <a:latin typeface="Comic Sans MS" panose="030F0902030302020204" pitchFamily="66" charset="0"/>
              <a:ea typeface="Nanum Pen Script" panose="03040600000000000000" pitchFamily="66" charset="-127"/>
            </a:endParaRPr>
          </a:p>
        </p:txBody>
      </p:sp>
      <p:sp>
        <p:nvSpPr>
          <p:cNvPr id="174" name="Rounded Rectangle 173">
            <a:extLst>
              <a:ext uri="{FF2B5EF4-FFF2-40B4-BE49-F238E27FC236}">
                <a16:creationId xmlns:a16="http://schemas.microsoft.com/office/drawing/2014/main" id="{D9526382-B47F-334C-A240-3EAE5FAAA0B1}"/>
              </a:ext>
            </a:extLst>
          </p:cNvPr>
          <p:cNvSpPr/>
          <p:nvPr/>
        </p:nvSpPr>
        <p:spPr>
          <a:xfrm>
            <a:off x="5141864" y="2022040"/>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Comic Sans MS" panose="030F0902030302020204" pitchFamily="66" charset="0"/>
              <a:ea typeface="Nanum Pen Script" panose="03040600000000000000" pitchFamily="66" charset="-127"/>
            </a:endParaRPr>
          </a:p>
        </p:txBody>
      </p:sp>
      <p:sp>
        <p:nvSpPr>
          <p:cNvPr id="175" name="Rounded Rectangle 174">
            <a:extLst>
              <a:ext uri="{FF2B5EF4-FFF2-40B4-BE49-F238E27FC236}">
                <a16:creationId xmlns:a16="http://schemas.microsoft.com/office/drawing/2014/main" id="{789CB1D1-44A4-404C-BE7B-B934CDF10795}"/>
              </a:ext>
            </a:extLst>
          </p:cNvPr>
          <p:cNvSpPr/>
          <p:nvPr/>
        </p:nvSpPr>
        <p:spPr>
          <a:xfrm>
            <a:off x="5325753" y="2011765"/>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Comic Sans MS" panose="030F0902030302020204" pitchFamily="66" charset="0"/>
              <a:ea typeface="Nanum Pen Script" panose="03040600000000000000" pitchFamily="66" charset="-127"/>
            </a:endParaRPr>
          </a:p>
        </p:txBody>
      </p:sp>
      <p:sp>
        <p:nvSpPr>
          <p:cNvPr id="176" name="Rounded Rectangle 175">
            <a:extLst>
              <a:ext uri="{FF2B5EF4-FFF2-40B4-BE49-F238E27FC236}">
                <a16:creationId xmlns:a16="http://schemas.microsoft.com/office/drawing/2014/main" id="{745BCE59-0818-2F41-BECB-863E30A9D488}"/>
              </a:ext>
            </a:extLst>
          </p:cNvPr>
          <p:cNvSpPr/>
          <p:nvPr/>
        </p:nvSpPr>
        <p:spPr>
          <a:xfrm>
            <a:off x="5519916" y="2019039"/>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Comic Sans MS" panose="030F0902030302020204" pitchFamily="66" charset="0"/>
              <a:ea typeface="Nanum Pen Script" panose="03040600000000000000" pitchFamily="66" charset="-127"/>
            </a:endParaRPr>
          </a:p>
        </p:txBody>
      </p:sp>
      <p:sp>
        <p:nvSpPr>
          <p:cNvPr id="177" name="Rounded Rectangle 176">
            <a:extLst>
              <a:ext uri="{FF2B5EF4-FFF2-40B4-BE49-F238E27FC236}">
                <a16:creationId xmlns:a16="http://schemas.microsoft.com/office/drawing/2014/main" id="{976D3F2C-E60F-1441-B7DF-FD7C44EDBF74}"/>
              </a:ext>
            </a:extLst>
          </p:cNvPr>
          <p:cNvSpPr/>
          <p:nvPr/>
        </p:nvSpPr>
        <p:spPr>
          <a:xfrm>
            <a:off x="5712325" y="2012043"/>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Comic Sans MS" panose="030F0902030302020204" pitchFamily="66" charset="0"/>
              <a:ea typeface="Nanum Pen Script" panose="03040600000000000000" pitchFamily="66" charset="-127"/>
            </a:endParaRPr>
          </a:p>
        </p:txBody>
      </p:sp>
      <p:sp>
        <p:nvSpPr>
          <p:cNvPr id="20" name="TextBox 19">
            <a:extLst>
              <a:ext uri="{FF2B5EF4-FFF2-40B4-BE49-F238E27FC236}">
                <a16:creationId xmlns:a16="http://schemas.microsoft.com/office/drawing/2014/main" id="{ADF19B69-1FDF-6149-BEAE-524DF6A1444D}"/>
              </a:ext>
            </a:extLst>
          </p:cNvPr>
          <p:cNvSpPr txBox="1"/>
          <p:nvPr/>
        </p:nvSpPr>
        <p:spPr>
          <a:xfrm>
            <a:off x="4217321" y="2126210"/>
            <a:ext cx="1173718" cy="304868"/>
          </a:xfrm>
          <a:prstGeom prst="rect">
            <a:avLst/>
          </a:prstGeom>
          <a:noFill/>
        </p:spPr>
        <p:txBody>
          <a:bodyPr wrap="none" tIns="90000" bIns="90000" rtlCol="0" anchor="t">
            <a:spAutoFit/>
          </a:bodyPr>
          <a:lstStyle/>
          <a:p>
            <a:pPr algn="ctr" defTabSz="457200"/>
            <a:r>
              <a:rPr lang="en-US" sz="8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Name Events (Topic)</a:t>
            </a:r>
          </a:p>
        </p:txBody>
      </p:sp>
      <p:grpSp>
        <p:nvGrpSpPr>
          <p:cNvPr id="241" name="Group 240">
            <a:extLst>
              <a:ext uri="{FF2B5EF4-FFF2-40B4-BE49-F238E27FC236}">
                <a16:creationId xmlns:a16="http://schemas.microsoft.com/office/drawing/2014/main" id="{1BC1CAA9-4450-2742-9725-6E63AF539E94}"/>
              </a:ext>
            </a:extLst>
          </p:cNvPr>
          <p:cNvGrpSpPr/>
          <p:nvPr/>
        </p:nvGrpSpPr>
        <p:grpSpPr>
          <a:xfrm rot="21011211">
            <a:off x="555740" y="4158974"/>
            <a:ext cx="292910" cy="222927"/>
            <a:chOff x="702590" y="1203599"/>
            <a:chExt cx="301686" cy="290724"/>
          </a:xfrm>
        </p:grpSpPr>
        <p:sp>
          <p:nvSpPr>
            <p:cNvPr id="242" name="Google Shape;431;p39">
              <a:extLst>
                <a:ext uri="{FF2B5EF4-FFF2-40B4-BE49-F238E27FC236}">
                  <a16:creationId xmlns:a16="http://schemas.microsoft.com/office/drawing/2014/main" id="{A094EA05-C340-314C-98A7-D8C7C96D3787}"/>
                </a:ext>
              </a:extLst>
            </p:cNvPr>
            <p:cNvSpPr/>
            <p:nvPr/>
          </p:nvSpPr>
          <p:spPr>
            <a:xfrm>
              <a:off x="736556" y="1203599"/>
              <a:ext cx="219241" cy="290724"/>
            </a:xfrm>
            <a:custGeom>
              <a:avLst/>
              <a:gdLst/>
              <a:ahLst/>
              <a:cxnLst/>
              <a:rect l="0" t="0" r="0" b="0"/>
              <a:pathLst>
                <a:path w="67641" h="69056" extrusionOk="0">
                  <a:moveTo>
                    <a:pt x="49622" y="2736"/>
                  </a:moveTo>
                  <a:lnTo>
                    <a:pt x="49622" y="2736"/>
                  </a:lnTo>
                  <a:lnTo>
                    <a:pt x="49622" y="2736"/>
                  </a:lnTo>
                  <a:close/>
                  <a:moveTo>
                    <a:pt x="59622" y="55565"/>
                  </a:moveTo>
                  <a:lnTo>
                    <a:pt x="59622" y="55565"/>
                  </a:lnTo>
                  <a:lnTo>
                    <a:pt x="59622" y="55565"/>
                  </a:lnTo>
                  <a:close/>
                  <a:moveTo>
                    <a:pt x="35471" y="0"/>
                  </a:moveTo>
                  <a:lnTo>
                    <a:pt x="34433" y="95"/>
                  </a:lnTo>
                  <a:lnTo>
                    <a:pt x="33584" y="189"/>
                  </a:lnTo>
                  <a:lnTo>
                    <a:pt x="32735" y="378"/>
                  </a:lnTo>
                  <a:lnTo>
                    <a:pt x="32169" y="566"/>
                  </a:lnTo>
                  <a:lnTo>
                    <a:pt x="31509" y="472"/>
                  </a:lnTo>
                  <a:lnTo>
                    <a:pt x="30754" y="472"/>
                  </a:lnTo>
                  <a:lnTo>
                    <a:pt x="29339" y="566"/>
                  </a:lnTo>
                  <a:lnTo>
                    <a:pt x="27830" y="849"/>
                  </a:lnTo>
                  <a:lnTo>
                    <a:pt x="26320" y="1321"/>
                  </a:lnTo>
                  <a:lnTo>
                    <a:pt x="24811" y="1981"/>
                  </a:lnTo>
                  <a:lnTo>
                    <a:pt x="23207" y="2736"/>
                  </a:lnTo>
                  <a:lnTo>
                    <a:pt x="21698" y="3585"/>
                  </a:lnTo>
                  <a:lnTo>
                    <a:pt x="20188" y="4623"/>
                  </a:lnTo>
                  <a:lnTo>
                    <a:pt x="18679" y="5661"/>
                  </a:lnTo>
                  <a:lnTo>
                    <a:pt x="17170" y="6793"/>
                  </a:lnTo>
                  <a:lnTo>
                    <a:pt x="15754" y="8019"/>
                  </a:lnTo>
                  <a:lnTo>
                    <a:pt x="14434" y="9151"/>
                  </a:lnTo>
                  <a:lnTo>
                    <a:pt x="11981" y="11510"/>
                  </a:lnTo>
                  <a:lnTo>
                    <a:pt x="10000" y="13774"/>
                  </a:lnTo>
                  <a:lnTo>
                    <a:pt x="7736" y="16981"/>
                  </a:lnTo>
                  <a:lnTo>
                    <a:pt x="8019" y="16321"/>
                  </a:lnTo>
                  <a:lnTo>
                    <a:pt x="8302" y="15660"/>
                  </a:lnTo>
                  <a:lnTo>
                    <a:pt x="7736" y="16604"/>
                  </a:lnTo>
                  <a:lnTo>
                    <a:pt x="7075" y="17642"/>
                  </a:lnTo>
                  <a:lnTo>
                    <a:pt x="7170" y="17830"/>
                  </a:lnTo>
                  <a:lnTo>
                    <a:pt x="6509" y="18868"/>
                  </a:lnTo>
                  <a:lnTo>
                    <a:pt x="7075" y="17359"/>
                  </a:lnTo>
                  <a:lnTo>
                    <a:pt x="6132" y="19057"/>
                  </a:lnTo>
                  <a:lnTo>
                    <a:pt x="5189" y="20849"/>
                  </a:lnTo>
                  <a:lnTo>
                    <a:pt x="4434" y="22736"/>
                  </a:lnTo>
                  <a:lnTo>
                    <a:pt x="3679" y="24622"/>
                  </a:lnTo>
                  <a:lnTo>
                    <a:pt x="2453" y="28490"/>
                  </a:lnTo>
                  <a:lnTo>
                    <a:pt x="1321" y="32169"/>
                  </a:lnTo>
                  <a:lnTo>
                    <a:pt x="1509" y="32264"/>
                  </a:lnTo>
                  <a:lnTo>
                    <a:pt x="1604" y="32453"/>
                  </a:lnTo>
                  <a:lnTo>
                    <a:pt x="1604" y="32641"/>
                  </a:lnTo>
                  <a:lnTo>
                    <a:pt x="1509" y="32924"/>
                  </a:lnTo>
                  <a:lnTo>
                    <a:pt x="1226" y="33396"/>
                  </a:lnTo>
                  <a:lnTo>
                    <a:pt x="1038" y="33585"/>
                  </a:lnTo>
                  <a:lnTo>
                    <a:pt x="1038" y="33773"/>
                  </a:lnTo>
                  <a:lnTo>
                    <a:pt x="1038" y="35000"/>
                  </a:lnTo>
                  <a:lnTo>
                    <a:pt x="849" y="36132"/>
                  </a:lnTo>
                  <a:lnTo>
                    <a:pt x="660" y="37358"/>
                  </a:lnTo>
                  <a:lnTo>
                    <a:pt x="472" y="38867"/>
                  </a:lnTo>
                  <a:lnTo>
                    <a:pt x="283" y="38301"/>
                  </a:lnTo>
                  <a:lnTo>
                    <a:pt x="94" y="39811"/>
                  </a:lnTo>
                  <a:lnTo>
                    <a:pt x="0" y="41509"/>
                  </a:lnTo>
                  <a:lnTo>
                    <a:pt x="94" y="43301"/>
                  </a:lnTo>
                  <a:lnTo>
                    <a:pt x="283" y="44056"/>
                  </a:lnTo>
                  <a:lnTo>
                    <a:pt x="472" y="44622"/>
                  </a:lnTo>
                  <a:lnTo>
                    <a:pt x="566" y="45660"/>
                  </a:lnTo>
                  <a:lnTo>
                    <a:pt x="755" y="46792"/>
                  </a:lnTo>
                  <a:lnTo>
                    <a:pt x="1226" y="48962"/>
                  </a:lnTo>
                  <a:lnTo>
                    <a:pt x="1981" y="51037"/>
                  </a:lnTo>
                  <a:lnTo>
                    <a:pt x="2924" y="53112"/>
                  </a:lnTo>
                  <a:lnTo>
                    <a:pt x="4057" y="55094"/>
                  </a:lnTo>
                  <a:lnTo>
                    <a:pt x="5283" y="56980"/>
                  </a:lnTo>
                  <a:lnTo>
                    <a:pt x="6698" y="58678"/>
                  </a:lnTo>
                  <a:lnTo>
                    <a:pt x="8113" y="60282"/>
                  </a:lnTo>
                  <a:lnTo>
                    <a:pt x="9056" y="61131"/>
                  </a:lnTo>
                  <a:lnTo>
                    <a:pt x="10000" y="61980"/>
                  </a:lnTo>
                  <a:lnTo>
                    <a:pt x="11038" y="62829"/>
                  </a:lnTo>
                  <a:lnTo>
                    <a:pt x="12075" y="63584"/>
                  </a:lnTo>
                  <a:lnTo>
                    <a:pt x="14339" y="64905"/>
                  </a:lnTo>
                  <a:lnTo>
                    <a:pt x="16604" y="66131"/>
                  </a:lnTo>
                  <a:lnTo>
                    <a:pt x="19056" y="67169"/>
                  </a:lnTo>
                  <a:lnTo>
                    <a:pt x="21509" y="67923"/>
                  </a:lnTo>
                  <a:lnTo>
                    <a:pt x="24056" y="68584"/>
                  </a:lnTo>
                  <a:lnTo>
                    <a:pt x="26603" y="69055"/>
                  </a:lnTo>
                  <a:lnTo>
                    <a:pt x="27830" y="69055"/>
                  </a:lnTo>
                  <a:lnTo>
                    <a:pt x="30188" y="68867"/>
                  </a:lnTo>
                  <a:lnTo>
                    <a:pt x="33113" y="68678"/>
                  </a:lnTo>
                  <a:lnTo>
                    <a:pt x="36509" y="68301"/>
                  </a:lnTo>
                  <a:lnTo>
                    <a:pt x="39811" y="67923"/>
                  </a:lnTo>
                  <a:lnTo>
                    <a:pt x="42735" y="67452"/>
                  </a:lnTo>
                  <a:lnTo>
                    <a:pt x="44905" y="66980"/>
                  </a:lnTo>
                  <a:lnTo>
                    <a:pt x="45565" y="66791"/>
                  </a:lnTo>
                  <a:lnTo>
                    <a:pt x="45943" y="66508"/>
                  </a:lnTo>
                  <a:lnTo>
                    <a:pt x="47358" y="65942"/>
                  </a:lnTo>
                  <a:lnTo>
                    <a:pt x="48018" y="65565"/>
                  </a:lnTo>
                  <a:lnTo>
                    <a:pt x="48678" y="65188"/>
                  </a:lnTo>
                  <a:lnTo>
                    <a:pt x="47924" y="65471"/>
                  </a:lnTo>
                  <a:lnTo>
                    <a:pt x="51509" y="62924"/>
                  </a:lnTo>
                  <a:lnTo>
                    <a:pt x="53301" y="61508"/>
                  </a:lnTo>
                  <a:lnTo>
                    <a:pt x="55093" y="59905"/>
                  </a:lnTo>
                  <a:lnTo>
                    <a:pt x="55093" y="59905"/>
                  </a:lnTo>
                  <a:lnTo>
                    <a:pt x="54810" y="60376"/>
                  </a:lnTo>
                  <a:lnTo>
                    <a:pt x="54339" y="60754"/>
                  </a:lnTo>
                  <a:lnTo>
                    <a:pt x="55376" y="59999"/>
                  </a:lnTo>
                  <a:lnTo>
                    <a:pt x="56320" y="59056"/>
                  </a:lnTo>
                  <a:lnTo>
                    <a:pt x="57075" y="58395"/>
                  </a:lnTo>
                  <a:lnTo>
                    <a:pt x="57169" y="58207"/>
                  </a:lnTo>
                  <a:lnTo>
                    <a:pt x="57075" y="58207"/>
                  </a:lnTo>
                  <a:lnTo>
                    <a:pt x="57924" y="57546"/>
                  </a:lnTo>
                  <a:lnTo>
                    <a:pt x="58678" y="56697"/>
                  </a:lnTo>
                  <a:lnTo>
                    <a:pt x="59339" y="55754"/>
                  </a:lnTo>
                  <a:lnTo>
                    <a:pt x="59905" y="54905"/>
                  </a:lnTo>
                  <a:lnTo>
                    <a:pt x="59716" y="54999"/>
                  </a:lnTo>
                  <a:lnTo>
                    <a:pt x="59622" y="54999"/>
                  </a:lnTo>
                  <a:lnTo>
                    <a:pt x="59810" y="54622"/>
                  </a:lnTo>
                  <a:lnTo>
                    <a:pt x="59150" y="55565"/>
                  </a:lnTo>
                  <a:lnTo>
                    <a:pt x="59527" y="55094"/>
                  </a:lnTo>
                  <a:lnTo>
                    <a:pt x="59433" y="55377"/>
                  </a:lnTo>
                  <a:lnTo>
                    <a:pt x="58867" y="56037"/>
                  </a:lnTo>
                  <a:lnTo>
                    <a:pt x="59056" y="55660"/>
                  </a:lnTo>
                  <a:lnTo>
                    <a:pt x="59056" y="55660"/>
                  </a:lnTo>
                  <a:lnTo>
                    <a:pt x="58678" y="56037"/>
                  </a:lnTo>
                  <a:lnTo>
                    <a:pt x="59810" y="54339"/>
                  </a:lnTo>
                  <a:lnTo>
                    <a:pt x="60282" y="53490"/>
                  </a:lnTo>
                  <a:lnTo>
                    <a:pt x="60282" y="53301"/>
                  </a:lnTo>
                  <a:lnTo>
                    <a:pt x="60188" y="53395"/>
                  </a:lnTo>
                  <a:lnTo>
                    <a:pt x="60188" y="53395"/>
                  </a:lnTo>
                  <a:lnTo>
                    <a:pt x="60565" y="52924"/>
                  </a:lnTo>
                  <a:lnTo>
                    <a:pt x="61037" y="52452"/>
                  </a:lnTo>
                  <a:lnTo>
                    <a:pt x="61886" y="51509"/>
                  </a:lnTo>
                  <a:lnTo>
                    <a:pt x="61508" y="52452"/>
                  </a:lnTo>
                  <a:lnTo>
                    <a:pt x="60848" y="53584"/>
                  </a:lnTo>
                  <a:lnTo>
                    <a:pt x="59622" y="55565"/>
                  </a:lnTo>
                  <a:lnTo>
                    <a:pt x="60376" y="54528"/>
                  </a:lnTo>
                  <a:lnTo>
                    <a:pt x="60942" y="53678"/>
                  </a:lnTo>
                  <a:lnTo>
                    <a:pt x="61980" y="51792"/>
                  </a:lnTo>
                  <a:lnTo>
                    <a:pt x="61886" y="51886"/>
                  </a:lnTo>
                  <a:lnTo>
                    <a:pt x="61886" y="51697"/>
                  </a:lnTo>
                  <a:lnTo>
                    <a:pt x="62169" y="51037"/>
                  </a:lnTo>
                  <a:lnTo>
                    <a:pt x="62735" y="49999"/>
                  </a:lnTo>
                  <a:lnTo>
                    <a:pt x="61508" y="51603"/>
                  </a:lnTo>
                  <a:lnTo>
                    <a:pt x="61603" y="51037"/>
                  </a:lnTo>
                  <a:lnTo>
                    <a:pt x="61697" y="50377"/>
                  </a:lnTo>
                  <a:lnTo>
                    <a:pt x="62169" y="48962"/>
                  </a:lnTo>
                  <a:lnTo>
                    <a:pt x="62829" y="47358"/>
                  </a:lnTo>
                  <a:lnTo>
                    <a:pt x="63678" y="45565"/>
                  </a:lnTo>
                  <a:lnTo>
                    <a:pt x="65376" y="42169"/>
                  </a:lnTo>
                  <a:lnTo>
                    <a:pt x="66131" y="40660"/>
                  </a:lnTo>
                  <a:lnTo>
                    <a:pt x="66697" y="39339"/>
                  </a:lnTo>
                  <a:lnTo>
                    <a:pt x="66603" y="39528"/>
                  </a:lnTo>
                  <a:lnTo>
                    <a:pt x="66697" y="39056"/>
                  </a:lnTo>
                  <a:lnTo>
                    <a:pt x="66791" y="38962"/>
                  </a:lnTo>
                  <a:lnTo>
                    <a:pt x="66791" y="39056"/>
                  </a:lnTo>
                  <a:lnTo>
                    <a:pt x="66886" y="38584"/>
                  </a:lnTo>
                  <a:lnTo>
                    <a:pt x="66791" y="38867"/>
                  </a:lnTo>
                  <a:lnTo>
                    <a:pt x="66980" y="38207"/>
                  </a:lnTo>
                  <a:lnTo>
                    <a:pt x="67169" y="37264"/>
                  </a:lnTo>
                  <a:lnTo>
                    <a:pt x="67263" y="36415"/>
                  </a:lnTo>
                  <a:lnTo>
                    <a:pt x="67357" y="36509"/>
                  </a:lnTo>
                  <a:lnTo>
                    <a:pt x="67452" y="36509"/>
                  </a:lnTo>
                  <a:lnTo>
                    <a:pt x="67546" y="35943"/>
                  </a:lnTo>
                  <a:lnTo>
                    <a:pt x="67546" y="34811"/>
                  </a:lnTo>
                  <a:lnTo>
                    <a:pt x="67640" y="31037"/>
                  </a:lnTo>
                  <a:lnTo>
                    <a:pt x="67640" y="28490"/>
                  </a:lnTo>
                  <a:lnTo>
                    <a:pt x="67546" y="27736"/>
                  </a:lnTo>
                  <a:lnTo>
                    <a:pt x="67546" y="27547"/>
                  </a:lnTo>
                  <a:lnTo>
                    <a:pt x="67452" y="27547"/>
                  </a:lnTo>
                  <a:lnTo>
                    <a:pt x="67074" y="26792"/>
                  </a:lnTo>
                  <a:lnTo>
                    <a:pt x="66791" y="25660"/>
                  </a:lnTo>
                  <a:lnTo>
                    <a:pt x="66508" y="24528"/>
                  </a:lnTo>
                  <a:lnTo>
                    <a:pt x="66414" y="23585"/>
                  </a:lnTo>
                  <a:lnTo>
                    <a:pt x="66320" y="23679"/>
                  </a:lnTo>
                  <a:lnTo>
                    <a:pt x="66320" y="23490"/>
                  </a:lnTo>
                  <a:lnTo>
                    <a:pt x="65942" y="22924"/>
                  </a:lnTo>
                  <a:lnTo>
                    <a:pt x="65565" y="22358"/>
                  </a:lnTo>
                  <a:lnTo>
                    <a:pt x="64527" y="21132"/>
                  </a:lnTo>
                  <a:lnTo>
                    <a:pt x="63584" y="19906"/>
                  </a:lnTo>
                  <a:lnTo>
                    <a:pt x="63207" y="19340"/>
                  </a:lnTo>
                  <a:lnTo>
                    <a:pt x="63018" y="18774"/>
                  </a:lnTo>
                  <a:lnTo>
                    <a:pt x="63112" y="18962"/>
                  </a:lnTo>
                  <a:lnTo>
                    <a:pt x="63301" y="19057"/>
                  </a:lnTo>
                  <a:lnTo>
                    <a:pt x="63301" y="19057"/>
                  </a:lnTo>
                  <a:lnTo>
                    <a:pt x="63207" y="18868"/>
                  </a:lnTo>
                  <a:lnTo>
                    <a:pt x="62923" y="18491"/>
                  </a:lnTo>
                  <a:lnTo>
                    <a:pt x="61980" y="17453"/>
                  </a:lnTo>
                  <a:lnTo>
                    <a:pt x="61037" y="16509"/>
                  </a:lnTo>
                  <a:lnTo>
                    <a:pt x="61037" y="16698"/>
                  </a:lnTo>
                  <a:lnTo>
                    <a:pt x="61037" y="16887"/>
                  </a:lnTo>
                  <a:lnTo>
                    <a:pt x="60093" y="15943"/>
                  </a:lnTo>
                  <a:lnTo>
                    <a:pt x="60376" y="16321"/>
                  </a:lnTo>
                  <a:lnTo>
                    <a:pt x="59527" y="15377"/>
                  </a:lnTo>
                  <a:lnTo>
                    <a:pt x="59056" y="14906"/>
                  </a:lnTo>
                  <a:lnTo>
                    <a:pt x="59244" y="14906"/>
                  </a:lnTo>
                  <a:lnTo>
                    <a:pt x="59905" y="15472"/>
                  </a:lnTo>
                  <a:lnTo>
                    <a:pt x="59905" y="15472"/>
                  </a:lnTo>
                  <a:lnTo>
                    <a:pt x="57641" y="13396"/>
                  </a:lnTo>
                  <a:lnTo>
                    <a:pt x="58112" y="13868"/>
                  </a:lnTo>
                  <a:lnTo>
                    <a:pt x="56886" y="13019"/>
                  </a:lnTo>
                  <a:lnTo>
                    <a:pt x="55754" y="12453"/>
                  </a:lnTo>
                  <a:lnTo>
                    <a:pt x="56603" y="13113"/>
                  </a:lnTo>
                  <a:lnTo>
                    <a:pt x="57452" y="13774"/>
                  </a:lnTo>
                  <a:lnTo>
                    <a:pt x="58961" y="15283"/>
                  </a:lnTo>
                  <a:lnTo>
                    <a:pt x="60376" y="16604"/>
                  </a:lnTo>
                  <a:lnTo>
                    <a:pt x="61225" y="17264"/>
                  </a:lnTo>
                  <a:lnTo>
                    <a:pt x="62074" y="17925"/>
                  </a:lnTo>
                  <a:lnTo>
                    <a:pt x="62074" y="17925"/>
                  </a:lnTo>
                  <a:lnTo>
                    <a:pt x="61414" y="17547"/>
                  </a:lnTo>
                  <a:lnTo>
                    <a:pt x="60659" y="16981"/>
                  </a:lnTo>
                  <a:lnTo>
                    <a:pt x="60754" y="17264"/>
                  </a:lnTo>
                  <a:lnTo>
                    <a:pt x="60942" y="17642"/>
                  </a:lnTo>
                  <a:lnTo>
                    <a:pt x="61980" y="19151"/>
                  </a:lnTo>
                  <a:lnTo>
                    <a:pt x="63301" y="20943"/>
                  </a:lnTo>
                  <a:lnTo>
                    <a:pt x="63207" y="20943"/>
                  </a:lnTo>
                  <a:lnTo>
                    <a:pt x="63395" y="21038"/>
                  </a:lnTo>
                  <a:lnTo>
                    <a:pt x="63490" y="21321"/>
                  </a:lnTo>
                  <a:lnTo>
                    <a:pt x="63678" y="21604"/>
                  </a:lnTo>
                  <a:lnTo>
                    <a:pt x="63773" y="21698"/>
                  </a:lnTo>
                  <a:lnTo>
                    <a:pt x="63584" y="21321"/>
                  </a:lnTo>
                  <a:lnTo>
                    <a:pt x="63584" y="21321"/>
                  </a:lnTo>
                  <a:lnTo>
                    <a:pt x="64244" y="22170"/>
                  </a:lnTo>
                  <a:lnTo>
                    <a:pt x="64716" y="22641"/>
                  </a:lnTo>
                  <a:lnTo>
                    <a:pt x="64905" y="22830"/>
                  </a:lnTo>
                  <a:lnTo>
                    <a:pt x="64999" y="22830"/>
                  </a:lnTo>
                  <a:lnTo>
                    <a:pt x="64999" y="22641"/>
                  </a:lnTo>
                  <a:lnTo>
                    <a:pt x="64905" y="22358"/>
                  </a:lnTo>
                  <a:lnTo>
                    <a:pt x="65282" y="23207"/>
                  </a:lnTo>
                  <a:lnTo>
                    <a:pt x="65565" y="24056"/>
                  </a:lnTo>
                  <a:lnTo>
                    <a:pt x="66225" y="25943"/>
                  </a:lnTo>
                  <a:lnTo>
                    <a:pt x="66697" y="27830"/>
                  </a:lnTo>
                  <a:lnTo>
                    <a:pt x="66886" y="28490"/>
                  </a:lnTo>
                  <a:lnTo>
                    <a:pt x="66980" y="28868"/>
                  </a:lnTo>
                  <a:lnTo>
                    <a:pt x="66886" y="28962"/>
                  </a:lnTo>
                  <a:lnTo>
                    <a:pt x="66697" y="28679"/>
                  </a:lnTo>
                  <a:lnTo>
                    <a:pt x="66697" y="29245"/>
                  </a:lnTo>
                  <a:lnTo>
                    <a:pt x="66791" y="29905"/>
                  </a:lnTo>
                  <a:lnTo>
                    <a:pt x="66886" y="29905"/>
                  </a:lnTo>
                  <a:lnTo>
                    <a:pt x="66886" y="30094"/>
                  </a:lnTo>
                  <a:lnTo>
                    <a:pt x="66886" y="30566"/>
                  </a:lnTo>
                  <a:lnTo>
                    <a:pt x="66697" y="30377"/>
                  </a:lnTo>
                  <a:lnTo>
                    <a:pt x="66603" y="30188"/>
                  </a:lnTo>
                  <a:lnTo>
                    <a:pt x="66603" y="30094"/>
                  </a:lnTo>
                  <a:lnTo>
                    <a:pt x="66697" y="29905"/>
                  </a:lnTo>
                  <a:lnTo>
                    <a:pt x="66508" y="28679"/>
                  </a:lnTo>
                  <a:lnTo>
                    <a:pt x="66225" y="27358"/>
                  </a:lnTo>
                  <a:lnTo>
                    <a:pt x="66603" y="30283"/>
                  </a:lnTo>
                  <a:lnTo>
                    <a:pt x="66697" y="31792"/>
                  </a:lnTo>
                  <a:lnTo>
                    <a:pt x="66697" y="33302"/>
                  </a:lnTo>
                  <a:lnTo>
                    <a:pt x="66603" y="34717"/>
                  </a:lnTo>
                  <a:lnTo>
                    <a:pt x="66414" y="36226"/>
                  </a:lnTo>
                  <a:lnTo>
                    <a:pt x="66131" y="37547"/>
                  </a:lnTo>
                  <a:lnTo>
                    <a:pt x="65659" y="38962"/>
                  </a:lnTo>
                  <a:lnTo>
                    <a:pt x="65848" y="38584"/>
                  </a:lnTo>
                  <a:lnTo>
                    <a:pt x="65942" y="38584"/>
                  </a:lnTo>
                  <a:lnTo>
                    <a:pt x="65848" y="39245"/>
                  </a:lnTo>
                  <a:lnTo>
                    <a:pt x="65565" y="40188"/>
                  </a:lnTo>
                  <a:lnTo>
                    <a:pt x="65471" y="40471"/>
                  </a:lnTo>
                  <a:lnTo>
                    <a:pt x="65282" y="40660"/>
                  </a:lnTo>
                  <a:lnTo>
                    <a:pt x="65282" y="40566"/>
                  </a:lnTo>
                  <a:lnTo>
                    <a:pt x="65093" y="41132"/>
                  </a:lnTo>
                  <a:lnTo>
                    <a:pt x="64433" y="43018"/>
                  </a:lnTo>
                  <a:lnTo>
                    <a:pt x="63678" y="45282"/>
                  </a:lnTo>
                  <a:lnTo>
                    <a:pt x="62735" y="47264"/>
                  </a:lnTo>
                  <a:lnTo>
                    <a:pt x="61697" y="49056"/>
                  </a:lnTo>
                  <a:lnTo>
                    <a:pt x="60659" y="50943"/>
                  </a:lnTo>
                  <a:lnTo>
                    <a:pt x="59433" y="52735"/>
                  </a:lnTo>
                  <a:lnTo>
                    <a:pt x="58207" y="54433"/>
                  </a:lnTo>
                  <a:lnTo>
                    <a:pt x="56886" y="56037"/>
                  </a:lnTo>
                  <a:lnTo>
                    <a:pt x="55376" y="57641"/>
                  </a:lnTo>
                  <a:lnTo>
                    <a:pt x="53867" y="59150"/>
                  </a:lnTo>
                  <a:lnTo>
                    <a:pt x="52169" y="60376"/>
                  </a:lnTo>
                  <a:lnTo>
                    <a:pt x="48961" y="62452"/>
                  </a:lnTo>
                  <a:lnTo>
                    <a:pt x="44528" y="65282"/>
                  </a:lnTo>
                  <a:lnTo>
                    <a:pt x="44622" y="65188"/>
                  </a:lnTo>
                  <a:lnTo>
                    <a:pt x="44716" y="65093"/>
                  </a:lnTo>
                  <a:lnTo>
                    <a:pt x="45094" y="64810"/>
                  </a:lnTo>
                  <a:lnTo>
                    <a:pt x="45660" y="64527"/>
                  </a:lnTo>
                  <a:lnTo>
                    <a:pt x="43867" y="65376"/>
                  </a:lnTo>
                  <a:lnTo>
                    <a:pt x="43113" y="65754"/>
                  </a:lnTo>
                  <a:lnTo>
                    <a:pt x="42924" y="65754"/>
                  </a:lnTo>
                  <a:lnTo>
                    <a:pt x="43113" y="65659"/>
                  </a:lnTo>
                  <a:lnTo>
                    <a:pt x="41603" y="66037"/>
                  </a:lnTo>
                  <a:lnTo>
                    <a:pt x="39999" y="66320"/>
                  </a:lnTo>
                  <a:lnTo>
                    <a:pt x="38396" y="66508"/>
                  </a:lnTo>
                  <a:lnTo>
                    <a:pt x="36792" y="66697"/>
                  </a:lnTo>
                  <a:lnTo>
                    <a:pt x="33584" y="66980"/>
                  </a:lnTo>
                  <a:lnTo>
                    <a:pt x="32169" y="67169"/>
                  </a:lnTo>
                  <a:lnTo>
                    <a:pt x="30754" y="67357"/>
                  </a:lnTo>
                  <a:lnTo>
                    <a:pt x="30094" y="67357"/>
                  </a:lnTo>
                  <a:lnTo>
                    <a:pt x="29339" y="67263"/>
                  </a:lnTo>
                  <a:lnTo>
                    <a:pt x="27830" y="66886"/>
                  </a:lnTo>
                  <a:lnTo>
                    <a:pt x="26415" y="66508"/>
                  </a:lnTo>
                  <a:lnTo>
                    <a:pt x="25754" y="66414"/>
                  </a:lnTo>
                  <a:lnTo>
                    <a:pt x="25094" y="66414"/>
                  </a:lnTo>
                  <a:lnTo>
                    <a:pt x="25566" y="66980"/>
                  </a:lnTo>
                  <a:lnTo>
                    <a:pt x="25471" y="67074"/>
                  </a:lnTo>
                  <a:lnTo>
                    <a:pt x="25188" y="66980"/>
                  </a:lnTo>
                  <a:lnTo>
                    <a:pt x="24339" y="66791"/>
                  </a:lnTo>
                  <a:lnTo>
                    <a:pt x="23773" y="66508"/>
                  </a:lnTo>
                  <a:lnTo>
                    <a:pt x="24245" y="66414"/>
                  </a:lnTo>
                  <a:lnTo>
                    <a:pt x="24717" y="66603"/>
                  </a:lnTo>
                  <a:lnTo>
                    <a:pt x="24811" y="66414"/>
                  </a:lnTo>
                  <a:lnTo>
                    <a:pt x="24811" y="66320"/>
                  </a:lnTo>
                  <a:lnTo>
                    <a:pt x="24717" y="66225"/>
                  </a:lnTo>
                  <a:lnTo>
                    <a:pt x="24528" y="66131"/>
                  </a:lnTo>
                  <a:lnTo>
                    <a:pt x="24151" y="66225"/>
                  </a:lnTo>
                  <a:lnTo>
                    <a:pt x="23679" y="66320"/>
                  </a:lnTo>
                  <a:lnTo>
                    <a:pt x="23018" y="66414"/>
                  </a:lnTo>
                  <a:lnTo>
                    <a:pt x="23490" y="66225"/>
                  </a:lnTo>
                  <a:lnTo>
                    <a:pt x="22075" y="65942"/>
                  </a:lnTo>
                  <a:lnTo>
                    <a:pt x="20943" y="65659"/>
                  </a:lnTo>
                  <a:lnTo>
                    <a:pt x="20000" y="65282"/>
                  </a:lnTo>
                  <a:lnTo>
                    <a:pt x="19056" y="64810"/>
                  </a:lnTo>
                  <a:lnTo>
                    <a:pt x="19056" y="64810"/>
                  </a:lnTo>
                  <a:lnTo>
                    <a:pt x="19717" y="64999"/>
                  </a:lnTo>
                  <a:lnTo>
                    <a:pt x="19151" y="64716"/>
                  </a:lnTo>
                  <a:lnTo>
                    <a:pt x="18962" y="64810"/>
                  </a:lnTo>
                  <a:lnTo>
                    <a:pt x="19151" y="64905"/>
                  </a:lnTo>
                  <a:lnTo>
                    <a:pt x="18490" y="64905"/>
                  </a:lnTo>
                  <a:lnTo>
                    <a:pt x="17830" y="64716"/>
                  </a:lnTo>
                  <a:lnTo>
                    <a:pt x="17264" y="64527"/>
                  </a:lnTo>
                  <a:lnTo>
                    <a:pt x="16698" y="64150"/>
                  </a:lnTo>
                  <a:lnTo>
                    <a:pt x="16981" y="64056"/>
                  </a:lnTo>
                  <a:lnTo>
                    <a:pt x="17264" y="64150"/>
                  </a:lnTo>
                  <a:lnTo>
                    <a:pt x="17264" y="64150"/>
                  </a:lnTo>
                  <a:lnTo>
                    <a:pt x="15188" y="63207"/>
                  </a:lnTo>
                  <a:lnTo>
                    <a:pt x="14622" y="62829"/>
                  </a:lnTo>
                  <a:lnTo>
                    <a:pt x="14717" y="62924"/>
                  </a:lnTo>
                  <a:lnTo>
                    <a:pt x="13773" y="62546"/>
                  </a:lnTo>
                  <a:lnTo>
                    <a:pt x="12924" y="62075"/>
                  </a:lnTo>
                  <a:lnTo>
                    <a:pt x="12358" y="61697"/>
                  </a:lnTo>
                  <a:lnTo>
                    <a:pt x="12264" y="61508"/>
                  </a:lnTo>
                  <a:lnTo>
                    <a:pt x="12170" y="61320"/>
                  </a:lnTo>
                  <a:lnTo>
                    <a:pt x="11698" y="60942"/>
                  </a:lnTo>
                  <a:lnTo>
                    <a:pt x="11132" y="60471"/>
                  </a:lnTo>
                  <a:lnTo>
                    <a:pt x="9906" y="59244"/>
                  </a:lnTo>
                  <a:lnTo>
                    <a:pt x="9906" y="59244"/>
                  </a:lnTo>
                  <a:lnTo>
                    <a:pt x="10566" y="59527"/>
                  </a:lnTo>
                  <a:lnTo>
                    <a:pt x="9434" y="58584"/>
                  </a:lnTo>
                  <a:lnTo>
                    <a:pt x="8207" y="57546"/>
                  </a:lnTo>
                  <a:lnTo>
                    <a:pt x="7547" y="56886"/>
                  </a:lnTo>
                  <a:lnTo>
                    <a:pt x="6981" y="56131"/>
                  </a:lnTo>
                  <a:lnTo>
                    <a:pt x="6226" y="55094"/>
                  </a:lnTo>
                  <a:lnTo>
                    <a:pt x="6415" y="55377"/>
                  </a:lnTo>
                  <a:lnTo>
                    <a:pt x="6038" y="54905"/>
                  </a:lnTo>
                  <a:lnTo>
                    <a:pt x="5472" y="54244"/>
                  </a:lnTo>
                  <a:lnTo>
                    <a:pt x="5283" y="53961"/>
                  </a:lnTo>
                  <a:lnTo>
                    <a:pt x="5094" y="53867"/>
                  </a:lnTo>
                  <a:lnTo>
                    <a:pt x="5377" y="54622"/>
                  </a:lnTo>
                  <a:lnTo>
                    <a:pt x="5849" y="55282"/>
                  </a:lnTo>
                  <a:lnTo>
                    <a:pt x="6321" y="55943"/>
                  </a:lnTo>
                  <a:lnTo>
                    <a:pt x="6698" y="56603"/>
                  </a:lnTo>
                  <a:lnTo>
                    <a:pt x="6226" y="56226"/>
                  </a:lnTo>
                  <a:lnTo>
                    <a:pt x="5943" y="55848"/>
                  </a:lnTo>
                  <a:lnTo>
                    <a:pt x="6038" y="56037"/>
                  </a:lnTo>
                  <a:lnTo>
                    <a:pt x="5943" y="55943"/>
                  </a:lnTo>
                  <a:lnTo>
                    <a:pt x="5377" y="55188"/>
                  </a:lnTo>
                  <a:lnTo>
                    <a:pt x="5000" y="54716"/>
                  </a:lnTo>
                  <a:lnTo>
                    <a:pt x="4717" y="54150"/>
                  </a:lnTo>
                  <a:lnTo>
                    <a:pt x="4528" y="53678"/>
                  </a:lnTo>
                  <a:lnTo>
                    <a:pt x="4528" y="53584"/>
                  </a:lnTo>
                  <a:lnTo>
                    <a:pt x="4623" y="53395"/>
                  </a:lnTo>
                  <a:lnTo>
                    <a:pt x="5094" y="54244"/>
                  </a:lnTo>
                  <a:lnTo>
                    <a:pt x="4717" y="53301"/>
                  </a:lnTo>
                  <a:lnTo>
                    <a:pt x="4528" y="53018"/>
                  </a:lnTo>
                  <a:lnTo>
                    <a:pt x="4151" y="52263"/>
                  </a:lnTo>
                  <a:lnTo>
                    <a:pt x="4151" y="52169"/>
                  </a:lnTo>
                  <a:lnTo>
                    <a:pt x="3774" y="51509"/>
                  </a:lnTo>
                  <a:lnTo>
                    <a:pt x="3396" y="50660"/>
                  </a:lnTo>
                  <a:lnTo>
                    <a:pt x="3585" y="51603"/>
                  </a:lnTo>
                  <a:lnTo>
                    <a:pt x="3396" y="51226"/>
                  </a:lnTo>
                  <a:lnTo>
                    <a:pt x="3208" y="50848"/>
                  </a:lnTo>
                  <a:lnTo>
                    <a:pt x="3208" y="50471"/>
                  </a:lnTo>
                  <a:lnTo>
                    <a:pt x="3208" y="50094"/>
                  </a:lnTo>
                  <a:lnTo>
                    <a:pt x="3585" y="50754"/>
                  </a:lnTo>
                  <a:lnTo>
                    <a:pt x="3868" y="51509"/>
                  </a:lnTo>
                  <a:lnTo>
                    <a:pt x="3868" y="51509"/>
                  </a:lnTo>
                  <a:lnTo>
                    <a:pt x="3208" y="49528"/>
                  </a:lnTo>
                  <a:lnTo>
                    <a:pt x="3208" y="49528"/>
                  </a:lnTo>
                  <a:lnTo>
                    <a:pt x="3868" y="50754"/>
                  </a:lnTo>
                  <a:lnTo>
                    <a:pt x="3208" y="48962"/>
                  </a:lnTo>
                  <a:lnTo>
                    <a:pt x="3585" y="49339"/>
                  </a:lnTo>
                  <a:lnTo>
                    <a:pt x="3774" y="49433"/>
                  </a:lnTo>
                  <a:lnTo>
                    <a:pt x="3962" y="49528"/>
                  </a:lnTo>
                  <a:lnTo>
                    <a:pt x="4057" y="49905"/>
                  </a:lnTo>
                  <a:lnTo>
                    <a:pt x="3868" y="48962"/>
                  </a:lnTo>
                  <a:lnTo>
                    <a:pt x="3491" y="47924"/>
                  </a:lnTo>
                  <a:lnTo>
                    <a:pt x="2641" y="45565"/>
                  </a:lnTo>
                  <a:lnTo>
                    <a:pt x="2170" y="43867"/>
                  </a:lnTo>
                  <a:lnTo>
                    <a:pt x="1698" y="41886"/>
                  </a:lnTo>
                  <a:lnTo>
                    <a:pt x="1698" y="41886"/>
                  </a:lnTo>
                  <a:lnTo>
                    <a:pt x="1887" y="42075"/>
                  </a:lnTo>
                  <a:lnTo>
                    <a:pt x="1981" y="41981"/>
                  </a:lnTo>
                  <a:lnTo>
                    <a:pt x="2075" y="42075"/>
                  </a:lnTo>
                  <a:lnTo>
                    <a:pt x="2264" y="42169"/>
                  </a:lnTo>
                  <a:lnTo>
                    <a:pt x="2170" y="40283"/>
                  </a:lnTo>
                  <a:lnTo>
                    <a:pt x="2075" y="38301"/>
                  </a:lnTo>
                  <a:lnTo>
                    <a:pt x="2170" y="36415"/>
                  </a:lnTo>
                  <a:lnTo>
                    <a:pt x="2358" y="35566"/>
                  </a:lnTo>
                  <a:lnTo>
                    <a:pt x="2453" y="34811"/>
                  </a:lnTo>
                  <a:lnTo>
                    <a:pt x="2830" y="32830"/>
                  </a:lnTo>
                  <a:lnTo>
                    <a:pt x="2830" y="33207"/>
                  </a:lnTo>
                  <a:lnTo>
                    <a:pt x="2924" y="33490"/>
                  </a:lnTo>
                  <a:lnTo>
                    <a:pt x="2924" y="32453"/>
                  </a:lnTo>
                  <a:lnTo>
                    <a:pt x="3019" y="31415"/>
                  </a:lnTo>
                  <a:lnTo>
                    <a:pt x="3396" y="29245"/>
                  </a:lnTo>
                  <a:lnTo>
                    <a:pt x="3868" y="27075"/>
                  </a:lnTo>
                  <a:lnTo>
                    <a:pt x="4623" y="25000"/>
                  </a:lnTo>
                  <a:lnTo>
                    <a:pt x="5566" y="22830"/>
                  </a:lnTo>
                  <a:lnTo>
                    <a:pt x="6604" y="20849"/>
                  </a:lnTo>
                  <a:lnTo>
                    <a:pt x="7830" y="18868"/>
                  </a:lnTo>
                  <a:lnTo>
                    <a:pt x="9151" y="16887"/>
                  </a:lnTo>
                  <a:lnTo>
                    <a:pt x="10566" y="15094"/>
                  </a:lnTo>
                  <a:lnTo>
                    <a:pt x="12075" y="13302"/>
                  </a:lnTo>
                  <a:lnTo>
                    <a:pt x="13773" y="11698"/>
                  </a:lnTo>
                  <a:lnTo>
                    <a:pt x="15377" y="10095"/>
                  </a:lnTo>
                  <a:lnTo>
                    <a:pt x="17170" y="8679"/>
                  </a:lnTo>
                  <a:lnTo>
                    <a:pt x="18962" y="7453"/>
                  </a:lnTo>
                  <a:lnTo>
                    <a:pt x="20754" y="6321"/>
                  </a:lnTo>
                  <a:lnTo>
                    <a:pt x="22547" y="5378"/>
                  </a:lnTo>
                  <a:lnTo>
                    <a:pt x="21603" y="6227"/>
                  </a:lnTo>
                  <a:lnTo>
                    <a:pt x="22641" y="5472"/>
                  </a:lnTo>
                  <a:lnTo>
                    <a:pt x="23302" y="5095"/>
                  </a:lnTo>
                  <a:lnTo>
                    <a:pt x="25377" y="4151"/>
                  </a:lnTo>
                  <a:lnTo>
                    <a:pt x="24811" y="4151"/>
                  </a:lnTo>
                  <a:lnTo>
                    <a:pt x="25660" y="3774"/>
                  </a:lnTo>
                  <a:lnTo>
                    <a:pt x="26886" y="3208"/>
                  </a:lnTo>
                  <a:lnTo>
                    <a:pt x="26603" y="3585"/>
                  </a:lnTo>
                  <a:lnTo>
                    <a:pt x="26886" y="3585"/>
                  </a:lnTo>
                  <a:lnTo>
                    <a:pt x="26886" y="3680"/>
                  </a:lnTo>
                  <a:lnTo>
                    <a:pt x="26792" y="3774"/>
                  </a:lnTo>
                  <a:lnTo>
                    <a:pt x="28301" y="3302"/>
                  </a:lnTo>
                  <a:lnTo>
                    <a:pt x="29622" y="2736"/>
                  </a:lnTo>
                  <a:lnTo>
                    <a:pt x="31037" y="2264"/>
                  </a:lnTo>
                  <a:lnTo>
                    <a:pt x="31792" y="2076"/>
                  </a:lnTo>
                  <a:lnTo>
                    <a:pt x="32641" y="1981"/>
                  </a:lnTo>
                  <a:lnTo>
                    <a:pt x="32547" y="2076"/>
                  </a:lnTo>
                  <a:lnTo>
                    <a:pt x="32924" y="1981"/>
                  </a:lnTo>
                  <a:lnTo>
                    <a:pt x="34245" y="1793"/>
                  </a:lnTo>
                  <a:lnTo>
                    <a:pt x="35848" y="1415"/>
                  </a:lnTo>
                  <a:lnTo>
                    <a:pt x="36981" y="1132"/>
                  </a:lnTo>
                  <a:lnTo>
                    <a:pt x="36981" y="1415"/>
                  </a:lnTo>
                  <a:lnTo>
                    <a:pt x="40943" y="1227"/>
                  </a:lnTo>
                  <a:lnTo>
                    <a:pt x="41509" y="1038"/>
                  </a:lnTo>
                  <a:lnTo>
                    <a:pt x="41697" y="1132"/>
                  </a:lnTo>
                  <a:lnTo>
                    <a:pt x="41509" y="1227"/>
                  </a:lnTo>
                  <a:lnTo>
                    <a:pt x="41320" y="1321"/>
                  </a:lnTo>
                  <a:lnTo>
                    <a:pt x="42263" y="1321"/>
                  </a:lnTo>
                  <a:lnTo>
                    <a:pt x="43113" y="1227"/>
                  </a:lnTo>
                  <a:lnTo>
                    <a:pt x="43396" y="1415"/>
                  </a:lnTo>
                  <a:lnTo>
                    <a:pt x="44056" y="1604"/>
                  </a:lnTo>
                  <a:lnTo>
                    <a:pt x="45943" y="2076"/>
                  </a:lnTo>
                  <a:lnTo>
                    <a:pt x="48018" y="2359"/>
                  </a:lnTo>
                  <a:lnTo>
                    <a:pt x="49622" y="2736"/>
                  </a:lnTo>
                  <a:lnTo>
                    <a:pt x="47641" y="1981"/>
                  </a:lnTo>
                  <a:lnTo>
                    <a:pt x="45282" y="1321"/>
                  </a:lnTo>
                  <a:lnTo>
                    <a:pt x="42735" y="755"/>
                  </a:lnTo>
                  <a:lnTo>
                    <a:pt x="40188" y="283"/>
                  </a:lnTo>
                  <a:lnTo>
                    <a:pt x="37735" y="95"/>
                  </a:lnTo>
                  <a:lnTo>
                    <a:pt x="35471" y="0"/>
                  </a:lnTo>
                  <a:close/>
                </a:path>
              </a:pathLst>
            </a:custGeom>
            <a:solidFill>
              <a:srgbClr val="FF0000"/>
            </a:solidFill>
            <a:ln>
              <a:noFill/>
            </a:ln>
          </p:spPr>
          <p:txBody>
            <a:bodyPr spcFirstLastPara="1" wrap="square" lIns="91425" tIns="91425" rIns="91425" bIns="91425" anchor="ctr" anchorCtr="0">
              <a:noAutofit/>
            </a:bodyPr>
            <a:lstStyle/>
            <a:p>
              <a:pPr marL="0" lvl="0" indent="0">
                <a:spcBef>
                  <a:spcPts val="0"/>
                </a:spcBef>
                <a:spcAft>
                  <a:spcPts val="0"/>
                </a:spcAft>
                <a:buNone/>
              </a:pPr>
              <a:endParaRPr sz="800">
                <a:latin typeface="Comic Sans MS" panose="030F0902030302020204" pitchFamily="66" charset="0"/>
              </a:endParaRPr>
            </a:p>
          </p:txBody>
        </p:sp>
        <p:sp>
          <p:nvSpPr>
            <p:cNvPr id="243" name="TextBox 242">
              <a:extLst>
                <a:ext uri="{FF2B5EF4-FFF2-40B4-BE49-F238E27FC236}">
                  <a16:creationId xmlns:a16="http://schemas.microsoft.com/office/drawing/2014/main" id="{26A9AD0C-1B13-5547-A164-5586CD798A7E}"/>
                </a:ext>
              </a:extLst>
            </p:cNvPr>
            <p:cNvSpPr txBox="1"/>
            <p:nvPr/>
          </p:nvSpPr>
          <p:spPr>
            <a:xfrm>
              <a:off x="702590" y="1244892"/>
              <a:ext cx="301686" cy="180620"/>
            </a:xfrm>
            <a:prstGeom prst="rect">
              <a:avLst/>
            </a:prstGeom>
            <a:noFill/>
          </p:spPr>
          <p:txBody>
            <a:bodyPr wrap="square" rtlCol="0">
              <a:spAutoFit/>
            </a:bodyPr>
            <a:lstStyle/>
            <a:p>
              <a:r>
                <a:rPr lang="en-US" sz="300" dirty="0">
                  <a:solidFill>
                    <a:srgbClr val="FF0000"/>
                  </a:solidFill>
                  <a:latin typeface="Comic Sans MS" panose="030F0902030302020204" pitchFamily="66" charset="0"/>
                </a:rPr>
                <a:t>6.</a:t>
              </a:r>
            </a:p>
          </p:txBody>
        </p:sp>
      </p:grpSp>
      <p:sp>
        <p:nvSpPr>
          <p:cNvPr id="244" name="Rounded Rectangle 243">
            <a:extLst>
              <a:ext uri="{FF2B5EF4-FFF2-40B4-BE49-F238E27FC236}">
                <a16:creationId xmlns:a16="http://schemas.microsoft.com/office/drawing/2014/main" id="{FCE1C222-0F03-1F45-8F2F-76627A0DED0D}"/>
              </a:ext>
            </a:extLst>
          </p:cNvPr>
          <p:cNvSpPr/>
          <p:nvPr/>
        </p:nvSpPr>
        <p:spPr>
          <a:xfrm>
            <a:off x="570773" y="4619767"/>
            <a:ext cx="1182630" cy="404659"/>
          </a:xfrm>
          <a:prstGeom prst="roundRect">
            <a:avLst/>
          </a:prstGeom>
          <a:solidFill>
            <a:schemeClr val="bg1">
              <a:lumMod val="85000"/>
            </a:schemeClr>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b="1" dirty="0">
              <a:solidFill>
                <a:schemeClr val="bg1">
                  <a:lumMod val="50000"/>
                </a:schemeClr>
              </a:solidFill>
              <a:latin typeface="Comic Sans MS" panose="030F0902030302020204" pitchFamily="66" charset="0"/>
              <a:ea typeface="Nanum Pen Script" panose="03040600000000000000" pitchFamily="66" charset="-127"/>
            </a:endParaRPr>
          </a:p>
          <a:p>
            <a:pPr algn="ctr"/>
            <a:endParaRPr lang="en-US" sz="800" b="1" dirty="0">
              <a:solidFill>
                <a:schemeClr val="bg1">
                  <a:lumMod val="50000"/>
                </a:schemeClr>
              </a:solidFill>
              <a:latin typeface="Comic Sans MS" panose="030F0902030302020204" pitchFamily="66" charset="0"/>
              <a:ea typeface="Nanum Pen Script" panose="03040600000000000000" pitchFamily="66" charset="-127"/>
            </a:endParaRPr>
          </a:p>
          <a:p>
            <a:pPr algn="ctr"/>
            <a:endParaRPr lang="en-US" sz="800" b="1" dirty="0">
              <a:solidFill>
                <a:schemeClr val="bg1">
                  <a:lumMod val="50000"/>
                </a:schemeClr>
              </a:solidFill>
              <a:latin typeface="Comic Sans MS" panose="030F0902030302020204" pitchFamily="66" charset="0"/>
              <a:ea typeface="Nanum Pen Script" panose="03040600000000000000" pitchFamily="66" charset="-127"/>
            </a:endParaRPr>
          </a:p>
          <a:p>
            <a:pPr algn="ctr"/>
            <a:endParaRPr lang="en-US" sz="800" b="1" dirty="0">
              <a:solidFill>
                <a:schemeClr val="bg1">
                  <a:lumMod val="50000"/>
                </a:schemeClr>
              </a:solidFill>
              <a:latin typeface="Comic Sans MS" panose="030F0902030302020204" pitchFamily="66" charset="0"/>
              <a:ea typeface="Nanum Pen Script" panose="03040600000000000000" pitchFamily="66" charset="-127"/>
            </a:endParaRPr>
          </a:p>
          <a:p>
            <a:pPr algn="ctr"/>
            <a:endParaRPr lang="en-US" sz="700" b="1" dirty="0">
              <a:solidFill>
                <a:schemeClr val="bg1">
                  <a:lumMod val="50000"/>
                </a:schemeClr>
              </a:solidFill>
              <a:latin typeface="Comic Sans MS" panose="030F0902030302020204" pitchFamily="66" charset="0"/>
              <a:ea typeface="Nanum Pen Script" panose="03040600000000000000" pitchFamily="66" charset="-127"/>
            </a:endParaRPr>
          </a:p>
          <a:p>
            <a:pPr algn="ctr"/>
            <a:endParaRPr lang="en-US" sz="700" b="1" dirty="0">
              <a:solidFill>
                <a:schemeClr val="bg1">
                  <a:lumMod val="50000"/>
                </a:schemeClr>
              </a:solidFill>
              <a:latin typeface="Comic Sans MS" panose="030F0902030302020204" pitchFamily="66" charset="0"/>
              <a:ea typeface="Nanum Pen Script" panose="03040600000000000000" pitchFamily="66" charset="-127"/>
            </a:endParaRPr>
          </a:p>
          <a:p>
            <a:pPr algn="ctr">
              <a:spcBef>
                <a:spcPts val="0"/>
              </a:spcBef>
            </a:pPr>
            <a:r>
              <a:rPr lang="en-US" sz="7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OLAP</a:t>
            </a:r>
          </a:p>
          <a:p>
            <a:pPr algn="ctr">
              <a:spcBef>
                <a:spcPts val="0"/>
              </a:spcBef>
            </a:pPr>
            <a:endParaRPr lang="en-US" sz="1600" dirty="0">
              <a:solidFill>
                <a:schemeClr val="tx1"/>
              </a:solidFill>
              <a:latin typeface="Comic Sans MS" panose="030F0902030302020204" pitchFamily="66" charset="0"/>
              <a:ea typeface="Nanum Pen Script" panose="03040600000000000000" pitchFamily="66" charset="-127"/>
            </a:endParaRPr>
          </a:p>
          <a:p>
            <a:pPr algn="ctr"/>
            <a:endParaRPr lang="en-US" sz="1600" dirty="0">
              <a:solidFill>
                <a:schemeClr val="tx1"/>
              </a:solidFill>
              <a:latin typeface="Comic Sans MS" panose="030F0902030302020204" pitchFamily="66" charset="0"/>
              <a:ea typeface="Nanum Pen Script" panose="03040600000000000000" pitchFamily="66" charset="-127"/>
            </a:endParaRPr>
          </a:p>
        </p:txBody>
      </p:sp>
      <p:cxnSp>
        <p:nvCxnSpPr>
          <p:cNvPr id="252" name="Elbow Connector 251">
            <a:extLst>
              <a:ext uri="{FF2B5EF4-FFF2-40B4-BE49-F238E27FC236}">
                <a16:creationId xmlns:a16="http://schemas.microsoft.com/office/drawing/2014/main" id="{731586C8-3F39-1E4D-ACC3-234A069BC03C}"/>
              </a:ext>
            </a:extLst>
          </p:cNvPr>
          <p:cNvCxnSpPr>
            <a:cxnSpLocks/>
            <a:stCxn id="244" idx="3"/>
            <a:endCxn id="58" idx="1"/>
          </p:cNvCxnSpPr>
          <p:nvPr/>
        </p:nvCxnSpPr>
        <p:spPr>
          <a:xfrm flipV="1">
            <a:off x="1753403" y="3543338"/>
            <a:ext cx="464176" cy="1278759"/>
          </a:xfrm>
          <a:prstGeom prst="bentConnector3">
            <a:avLst>
              <a:gd name="adj1" fmla="val 50000"/>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289" name="Rounded Rectangle 288">
            <a:extLst>
              <a:ext uri="{FF2B5EF4-FFF2-40B4-BE49-F238E27FC236}">
                <a16:creationId xmlns:a16="http://schemas.microsoft.com/office/drawing/2014/main" id="{D33FE78E-8A05-2A4E-8B04-79EE37254AAF}"/>
              </a:ext>
            </a:extLst>
          </p:cNvPr>
          <p:cNvSpPr/>
          <p:nvPr/>
        </p:nvSpPr>
        <p:spPr>
          <a:xfrm>
            <a:off x="7236590" y="1769267"/>
            <a:ext cx="1440160" cy="504056"/>
          </a:xfrm>
          <a:prstGeom prst="roundRect">
            <a:avLst/>
          </a:prstGeom>
          <a:solidFill>
            <a:schemeClr val="bg1">
              <a:lumMod val="85000"/>
            </a:schemeClr>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sz="800" b="1" dirty="0">
              <a:solidFill>
                <a:schemeClr val="bg1">
                  <a:lumMod val="50000"/>
                </a:schemeClr>
              </a:solidFill>
              <a:latin typeface="Comic Sans MS" panose="030F0902030302020204" pitchFamily="66" charset="0"/>
              <a:ea typeface="Nanum Pen Script" panose="03040600000000000000" pitchFamily="66" charset="-127"/>
            </a:endParaRPr>
          </a:p>
          <a:p>
            <a:pPr algn="r"/>
            <a:endParaRPr lang="en-US" sz="800" b="1" dirty="0">
              <a:solidFill>
                <a:schemeClr val="bg1">
                  <a:lumMod val="50000"/>
                </a:schemeClr>
              </a:solidFill>
              <a:latin typeface="Comic Sans MS" panose="030F0902030302020204" pitchFamily="66" charset="0"/>
              <a:ea typeface="Nanum Pen Script" panose="03040600000000000000" pitchFamily="66" charset="-127"/>
            </a:endParaRPr>
          </a:p>
          <a:p>
            <a:pPr algn="r"/>
            <a:endParaRPr lang="en-US" sz="800" b="1" dirty="0">
              <a:solidFill>
                <a:schemeClr val="bg1">
                  <a:lumMod val="50000"/>
                </a:schemeClr>
              </a:solidFill>
              <a:latin typeface="Comic Sans MS" panose="030F0902030302020204" pitchFamily="66" charset="0"/>
              <a:ea typeface="Nanum Pen Script" panose="03040600000000000000" pitchFamily="66" charset="-127"/>
            </a:endParaRPr>
          </a:p>
          <a:p>
            <a:pPr algn="r"/>
            <a:endParaRPr lang="en-US" sz="800" b="1" dirty="0">
              <a:solidFill>
                <a:schemeClr val="bg1">
                  <a:lumMod val="50000"/>
                </a:schemeClr>
              </a:solidFill>
              <a:latin typeface="Comic Sans MS" panose="030F0902030302020204" pitchFamily="66" charset="0"/>
              <a:ea typeface="Nanum Pen Script" panose="03040600000000000000" pitchFamily="66" charset="-127"/>
            </a:endParaRPr>
          </a:p>
          <a:p>
            <a:pPr algn="r"/>
            <a:endParaRPr lang="en-US" sz="700" b="1" dirty="0">
              <a:solidFill>
                <a:schemeClr val="bg1">
                  <a:lumMod val="50000"/>
                </a:schemeClr>
              </a:solidFill>
              <a:latin typeface="Comic Sans MS" panose="030F0902030302020204" pitchFamily="66" charset="0"/>
              <a:ea typeface="Nanum Pen Script" panose="03040600000000000000" pitchFamily="66" charset="-127"/>
            </a:endParaRPr>
          </a:p>
          <a:p>
            <a:pPr algn="r"/>
            <a:endParaRPr lang="en-US" sz="700" b="1" dirty="0">
              <a:solidFill>
                <a:schemeClr val="bg1">
                  <a:lumMod val="50000"/>
                </a:schemeClr>
              </a:solidFill>
              <a:latin typeface="Comic Sans MS" panose="030F0902030302020204" pitchFamily="66" charset="0"/>
              <a:ea typeface="Nanum Pen Script" panose="03040600000000000000" pitchFamily="66" charset="-127"/>
            </a:endParaRPr>
          </a:p>
          <a:p>
            <a:pPr algn="r"/>
            <a:r>
              <a:rPr lang="en-US" sz="700" b="1" dirty="0">
                <a:solidFill>
                  <a:schemeClr val="bg1">
                    <a:lumMod val="50000"/>
                  </a:schemeClr>
                </a:solidFill>
                <a:latin typeface="Comic Sans MS" panose="030F0902030302020204" pitchFamily="66" charset="0"/>
                <a:ea typeface="Nanum Pen Script" panose="03040600000000000000" pitchFamily="66" charset="-127"/>
              </a:rPr>
              <a:t>Job Stream</a:t>
            </a:r>
          </a:p>
          <a:p>
            <a:pPr algn="r"/>
            <a:endParaRPr lang="en-US" sz="700" b="1" dirty="0">
              <a:solidFill>
                <a:schemeClr val="bg1">
                  <a:lumMod val="50000"/>
                </a:schemeClr>
              </a:solidFill>
              <a:latin typeface="Comic Sans MS" panose="030F0902030302020204" pitchFamily="66" charset="0"/>
              <a:ea typeface="Nanum Pen Script" panose="03040600000000000000" pitchFamily="66" charset="-127"/>
            </a:endParaRPr>
          </a:p>
          <a:p>
            <a:pPr algn="r"/>
            <a:endParaRPr lang="en-US" sz="700" b="1" dirty="0">
              <a:solidFill>
                <a:schemeClr val="bg1">
                  <a:lumMod val="50000"/>
                </a:schemeClr>
              </a:solidFill>
              <a:latin typeface="Comic Sans MS" panose="030F0902030302020204" pitchFamily="66" charset="0"/>
              <a:ea typeface="Nanum Pen Script" panose="03040600000000000000" pitchFamily="66" charset="-127"/>
            </a:endParaRPr>
          </a:p>
          <a:p>
            <a:pPr algn="r"/>
            <a:endParaRPr lang="en-US" sz="700" b="1" dirty="0">
              <a:solidFill>
                <a:schemeClr val="bg1">
                  <a:lumMod val="50000"/>
                </a:schemeClr>
              </a:solidFill>
              <a:latin typeface="Comic Sans MS" panose="030F0902030302020204" pitchFamily="66" charset="0"/>
              <a:ea typeface="Nanum Pen Script" panose="03040600000000000000" pitchFamily="66" charset="-127"/>
            </a:endParaRPr>
          </a:p>
          <a:p>
            <a:pPr algn="r"/>
            <a:endParaRPr lang="en-US" sz="700" b="1" dirty="0">
              <a:solidFill>
                <a:schemeClr val="bg1">
                  <a:lumMod val="50000"/>
                </a:schemeClr>
              </a:solidFill>
              <a:latin typeface="Comic Sans MS" panose="030F0902030302020204" pitchFamily="66" charset="0"/>
              <a:ea typeface="Nanum Pen Script" panose="03040600000000000000" pitchFamily="66" charset="-127"/>
            </a:endParaRPr>
          </a:p>
          <a:p>
            <a:pPr algn="r"/>
            <a:endParaRPr lang="en-US" sz="1600" dirty="0">
              <a:solidFill>
                <a:schemeClr val="tx1"/>
              </a:solidFill>
              <a:latin typeface="Comic Sans MS" panose="030F0902030302020204" pitchFamily="66" charset="0"/>
              <a:ea typeface="Nanum Pen Script" panose="03040600000000000000" pitchFamily="66" charset="-127"/>
            </a:endParaRPr>
          </a:p>
          <a:p>
            <a:pPr algn="r"/>
            <a:endParaRPr lang="en-US" sz="1600" dirty="0">
              <a:solidFill>
                <a:schemeClr val="tx1"/>
              </a:solidFill>
              <a:latin typeface="Comic Sans MS" panose="030F0902030302020204" pitchFamily="66" charset="0"/>
              <a:ea typeface="Nanum Pen Script" panose="03040600000000000000" pitchFamily="66" charset="-127"/>
            </a:endParaRPr>
          </a:p>
        </p:txBody>
      </p:sp>
      <p:sp>
        <p:nvSpPr>
          <p:cNvPr id="290" name="Rounded Rectangle 289">
            <a:extLst>
              <a:ext uri="{FF2B5EF4-FFF2-40B4-BE49-F238E27FC236}">
                <a16:creationId xmlns:a16="http://schemas.microsoft.com/office/drawing/2014/main" id="{986C650B-1D9A-C74D-98F3-3DE3CB8FEAA6}"/>
              </a:ext>
            </a:extLst>
          </p:cNvPr>
          <p:cNvSpPr/>
          <p:nvPr/>
        </p:nvSpPr>
        <p:spPr>
          <a:xfrm>
            <a:off x="7240490" y="2443760"/>
            <a:ext cx="1440160" cy="504056"/>
          </a:xfrm>
          <a:prstGeom prst="roundRect">
            <a:avLst/>
          </a:prstGeom>
          <a:solidFill>
            <a:schemeClr val="bg1">
              <a:lumMod val="85000"/>
            </a:schemeClr>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sz="800" b="1" dirty="0">
              <a:solidFill>
                <a:schemeClr val="bg1">
                  <a:lumMod val="50000"/>
                </a:schemeClr>
              </a:solidFill>
              <a:latin typeface="Comic Sans MS" panose="030F0902030302020204" pitchFamily="66" charset="0"/>
              <a:ea typeface="Nanum Pen Script" panose="03040600000000000000" pitchFamily="66" charset="-127"/>
            </a:endParaRPr>
          </a:p>
          <a:p>
            <a:pPr algn="r"/>
            <a:endParaRPr lang="en-US" sz="800" b="1" dirty="0">
              <a:solidFill>
                <a:schemeClr val="bg1">
                  <a:lumMod val="50000"/>
                </a:schemeClr>
              </a:solidFill>
              <a:latin typeface="Comic Sans MS" panose="030F0902030302020204" pitchFamily="66" charset="0"/>
              <a:ea typeface="Nanum Pen Script" panose="03040600000000000000" pitchFamily="66" charset="-127"/>
            </a:endParaRPr>
          </a:p>
          <a:p>
            <a:pPr algn="r"/>
            <a:endParaRPr lang="en-US" sz="800" b="1" dirty="0">
              <a:solidFill>
                <a:schemeClr val="bg1">
                  <a:lumMod val="50000"/>
                </a:schemeClr>
              </a:solidFill>
              <a:latin typeface="Comic Sans MS" panose="030F0902030302020204" pitchFamily="66" charset="0"/>
              <a:ea typeface="Nanum Pen Script" panose="03040600000000000000" pitchFamily="66" charset="-127"/>
            </a:endParaRPr>
          </a:p>
          <a:p>
            <a:pPr algn="r"/>
            <a:endParaRPr lang="en-US" sz="800" b="1" dirty="0">
              <a:solidFill>
                <a:schemeClr val="bg1">
                  <a:lumMod val="50000"/>
                </a:schemeClr>
              </a:solidFill>
              <a:latin typeface="Comic Sans MS" panose="030F0902030302020204" pitchFamily="66" charset="0"/>
              <a:ea typeface="Nanum Pen Script" panose="03040600000000000000" pitchFamily="66" charset="-127"/>
            </a:endParaRPr>
          </a:p>
          <a:p>
            <a:pPr algn="r"/>
            <a:endParaRPr lang="en-US" sz="700" b="1" dirty="0">
              <a:solidFill>
                <a:schemeClr val="bg1">
                  <a:lumMod val="50000"/>
                </a:schemeClr>
              </a:solidFill>
              <a:latin typeface="Comic Sans MS" panose="030F0902030302020204" pitchFamily="66" charset="0"/>
              <a:ea typeface="Nanum Pen Script" panose="03040600000000000000" pitchFamily="66" charset="-127"/>
            </a:endParaRPr>
          </a:p>
          <a:p>
            <a:pPr algn="r"/>
            <a:r>
              <a:rPr lang="en-US" sz="700" b="1" dirty="0">
                <a:solidFill>
                  <a:schemeClr val="bg1">
                    <a:lumMod val="50000"/>
                  </a:schemeClr>
                </a:solidFill>
                <a:latin typeface="Comic Sans MS" panose="030F0902030302020204" pitchFamily="66" charset="0"/>
                <a:ea typeface="Nanum Pen Script" panose="03040600000000000000" pitchFamily="66" charset="-127"/>
              </a:rPr>
              <a:t>Kafka Steam / SQ</a:t>
            </a:r>
          </a:p>
          <a:p>
            <a:pPr algn="r"/>
            <a:endParaRPr lang="en-US" sz="700" b="1" dirty="0">
              <a:solidFill>
                <a:schemeClr val="bg1">
                  <a:lumMod val="50000"/>
                </a:schemeClr>
              </a:solidFill>
              <a:latin typeface="Comic Sans MS" panose="030F0902030302020204" pitchFamily="66" charset="0"/>
              <a:ea typeface="Nanum Pen Script" panose="03040600000000000000" pitchFamily="66" charset="-127"/>
            </a:endParaRPr>
          </a:p>
          <a:p>
            <a:pPr algn="r"/>
            <a:r>
              <a:rPr lang="en-US" sz="700" b="1" dirty="0">
                <a:solidFill>
                  <a:schemeClr val="bg1">
                    <a:lumMod val="50000"/>
                  </a:schemeClr>
                </a:solidFill>
                <a:latin typeface="Comic Sans MS" panose="030F0902030302020204" pitchFamily="66" charset="0"/>
                <a:ea typeface="Nanum Pen Script" panose="03040600000000000000" pitchFamily="66" charset="-127"/>
              </a:rPr>
              <a:t>L</a:t>
            </a:r>
          </a:p>
          <a:p>
            <a:pPr algn="r"/>
            <a:endParaRPr lang="en-US" sz="700" b="1" dirty="0">
              <a:solidFill>
                <a:schemeClr val="bg1">
                  <a:lumMod val="50000"/>
                </a:schemeClr>
              </a:solidFill>
              <a:latin typeface="Comic Sans MS" panose="030F0902030302020204" pitchFamily="66" charset="0"/>
              <a:ea typeface="Nanum Pen Script" panose="03040600000000000000" pitchFamily="66" charset="-127"/>
            </a:endParaRPr>
          </a:p>
          <a:p>
            <a:pPr algn="r"/>
            <a:endParaRPr lang="en-US" sz="1600" dirty="0">
              <a:solidFill>
                <a:schemeClr val="tx1"/>
              </a:solidFill>
              <a:latin typeface="Comic Sans MS" panose="030F0902030302020204" pitchFamily="66" charset="0"/>
              <a:ea typeface="Nanum Pen Script" panose="03040600000000000000" pitchFamily="66" charset="-127"/>
            </a:endParaRPr>
          </a:p>
          <a:p>
            <a:pPr algn="r"/>
            <a:endParaRPr lang="en-US" sz="1600" dirty="0">
              <a:solidFill>
                <a:schemeClr val="tx1"/>
              </a:solidFill>
              <a:latin typeface="Comic Sans MS" panose="030F0902030302020204" pitchFamily="66" charset="0"/>
              <a:ea typeface="Nanum Pen Script" panose="03040600000000000000" pitchFamily="66" charset="-127"/>
            </a:endParaRPr>
          </a:p>
        </p:txBody>
      </p:sp>
      <p:sp>
        <p:nvSpPr>
          <p:cNvPr id="291" name="Rounded Rectangle 290">
            <a:extLst>
              <a:ext uri="{FF2B5EF4-FFF2-40B4-BE49-F238E27FC236}">
                <a16:creationId xmlns:a16="http://schemas.microsoft.com/office/drawing/2014/main" id="{EDD25CCB-2F13-064C-957F-5AE346442E7D}"/>
              </a:ext>
            </a:extLst>
          </p:cNvPr>
          <p:cNvSpPr/>
          <p:nvPr/>
        </p:nvSpPr>
        <p:spPr>
          <a:xfrm>
            <a:off x="7236590" y="3119955"/>
            <a:ext cx="1440160" cy="504056"/>
          </a:xfrm>
          <a:prstGeom prst="roundRect">
            <a:avLst/>
          </a:prstGeom>
          <a:solidFill>
            <a:schemeClr val="bg1">
              <a:lumMod val="85000"/>
            </a:schemeClr>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sz="800" b="1" dirty="0">
              <a:solidFill>
                <a:schemeClr val="bg1">
                  <a:lumMod val="50000"/>
                </a:schemeClr>
              </a:solidFill>
              <a:latin typeface="Comic Sans MS" panose="030F0902030302020204" pitchFamily="66" charset="0"/>
              <a:ea typeface="Nanum Pen Script" panose="03040600000000000000" pitchFamily="66" charset="-127"/>
            </a:endParaRPr>
          </a:p>
          <a:p>
            <a:pPr algn="r"/>
            <a:endParaRPr lang="en-US" sz="800" b="1" dirty="0">
              <a:solidFill>
                <a:schemeClr val="bg1">
                  <a:lumMod val="50000"/>
                </a:schemeClr>
              </a:solidFill>
              <a:latin typeface="Comic Sans MS" panose="030F0902030302020204" pitchFamily="66" charset="0"/>
              <a:ea typeface="Nanum Pen Script" panose="03040600000000000000" pitchFamily="66" charset="-127"/>
            </a:endParaRPr>
          </a:p>
          <a:p>
            <a:pPr algn="r"/>
            <a:endParaRPr lang="en-US" sz="800" b="1" dirty="0">
              <a:solidFill>
                <a:schemeClr val="bg1">
                  <a:lumMod val="50000"/>
                </a:schemeClr>
              </a:solidFill>
              <a:latin typeface="Comic Sans MS" panose="030F0902030302020204" pitchFamily="66" charset="0"/>
              <a:ea typeface="Nanum Pen Script" panose="03040600000000000000" pitchFamily="66" charset="-127"/>
            </a:endParaRPr>
          </a:p>
          <a:p>
            <a:pPr algn="r"/>
            <a:endParaRPr lang="en-US" sz="700" b="1" dirty="0">
              <a:solidFill>
                <a:schemeClr val="bg1">
                  <a:lumMod val="50000"/>
                </a:schemeClr>
              </a:solidFill>
              <a:latin typeface="Comic Sans MS" panose="030F0902030302020204" pitchFamily="66" charset="0"/>
              <a:ea typeface="Nanum Pen Script" panose="03040600000000000000" pitchFamily="66" charset="-127"/>
            </a:endParaRPr>
          </a:p>
          <a:p>
            <a:pPr algn="r"/>
            <a:r>
              <a:rPr lang="en-US" sz="700" b="1" dirty="0">
                <a:solidFill>
                  <a:schemeClr val="bg1">
                    <a:lumMod val="50000"/>
                  </a:schemeClr>
                </a:solidFill>
                <a:latin typeface="Comic Sans MS" panose="030F0902030302020204" pitchFamily="66" charset="0"/>
                <a:ea typeface="Nanum Pen Script" panose="03040600000000000000" pitchFamily="66" charset="-127"/>
              </a:rPr>
              <a:t>Job Real Time Analytics</a:t>
            </a:r>
          </a:p>
          <a:p>
            <a:pPr algn="r"/>
            <a:endParaRPr lang="en-US" sz="700" b="1" dirty="0">
              <a:solidFill>
                <a:schemeClr val="bg1">
                  <a:lumMod val="50000"/>
                </a:schemeClr>
              </a:solidFill>
              <a:latin typeface="Comic Sans MS" panose="030F0902030302020204" pitchFamily="66" charset="0"/>
              <a:ea typeface="Nanum Pen Script" panose="03040600000000000000" pitchFamily="66" charset="-127"/>
            </a:endParaRPr>
          </a:p>
          <a:p>
            <a:pPr algn="r"/>
            <a:endParaRPr lang="en-US" sz="700" b="1" dirty="0">
              <a:solidFill>
                <a:schemeClr val="bg1">
                  <a:lumMod val="50000"/>
                </a:schemeClr>
              </a:solidFill>
              <a:latin typeface="Comic Sans MS" panose="030F0902030302020204" pitchFamily="66" charset="0"/>
              <a:ea typeface="Nanum Pen Script" panose="03040600000000000000" pitchFamily="66" charset="-127"/>
            </a:endParaRPr>
          </a:p>
          <a:p>
            <a:pPr algn="r"/>
            <a:endParaRPr lang="en-US" sz="700" b="1" dirty="0">
              <a:solidFill>
                <a:schemeClr val="bg1">
                  <a:lumMod val="50000"/>
                </a:schemeClr>
              </a:solidFill>
              <a:latin typeface="Comic Sans MS" panose="030F0902030302020204" pitchFamily="66" charset="0"/>
              <a:ea typeface="Nanum Pen Script" panose="03040600000000000000" pitchFamily="66" charset="-127"/>
            </a:endParaRPr>
          </a:p>
          <a:p>
            <a:pPr algn="r"/>
            <a:endParaRPr lang="en-US" sz="1600" dirty="0">
              <a:solidFill>
                <a:schemeClr val="tx1"/>
              </a:solidFill>
              <a:latin typeface="Comic Sans MS" panose="030F0902030302020204" pitchFamily="66" charset="0"/>
              <a:ea typeface="Nanum Pen Script" panose="03040600000000000000" pitchFamily="66" charset="-127"/>
            </a:endParaRPr>
          </a:p>
          <a:p>
            <a:pPr algn="r"/>
            <a:endParaRPr lang="en-US" sz="1600" dirty="0">
              <a:solidFill>
                <a:schemeClr val="tx1"/>
              </a:solidFill>
              <a:latin typeface="Comic Sans MS" panose="030F0902030302020204" pitchFamily="66" charset="0"/>
              <a:ea typeface="Nanum Pen Script" panose="03040600000000000000" pitchFamily="66" charset="-127"/>
            </a:endParaRPr>
          </a:p>
        </p:txBody>
      </p:sp>
      <p:sp>
        <p:nvSpPr>
          <p:cNvPr id="292" name="Rounded Rectangle 291">
            <a:extLst>
              <a:ext uri="{FF2B5EF4-FFF2-40B4-BE49-F238E27FC236}">
                <a16:creationId xmlns:a16="http://schemas.microsoft.com/office/drawing/2014/main" id="{2F4AE4C6-45BB-F044-B67E-629237F6BF48}"/>
              </a:ext>
            </a:extLst>
          </p:cNvPr>
          <p:cNvSpPr/>
          <p:nvPr/>
        </p:nvSpPr>
        <p:spPr>
          <a:xfrm>
            <a:off x="7339909" y="3344784"/>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Comic Sans MS" panose="030F0902030302020204" pitchFamily="66" charset="0"/>
              <a:ea typeface="Nanum Pen Script" panose="03040600000000000000" pitchFamily="66" charset="-127"/>
            </a:endParaRPr>
          </a:p>
        </p:txBody>
      </p:sp>
      <p:sp>
        <p:nvSpPr>
          <p:cNvPr id="293" name="Rounded Rectangle 292">
            <a:extLst>
              <a:ext uri="{FF2B5EF4-FFF2-40B4-BE49-F238E27FC236}">
                <a16:creationId xmlns:a16="http://schemas.microsoft.com/office/drawing/2014/main" id="{B0B9E2CF-ED49-594B-A191-B80632E5D144}"/>
              </a:ext>
            </a:extLst>
          </p:cNvPr>
          <p:cNvSpPr/>
          <p:nvPr/>
        </p:nvSpPr>
        <p:spPr>
          <a:xfrm>
            <a:off x="7672193" y="3344784"/>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Comic Sans MS" panose="030F0902030302020204" pitchFamily="66" charset="0"/>
              <a:ea typeface="Nanum Pen Script" panose="03040600000000000000" pitchFamily="66" charset="-127"/>
            </a:endParaRPr>
          </a:p>
        </p:txBody>
      </p:sp>
      <p:sp>
        <p:nvSpPr>
          <p:cNvPr id="294" name="Rounded Rectangle 293">
            <a:extLst>
              <a:ext uri="{FF2B5EF4-FFF2-40B4-BE49-F238E27FC236}">
                <a16:creationId xmlns:a16="http://schemas.microsoft.com/office/drawing/2014/main" id="{32258F05-12C0-B644-884A-6527E30DC176}"/>
              </a:ext>
            </a:extLst>
          </p:cNvPr>
          <p:cNvSpPr/>
          <p:nvPr/>
        </p:nvSpPr>
        <p:spPr>
          <a:xfrm>
            <a:off x="8012182" y="3344783"/>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Comic Sans MS" panose="030F0902030302020204" pitchFamily="66" charset="0"/>
              <a:ea typeface="Nanum Pen Script" panose="03040600000000000000" pitchFamily="66" charset="-127"/>
            </a:endParaRPr>
          </a:p>
        </p:txBody>
      </p:sp>
      <p:sp>
        <p:nvSpPr>
          <p:cNvPr id="295" name="Rounded Rectangle 294">
            <a:extLst>
              <a:ext uri="{FF2B5EF4-FFF2-40B4-BE49-F238E27FC236}">
                <a16:creationId xmlns:a16="http://schemas.microsoft.com/office/drawing/2014/main" id="{1641A9CD-96C2-9A42-BF7E-D796834F9C95}"/>
              </a:ext>
            </a:extLst>
          </p:cNvPr>
          <p:cNvSpPr/>
          <p:nvPr/>
        </p:nvSpPr>
        <p:spPr>
          <a:xfrm>
            <a:off x="8372222" y="3344783"/>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Comic Sans MS" panose="030F0902030302020204" pitchFamily="66" charset="0"/>
              <a:ea typeface="Nanum Pen Script" panose="03040600000000000000" pitchFamily="66" charset="-127"/>
            </a:endParaRPr>
          </a:p>
        </p:txBody>
      </p:sp>
      <p:cxnSp>
        <p:nvCxnSpPr>
          <p:cNvPr id="296" name="Straight Connector 295">
            <a:extLst>
              <a:ext uri="{FF2B5EF4-FFF2-40B4-BE49-F238E27FC236}">
                <a16:creationId xmlns:a16="http://schemas.microsoft.com/office/drawing/2014/main" id="{AF89271E-8BB7-2D4D-A86D-16E7A2921500}"/>
              </a:ext>
            </a:extLst>
          </p:cNvPr>
          <p:cNvCxnSpPr>
            <a:stCxn id="292" idx="3"/>
            <a:endCxn id="293" idx="1"/>
          </p:cNvCxnSpPr>
          <p:nvPr/>
        </p:nvCxnSpPr>
        <p:spPr>
          <a:xfrm>
            <a:off x="7525971" y="3428721"/>
            <a:ext cx="146222" cy="0"/>
          </a:xfrm>
          <a:prstGeom prst="line">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97" name="Straight Connector 296">
            <a:extLst>
              <a:ext uri="{FF2B5EF4-FFF2-40B4-BE49-F238E27FC236}">
                <a16:creationId xmlns:a16="http://schemas.microsoft.com/office/drawing/2014/main" id="{DCF9B118-B82F-7B41-A885-155803643CC3}"/>
              </a:ext>
            </a:extLst>
          </p:cNvPr>
          <p:cNvCxnSpPr>
            <a:cxnSpLocks/>
            <a:stCxn id="293" idx="3"/>
            <a:endCxn id="294" idx="1"/>
          </p:cNvCxnSpPr>
          <p:nvPr/>
        </p:nvCxnSpPr>
        <p:spPr>
          <a:xfrm flipV="1">
            <a:off x="7858255" y="3428720"/>
            <a:ext cx="153927" cy="1"/>
          </a:xfrm>
          <a:prstGeom prst="line">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98" name="Straight Connector 297">
            <a:extLst>
              <a:ext uri="{FF2B5EF4-FFF2-40B4-BE49-F238E27FC236}">
                <a16:creationId xmlns:a16="http://schemas.microsoft.com/office/drawing/2014/main" id="{378D21A8-C0C9-7841-8AB6-ECF2E40C12D0}"/>
              </a:ext>
            </a:extLst>
          </p:cNvPr>
          <p:cNvCxnSpPr>
            <a:cxnSpLocks/>
            <a:stCxn id="294" idx="3"/>
            <a:endCxn id="295" idx="1"/>
          </p:cNvCxnSpPr>
          <p:nvPr/>
        </p:nvCxnSpPr>
        <p:spPr>
          <a:xfrm>
            <a:off x="8198244" y="3428720"/>
            <a:ext cx="173978" cy="0"/>
          </a:xfrm>
          <a:prstGeom prst="line">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299" name="Rounded Rectangle 298">
            <a:extLst>
              <a:ext uri="{FF2B5EF4-FFF2-40B4-BE49-F238E27FC236}">
                <a16:creationId xmlns:a16="http://schemas.microsoft.com/office/drawing/2014/main" id="{02146F5A-3393-9C4F-8321-C8CC63C1221F}"/>
              </a:ext>
            </a:extLst>
          </p:cNvPr>
          <p:cNvSpPr/>
          <p:nvPr/>
        </p:nvSpPr>
        <p:spPr>
          <a:xfrm>
            <a:off x="7356597" y="2676791"/>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Comic Sans MS" panose="030F0902030302020204" pitchFamily="66" charset="0"/>
              <a:ea typeface="Nanum Pen Script" panose="03040600000000000000" pitchFamily="66" charset="-127"/>
            </a:endParaRPr>
          </a:p>
        </p:txBody>
      </p:sp>
      <p:sp>
        <p:nvSpPr>
          <p:cNvPr id="300" name="Rounded Rectangle 299">
            <a:extLst>
              <a:ext uri="{FF2B5EF4-FFF2-40B4-BE49-F238E27FC236}">
                <a16:creationId xmlns:a16="http://schemas.microsoft.com/office/drawing/2014/main" id="{57B44B89-F1A6-6B40-BA67-D500BA46D031}"/>
              </a:ext>
            </a:extLst>
          </p:cNvPr>
          <p:cNvSpPr/>
          <p:nvPr/>
        </p:nvSpPr>
        <p:spPr>
          <a:xfrm>
            <a:off x="7688881" y="2676791"/>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Comic Sans MS" panose="030F0902030302020204" pitchFamily="66" charset="0"/>
              <a:ea typeface="Nanum Pen Script" panose="03040600000000000000" pitchFamily="66" charset="-127"/>
            </a:endParaRPr>
          </a:p>
        </p:txBody>
      </p:sp>
      <p:sp>
        <p:nvSpPr>
          <p:cNvPr id="301" name="Rounded Rectangle 300">
            <a:extLst>
              <a:ext uri="{FF2B5EF4-FFF2-40B4-BE49-F238E27FC236}">
                <a16:creationId xmlns:a16="http://schemas.microsoft.com/office/drawing/2014/main" id="{F7A582E5-F1BF-9940-8531-C97E5B5F0DE7}"/>
              </a:ext>
            </a:extLst>
          </p:cNvPr>
          <p:cNvSpPr/>
          <p:nvPr/>
        </p:nvSpPr>
        <p:spPr>
          <a:xfrm>
            <a:off x="8028870" y="2676790"/>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Comic Sans MS" panose="030F0902030302020204" pitchFamily="66" charset="0"/>
              <a:ea typeface="Nanum Pen Script" panose="03040600000000000000" pitchFamily="66" charset="-127"/>
            </a:endParaRPr>
          </a:p>
        </p:txBody>
      </p:sp>
      <p:sp>
        <p:nvSpPr>
          <p:cNvPr id="302" name="Rounded Rectangle 301">
            <a:extLst>
              <a:ext uri="{FF2B5EF4-FFF2-40B4-BE49-F238E27FC236}">
                <a16:creationId xmlns:a16="http://schemas.microsoft.com/office/drawing/2014/main" id="{5E6786CD-E159-8442-87C4-E70175D13D0C}"/>
              </a:ext>
            </a:extLst>
          </p:cNvPr>
          <p:cNvSpPr/>
          <p:nvPr/>
        </p:nvSpPr>
        <p:spPr>
          <a:xfrm>
            <a:off x="8388910" y="2676790"/>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Comic Sans MS" panose="030F0902030302020204" pitchFamily="66" charset="0"/>
              <a:ea typeface="Nanum Pen Script" panose="03040600000000000000" pitchFamily="66" charset="-127"/>
            </a:endParaRPr>
          </a:p>
        </p:txBody>
      </p:sp>
      <p:cxnSp>
        <p:nvCxnSpPr>
          <p:cNvPr id="303" name="Straight Connector 302">
            <a:extLst>
              <a:ext uri="{FF2B5EF4-FFF2-40B4-BE49-F238E27FC236}">
                <a16:creationId xmlns:a16="http://schemas.microsoft.com/office/drawing/2014/main" id="{CBC584E5-2BAD-DF47-A878-9641FC16F9BD}"/>
              </a:ext>
            </a:extLst>
          </p:cNvPr>
          <p:cNvCxnSpPr>
            <a:stCxn id="299" idx="3"/>
            <a:endCxn id="300" idx="1"/>
          </p:cNvCxnSpPr>
          <p:nvPr/>
        </p:nvCxnSpPr>
        <p:spPr>
          <a:xfrm>
            <a:off x="7542659" y="2760728"/>
            <a:ext cx="146222" cy="0"/>
          </a:xfrm>
          <a:prstGeom prst="line">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304" name="Straight Connector 303">
            <a:extLst>
              <a:ext uri="{FF2B5EF4-FFF2-40B4-BE49-F238E27FC236}">
                <a16:creationId xmlns:a16="http://schemas.microsoft.com/office/drawing/2014/main" id="{5F09864F-D43B-5D41-9841-EEA695982C89}"/>
              </a:ext>
            </a:extLst>
          </p:cNvPr>
          <p:cNvCxnSpPr>
            <a:cxnSpLocks/>
            <a:stCxn id="300" idx="3"/>
            <a:endCxn id="301" idx="1"/>
          </p:cNvCxnSpPr>
          <p:nvPr/>
        </p:nvCxnSpPr>
        <p:spPr>
          <a:xfrm flipV="1">
            <a:off x="7874943" y="2760727"/>
            <a:ext cx="153927" cy="1"/>
          </a:xfrm>
          <a:prstGeom prst="line">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305" name="Straight Connector 304">
            <a:extLst>
              <a:ext uri="{FF2B5EF4-FFF2-40B4-BE49-F238E27FC236}">
                <a16:creationId xmlns:a16="http://schemas.microsoft.com/office/drawing/2014/main" id="{84BE1DFA-9E8D-0F48-A3C4-754F6FD3BCD8}"/>
              </a:ext>
            </a:extLst>
          </p:cNvPr>
          <p:cNvCxnSpPr>
            <a:cxnSpLocks/>
            <a:stCxn id="301" idx="3"/>
            <a:endCxn id="302" idx="1"/>
          </p:cNvCxnSpPr>
          <p:nvPr/>
        </p:nvCxnSpPr>
        <p:spPr>
          <a:xfrm>
            <a:off x="8214932" y="2760727"/>
            <a:ext cx="173978" cy="0"/>
          </a:xfrm>
          <a:prstGeom prst="line">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306" name="Rounded Rectangle 305">
            <a:extLst>
              <a:ext uri="{FF2B5EF4-FFF2-40B4-BE49-F238E27FC236}">
                <a16:creationId xmlns:a16="http://schemas.microsoft.com/office/drawing/2014/main" id="{902365AD-3D10-784E-9006-72A96C8CA01E}"/>
              </a:ext>
            </a:extLst>
          </p:cNvPr>
          <p:cNvSpPr/>
          <p:nvPr/>
        </p:nvSpPr>
        <p:spPr>
          <a:xfrm>
            <a:off x="7372574" y="2021296"/>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Comic Sans MS" panose="030F0902030302020204" pitchFamily="66" charset="0"/>
              <a:ea typeface="Nanum Pen Script" panose="03040600000000000000" pitchFamily="66" charset="-127"/>
            </a:endParaRPr>
          </a:p>
        </p:txBody>
      </p:sp>
      <p:sp>
        <p:nvSpPr>
          <p:cNvPr id="307" name="Rounded Rectangle 306">
            <a:extLst>
              <a:ext uri="{FF2B5EF4-FFF2-40B4-BE49-F238E27FC236}">
                <a16:creationId xmlns:a16="http://schemas.microsoft.com/office/drawing/2014/main" id="{F4340292-1E97-7E43-B662-17EC00895DA6}"/>
              </a:ext>
            </a:extLst>
          </p:cNvPr>
          <p:cNvSpPr/>
          <p:nvPr/>
        </p:nvSpPr>
        <p:spPr>
          <a:xfrm>
            <a:off x="7704858" y="2021296"/>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Comic Sans MS" panose="030F0902030302020204" pitchFamily="66" charset="0"/>
              <a:ea typeface="Nanum Pen Script" panose="03040600000000000000" pitchFamily="66" charset="-127"/>
            </a:endParaRPr>
          </a:p>
        </p:txBody>
      </p:sp>
      <p:sp>
        <p:nvSpPr>
          <p:cNvPr id="308" name="Rounded Rectangle 307">
            <a:extLst>
              <a:ext uri="{FF2B5EF4-FFF2-40B4-BE49-F238E27FC236}">
                <a16:creationId xmlns:a16="http://schemas.microsoft.com/office/drawing/2014/main" id="{97ADA762-058C-084C-A333-AF50502116C7}"/>
              </a:ext>
            </a:extLst>
          </p:cNvPr>
          <p:cNvSpPr/>
          <p:nvPr/>
        </p:nvSpPr>
        <p:spPr>
          <a:xfrm>
            <a:off x="8044847" y="2021295"/>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Comic Sans MS" panose="030F0902030302020204" pitchFamily="66" charset="0"/>
              <a:ea typeface="Nanum Pen Script" panose="03040600000000000000" pitchFamily="66" charset="-127"/>
            </a:endParaRPr>
          </a:p>
        </p:txBody>
      </p:sp>
      <p:sp>
        <p:nvSpPr>
          <p:cNvPr id="309" name="Rounded Rectangle 308">
            <a:extLst>
              <a:ext uri="{FF2B5EF4-FFF2-40B4-BE49-F238E27FC236}">
                <a16:creationId xmlns:a16="http://schemas.microsoft.com/office/drawing/2014/main" id="{6041E074-CB78-1449-9623-B06A673AC82A}"/>
              </a:ext>
            </a:extLst>
          </p:cNvPr>
          <p:cNvSpPr/>
          <p:nvPr/>
        </p:nvSpPr>
        <p:spPr>
          <a:xfrm>
            <a:off x="8404887" y="2021295"/>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Comic Sans MS" panose="030F0902030302020204" pitchFamily="66" charset="0"/>
              <a:ea typeface="Nanum Pen Script" panose="03040600000000000000" pitchFamily="66" charset="-127"/>
            </a:endParaRPr>
          </a:p>
        </p:txBody>
      </p:sp>
      <p:cxnSp>
        <p:nvCxnSpPr>
          <p:cNvPr id="310" name="Straight Connector 309">
            <a:extLst>
              <a:ext uri="{FF2B5EF4-FFF2-40B4-BE49-F238E27FC236}">
                <a16:creationId xmlns:a16="http://schemas.microsoft.com/office/drawing/2014/main" id="{3545BDC6-8D31-8F40-8188-3F5E46B49E55}"/>
              </a:ext>
            </a:extLst>
          </p:cNvPr>
          <p:cNvCxnSpPr>
            <a:stCxn id="306" idx="3"/>
            <a:endCxn id="307" idx="1"/>
          </p:cNvCxnSpPr>
          <p:nvPr/>
        </p:nvCxnSpPr>
        <p:spPr>
          <a:xfrm>
            <a:off x="7558636" y="2105233"/>
            <a:ext cx="146222" cy="0"/>
          </a:xfrm>
          <a:prstGeom prst="line">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311" name="Straight Connector 310">
            <a:extLst>
              <a:ext uri="{FF2B5EF4-FFF2-40B4-BE49-F238E27FC236}">
                <a16:creationId xmlns:a16="http://schemas.microsoft.com/office/drawing/2014/main" id="{1F7B9C1C-C1DC-5849-A6A5-342893B162B0}"/>
              </a:ext>
            </a:extLst>
          </p:cNvPr>
          <p:cNvCxnSpPr>
            <a:cxnSpLocks/>
            <a:stCxn id="307" idx="3"/>
            <a:endCxn id="308" idx="1"/>
          </p:cNvCxnSpPr>
          <p:nvPr/>
        </p:nvCxnSpPr>
        <p:spPr>
          <a:xfrm flipV="1">
            <a:off x="7890920" y="2105232"/>
            <a:ext cx="153927" cy="1"/>
          </a:xfrm>
          <a:prstGeom prst="line">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312" name="Straight Connector 311">
            <a:extLst>
              <a:ext uri="{FF2B5EF4-FFF2-40B4-BE49-F238E27FC236}">
                <a16:creationId xmlns:a16="http://schemas.microsoft.com/office/drawing/2014/main" id="{0A0EA7ED-81F3-124E-A457-B0A03DE75955}"/>
              </a:ext>
            </a:extLst>
          </p:cNvPr>
          <p:cNvCxnSpPr>
            <a:cxnSpLocks/>
            <a:stCxn id="308" idx="3"/>
            <a:endCxn id="309" idx="1"/>
          </p:cNvCxnSpPr>
          <p:nvPr/>
        </p:nvCxnSpPr>
        <p:spPr>
          <a:xfrm>
            <a:off x="8230909" y="2105232"/>
            <a:ext cx="173978" cy="0"/>
          </a:xfrm>
          <a:prstGeom prst="line">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313" name="Elbow Connector 312">
            <a:extLst>
              <a:ext uri="{FF2B5EF4-FFF2-40B4-BE49-F238E27FC236}">
                <a16:creationId xmlns:a16="http://schemas.microsoft.com/office/drawing/2014/main" id="{C7A9F623-7A80-1449-9593-194612637E59}"/>
              </a:ext>
            </a:extLst>
          </p:cNvPr>
          <p:cNvCxnSpPr>
            <a:cxnSpLocks/>
            <a:endCxn id="289" idx="1"/>
          </p:cNvCxnSpPr>
          <p:nvPr/>
        </p:nvCxnSpPr>
        <p:spPr>
          <a:xfrm flipV="1">
            <a:off x="6355431" y="2021295"/>
            <a:ext cx="881159" cy="1637712"/>
          </a:xfrm>
          <a:prstGeom prst="bentConnector3">
            <a:avLst>
              <a:gd name="adj1" fmla="val 64151"/>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315" name="Rounded Rectangle 314">
            <a:extLst>
              <a:ext uri="{FF2B5EF4-FFF2-40B4-BE49-F238E27FC236}">
                <a16:creationId xmlns:a16="http://schemas.microsoft.com/office/drawing/2014/main" id="{A05606C0-FF3B-3841-84F8-25A5506C628C}"/>
              </a:ext>
            </a:extLst>
          </p:cNvPr>
          <p:cNvSpPr/>
          <p:nvPr/>
        </p:nvSpPr>
        <p:spPr>
          <a:xfrm>
            <a:off x="7243385" y="3724607"/>
            <a:ext cx="1440160" cy="504056"/>
          </a:xfrm>
          <a:prstGeom prst="roundRect">
            <a:avLst/>
          </a:prstGeom>
          <a:solidFill>
            <a:schemeClr val="bg1">
              <a:lumMod val="85000"/>
            </a:schemeClr>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sz="800" b="1" dirty="0">
              <a:solidFill>
                <a:schemeClr val="bg1">
                  <a:lumMod val="50000"/>
                </a:schemeClr>
              </a:solidFill>
              <a:latin typeface="Comic Sans MS" panose="030F0902030302020204" pitchFamily="66" charset="0"/>
              <a:ea typeface="Nanum Pen Script" panose="03040600000000000000" pitchFamily="66" charset="-127"/>
            </a:endParaRPr>
          </a:p>
          <a:p>
            <a:pPr algn="r"/>
            <a:endParaRPr lang="en-US" sz="800" b="1" dirty="0">
              <a:solidFill>
                <a:schemeClr val="bg1">
                  <a:lumMod val="50000"/>
                </a:schemeClr>
              </a:solidFill>
              <a:latin typeface="Comic Sans MS" panose="030F0902030302020204" pitchFamily="66" charset="0"/>
              <a:ea typeface="Nanum Pen Script" panose="03040600000000000000" pitchFamily="66" charset="-127"/>
            </a:endParaRPr>
          </a:p>
          <a:p>
            <a:pPr algn="r"/>
            <a:endParaRPr lang="en-US" sz="800" b="1" dirty="0">
              <a:solidFill>
                <a:schemeClr val="bg1">
                  <a:lumMod val="50000"/>
                </a:schemeClr>
              </a:solidFill>
              <a:latin typeface="Comic Sans MS" panose="030F0902030302020204" pitchFamily="66" charset="0"/>
              <a:ea typeface="Nanum Pen Script" panose="03040600000000000000" pitchFamily="66" charset="-127"/>
            </a:endParaRPr>
          </a:p>
          <a:p>
            <a:pPr algn="r"/>
            <a:endParaRPr lang="en-US" sz="800" b="1" dirty="0">
              <a:solidFill>
                <a:schemeClr val="bg1">
                  <a:lumMod val="50000"/>
                </a:schemeClr>
              </a:solidFill>
              <a:latin typeface="Comic Sans MS" panose="030F0902030302020204" pitchFamily="66" charset="0"/>
              <a:ea typeface="Nanum Pen Script" panose="03040600000000000000" pitchFamily="66" charset="-127"/>
            </a:endParaRPr>
          </a:p>
          <a:p>
            <a:pPr algn="r"/>
            <a:endParaRPr lang="en-US" sz="700" b="1" dirty="0">
              <a:solidFill>
                <a:schemeClr val="bg1">
                  <a:lumMod val="50000"/>
                </a:schemeClr>
              </a:solidFill>
              <a:latin typeface="Comic Sans MS" panose="030F0902030302020204" pitchFamily="66" charset="0"/>
              <a:ea typeface="Nanum Pen Script" panose="03040600000000000000" pitchFamily="66" charset="-127"/>
            </a:endParaRPr>
          </a:p>
          <a:p>
            <a:pPr algn="r"/>
            <a:r>
              <a:rPr lang="en-US" sz="700" b="1" dirty="0">
                <a:solidFill>
                  <a:schemeClr val="bg1">
                    <a:lumMod val="50000"/>
                  </a:schemeClr>
                </a:solidFill>
                <a:latin typeface="Comic Sans MS" panose="030F0902030302020204" pitchFamily="66" charset="0"/>
                <a:ea typeface="Nanum Pen Script" panose="03040600000000000000" pitchFamily="66" charset="-127"/>
              </a:rPr>
              <a:t>Job Real Time Analytic</a:t>
            </a:r>
          </a:p>
          <a:p>
            <a:pPr algn="r"/>
            <a:endParaRPr lang="en-US" sz="700" b="1" dirty="0">
              <a:solidFill>
                <a:schemeClr val="bg1">
                  <a:lumMod val="50000"/>
                </a:schemeClr>
              </a:solidFill>
              <a:latin typeface="Comic Sans MS" panose="030F0902030302020204" pitchFamily="66" charset="0"/>
              <a:ea typeface="Nanum Pen Script" panose="03040600000000000000" pitchFamily="66" charset="-127"/>
            </a:endParaRPr>
          </a:p>
          <a:p>
            <a:pPr algn="r"/>
            <a:r>
              <a:rPr lang="en-US" sz="700" b="1" dirty="0">
                <a:solidFill>
                  <a:schemeClr val="bg1">
                    <a:lumMod val="50000"/>
                  </a:schemeClr>
                </a:solidFill>
                <a:latin typeface="Comic Sans MS" panose="030F0902030302020204" pitchFamily="66" charset="0"/>
                <a:ea typeface="Nanum Pen Script" panose="03040600000000000000" pitchFamily="66" charset="-127"/>
              </a:rPr>
              <a:t>s</a:t>
            </a:r>
          </a:p>
          <a:p>
            <a:pPr algn="r"/>
            <a:endParaRPr lang="en-US" sz="700" b="1" dirty="0">
              <a:solidFill>
                <a:schemeClr val="bg1">
                  <a:lumMod val="50000"/>
                </a:schemeClr>
              </a:solidFill>
              <a:latin typeface="Comic Sans MS" panose="030F0902030302020204" pitchFamily="66" charset="0"/>
              <a:ea typeface="Nanum Pen Script" panose="03040600000000000000" pitchFamily="66" charset="-127"/>
            </a:endParaRPr>
          </a:p>
          <a:p>
            <a:pPr algn="r"/>
            <a:endParaRPr lang="en-US" sz="1600" dirty="0">
              <a:solidFill>
                <a:schemeClr val="tx1"/>
              </a:solidFill>
              <a:latin typeface="Comic Sans MS" panose="030F0902030302020204" pitchFamily="66" charset="0"/>
              <a:ea typeface="Nanum Pen Script" panose="03040600000000000000" pitchFamily="66" charset="-127"/>
            </a:endParaRPr>
          </a:p>
          <a:p>
            <a:pPr algn="r"/>
            <a:endParaRPr lang="en-US" sz="1600" dirty="0">
              <a:solidFill>
                <a:schemeClr val="tx1"/>
              </a:solidFill>
              <a:latin typeface="Comic Sans MS" panose="030F0902030302020204" pitchFamily="66" charset="0"/>
              <a:ea typeface="Nanum Pen Script" panose="03040600000000000000" pitchFamily="66" charset="-127"/>
            </a:endParaRPr>
          </a:p>
        </p:txBody>
      </p:sp>
      <p:sp>
        <p:nvSpPr>
          <p:cNvPr id="316" name="Rounded Rectangle 315">
            <a:extLst>
              <a:ext uri="{FF2B5EF4-FFF2-40B4-BE49-F238E27FC236}">
                <a16:creationId xmlns:a16="http://schemas.microsoft.com/office/drawing/2014/main" id="{C1D07357-2D4D-0044-85CF-43168EDA4EE9}"/>
              </a:ext>
            </a:extLst>
          </p:cNvPr>
          <p:cNvSpPr/>
          <p:nvPr/>
        </p:nvSpPr>
        <p:spPr>
          <a:xfrm>
            <a:off x="7346704" y="3949436"/>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Comic Sans MS" panose="030F0902030302020204" pitchFamily="66" charset="0"/>
              <a:ea typeface="Nanum Pen Script" panose="03040600000000000000" pitchFamily="66" charset="-127"/>
            </a:endParaRPr>
          </a:p>
        </p:txBody>
      </p:sp>
      <p:sp>
        <p:nvSpPr>
          <p:cNvPr id="317" name="Rounded Rectangle 316">
            <a:extLst>
              <a:ext uri="{FF2B5EF4-FFF2-40B4-BE49-F238E27FC236}">
                <a16:creationId xmlns:a16="http://schemas.microsoft.com/office/drawing/2014/main" id="{B5ADA6ED-F35B-1A43-8B22-6E3D608489F6}"/>
              </a:ext>
            </a:extLst>
          </p:cNvPr>
          <p:cNvSpPr/>
          <p:nvPr/>
        </p:nvSpPr>
        <p:spPr>
          <a:xfrm>
            <a:off x="7678988" y="3949436"/>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Comic Sans MS" panose="030F0902030302020204" pitchFamily="66" charset="0"/>
              <a:ea typeface="Nanum Pen Script" panose="03040600000000000000" pitchFamily="66" charset="-127"/>
            </a:endParaRPr>
          </a:p>
        </p:txBody>
      </p:sp>
      <p:sp>
        <p:nvSpPr>
          <p:cNvPr id="318" name="Rounded Rectangle 317">
            <a:extLst>
              <a:ext uri="{FF2B5EF4-FFF2-40B4-BE49-F238E27FC236}">
                <a16:creationId xmlns:a16="http://schemas.microsoft.com/office/drawing/2014/main" id="{C62005B0-19DD-3941-8751-EF6747CB13D9}"/>
              </a:ext>
            </a:extLst>
          </p:cNvPr>
          <p:cNvSpPr/>
          <p:nvPr/>
        </p:nvSpPr>
        <p:spPr>
          <a:xfrm>
            <a:off x="8018977" y="3949435"/>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Comic Sans MS" panose="030F0902030302020204" pitchFamily="66" charset="0"/>
              <a:ea typeface="Nanum Pen Script" panose="03040600000000000000" pitchFamily="66" charset="-127"/>
            </a:endParaRPr>
          </a:p>
        </p:txBody>
      </p:sp>
      <p:sp>
        <p:nvSpPr>
          <p:cNvPr id="319" name="Rounded Rectangle 318">
            <a:extLst>
              <a:ext uri="{FF2B5EF4-FFF2-40B4-BE49-F238E27FC236}">
                <a16:creationId xmlns:a16="http://schemas.microsoft.com/office/drawing/2014/main" id="{2ECB738E-2F0A-EC40-8A28-D40708B205B1}"/>
              </a:ext>
            </a:extLst>
          </p:cNvPr>
          <p:cNvSpPr/>
          <p:nvPr/>
        </p:nvSpPr>
        <p:spPr>
          <a:xfrm>
            <a:off x="8379017" y="3949435"/>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Comic Sans MS" panose="030F0902030302020204" pitchFamily="66" charset="0"/>
              <a:ea typeface="Nanum Pen Script" panose="03040600000000000000" pitchFamily="66" charset="-127"/>
            </a:endParaRPr>
          </a:p>
        </p:txBody>
      </p:sp>
      <p:cxnSp>
        <p:nvCxnSpPr>
          <p:cNvPr id="320" name="Straight Connector 319">
            <a:extLst>
              <a:ext uri="{FF2B5EF4-FFF2-40B4-BE49-F238E27FC236}">
                <a16:creationId xmlns:a16="http://schemas.microsoft.com/office/drawing/2014/main" id="{0DF9F00F-DF9E-0742-A1D5-A739C394CDDE}"/>
              </a:ext>
            </a:extLst>
          </p:cNvPr>
          <p:cNvCxnSpPr>
            <a:stCxn id="316" idx="3"/>
            <a:endCxn id="317" idx="1"/>
          </p:cNvCxnSpPr>
          <p:nvPr/>
        </p:nvCxnSpPr>
        <p:spPr>
          <a:xfrm>
            <a:off x="7532766" y="4033373"/>
            <a:ext cx="146222" cy="0"/>
          </a:xfrm>
          <a:prstGeom prst="line">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321" name="Straight Connector 320">
            <a:extLst>
              <a:ext uri="{FF2B5EF4-FFF2-40B4-BE49-F238E27FC236}">
                <a16:creationId xmlns:a16="http://schemas.microsoft.com/office/drawing/2014/main" id="{D0196FC7-FAA4-B942-B2DE-9EE016F15407}"/>
              </a:ext>
            </a:extLst>
          </p:cNvPr>
          <p:cNvCxnSpPr>
            <a:cxnSpLocks/>
            <a:stCxn id="317" idx="3"/>
            <a:endCxn id="318" idx="1"/>
          </p:cNvCxnSpPr>
          <p:nvPr/>
        </p:nvCxnSpPr>
        <p:spPr>
          <a:xfrm flipV="1">
            <a:off x="7865050" y="4033372"/>
            <a:ext cx="153927" cy="1"/>
          </a:xfrm>
          <a:prstGeom prst="line">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322" name="Straight Connector 321">
            <a:extLst>
              <a:ext uri="{FF2B5EF4-FFF2-40B4-BE49-F238E27FC236}">
                <a16:creationId xmlns:a16="http://schemas.microsoft.com/office/drawing/2014/main" id="{087F0A6C-ED9B-ED46-BBF2-FEE7F8F80D5E}"/>
              </a:ext>
            </a:extLst>
          </p:cNvPr>
          <p:cNvCxnSpPr>
            <a:cxnSpLocks/>
            <a:stCxn id="318" idx="3"/>
            <a:endCxn id="319" idx="1"/>
          </p:cNvCxnSpPr>
          <p:nvPr/>
        </p:nvCxnSpPr>
        <p:spPr>
          <a:xfrm>
            <a:off x="8205039" y="4033372"/>
            <a:ext cx="173978" cy="0"/>
          </a:xfrm>
          <a:prstGeom prst="line">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323" name="Elbow Connector 322">
            <a:extLst>
              <a:ext uri="{FF2B5EF4-FFF2-40B4-BE49-F238E27FC236}">
                <a16:creationId xmlns:a16="http://schemas.microsoft.com/office/drawing/2014/main" id="{8FD08E22-ECC0-A84D-8525-F7E80049B312}"/>
              </a:ext>
            </a:extLst>
          </p:cNvPr>
          <p:cNvCxnSpPr>
            <a:cxnSpLocks/>
            <a:endCxn id="290" idx="1"/>
          </p:cNvCxnSpPr>
          <p:nvPr/>
        </p:nvCxnSpPr>
        <p:spPr>
          <a:xfrm flipV="1">
            <a:off x="6355431" y="2695788"/>
            <a:ext cx="885059" cy="963219"/>
          </a:xfrm>
          <a:prstGeom prst="bentConnector3">
            <a:avLst>
              <a:gd name="adj1" fmla="val 64088"/>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327" name="Elbow Connector 326">
            <a:extLst>
              <a:ext uri="{FF2B5EF4-FFF2-40B4-BE49-F238E27FC236}">
                <a16:creationId xmlns:a16="http://schemas.microsoft.com/office/drawing/2014/main" id="{F2D70B15-3F42-BA48-A217-B22E64F1D408}"/>
              </a:ext>
            </a:extLst>
          </p:cNvPr>
          <p:cNvCxnSpPr>
            <a:cxnSpLocks/>
            <a:endCxn id="291" idx="1"/>
          </p:cNvCxnSpPr>
          <p:nvPr/>
        </p:nvCxnSpPr>
        <p:spPr>
          <a:xfrm flipV="1">
            <a:off x="6355431" y="3371983"/>
            <a:ext cx="881159" cy="287024"/>
          </a:xfrm>
          <a:prstGeom prst="bentConnector3">
            <a:avLst>
              <a:gd name="adj1" fmla="val 64151"/>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333" name="Elbow Connector 332">
            <a:extLst>
              <a:ext uri="{FF2B5EF4-FFF2-40B4-BE49-F238E27FC236}">
                <a16:creationId xmlns:a16="http://schemas.microsoft.com/office/drawing/2014/main" id="{226115B9-524F-6043-8588-54533938250F}"/>
              </a:ext>
            </a:extLst>
          </p:cNvPr>
          <p:cNvCxnSpPr>
            <a:cxnSpLocks/>
            <a:endCxn id="291" idx="1"/>
          </p:cNvCxnSpPr>
          <p:nvPr/>
        </p:nvCxnSpPr>
        <p:spPr>
          <a:xfrm flipV="1">
            <a:off x="6355431" y="3371983"/>
            <a:ext cx="881159" cy="287024"/>
          </a:xfrm>
          <a:prstGeom prst="bentConnector3">
            <a:avLst>
              <a:gd name="adj1" fmla="val 64151"/>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336" name="Elbow Connector 335">
            <a:extLst>
              <a:ext uri="{FF2B5EF4-FFF2-40B4-BE49-F238E27FC236}">
                <a16:creationId xmlns:a16="http://schemas.microsoft.com/office/drawing/2014/main" id="{788E9B73-6A9C-2441-8C06-775034CBBE4D}"/>
              </a:ext>
            </a:extLst>
          </p:cNvPr>
          <p:cNvCxnSpPr>
            <a:cxnSpLocks/>
            <a:endCxn id="315" idx="1"/>
          </p:cNvCxnSpPr>
          <p:nvPr/>
        </p:nvCxnSpPr>
        <p:spPr>
          <a:xfrm>
            <a:off x="6355431" y="3659007"/>
            <a:ext cx="887954" cy="317628"/>
          </a:xfrm>
          <a:prstGeom prst="bentConnector3">
            <a:avLst>
              <a:gd name="adj1" fmla="val 62872"/>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341" name="Elbow Connector 340">
            <a:extLst>
              <a:ext uri="{FF2B5EF4-FFF2-40B4-BE49-F238E27FC236}">
                <a16:creationId xmlns:a16="http://schemas.microsoft.com/office/drawing/2014/main" id="{43EABDB5-9F83-8846-BA48-FAB180483E5C}"/>
              </a:ext>
            </a:extLst>
          </p:cNvPr>
          <p:cNvCxnSpPr>
            <a:cxnSpLocks/>
            <a:endCxn id="538" idx="1"/>
          </p:cNvCxnSpPr>
          <p:nvPr/>
        </p:nvCxnSpPr>
        <p:spPr>
          <a:xfrm>
            <a:off x="6355431" y="3659007"/>
            <a:ext cx="1243651" cy="1440558"/>
          </a:xfrm>
          <a:prstGeom prst="bentConnector3">
            <a:avLst>
              <a:gd name="adj1" fmla="val 44987"/>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grpSp>
        <p:nvGrpSpPr>
          <p:cNvPr id="376" name="Group 375">
            <a:extLst>
              <a:ext uri="{FF2B5EF4-FFF2-40B4-BE49-F238E27FC236}">
                <a16:creationId xmlns:a16="http://schemas.microsoft.com/office/drawing/2014/main" id="{02CBBF58-06FE-9843-AA3B-E916008548BF}"/>
              </a:ext>
            </a:extLst>
          </p:cNvPr>
          <p:cNvGrpSpPr/>
          <p:nvPr/>
        </p:nvGrpSpPr>
        <p:grpSpPr>
          <a:xfrm>
            <a:off x="10716804" y="1969713"/>
            <a:ext cx="753431" cy="508497"/>
            <a:chOff x="3589489" y="3095660"/>
            <a:chExt cx="753431" cy="508497"/>
          </a:xfrm>
        </p:grpSpPr>
        <p:pic>
          <p:nvPicPr>
            <p:cNvPr id="377" name="Picture 376">
              <a:extLst>
                <a:ext uri="{FF2B5EF4-FFF2-40B4-BE49-F238E27FC236}">
                  <a16:creationId xmlns:a16="http://schemas.microsoft.com/office/drawing/2014/main" id="{5A689F67-10D9-1E4F-BA16-B199BA1A9D8D}"/>
                </a:ext>
              </a:extLst>
            </p:cNvPr>
            <p:cNvPicPr>
              <a:picLocks noChangeAspect="1"/>
            </p:cNvPicPr>
            <p:nvPr/>
          </p:nvPicPr>
          <p:blipFill>
            <a:blip r:embed="rId2">
              <a:alphaModFix amt="27000"/>
            </a:blip>
            <a:stretch>
              <a:fillRect/>
            </a:stretch>
          </p:blipFill>
          <p:spPr>
            <a:xfrm>
              <a:off x="3699164" y="3095660"/>
              <a:ext cx="488354" cy="333340"/>
            </a:xfrm>
            <a:prstGeom prst="rect">
              <a:avLst/>
            </a:prstGeom>
          </p:spPr>
        </p:pic>
        <p:sp>
          <p:nvSpPr>
            <p:cNvPr id="378" name="TextBox 377">
              <a:extLst>
                <a:ext uri="{FF2B5EF4-FFF2-40B4-BE49-F238E27FC236}">
                  <a16:creationId xmlns:a16="http://schemas.microsoft.com/office/drawing/2014/main" id="{978B28D7-BFBA-1A4C-86A2-C2F3F8349E51}"/>
                </a:ext>
              </a:extLst>
            </p:cNvPr>
            <p:cNvSpPr txBox="1"/>
            <p:nvPr/>
          </p:nvSpPr>
          <p:spPr>
            <a:xfrm>
              <a:off x="3589489" y="3330066"/>
              <a:ext cx="753431" cy="274091"/>
            </a:xfrm>
            <a:prstGeom prst="rect">
              <a:avLst/>
            </a:prstGeom>
            <a:noFill/>
          </p:spPr>
          <p:txBody>
            <a:bodyPr wrap="square" tIns="90000" bIns="90000" rtlCol="0" anchor="t">
              <a:spAutoFit/>
            </a:bodyPr>
            <a:lstStyle/>
            <a:p>
              <a:pPr algn="ctr"/>
              <a:r>
                <a:rPr lang="en-US" sz="600" b="1"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Stream APIs</a:t>
              </a:r>
            </a:p>
          </p:txBody>
        </p:sp>
      </p:grpSp>
      <p:grpSp>
        <p:nvGrpSpPr>
          <p:cNvPr id="379" name="Group 378">
            <a:extLst>
              <a:ext uri="{FF2B5EF4-FFF2-40B4-BE49-F238E27FC236}">
                <a16:creationId xmlns:a16="http://schemas.microsoft.com/office/drawing/2014/main" id="{1F6F18FE-5D61-FF49-9931-D32BB7A0F9AC}"/>
              </a:ext>
            </a:extLst>
          </p:cNvPr>
          <p:cNvGrpSpPr/>
          <p:nvPr/>
        </p:nvGrpSpPr>
        <p:grpSpPr>
          <a:xfrm>
            <a:off x="10611687" y="2503379"/>
            <a:ext cx="931665" cy="519120"/>
            <a:chOff x="10817855" y="3618404"/>
            <a:chExt cx="931665" cy="519120"/>
          </a:xfrm>
        </p:grpSpPr>
        <p:pic>
          <p:nvPicPr>
            <p:cNvPr id="380" name="Picture 379">
              <a:extLst>
                <a:ext uri="{FF2B5EF4-FFF2-40B4-BE49-F238E27FC236}">
                  <a16:creationId xmlns:a16="http://schemas.microsoft.com/office/drawing/2014/main" id="{A8D85379-47EE-8048-9961-D9C69C88F3AA}"/>
                </a:ext>
              </a:extLst>
            </p:cNvPr>
            <p:cNvPicPr>
              <a:picLocks noChangeAspect="1"/>
            </p:cNvPicPr>
            <p:nvPr/>
          </p:nvPicPr>
          <p:blipFill>
            <a:blip r:embed="rId3">
              <a:alphaModFix amt="57000"/>
            </a:blip>
            <a:stretch>
              <a:fillRect/>
            </a:stretch>
          </p:blipFill>
          <p:spPr>
            <a:xfrm>
              <a:off x="11020649" y="3618404"/>
              <a:ext cx="431837" cy="329077"/>
            </a:xfrm>
            <a:prstGeom prst="rect">
              <a:avLst/>
            </a:prstGeom>
          </p:spPr>
        </p:pic>
        <p:sp>
          <p:nvSpPr>
            <p:cNvPr id="381" name="TextBox 380">
              <a:extLst>
                <a:ext uri="{FF2B5EF4-FFF2-40B4-BE49-F238E27FC236}">
                  <a16:creationId xmlns:a16="http://schemas.microsoft.com/office/drawing/2014/main" id="{FDA06348-4FC6-3942-8E60-428180CAB81C}"/>
                </a:ext>
              </a:extLst>
            </p:cNvPr>
            <p:cNvSpPr txBox="1"/>
            <p:nvPr/>
          </p:nvSpPr>
          <p:spPr>
            <a:xfrm>
              <a:off x="10817855" y="3863433"/>
              <a:ext cx="931665" cy="274091"/>
            </a:xfrm>
            <a:prstGeom prst="rect">
              <a:avLst/>
            </a:prstGeom>
            <a:noFill/>
          </p:spPr>
          <p:txBody>
            <a:bodyPr wrap="none" tIns="90000" bIns="90000" rtlCol="0" anchor="t">
              <a:spAutoFit/>
            </a:bodyPr>
            <a:lstStyle/>
            <a:p>
              <a:pPr algn="ctr"/>
              <a:r>
                <a:rPr lang="en-US" sz="600" b="1"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Indexed for Search</a:t>
              </a:r>
            </a:p>
          </p:txBody>
        </p:sp>
      </p:grpSp>
      <p:grpSp>
        <p:nvGrpSpPr>
          <p:cNvPr id="382" name="Group 381">
            <a:extLst>
              <a:ext uri="{FF2B5EF4-FFF2-40B4-BE49-F238E27FC236}">
                <a16:creationId xmlns:a16="http://schemas.microsoft.com/office/drawing/2014/main" id="{5D60D764-E572-9C4C-A923-D3E02185B01F}"/>
              </a:ext>
            </a:extLst>
          </p:cNvPr>
          <p:cNvGrpSpPr/>
          <p:nvPr/>
        </p:nvGrpSpPr>
        <p:grpSpPr>
          <a:xfrm>
            <a:off x="10607652" y="3004743"/>
            <a:ext cx="952505" cy="688480"/>
            <a:chOff x="10834047" y="3546264"/>
            <a:chExt cx="952505" cy="688480"/>
          </a:xfrm>
        </p:grpSpPr>
        <p:pic>
          <p:nvPicPr>
            <p:cNvPr id="383" name="Picture 382">
              <a:extLst>
                <a:ext uri="{FF2B5EF4-FFF2-40B4-BE49-F238E27FC236}">
                  <a16:creationId xmlns:a16="http://schemas.microsoft.com/office/drawing/2014/main" id="{A42786F7-C4E5-AB4B-9C44-A1E8A9F6C660}"/>
                </a:ext>
              </a:extLst>
            </p:cNvPr>
            <p:cNvPicPr>
              <a:picLocks noChangeAspect="1"/>
            </p:cNvPicPr>
            <p:nvPr/>
          </p:nvPicPr>
          <p:blipFill>
            <a:blip r:embed="rId4">
              <a:alphaModFix amt="50000"/>
            </a:blip>
            <a:stretch>
              <a:fillRect/>
            </a:stretch>
          </p:blipFill>
          <p:spPr>
            <a:xfrm>
              <a:off x="11041322" y="3546264"/>
              <a:ext cx="498883" cy="502431"/>
            </a:xfrm>
            <a:prstGeom prst="rect">
              <a:avLst/>
            </a:prstGeom>
          </p:spPr>
        </p:pic>
        <p:sp>
          <p:nvSpPr>
            <p:cNvPr id="384" name="TextBox 383">
              <a:extLst>
                <a:ext uri="{FF2B5EF4-FFF2-40B4-BE49-F238E27FC236}">
                  <a16:creationId xmlns:a16="http://schemas.microsoft.com/office/drawing/2014/main" id="{EC1FBBD6-F9E6-FE4A-A7D2-E81D8E82FE6B}"/>
                </a:ext>
              </a:extLst>
            </p:cNvPr>
            <p:cNvSpPr txBox="1"/>
            <p:nvPr/>
          </p:nvSpPr>
          <p:spPr>
            <a:xfrm>
              <a:off x="10834047" y="3960653"/>
              <a:ext cx="952505" cy="274091"/>
            </a:xfrm>
            <a:prstGeom prst="rect">
              <a:avLst/>
            </a:prstGeom>
            <a:noFill/>
          </p:spPr>
          <p:txBody>
            <a:bodyPr wrap="none" tIns="90000" bIns="90000" rtlCol="0" anchor="t">
              <a:spAutoFit/>
            </a:bodyPr>
            <a:lstStyle/>
            <a:p>
              <a:pPr algn="ctr"/>
              <a:r>
                <a:rPr lang="en-US" sz="600" b="1"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Business Intelligence</a:t>
              </a:r>
            </a:p>
          </p:txBody>
        </p:sp>
      </p:grpSp>
      <p:cxnSp>
        <p:nvCxnSpPr>
          <p:cNvPr id="385" name="Elbow Connector 384">
            <a:extLst>
              <a:ext uri="{FF2B5EF4-FFF2-40B4-BE49-F238E27FC236}">
                <a16:creationId xmlns:a16="http://schemas.microsoft.com/office/drawing/2014/main" id="{C956CDDE-0BB4-624E-8F8D-75363BD08AFC}"/>
              </a:ext>
            </a:extLst>
          </p:cNvPr>
          <p:cNvCxnSpPr>
            <a:cxnSpLocks/>
            <a:stCxn id="289" idx="3"/>
            <a:endCxn id="377" idx="1"/>
          </p:cNvCxnSpPr>
          <p:nvPr/>
        </p:nvCxnSpPr>
        <p:spPr>
          <a:xfrm>
            <a:off x="8676750" y="2021295"/>
            <a:ext cx="2149729" cy="115088"/>
          </a:xfrm>
          <a:prstGeom prst="bentConnector3">
            <a:avLst>
              <a:gd name="adj1" fmla="val 26914"/>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401" name="Elbow Connector 400">
            <a:extLst>
              <a:ext uri="{FF2B5EF4-FFF2-40B4-BE49-F238E27FC236}">
                <a16:creationId xmlns:a16="http://schemas.microsoft.com/office/drawing/2014/main" id="{BE202C51-46EE-674B-8B6F-19912E2B5757}"/>
              </a:ext>
            </a:extLst>
          </p:cNvPr>
          <p:cNvCxnSpPr>
            <a:cxnSpLocks/>
            <a:stCxn id="290" idx="3"/>
            <a:endCxn id="377" idx="1"/>
          </p:cNvCxnSpPr>
          <p:nvPr/>
        </p:nvCxnSpPr>
        <p:spPr>
          <a:xfrm flipV="1">
            <a:off x="8680650" y="2136383"/>
            <a:ext cx="2145829" cy="559405"/>
          </a:xfrm>
          <a:prstGeom prst="bentConnector3">
            <a:avLst>
              <a:gd name="adj1" fmla="val 27241"/>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538" name="Rounded Rectangle 537">
            <a:extLst>
              <a:ext uri="{FF2B5EF4-FFF2-40B4-BE49-F238E27FC236}">
                <a16:creationId xmlns:a16="http://schemas.microsoft.com/office/drawing/2014/main" id="{EBED3567-93B3-314C-BC5F-C88A9B1BB888}"/>
              </a:ext>
            </a:extLst>
          </p:cNvPr>
          <p:cNvSpPr/>
          <p:nvPr/>
        </p:nvSpPr>
        <p:spPr>
          <a:xfrm>
            <a:off x="7599082" y="4408755"/>
            <a:ext cx="770571" cy="1381619"/>
          </a:xfrm>
          <a:prstGeom prst="roundRect">
            <a:avLst/>
          </a:prstGeom>
          <a:solidFill>
            <a:schemeClr val="bg1">
              <a:lumMod val="85000"/>
            </a:schemeClr>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b="1" dirty="0">
              <a:solidFill>
                <a:schemeClr val="bg1">
                  <a:lumMod val="50000"/>
                </a:schemeClr>
              </a:solidFill>
              <a:latin typeface="Comic Sans MS" panose="030F0902030302020204" pitchFamily="66" charset="0"/>
              <a:ea typeface="Nanum Pen Script" panose="03040600000000000000" pitchFamily="66" charset="-127"/>
            </a:endParaRPr>
          </a:p>
          <a:p>
            <a:pPr algn="ctr"/>
            <a:endParaRPr lang="en-US" sz="800" b="1" dirty="0">
              <a:solidFill>
                <a:schemeClr val="bg1">
                  <a:lumMod val="50000"/>
                </a:schemeClr>
              </a:solidFill>
              <a:latin typeface="Comic Sans MS" panose="030F0902030302020204" pitchFamily="66" charset="0"/>
              <a:ea typeface="Nanum Pen Script" panose="03040600000000000000" pitchFamily="66" charset="-127"/>
            </a:endParaRPr>
          </a:p>
          <a:p>
            <a:pPr algn="ctr"/>
            <a:endParaRPr lang="en-US" sz="800" b="1" dirty="0">
              <a:solidFill>
                <a:schemeClr val="bg1">
                  <a:lumMod val="50000"/>
                </a:schemeClr>
              </a:solidFill>
              <a:latin typeface="Comic Sans MS" panose="030F0902030302020204" pitchFamily="66" charset="0"/>
              <a:ea typeface="Nanum Pen Script" panose="03040600000000000000" pitchFamily="66" charset="-127"/>
            </a:endParaRPr>
          </a:p>
          <a:p>
            <a:pPr algn="ctr"/>
            <a:endParaRPr lang="en-US" sz="800" b="1" dirty="0">
              <a:solidFill>
                <a:schemeClr val="bg1">
                  <a:lumMod val="50000"/>
                </a:schemeClr>
              </a:solidFill>
              <a:latin typeface="Comic Sans MS" panose="030F0902030302020204" pitchFamily="66" charset="0"/>
              <a:ea typeface="Nanum Pen Script" panose="03040600000000000000" pitchFamily="66" charset="-127"/>
            </a:endParaRPr>
          </a:p>
          <a:p>
            <a:pPr algn="ctr"/>
            <a:endParaRPr lang="en-US" sz="700" b="1" dirty="0">
              <a:solidFill>
                <a:schemeClr val="bg1">
                  <a:lumMod val="50000"/>
                </a:schemeClr>
              </a:solidFill>
              <a:latin typeface="Comic Sans MS" panose="030F0902030302020204" pitchFamily="66" charset="0"/>
              <a:ea typeface="Nanum Pen Script" panose="03040600000000000000" pitchFamily="66" charset="-127"/>
            </a:endParaRPr>
          </a:p>
          <a:p>
            <a:pPr algn="ctr"/>
            <a:r>
              <a:rPr lang="en-US" sz="900" b="1" dirty="0">
                <a:solidFill>
                  <a:schemeClr val="bg1">
                    <a:lumMod val="50000"/>
                  </a:schemeClr>
                </a:solidFill>
                <a:latin typeface="Comic Sans MS" panose="030F0902030302020204" pitchFamily="66" charset="0"/>
                <a:ea typeface="Nanum Pen Script" panose="03040600000000000000" pitchFamily="66" charset="-127"/>
              </a:rPr>
              <a:t>Kafka Connect</a:t>
            </a:r>
          </a:p>
          <a:p>
            <a:pPr algn="ctr"/>
            <a:r>
              <a:rPr lang="en-US" sz="900" b="1" dirty="0">
                <a:solidFill>
                  <a:schemeClr val="bg1">
                    <a:lumMod val="50000"/>
                  </a:schemeClr>
                </a:solidFill>
                <a:latin typeface="Comic Sans MS" panose="030F0902030302020204" pitchFamily="66" charset="0"/>
                <a:ea typeface="Nanum Pen Script" panose="03040600000000000000" pitchFamily="66" charset="-127"/>
              </a:rPr>
              <a:t>Source</a:t>
            </a:r>
          </a:p>
          <a:p>
            <a:pPr algn="ctr"/>
            <a:endParaRPr lang="en-US" sz="1600" dirty="0">
              <a:solidFill>
                <a:schemeClr val="tx1"/>
              </a:solidFill>
              <a:latin typeface="Comic Sans MS" panose="030F0902030302020204" pitchFamily="66" charset="0"/>
              <a:ea typeface="Nanum Pen Script" panose="03040600000000000000" pitchFamily="66" charset="-127"/>
            </a:endParaRPr>
          </a:p>
          <a:p>
            <a:pPr algn="ctr"/>
            <a:endParaRPr lang="en-US" sz="1600" dirty="0">
              <a:solidFill>
                <a:schemeClr val="tx1"/>
              </a:solidFill>
              <a:latin typeface="Comic Sans MS" panose="030F0902030302020204" pitchFamily="66" charset="0"/>
              <a:ea typeface="Nanum Pen Script" panose="03040600000000000000" pitchFamily="66" charset="-127"/>
            </a:endParaRPr>
          </a:p>
        </p:txBody>
      </p:sp>
      <p:cxnSp>
        <p:nvCxnSpPr>
          <p:cNvPr id="545" name="Elbow Connector 544">
            <a:extLst>
              <a:ext uri="{FF2B5EF4-FFF2-40B4-BE49-F238E27FC236}">
                <a16:creationId xmlns:a16="http://schemas.microsoft.com/office/drawing/2014/main" id="{3266C8CE-D159-674E-ACAA-DAF5D5AA30E3}"/>
              </a:ext>
            </a:extLst>
          </p:cNvPr>
          <p:cNvCxnSpPr>
            <a:cxnSpLocks/>
            <a:stCxn id="290" idx="3"/>
            <a:endCxn id="173" idx="1"/>
          </p:cNvCxnSpPr>
          <p:nvPr/>
        </p:nvCxnSpPr>
        <p:spPr>
          <a:xfrm>
            <a:off x="8680650" y="2695788"/>
            <a:ext cx="1839600" cy="1088977"/>
          </a:xfrm>
          <a:prstGeom prst="bentConnector3">
            <a:avLst>
              <a:gd name="adj1" fmla="val 31925"/>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554" name="Elbow Connector 553">
            <a:extLst>
              <a:ext uri="{FF2B5EF4-FFF2-40B4-BE49-F238E27FC236}">
                <a16:creationId xmlns:a16="http://schemas.microsoft.com/office/drawing/2014/main" id="{3F7FE1CC-2BEF-0443-8B1D-927D0B3E3A35}"/>
              </a:ext>
            </a:extLst>
          </p:cNvPr>
          <p:cNvCxnSpPr>
            <a:cxnSpLocks/>
            <a:endCxn id="538" idx="1"/>
          </p:cNvCxnSpPr>
          <p:nvPr/>
        </p:nvCxnSpPr>
        <p:spPr>
          <a:xfrm>
            <a:off x="6355431" y="3659007"/>
            <a:ext cx="1243651" cy="1440558"/>
          </a:xfrm>
          <a:prstGeom prst="bentConnector3">
            <a:avLst>
              <a:gd name="adj1" fmla="val 44987"/>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572" name="Elbow Connector 571">
            <a:extLst>
              <a:ext uri="{FF2B5EF4-FFF2-40B4-BE49-F238E27FC236}">
                <a16:creationId xmlns:a16="http://schemas.microsoft.com/office/drawing/2014/main" id="{45765A85-9489-634F-8D62-206D7E2AFFC8}"/>
              </a:ext>
            </a:extLst>
          </p:cNvPr>
          <p:cNvCxnSpPr>
            <a:cxnSpLocks/>
            <a:stCxn id="538" idx="3"/>
            <a:endCxn id="173" idx="1"/>
          </p:cNvCxnSpPr>
          <p:nvPr/>
        </p:nvCxnSpPr>
        <p:spPr>
          <a:xfrm flipV="1">
            <a:off x="8369653" y="3784765"/>
            <a:ext cx="2150597" cy="1314800"/>
          </a:xfrm>
          <a:prstGeom prst="bentConnector3">
            <a:avLst>
              <a:gd name="adj1" fmla="val 41781"/>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576" name="Elbow Connector 575">
            <a:extLst>
              <a:ext uri="{FF2B5EF4-FFF2-40B4-BE49-F238E27FC236}">
                <a16:creationId xmlns:a16="http://schemas.microsoft.com/office/drawing/2014/main" id="{3F1379EE-3342-2142-8950-63AFFCB05615}"/>
              </a:ext>
            </a:extLst>
          </p:cNvPr>
          <p:cNvCxnSpPr>
            <a:cxnSpLocks/>
            <a:stCxn id="538" idx="3"/>
            <a:endCxn id="173" idx="1"/>
          </p:cNvCxnSpPr>
          <p:nvPr/>
        </p:nvCxnSpPr>
        <p:spPr>
          <a:xfrm flipV="1">
            <a:off x="8369653" y="3784765"/>
            <a:ext cx="2150597" cy="1314800"/>
          </a:xfrm>
          <a:prstGeom prst="bentConnector3">
            <a:avLst>
              <a:gd name="adj1" fmla="val 41781"/>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38" name="Elbow Connector 237">
            <a:extLst>
              <a:ext uri="{FF2B5EF4-FFF2-40B4-BE49-F238E27FC236}">
                <a16:creationId xmlns:a16="http://schemas.microsoft.com/office/drawing/2014/main" id="{A6D2275F-8F8B-EC4A-A365-95909415429D}"/>
              </a:ext>
            </a:extLst>
          </p:cNvPr>
          <p:cNvCxnSpPr>
            <a:cxnSpLocks/>
            <a:stCxn id="538" idx="3"/>
            <a:endCxn id="173" idx="1"/>
          </p:cNvCxnSpPr>
          <p:nvPr/>
        </p:nvCxnSpPr>
        <p:spPr>
          <a:xfrm flipV="1">
            <a:off x="8369653" y="3784765"/>
            <a:ext cx="2150597" cy="1314800"/>
          </a:xfrm>
          <a:prstGeom prst="bentConnector3">
            <a:avLst>
              <a:gd name="adj1" fmla="val 41786"/>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39" name="Elbow Connector 238">
            <a:extLst>
              <a:ext uri="{FF2B5EF4-FFF2-40B4-BE49-F238E27FC236}">
                <a16:creationId xmlns:a16="http://schemas.microsoft.com/office/drawing/2014/main" id="{A13E9D01-CADE-2742-BD28-0D9A99851933}"/>
              </a:ext>
            </a:extLst>
          </p:cNvPr>
          <p:cNvCxnSpPr>
            <a:cxnSpLocks/>
            <a:stCxn id="290" idx="3"/>
            <a:endCxn id="173" idx="1"/>
          </p:cNvCxnSpPr>
          <p:nvPr/>
        </p:nvCxnSpPr>
        <p:spPr>
          <a:xfrm>
            <a:off x="8680650" y="2695788"/>
            <a:ext cx="1839600" cy="1088977"/>
          </a:xfrm>
          <a:prstGeom prst="bentConnector3">
            <a:avLst>
              <a:gd name="adj1" fmla="val 31919"/>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grpSp>
        <p:nvGrpSpPr>
          <p:cNvPr id="102" name="Group 101">
            <a:extLst>
              <a:ext uri="{FF2B5EF4-FFF2-40B4-BE49-F238E27FC236}">
                <a16:creationId xmlns:a16="http://schemas.microsoft.com/office/drawing/2014/main" id="{E361C988-D6D5-2945-BA43-7AC064B7D987}"/>
              </a:ext>
            </a:extLst>
          </p:cNvPr>
          <p:cNvGrpSpPr/>
          <p:nvPr/>
        </p:nvGrpSpPr>
        <p:grpSpPr>
          <a:xfrm>
            <a:off x="10770326" y="4033372"/>
            <a:ext cx="636712" cy="700469"/>
            <a:chOff x="9527636" y="4204210"/>
            <a:chExt cx="636712" cy="700469"/>
          </a:xfrm>
        </p:grpSpPr>
        <p:pic>
          <p:nvPicPr>
            <p:cNvPr id="245" name="Picture 244">
              <a:extLst>
                <a:ext uri="{FF2B5EF4-FFF2-40B4-BE49-F238E27FC236}">
                  <a16:creationId xmlns:a16="http://schemas.microsoft.com/office/drawing/2014/main" id="{94539E78-27A0-1D40-ADC4-C9F12EF55195}"/>
                </a:ext>
              </a:extLst>
            </p:cNvPr>
            <p:cNvPicPr>
              <a:picLocks noChangeAspect="1"/>
            </p:cNvPicPr>
            <p:nvPr/>
          </p:nvPicPr>
          <p:blipFill>
            <a:blip r:embed="rId5">
              <a:alphaModFix amt="10000"/>
            </a:blip>
            <a:stretch>
              <a:fillRect/>
            </a:stretch>
          </p:blipFill>
          <p:spPr>
            <a:xfrm>
              <a:off x="9527636" y="4204210"/>
              <a:ext cx="564571" cy="564571"/>
            </a:xfrm>
            <a:prstGeom prst="rect">
              <a:avLst/>
            </a:prstGeom>
          </p:spPr>
        </p:pic>
        <p:sp>
          <p:nvSpPr>
            <p:cNvPr id="246" name="TextBox 245">
              <a:extLst>
                <a:ext uri="{FF2B5EF4-FFF2-40B4-BE49-F238E27FC236}">
                  <a16:creationId xmlns:a16="http://schemas.microsoft.com/office/drawing/2014/main" id="{8DC9A621-C670-1148-AA73-FAD9FC6E2551}"/>
                </a:ext>
              </a:extLst>
            </p:cNvPr>
            <p:cNvSpPr txBox="1"/>
            <p:nvPr/>
          </p:nvSpPr>
          <p:spPr>
            <a:xfrm>
              <a:off x="9558092" y="4630588"/>
              <a:ext cx="606256" cy="274091"/>
            </a:xfrm>
            <a:prstGeom prst="rect">
              <a:avLst/>
            </a:prstGeom>
            <a:noFill/>
          </p:spPr>
          <p:txBody>
            <a:bodyPr wrap="none" tIns="90000" bIns="90000" rtlCol="0" anchor="t">
              <a:spAutoFit/>
            </a:bodyPr>
            <a:lstStyle/>
            <a:p>
              <a:pPr algn="ctr"/>
              <a:r>
                <a:rPr lang="en-US" sz="600" b="1"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Data Bases</a:t>
              </a:r>
            </a:p>
          </p:txBody>
        </p:sp>
      </p:grpSp>
      <p:pic>
        <p:nvPicPr>
          <p:cNvPr id="104" name="Picture 103">
            <a:extLst>
              <a:ext uri="{FF2B5EF4-FFF2-40B4-BE49-F238E27FC236}">
                <a16:creationId xmlns:a16="http://schemas.microsoft.com/office/drawing/2014/main" id="{D2A09A49-9119-DA4A-81D3-98B5D51AFEB3}"/>
              </a:ext>
            </a:extLst>
          </p:cNvPr>
          <p:cNvPicPr>
            <a:picLocks noChangeAspect="1"/>
          </p:cNvPicPr>
          <p:nvPr/>
        </p:nvPicPr>
        <p:blipFill>
          <a:blip r:embed="rId6">
            <a:alphaModFix amt="48000"/>
          </a:blip>
          <a:stretch>
            <a:fillRect/>
          </a:stretch>
        </p:blipFill>
        <p:spPr>
          <a:xfrm>
            <a:off x="10890597" y="3700105"/>
            <a:ext cx="385064" cy="385064"/>
          </a:xfrm>
          <a:prstGeom prst="rect">
            <a:avLst/>
          </a:prstGeom>
        </p:spPr>
      </p:pic>
      <p:grpSp>
        <p:nvGrpSpPr>
          <p:cNvPr id="121" name="Group 120">
            <a:extLst>
              <a:ext uri="{FF2B5EF4-FFF2-40B4-BE49-F238E27FC236}">
                <a16:creationId xmlns:a16="http://schemas.microsoft.com/office/drawing/2014/main" id="{9C12FCC1-9E93-9B4F-951C-8E4754483133}"/>
              </a:ext>
            </a:extLst>
          </p:cNvPr>
          <p:cNvGrpSpPr/>
          <p:nvPr/>
        </p:nvGrpSpPr>
        <p:grpSpPr>
          <a:xfrm>
            <a:off x="10802860" y="4745437"/>
            <a:ext cx="539048" cy="590311"/>
            <a:chOff x="9176452" y="4882158"/>
            <a:chExt cx="539048" cy="590311"/>
          </a:xfrm>
        </p:grpSpPr>
        <p:pic>
          <p:nvPicPr>
            <p:cNvPr id="120" name="Picture 119">
              <a:extLst>
                <a:ext uri="{FF2B5EF4-FFF2-40B4-BE49-F238E27FC236}">
                  <a16:creationId xmlns:a16="http://schemas.microsoft.com/office/drawing/2014/main" id="{FFCECBD4-8510-7946-9F34-E63DFEF87B94}"/>
                </a:ext>
              </a:extLst>
            </p:cNvPr>
            <p:cNvPicPr>
              <a:picLocks noChangeAspect="1"/>
            </p:cNvPicPr>
            <p:nvPr/>
          </p:nvPicPr>
          <p:blipFill>
            <a:blip r:embed="rId7">
              <a:alphaModFix amt="46000"/>
            </a:blip>
            <a:stretch>
              <a:fillRect/>
            </a:stretch>
          </p:blipFill>
          <p:spPr>
            <a:xfrm>
              <a:off x="9176452" y="4882158"/>
              <a:ext cx="539048" cy="392205"/>
            </a:xfrm>
            <a:prstGeom prst="rect">
              <a:avLst/>
            </a:prstGeom>
          </p:spPr>
        </p:pic>
        <p:sp>
          <p:nvSpPr>
            <p:cNvPr id="263" name="TextBox 262">
              <a:extLst>
                <a:ext uri="{FF2B5EF4-FFF2-40B4-BE49-F238E27FC236}">
                  <a16:creationId xmlns:a16="http://schemas.microsoft.com/office/drawing/2014/main" id="{18E6F9F5-A8A1-DF4C-A9E5-7C71DD30672F}"/>
                </a:ext>
              </a:extLst>
            </p:cNvPr>
            <p:cNvSpPr txBox="1"/>
            <p:nvPr/>
          </p:nvSpPr>
          <p:spPr>
            <a:xfrm>
              <a:off x="9191669" y="5198378"/>
              <a:ext cx="511679" cy="274091"/>
            </a:xfrm>
            <a:prstGeom prst="rect">
              <a:avLst/>
            </a:prstGeom>
            <a:noFill/>
          </p:spPr>
          <p:txBody>
            <a:bodyPr wrap="none" tIns="90000" bIns="90000" rtlCol="0" anchor="t">
              <a:spAutoFit/>
            </a:bodyPr>
            <a:lstStyle/>
            <a:p>
              <a:pPr algn="ctr"/>
              <a:r>
                <a:rPr lang="en-US" sz="600" b="1"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Cognitive</a:t>
              </a:r>
            </a:p>
          </p:txBody>
        </p:sp>
      </p:grpSp>
      <p:sp>
        <p:nvSpPr>
          <p:cNvPr id="265" name="Rectangle 264">
            <a:extLst>
              <a:ext uri="{FF2B5EF4-FFF2-40B4-BE49-F238E27FC236}">
                <a16:creationId xmlns:a16="http://schemas.microsoft.com/office/drawing/2014/main" id="{ADD4F51D-762B-F448-8483-3610324BF9D8}"/>
              </a:ext>
            </a:extLst>
          </p:cNvPr>
          <p:cNvSpPr/>
          <p:nvPr/>
        </p:nvSpPr>
        <p:spPr>
          <a:xfrm>
            <a:off x="10756815" y="5334732"/>
            <a:ext cx="611064" cy="276999"/>
          </a:xfrm>
          <a:prstGeom prst="rect">
            <a:avLst/>
          </a:prstGeom>
          <a:noFill/>
        </p:spPr>
        <p:txBody>
          <a:bodyPr wrap="square" lIns="91440" tIns="45720" rIns="91440" bIns="45720">
            <a:spAutoFit/>
          </a:bodyPr>
          <a:lstStyle/>
          <a:p>
            <a:pPr algn="ctr"/>
            <a:r>
              <a:rPr lang="en-US" sz="1200" b="1" dirty="0">
                <a:ln w="9525">
                  <a:solidFill>
                    <a:schemeClr val="bg1">
                      <a:lumMod val="75000"/>
                    </a:schemeClr>
                  </a:solidFill>
                  <a:prstDash val="solid"/>
                </a:ln>
                <a:solidFill>
                  <a:schemeClr val="bg1">
                    <a:lumMod val="65000"/>
                    <a:alpha val="17000"/>
                  </a:schemeClr>
                </a:solidFill>
                <a:effectLst>
                  <a:outerShdw blurRad="12700" dist="38100" dir="2700000" algn="tl" rotWithShape="0">
                    <a:schemeClr val="bg1">
                      <a:lumMod val="50000"/>
                    </a:schemeClr>
                  </a:outerShdw>
                </a:effectLst>
                <a:latin typeface="Comic Sans MS" panose="030F0902030302020204" pitchFamily="66" charset="0"/>
                <a:ea typeface="Brush Script MT" panose="03060802040406070304" pitchFamily="66" charset="-122"/>
                <a:cs typeface="Brush Script MT" panose="03060802040406070304" pitchFamily="66" charset="-122"/>
              </a:rPr>
              <a:t>S3</a:t>
            </a:r>
            <a:endParaRPr lang="en-US" sz="1400" b="1" cap="none" spc="0" dirty="0">
              <a:ln w="9525">
                <a:solidFill>
                  <a:schemeClr val="bg1">
                    <a:lumMod val="75000"/>
                  </a:schemeClr>
                </a:solidFill>
                <a:prstDash val="solid"/>
              </a:ln>
              <a:solidFill>
                <a:schemeClr val="bg1">
                  <a:lumMod val="65000"/>
                  <a:alpha val="17000"/>
                </a:schemeClr>
              </a:solidFill>
              <a:effectLst>
                <a:outerShdw blurRad="12700" dist="38100" dir="2700000" algn="tl" rotWithShape="0">
                  <a:schemeClr val="bg1">
                    <a:lumMod val="50000"/>
                  </a:schemeClr>
                </a:outerShdw>
              </a:effectLst>
              <a:latin typeface="Comic Sans MS" panose="030F0902030302020204" pitchFamily="66" charset="0"/>
            </a:endParaRPr>
          </a:p>
        </p:txBody>
      </p:sp>
      <p:sp>
        <p:nvSpPr>
          <p:cNvPr id="314" name="Rounded Rectangle 313">
            <a:extLst>
              <a:ext uri="{FF2B5EF4-FFF2-40B4-BE49-F238E27FC236}">
                <a16:creationId xmlns:a16="http://schemas.microsoft.com/office/drawing/2014/main" id="{15AD5FA0-3D01-0E45-95C5-739C4075630E}"/>
              </a:ext>
            </a:extLst>
          </p:cNvPr>
          <p:cNvSpPr/>
          <p:nvPr/>
        </p:nvSpPr>
        <p:spPr>
          <a:xfrm>
            <a:off x="557011" y="2128929"/>
            <a:ext cx="1182630" cy="436508"/>
          </a:xfrm>
          <a:prstGeom prst="roundRect">
            <a:avLst/>
          </a:prstGeom>
          <a:solidFill>
            <a:schemeClr val="bg1">
              <a:lumMod val="85000"/>
            </a:schemeClr>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b="1" dirty="0">
              <a:solidFill>
                <a:schemeClr val="bg1">
                  <a:lumMod val="50000"/>
                </a:schemeClr>
              </a:solidFill>
              <a:latin typeface="Comic Sans MS" panose="030F0902030302020204" pitchFamily="66" charset="0"/>
              <a:ea typeface="Nanum Pen Script" panose="03040600000000000000" pitchFamily="66" charset="-127"/>
            </a:endParaRPr>
          </a:p>
          <a:p>
            <a:pPr algn="ctr"/>
            <a:endParaRPr lang="en-US" sz="800" b="1" dirty="0">
              <a:solidFill>
                <a:schemeClr val="bg1">
                  <a:lumMod val="50000"/>
                </a:schemeClr>
              </a:solidFill>
              <a:latin typeface="Comic Sans MS" panose="030F0902030302020204" pitchFamily="66" charset="0"/>
              <a:ea typeface="Nanum Pen Script" panose="03040600000000000000" pitchFamily="66" charset="-127"/>
            </a:endParaRPr>
          </a:p>
          <a:p>
            <a:pPr algn="ctr"/>
            <a:endParaRPr lang="en-US" sz="800" b="1" dirty="0">
              <a:solidFill>
                <a:schemeClr val="bg1">
                  <a:lumMod val="50000"/>
                </a:schemeClr>
              </a:solidFill>
              <a:latin typeface="Comic Sans MS" panose="030F0902030302020204" pitchFamily="66" charset="0"/>
              <a:ea typeface="Nanum Pen Script" panose="03040600000000000000" pitchFamily="66" charset="-127"/>
            </a:endParaRPr>
          </a:p>
          <a:p>
            <a:pPr algn="ctr"/>
            <a:endParaRPr lang="en-US" sz="800" b="1" dirty="0">
              <a:solidFill>
                <a:schemeClr val="bg1">
                  <a:lumMod val="50000"/>
                </a:schemeClr>
              </a:solidFill>
              <a:latin typeface="Comic Sans MS" panose="030F0902030302020204" pitchFamily="66" charset="0"/>
              <a:ea typeface="Nanum Pen Script" panose="03040600000000000000" pitchFamily="66" charset="-127"/>
            </a:endParaRPr>
          </a:p>
          <a:p>
            <a:pPr algn="ctr"/>
            <a:endParaRPr lang="en-US" sz="700" b="1" dirty="0">
              <a:solidFill>
                <a:schemeClr val="bg1">
                  <a:lumMod val="50000"/>
                </a:schemeClr>
              </a:solidFill>
              <a:latin typeface="Comic Sans MS" panose="030F0902030302020204" pitchFamily="66" charset="0"/>
              <a:ea typeface="Nanum Pen Script" panose="03040600000000000000" pitchFamily="66" charset="-127"/>
            </a:endParaRPr>
          </a:p>
          <a:p>
            <a:pPr algn="ctr"/>
            <a:endParaRPr lang="en-US" sz="700" b="1" dirty="0">
              <a:solidFill>
                <a:schemeClr val="bg1">
                  <a:lumMod val="50000"/>
                </a:schemeClr>
              </a:solidFill>
              <a:latin typeface="Comic Sans MS" panose="030F0902030302020204" pitchFamily="66" charset="0"/>
              <a:ea typeface="Nanum Pen Script" panose="03040600000000000000" pitchFamily="66" charset="-127"/>
            </a:endParaRPr>
          </a:p>
          <a:p>
            <a:pPr algn="ctr">
              <a:spcBef>
                <a:spcPts val="0"/>
              </a:spcBef>
            </a:pPr>
            <a:r>
              <a:rPr lang="en-US" sz="7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Kafka Producer</a:t>
            </a:r>
          </a:p>
          <a:p>
            <a:pPr algn="ctr">
              <a:spcBef>
                <a:spcPts val="0"/>
              </a:spcBef>
            </a:pPr>
            <a:endParaRPr lang="en-US" sz="1600" dirty="0">
              <a:solidFill>
                <a:schemeClr val="tx1"/>
              </a:solidFill>
              <a:latin typeface="Comic Sans MS" panose="030F0902030302020204" pitchFamily="66" charset="0"/>
              <a:ea typeface="Nanum Pen Script" panose="03040600000000000000" pitchFamily="66" charset="-127"/>
            </a:endParaRPr>
          </a:p>
          <a:p>
            <a:pPr algn="ctr"/>
            <a:endParaRPr lang="en-US" sz="1600" dirty="0">
              <a:solidFill>
                <a:schemeClr val="tx1"/>
              </a:solidFill>
              <a:latin typeface="Comic Sans MS" panose="030F0902030302020204" pitchFamily="66" charset="0"/>
              <a:ea typeface="Nanum Pen Script" panose="03040600000000000000" pitchFamily="66" charset="-127"/>
            </a:endParaRPr>
          </a:p>
        </p:txBody>
      </p:sp>
      <p:cxnSp>
        <p:nvCxnSpPr>
          <p:cNvPr id="324" name="Elbow Connector 323">
            <a:extLst>
              <a:ext uri="{FF2B5EF4-FFF2-40B4-BE49-F238E27FC236}">
                <a16:creationId xmlns:a16="http://schemas.microsoft.com/office/drawing/2014/main" id="{207E4343-91E0-E540-A75E-E88DBDEE66BA}"/>
              </a:ext>
            </a:extLst>
          </p:cNvPr>
          <p:cNvCxnSpPr>
            <a:cxnSpLocks/>
            <a:stCxn id="314" idx="3"/>
            <a:endCxn id="420" idx="1"/>
          </p:cNvCxnSpPr>
          <p:nvPr/>
        </p:nvCxnSpPr>
        <p:spPr>
          <a:xfrm>
            <a:off x="1739641" y="2347183"/>
            <a:ext cx="2078189" cy="1670174"/>
          </a:xfrm>
          <a:prstGeom prst="bentConnector3">
            <a:avLst>
              <a:gd name="adj1" fmla="val 85640"/>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grpSp>
        <p:nvGrpSpPr>
          <p:cNvPr id="68" name="Group 67">
            <a:extLst>
              <a:ext uri="{FF2B5EF4-FFF2-40B4-BE49-F238E27FC236}">
                <a16:creationId xmlns:a16="http://schemas.microsoft.com/office/drawing/2014/main" id="{45C0031A-05DB-0647-BBEB-A451E898D8F9}"/>
              </a:ext>
            </a:extLst>
          </p:cNvPr>
          <p:cNvGrpSpPr/>
          <p:nvPr/>
        </p:nvGrpSpPr>
        <p:grpSpPr>
          <a:xfrm rot="21011211">
            <a:off x="543954" y="2159730"/>
            <a:ext cx="292910" cy="222927"/>
            <a:chOff x="702590" y="1203599"/>
            <a:chExt cx="301686" cy="290724"/>
          </a:xfrm>
        </p:grpSpPr>
        <p:sp>
          <p:nvSpPr>
            <p:cNvPr id="69" name="Google Shape;431;p39">
              <a:extLst>
                <a:ext uri="{FF2B5EF4-FFF2-40B4-BE49-F238E27FC236}">
                  <a16:creationId xmlns:a16="http://schemas.microsoft.com/office/drawing/2014/main" id="{F0A98AFA-078F-6147-8DF5-A2EC352DDF06}"/>
                </a:ext>
              </a:extLst>
            </p:cNvPr>
            <p:cNvSpPr/>
            <p:nvPr/>
          </p:nvSpPr>
          <p:spPr>
            <a:xfrm>
              <a:off x="736556" y="1203599"/>
              <a:ext cx="219241" cy="290724"/>
            </a:xfrm>
            <a:custGeom>
              <a:avLst/>
              <a:gdLst/>
              <a:ahLst/>
              <a:cxnLst/>
              <a:rect l="0" t="0" r="0" b="0"/>
              <a:pathLst>
                <a:path w="67641" h="69056" extrusionOk="0">
                  <a:moveTo>
                    <a:pt x="49622" y="2736"/>
                  </a:moveTo>
                  <a:lnTo>
                    <a:pt x="49622" y="2736"/>
                  </a:lnTo>
                  <a:lnTo>
                    <a:pt x="49622" y="2736"/>
                  </a:lnTo>
                  <a:close/>
                  <a:moveTo>
                    <a:pt x="59622" y="55565"/>
                  </a:moveTo>
                  <a:lnTo>
                    <a:pt x="59622" y="55565"/>
                  </a:lnTo>
                  <a:lnTo>
                    <a:pt x="59622" y="55565"/>
                  </a:lnTo>
                  <a:close/>
                  <a:moveTo>
                    <a:pt x="35471" y="0"/>
                  </a:moveTo>
                  <a:lnTo>
                    <a:pt x="34433" y="95"/>
                  </a:lnTo>
                  <a:lnTo>
                    <a:pt x="33584" y="189"/>
                  </a:lnTo>
                  <a:lnTo>
                    <a:pt x="32735" y="378"/>
                  </a:lnTo>
                  <a:lnTo>
                    <a:pt x="32169" y="566"/>
                  </a:lnTo>
                  <a:lnTo>
                    <a:pt x="31509" y="472"/>
                  </a:lnTo>
                  <a:lnTo>
                    <a:pt x="30754" y="472"/>
                  </a:lnTo>
                  <a:lnTo>
                    <a:pt x="29339" y="566"/>
                  </a:lnTo>
                  <a:lnTo>
                    <a:pt x="27830" y="849"/>
                  </a:lnTo>
                  <a:lnTo>
                    <a:pt x="26320" y="1321"/>
                  </a:lnTo>
                  <a:lnTo>
                    <a:pt x="24811" y="1981"/>
                  </a:lnTo>
                  <a:lnTo>
                    <a:pt x="23207" y="2736"/>
                  </a:lnTo>
                  <a:lnTo>
                    <a:pt x="21698" y="3585"/>
                  </a:lnTo>
                  <a:lnTo>
                    <a:pt x="20188" y="4623"/>
                  </a:lnTo>
                  <a:lnTo>
                    <a:pt x="18679" y="5661"/>
                  </a:lnTo>
                  <a:lnTo>
                    <a:pt x="17170" y="6793"/>
                  </a:lnTo>
                  <a:lnTo>
                    <a:pt x="15754" y="8019"/>
                  </a:lnTo>
                  <a:lnTo>
                    <a:pt x="14434" y="9151"/>
                  </a:lnTo>
                  <a:lnTo>
                    <a:pt x="11981" y="11510"/>
                  </a:lnTo>
                  <a:lnTo>
                    <a:pt x="10000" y="13774"/>
                  </a:lnTo>
                  <a:lnTo>
                    <a:pt x="7736" y="16981"/>
                  </a:lnTo>
                  <a:lnTo>
                    <a:pt x="8019" y="16321"/>
                  </a:lnTo>
                  <a:lnTo>
                    <a:pt x="8302" y="15660"/>
                  </a:lnTo>
                  <a:lnTo>
                    <a:pt x="7736" y="16604"/>
                  </a:lnTo>
                  <a:lnTo>
                    <a:pt x="7075" y="17642"/>
                  </a:lnTo>
                  <a:lnTo>
                    <a:pt x="7170" y="17830"/>
                  </a:lnTo>
                  <a:lnTo>
                    <a:pt x="6509" y="18868"/>
                  </a:lnTo>
                  <a:lnTo>
                    <a:pt x="7075" y="17359"/>
                  </a:lnTo>
                  <a:lnTo>
                    <a:pt x="6132" y="19057"/>
                  </a:lnTo>
                  <a:lnTo>
                    <a:pt x="5189" y="20849"/>
                  </a:lnTo>
                  <a:lnTo>
                    <a:pt x="4434" y="22736"/>
                  </a:lnTo>
                  <a:lnTo>
                    <a:pt x="3679" y="24622"/>
                  </a:lnTo>
                  <a:lnTo>
                    <a:pt x="2453" y="28490"/>
                  </a:lnTo>
                  <a:lnTo>
                    <a:pt x="1321" y="32169"/>
                  </a:lnTo>
                  <a:lnTo>
                    <a:pt x="1509" y="32264"/>
                  </a:lnTo>
                  <a:lnTo>
                    <a:pt x="1604" y="32453"/>
                  </a:lnTo>
                  <a:lnTo>
                    <a:pt x="1604" y="32641"/>
                  </a:lnTo>
                  <a:lnTo>
                    <a:pt x="1509" y="32924"/>
                  </a:lnTo>
                  <a:lnTo>
                    <a:pt x="1226" y="33396"/>
                  </a:lnTo>
                  <a:lnTo>
                    <a:pt x="1038" y="33585"/>
                  </a:lnTo>
                  <a:lnTo>
                    <a:pt x="1038" y="33773"/>
                  </a:lnTo>
                  <a:lnTo>
                    <a:pt x="1038" y="35000"/>
                  </a:lnTo>
                  <a:lnTo>
                    <a:pt x="849" y="36132"/>
                  </a:lnTo>
                  <a:lnTo>
                    <a:pt x="660" y="37358"/>
                  </a:lnTo>
                  <a:lnTo>
                    <a:pt x="472" y="38867"/>
                  </a:lnTo>
                  <a:lnTo>
                    <a:pt x="283" y="38301"/>
                  </a:lnTo>
                  <a:lnTo>
                    <a:pt x="94" y="39811"/>
                  </a:lnTo>
                  <a:lnTo>
                    <a:pt x="0" y="41509"/>
                  </a:lnTo>
                  <a:lnTo>
                    <a:pt x="94" y="43301"/>
                  </a:lnTo>
                  <a:lnTo>
                    <a:pt x="283" y="44056"/>
                  </a:lnTo>
                  <a:lnTo>
                    <a:pt x="472" y="44622"/>
                  </a:lnTo>
                  <a:lnTo>
                    <a:pt x="566" y="45660"/>
                  </a:lnTo>
                  <a:lnTo>
                    <a:pt x="755" y="46792"/>
                  </a:lnTo>
                  <a:lnTo>
                    <a:pt x="1226" y="48962"/>
                  </a:lnTo>
                  <a:lnTo>
                    <a:pt x="1981" y="51037"/>
                  </a:lnTo>
                  <a:lnTo>
                    <a:pt x="2924" y="53112"/>
                  </a:lnTo>
                  <a:lnTo>
                    <a:pt x="4057" y="55094"/>
                  </a:lnTo>
                  <a:lnTo>
                    <a:pt x="5283" y="56980"/>
                  </a:lnTo>
                  <a:lnTo>
                    <a:pt x="6698" y="58678"/>
                  </a:lnTo>
                  <a:lnTo>
                    <a:pt x="8113" y="60282"/>
                  </a:lnTo>
                  <a:lnTo>
                    <a:pt x="9056" y="61131"/>
                  </a:lnTo>
                  <a:lnTo>
                    <a:pt x="10000" y="61980"/>
                  </a:lnTo>
                  <a:lnTo>
                    <a:pt x="11038" y="62829"/>
                  </a:lnTo>
                  <a:lnTo>
                    <a:pt x="12075" y="63584"/>
                  </a:lnTo>
                  <a:lnTo>
                    <a:pt x="14339" y="64905"/>
                  </a:lnTo>
                  <a:lnTo>
                    <a:pt x="16604" y="66131"/>
                  </a:lnTo>
                  <a:lnTo>
                    <a:pt x="19056" y="67169"/>
                  </a:lnTo>
                  <a:lnTo>
                    <a:pt x="21509" y="67923"/>
                  </a:lnTo>
                  <a:lnTo>
                    <a:pt x="24056" y="68584"/>
                  </a:lnTo>
                  <a:lnTo>
                    <a:pt x="26603" y="69055"/>
                  </a:lnTo>
                  <a:lnTo>
                    <a:pt x="27830" y="69055"/>
                  </a:lnTo>
                  <a:lnTo>
                    <a:pt x="30188" y="68867"/>
                  </a:lnTo>
                  <a:lnTo>
                    <a:pt x="33113" y="68678"/>
                  </a:lnTo>
                  <a:lnTo>
                    <a:pt x="36509" y="68301"/>
                  </a:lnTo>
                  <a:lnTo>
                    <a:pt x="39811" y="67923"/>
                  </a:lnTo>
                  <a:lnTo>
                    <a:pt x="42735" y="67452"/>
                  </a:lnTo>
                  <a:lnTo>
                    <a:pt x="44905" y="66980"/>
                  </a:lnTo>
                  <a:lnTo>
                    <a:pt x="45565" y="66791"/>
                  </a:lnTo>
                  <a:lnTo>
                    <a:pt x="45943" y="66508"/>
                  </a:lnTo>
                  <a:lnTo>
                    <a:pt x="47358" y="65942"/>
                  </a:lnTo>
                  <a:lnTo>
                    <a:pt x="48018" y="65565"/>
                  </a:lnTo>
                  <a:lnTo>
                    <a:pt x="48678" y="65188"/>
                  </a:lnTo>
                  <a:lnTo>
                    <a:pt x="47924" y="65471"/>
                  </a:lnTo>
                  <a:lnTo>
                    <a:pt x="51509" y="62924"/>
                  </a:lnTo>
                  <a:lnTo>
                    <a:pt x="53301" y="61508"/>
                  </a:lnTo>
                  <a:lnTo>
                    <a:pt x="55093" y="59905"/>
                  </a:lnTo>
                  <a:lnTo>
                    <a:pt x="55093" y="59905"/>
                  </a:lnTo>
                  <a:lnTo>
                    <a:pt x="54810" y="60376"/>
                  </a:lnTo>
                  <a:lnTo>
                    <a:pt x="54339" y="60754"/>
                  </a:lnTo>
                  <a:lnTo>
                    <a:pt x="55376" y="59999"/>
                  </a:lnTo>
                  <a:lnTo>
                    <a:pt x="56320" y="59056"/>
                  </a:lnTo>
                  <a:lnTo>
                    <a:pt x="57075" y="58395"/>
                  </a:lnTo>
                  <a:lnTo>
                    <a:pt x="57169" y="58207"/>
                  </a:lnTo>
                  <a:lnTo>
                    <a:pt x="57075" y="58207"/>
                  </a:lnTo>
                  <a:lnTo>
                    <a:pt x="57924" y="57546"/>
                  </a:lnTo>
                  <a:lnTo>
                    <a:pt x="58678" y="56697"/>
                  </a:lnTo>
                  <a:lnTo>
                    <a:pt x="59339" y="55754"/>
                  </a:lnTo>
                  <a:lnTo>
                    <a:pt x="59905" y="54905"/>
                  </a:lnTo>
                  <a:lnTo>
                    <a:pt x="59716" y="54999"/>
                  </a:lnTo>
                  <a:lnTo>
                    <a:pt x="59622" y="54999"/>
                  </a:lnTo>
                  <a:lnTo>
                    <a:pt x="59810" y="54622"/>
                  </a:lnTo>
                  <a:lnTo>
                    <a:pt x="59150" y="55565"/>
                  </a:lnTo>
                  <a:lnTo>
                    <a:pt x="59527" y="55094"/>
                  </a:lnTo>
                  <a:lnTo>
                    <a:pt x="59433" y="55377"/>
                  </a:lnTo>
                  <a:lnTo>
                    <a:pt x="58867" y="56037"/>
                  </a:lnTo>
                  <a:lnTo>
                    <a:pt x="59056" y="55660"/>
                  </a:lnTo>
                  <a:lnTo>
                    <a:pt x="59056" y="55660"/>
                  </a:lnTo>
                  <a:lnTo>
                    <a:pt x="58678" y="56037"/>
                  </a:lnTo>
                  <a:lnTo>
                    <a:pt x="59810" y="54339"/>
                  </a:lnTo>
                  <a:lnTo>
                    <a:pt x="60282" y="53490"/>
                  </a:lnTo>
                  <a:lnTo>
                    <a:pt x="60282" y="53301"/>
                  </a:lnTo>
                  <a:lnTo>
                    <a:pt x="60188" y="53395"/>
                  </a:lnTo>
                  <a:lnTo>
                    <a:pt x="60188" y="53395"/>
                  </a:lnTo>
                  <a:lnTo>
                    <a:pt x="60565" y="52924"/>
                  </a:lnTo>
                  <a:lnTo>
                    <a:pt x="61037" y="52452"/>
                  </a:lnTo>
                  <a:lnTo>
                    <a:pt x="61886" y="51509"/>
                  </a:lnTo>
                  <a:lnTo>
                    <a:pt x="61508" y="52452"/>
                  </a:lnTo>
                  <a:lnTo>
                    <a:pt x="60848" y="53584"/>
                  </a:lnTo>
                  <a:lnTo>
                    <a:pt x="59622" y="55565"/>
                  </a:lnTo>
                  <a:lnTo>
                    <a:pt x="60376" y="54528"/>
                  </a:lnTo>
                  <a:lnTo>
                    <a:pt x="60942" y="53678"/>
                  </a:lnTo>
                  <a:lnTo>
                    <a:pt x="61980" y="51792"/>
                  </a:lnTo>
                  <a:lnTo>
                    <a:pt x="61886" y="51886"/>
                  </a:lnTo>
                  <a:lnTo>
                    <a:pt x="61886" y="51697"/>
                  </a:lnTo>
                  <a:lnTo>
                    <a:pt x="62169" y="51037"/>
                  </a:lnTo>
                  <a:lnTo>
                    <a:pt x="62735" y="49999"/>
                  </a:lnTo>
                  <a:lnTo>
                    <a:pt x="61508" y="51603"/>
                  </a:lnTo>
                  <a:lnTo>
                    <a:pt x="61603" y="51037"/>
                  </a:lnTo>
                  <a:lnTo>
                    <a:pt x="61697" y="50377"/>
                  </a:lnTo>
                  <a:lnTo>
                    <a:pt x="62169" y="48962"/>
                  </a:lnTo>
                  <a:lnTo>
                    <a:pt x="62829" y="47358"/>
                  </a:lnTo>
                  <a:lnTo>
                    <a:pt x="63678" y="45565"/>
                  </a:lnTo>
                  <a:lnTo>
                    <a:pt x="65376" y="42169"/>
                  </a:lnTo>
                  <a:lnTo>
                    <a:pt x="66131" y="40660"/>
                  </a:lnTo>
                  <a:lnTo>
                    <a:pt x="66697" y="39339"/>
                  </a:lnTo>
                  <a:lnTo>
                    <a:pt x="66603" y="39528"/>
                  </a:lnTo>
                  <a:lnTo>
                    <a:pt x="66697" y="39056"/>
                  </a:lnTo>
                  <a:lnTo>
                    <a:pt x="66791" y="38962"/>
                  </a:lnTo>
                  <a:lnTo>
                    <a:pt x="66791" y="39056"/>
                  </a:lnTo>
                  <a:lnTo>
                    <a:pt x="66886" y="38584"/>
                  </a:lnTo>
                  <a:lnTo>
                    <a:pt x="66791" y="38867"/>
                  </a:lnTo>
                  <a:lnTo>
                    <a:pt x="66980" y="38207"/>
                  </a:lnTo>
                  <a:lnTo>
                    <a:pt x="67169" y="37264"/>
                  </a:lnTo>
                  <a:lnTo>
                    <a:pt x="67263" y="36415"/>
                  </a:lnTo>
                  <a:lnTo>
                    <a:pt x="67357" y="36509"/>
                  </a:lnTo>
                  <a:lnTo>
                    <a:pt x="67452" y="36509"/>
                  </a:lnTo>
                  <a:lnTo>
                    <a:pt x="67546" y="35943"/>
                  </a:lnTo>
                  <a:lnTo>
                    <a:pt x="67546" y="34811"/>
                  </a:lnTo>
                  <a:lnTo>
                    <a:pt x="67640" y="31037"/>
                  </a:lnTo>
                  <a:lnTo>
                    <a:pt x="67640" y="28490"/>
                  </a:lnTo>
                  <a:lnTo>
                    <a:pt x="67546" y="27736"/>
                  </a:lnTo>
                  <a:lnTo>
                    <a:pt x="67546" y="27547"/>
                  </a:lnTo>
                  <a:lnTo>
                    <a:pt x="67452" y="27547"/>
                  </a:lnTo>
                  <a:lnTo>
                    <a:pt x="67074" y="26792"/>
                  </a:lnTo>
                  <a:lnTo>
                    <a:pt x="66791" y="25660"/>
                  </a:lnTo>
                  <a:lnTo>
                    <a:pt x="66508" y="24528"/>
                  </a:lnTo>
                  <a:lnTo>
                    <a:pt x="66414" y="23585"/>
                  </a:lnTo>
                  <a:lnTo>
                    <a:pt x="66320" y="23679"/>
                  </a:lnTo>
                  <a:lnTo>
                    <a:pt x="66320" y="23490"/>
                  </a:lnTo>
                  <a:lnTo>
                    <a:pt x="65942" y="22924"/>
                  </a:lnTo>
                  <a:lnTo>
                    <a:pt x="65565" y="22358"/>
                  </a:lnTo>
                  <a:lnTo>
                    <a:pt x="64527" y="21132"/>
                  </a:lnTo>
                  <a:lnTo>
                    <a:pt x="63584" y="19906"/>
                  </a:lnTo>
                  <a:lnTo>
                    <a:pt x="63207" y="19340"/>
                  </a:lnTo>
                  <a:lnTo>
                    <a:pt x="63018" y="18774"/>
                  </a:lnTo>
                  <a:lnTo>
                    <a:pt x="63112" y="18962"/>
                  </a:lnTo>
                  <a:lnTo>
                    <a:pt x="63301" y="19057"/>
                  </a:lnTo>
                  <a:lnTo>
                    <a:pt x="63301" y="19057"/>
                  </a:lnTo>
                  <a:lnTo>
                    <a:pt x="63207" y="18868"/>
                  </a:lnTo>
                  <a:lnTo>
                    <a:pt x="62923" y="18491"/>
                  </a:lnTo>
                  <a:lnTo>
                    <a:pt x="61980" y="17453"/>
                  </a:lnTo>
                  <a:lnTo>
                    <a:pt x="61037" y="16509"/>
                  </a:lnTo>
                  <a:lnTo>
                    <a:pt x="61037" y="16698"/>
                  </a:lnTo>
                  <a:lnTo>
                    <a:pt x="61037" y="16887"/>
                  </a:lnTo>
                  <a:lnTo>
                    <a:pt x="60093" y="15943"/>
                  </a:lnTo>
                  <a:lnTo>
                    <a:pt x="60376" y="16321"/>
                  </a:lnTo>
                  <a:lnTo>
                    <a:pt x="59527" y="15377"/>
                  </a:lnTo>
                  <a:lnTo>
                    <a:pt x="59056" y="14906"/>
                  </a:lnTo>
                  <a:lnTo>
                    <a:pt x="59244" y="14906"/>
                  </a:lnTo>
                  <a:lnTo>
                    <a:pt x="59905" y="15472"/>
                  </a:lnTo>
                  <a:lnTo>
                    <a:pt x="59905" y="15472"/>
                  </a:lnTo>
                  <a:lnTo>
                    <a:pt x="57641" y="13396"/>
                  </a:lnTo>
                  <a:lnTo>
                    <a:pt x="58112" y="13868"/>
                  </a:lnTo>
                  <a:lnTo>
                    <a:pt x="56886" y="13019"/>
                  </a:lnTo>
                  <a:lnTo>
                    <a:pt x="55754" y="12453"/>
                  </a:lnTo>
                  <a:lnTo>
                    <a:pt x="56603" y="13113"/>
                  </a:lnTo>
                  <a:lnTo>
                    <a:pt x="57452" y="13774"/>
                  </a:lnTo>
                  <a:lnTo>
                    <a:pt x="58961" y="15283"/>
                  </a:lnTo>
                  <a:lnTo>
                    <a:pt x="60376" y="16604"/>
                  </a:lnTo>
                  <a:lnTo>
                    <a:pt x="61225" y="17264"/>
                  </a:lnTo>
                  <a:lnTo>
                    <a:pt x="62074" y="17925"/>
                  </a:lnTo>
                  <a:lnTo>
                    <a:pt x="62074" y="17925"/>
                  </a:lnTo>
                  <a:lnTo>
                    <a:pt x="61414" y="17547"/>
                  </a:lnTo>
                  <a:lnTo>
                    <a:pt x="60659" y="16981"/>
                  </a:lnTo>
                  <a:lnTo>
                    <a:pt x="60754" y="17264"/>
                  </a:lnTo>
                  <a:lnTo>
                    <a:pt x="60942" y="17642"/>
                  </a:lnTo>
                  <a:lnTo>
                    <a:pt x="61980" y="19151"/>
                  </a:lnTo>
                  <a:lnTo>
                    <a:pt x="63301" y="20943"/>
                  </a:lnTo>
                  <a:lnTo>
                    <a:pt x="63207" y="20943"/>
                  </a:lnTo>
                  <a:lnTo>
                    <a:pt x="63395" y="21038"/>
                  </a:lnTo>
                  <a:lnTo>
                    <a:pt x="63490" y="21321"/>
                  </a:lnTo>
                  <a:lnTo>
                    <a:pt x="63678" y="21604"/>
                  </a:lnTo>
                  <a:lnTo>
                    <a:pt x="63773" y="21698"/>
                  </a:lnTo>
                  <a:lnTo>
                    <a:pt x="63584" y="21321"/>
                  </a:lnTo>
                  <a:lnTo>
                    <a:pt x="63584" y="21321"/>
                  </a:lnTo>
                  <a:lnTo>
                    <a:pt x="64244" y="22170"/>
                  </a:lnTo>
                  <a:lnTo>
                    <a:pt x="64716" y="22641"/>
                  </a:lnTo>
                  <a:lnTo>
                    <a:pt x="64905" y="22830"/>
                  </a:lnTo>
                  <a:lnTo>
                    <a:pt x="64999" y="22830"/>
                  </a:lnTo>
                  <a:lnTo>
                    <a:pt x="64999" y="22641"/>
                  </a:lnTo>
                  <a:lnTo>
                    <a:pt x="64905" y="22358"/>
                  </a:lnTo>
                  <a:lnTo>
                    <a:pt x="65282" y="23207"/>
                  </a:lnTo>
                  <a:lnTo>
                    <a:pt x="65565" y="24056"/>
                  </a:lnTo>
                  <a:lnTo>
                    <a:pt x="66225" y="25943"/>
                  </a:lnTo>
                  <a:lnTo>
                    <a:pt x="66697" y="27830"/>
                  </a:lnTo>
                  <a:lnTo>
                    <a:pt x="66886" y="28490"/>
                  </a:lnTo>
                  <a:lnTo>
                    <a:pt x="66980" y="28868"/>
                  </a:lnTo>
                  <a:lnTo>
                    <a:pt x="66886" y="28962"/>
                  </a:lnTo>
                  <a:lnTo>
                    <a:pt x="66697" y="28679"/>
                  </a:lnTo>
                  <a:lnTo>
                    <a:pt x="66697" y="29245"/>
                  </a:lnTo>
                  <a:lnTo>
                    <a:pt x="66791" y="29905"/>
                  </a:lnTo>
                  <a:lnTo>
                    <a:pt x="66886" y="29905"/>
                  </a:lnTo>
                  <a:lnTo>
                    <a:pt x="66886" y="30094"/>
                  </a:lnTo>
                  <a:lnTo>
                    <a:pt x="66886" y="30566"/>
                  </a:lnTo>
                  <a:lnTo>
                    <a:pt x="66697" y="30377"/>
                  </a:lnTo>
                  <a:lnTo>
                    <a:pt x="66603" y="30188"/>
                  </a:lnTo>
                  <a:lnTo>
                    <a:pt x="66603" y="30094"/>
                  </a:lnTo>
                  <a:lnTo>
                    <a:pt x="66697" y="29905"/>
                  </a:lnTo>
                  <a:lnTo>
                    <a:pt x="66508" y="28679"/>
                  </a:lnTo>
                  <a:lnTo>
                    <a:pt x="66225" y="27358"/>
                  </a:lnTo>
                  <a:lnTo>
                    <a:pt x="66603" y="30283"/>
                  </a:lnTo>
                  <a:lnTo>
                    <a:pt x="66697" y="31792"/>
                  </a:lnTo>
                  <a:lnTo>
                    <a:pt x="66697" y="33302"/>
                  </a:lnTo>
                  <a:lnTo>
                    <a:pt x="66603" y="34717"/>
                  </a:lnTo>
                  <a:lnTo>
                    <a:pt x="66414" y="36226"/>
                  </a:lnTo>
                  <a:lnTo>
                    <a:pt x="66131" y="37547"/>
                  </a:lnTo>
                  <a:lnTo>
                    <a:pt x="65659" y="38962"/>
                  </a:lnTo>
                  <a:lnTo>
                    <a:pt x="65848" y="38584"/>
                  </a:lnTo>
                  <a:lnTo>
                    <a:pt x="65942" y="38584"/>
                  </a:lnTo>
                  <a:lnTo>
                    <a:pt x="65848" y="39245"/>
                  </a:lnTo>
                  <a:lnTo>
                    <a:pt x="65565" y="40188"/>
                  </a:lnTo>
                  <a:lnTo>
                    <a:pt x="65471" y="40471"/>
                  </a:lnTo>
                  <a:lnTo>
                    <a:pt x="65282" y="40660"/>
                  </a:lnTo>
                  <a:lnTo>
                    <a:pt x="65282" y="40566"/>
                  </a:lnTo>
                  <a:lnTo>
                    <a:pt x="65093" y="41132"/>
                  </a:lnTo>
                  <a:lnTo>
                    <a:pt x="64433" y="43018"/>
                  </a:lnTo>
                  <a:lnTo>
                    <a:pt x="63678" y="45282"/>
                  </a:lnTo>
                  <a:lnTo>
                    <a:pt x="62735" y="47264"/>
                  </a:lnTo>
                  <a:lnTo>
                    <a:pt x="61697" y="49056"/>
                  </a:lnTo>
                  <a:lnTo>
                    <a:pt x="60659" y="50943"/>
                  </a:lnTo>
                  <a:lnTo>
                    <a:pt x="59433" y="52735"/>
                  </a:lnTo>
                  <a:lnTo>
                    <a:pt x="58207" y="54433"/>
                  </a:lnTo>
                  <a:lnTo>
                    <a:pt x="56886" y="56037"/>
                  </a:lnTo>
                  <a:lnTo>
                    <a:pt x="55376" y="57641"/>
                  </a:lnTo>
                  <a:lnTo>
                    <a:pt x="53867" y="59150"/>
                  </a:lnTo>
                  <a:lnTo>
                    <a:pt x="52169" y="60376"/>
                  </a:lnTo>
                  <a:lnTo>
                    <a:pt x="48961" y="62452"/>
                  </a:lnTo>
                  <a:lnTo>
                    <a:pt x="44528" y="65282"/>
                  </a:lnTo>
                  <a:lnTo>
                    <a:pt x="44622" y="65188"/>
                  </a:lnTo>
                  <a:lnTo>
                    <a:pt x="44716" y="65093"/>
                  </a:lnTo>
                  <a:lnTo>
                    <a:pt x="45094" y="64810"/>
                  </a:lnTo>
                  <a:lnTo>
                    <a:pt x="45660" y="64527"/>
                  </a:lnTo>
                  <a:lnTo>
                    <a:pt x="43867" y="65376"/>
                  </a:lnTo>
                  <a:lnTo>
                    <a:pt x="43113" y="65754"/>
                  </a:lnTo>
                  <a:lnTo>
                    <a:pt x="42924" y="65754"/>
                  </a:lnTo>
                  <a:lnTo>
                    <a:pt x="43113" y="65659"/>
                  </a:lnTo>
                  <a:lnTo>
                    <a:pt x="41603" y="66037"/>
                  </a:lnTo>
                  <a:lnTo>
                    <a:pt x="39999" y="66320"/>
                  </a:lnTo>
                  <a:lnTo>
                    <a:pt x="38396" y="66508"/>
                  </a:lnTo>
                  <a:lnTo>
                    <a:pt x="36792" y="66697"/>
                  </a:lnTo>
                  <a:lnTo>
                    <a:pt x="33584" y="66980"/>
                  </a:lnTo>
                  <a:lnTo>
                    <a:pt x="32169" y="67169"/>
                  </a:lnTo>
                  <a:lnTo>
                    <a:pt x="30754" y="67357"/>
                  </a:lnTo>
                  <a:lnTo>
                    <a:pt x="30094" y="67357"/>
                  </a:lnTo>
                  <a:lnTo>
                    <a:pt x="29339" y="67263"/>
                  </a:lnTo>
                  <a:lnTo>
                    <a:pt x="27830" y="66886"/>
                  </a:lnTo>
                  <a:lnTo>
                    <a:pt x="26415" y="66508"/>
                  </a:lnTo>
                  <a:lnTo>
                    <a:pt x="25754" y="66414"/>
                  </a:lnTo>
                  <a:lnTo>
                    <a:pt x="25094" y="66414"/>
                  </a:lnTo>
                  <a:lnTo>
                    <a:pt x="25566" y="66980"/>
                  </a:lnTo>
                  <a:lnTo>
                    <a:pt x="25471" y="67074"/>
                  </a:lnTo>
                  <a:lnTo>
                    <a:pt x="25188" y="66980"/>
                  </a:lnTo>
                  <a:lnTo>
                    <a:pt x="24339" y="66791"/>
                  </a:lnTo>
                  <a:lnTo>
                    <a:pt x="23773" y="66508"/>
                  </a:lnTo>
                  <a:lnTo>
                    <a:pt x="24245" y="66414"/>
                  </a:lnTo>
                  <a:lnTo>
                    <a:pt x="24717" y="66603"/>
                  </a:lnTo>
                  <a:lnTo>
                    <a:pt x="24811" y="66414"/>
                  </a:lnTo>
                  <a:lnTo>
                    <a:pt x="24811" y="66320"/>
                  </a:lnTo>
                  <a:lnTo>
                    <a:pt x="24717" y="66225"/>
                  </a:lnTo>
                  <a:lnTo>
                    <a:pt x="24528" y="66131"/>
                  </a:lnTo>
                  <a:lnTo>
                    <a:pt x="24151" y="66225"/>
                  </a:lnTo>
                  <a:lnTo>
                    <a:pt x="23679" y="66320"/>
                  </a:lnTo>
                  <a:lnTo>
                    <a:pt x="23018" y="66414"/>
                  </a:lnTo>
                  <a:lnTo>
                    <a:pt x="23490" y="66225"/>
                  </a:lnTo>
                  <a:lnTo>
                    <a:pt x="22075" y="65942"/>
                  </a:lnTo>
                  <a:lnTo>
                    <a:pt x="20943" y="65659"/>
                  </a:lnTo>
                  <a:lnTo>
                    <a:pt x="20000" y="65282"/>
                  </a:lnTo>
                  <a:lnTo>
                    <a:pt x="19056" y="64810"/>
                  </a:lnTo>
                  <a:lnTo>
                    <a:pt x="19056" y="64810"/>
                  </a:lnTo>
                  <a:lnTo>
                    <a:pt x="19717" y="64999"/>
                  </a:lnTo>
                  <a:lnTo>
                    <a:pt x="19151" y="64716"/>
                  </a:lnTo>
                  <a:lnTo>
                    <a:pt x="18962" y="64810"/>
                  </a:lnTo>
                  <a:lnTo>
                    <a:pt x="19151" y="64905"/>
                  </a:lnTo>
                  <a:lnTo>
                    <a:pt x="18490" y="64905"/>
                  </a:lnTo>
                  <a:lnTo>
                    <a:pt x="17830" y="64716"/>
                  </a:lnTo>
                  <a:lnTo>
                    <a:pt x="17264" y="64527"/>
                  </a:lnTo>
                  <a:lnTo>
                    <a:pt x="16698" y="64150"/>
                  </a:lnTo>
                  <a:lnTo>
                    <a:pt x="16981" y="64056"/>
                  </a:lnTo>
                  <a:lnTo>
                    <a:pt x="17264" y="64150"/>
                  </a:lnTo>
                  <a:lnTo>
                    <a:pt x="17264" y="64150"/>
                  </a:lnTo>
                  <a:lnTo>
                    <a:pt x="15188" y="63207"/>
                  </a:lnTo>
                  <a:lnTo>
                    <a:pt x="14622" y="62829"/>
                  </a:lnTo>
                  <a:lnTo>
                    <a:pt x="14717" y="62924"/>
                  </a:lnTo>
                  <a:lnTo>
                    <a:pt x="13773" y="62546"/>
                  </a:lnTo>
                  <a:lnTo>
                    <a:pt x="12924" y="62075"/>
                  </a:lnTo>
                  <a:lnTo>
                    <a:pt x="12358" y="61697"/>
                  </a:lnTo>
                  <a:lnTo>
                    <a:pt x="12264" y="61508"/>
                  </a:lnTo>
                  <a:lnTo>
                    <a:pt x="12170" y="61320"/>
                  </a:lnTo>
                  <a:lnTo>
                    <a:pt x="11698" y="60942"/>
                  </a:lnTo>
                  <a:lnTo>
                    <a:pt x="11132" y="60471"/>
                  </a:lnTo>
                  <a:lnTo>
                    <a:pt x="9906" y="59244"/>
                  </a:lnTo>
                  <a:lnTo>
                    <a:pt x="9906" y="59244"/>
                  </a:lnTo>
                  <a:lnTo>
                    <a:pt x="10566" y="59527"/>
                  </a:lnTo>
                  <a:lnTo>
                    <a:pt x="9434" y="58584"/>
                  </a:lnTo>
                  <a:lnTo>
                    <a:pt x="8207" y="57546"/>
                  </a:lnTo>
                  <a:lnTo>
                    <a:pt x="7547" y="56886"/>
                  </a:lnTo>
                  <a:lnTo>
                    <a:pt x="6981" y="56131"/>
                  </a:lnTo>
                  <a:lnTo>
                    <a:pt x="6226" y="55094"/>
                  </a:lnTo>
                  <a:lnTo>
                    <a:pt x="6415" y="55377"/>
                  </a:lnTo>
                  <a:lnTo>
                    <a:pt x="6038" y="54905"/>
                  </a:lnTo>
                  <a:lnTo>
                    <a:pt x="5472" y="54244"/>
                  </a:lnTo>
                  <a:lnTo>
                    <a:pt x="5283" y="53961"/>
                  </a:lnTo>
                  <a:lnTo>
                    <a:pt x="5094" y="53867"/>
                  </a:lnTo>
                  <a:lnTo>
                    <a:pt x="5377" y="54622"/>
                  </a:lnTo>
                  <a:lnTo>
                    <a:pt x="5849" y="55282"/>
                  </a:lnTo>
                  <a:lnTo>
                    <a:pt x="6321" y="55943"/>
                  </a:lnTo>
                  <a:lnTo>
                    <a:pt x="6698" y="56603"/>
                  </a:lnTo>
                  <a:lnTo>
                    <a:pt x="6226" y="56226"/>
                  </a:lnTo>
                  <a:lnTo>
                    <a:pt x="5943" y="55848"/>
                  </a:lnTo>
                  <a:lnTo>
                    <a:pt x="6038" y="56037"/>
                  </a:lnTo>
                  <a:lnTo>
                    <a:pt x="5943" y="55943"/>
                  </a:lnTo>
                  <a:lnTo>
                    <a:pt x="5377" y="55188"/>
                  </a:lnTo>
                  <a:lnTo>
                    <a:pt x="5000" y="54716"/>
                  </a:lnTo>
                  <a:lnTo>
                    <a:pt x="4717" y="54150"/>
                  </a:lnTo>
                  <a:lnTo>
                    <a:pt x="4528" y="53678"/>
                  </a:lnTo>
                  <a:lnTo>
                    <a:pt x="4528" y="53584"/>
                  </a:lnTo>
                  <a:lnTo>
                    <a:pt x="4623" y="53395"/>
                  </a:lnTo>
                  <a:lnTo>
                    <a:pt x="5094" y="54244"/>
                  </a:lnTo>
                  <a:lnTo>
                    <a:pt x="4717" y="53301"/>
                  </a:lnTo>
                  <a:lnTo>
                    <a:pt x="4528" y="53018"/>
                  </a:lnTo>
                  <a:lnTo>
                    <a:pt x="4151" y="52263"/>
                  </a:lnTo>
                  <a:lnTo>
                    <a:pt x="4151" y="52169"/>
                  </a:lnTo>
                  <a:lnTo>
                    <a:pt x="3774" y="51509"/>
                  </a:lnTo>
                  <a:lnTo>
                    <a:pt x="3396" y="50660"/>
                  </a:lnTo>
                  <a:lnTo>
                    <a:pt x="3585" y="51603"/>
                  </a:lnTo>
                  <a:lnTo>
                    <a:pt x="3396" y="51226"/>
                  </a:lnTo>
                  <a:lnTo>
                    <a:pt x="3208" y="50848"/>
                  </a:lnTo>
                  <a:lnTo>
                    <a:pt x="3208" y="50471"/>
                  </a:lnTo>
                  <a:lnTo>
                    <a:pt x="3208" y="50094"/>
                  </a:lnTo>
                  <a:lnTo>
                    <a:pt x="3585" y="50754"/>
                  </a:lnTo>
                  <a:lnTo>
                    <a:pt x="3868" y="51509"/>
                  </a:lnTo>
                  <a:lnTo>
                    <a:pt x="3868" y="51509"/>
                  </a:lnTo>
                  <a:lnTo>
                    <a:pt x="3208" y="49528"/>
                  </a:lnTo>
                  <a:lnTo>
                    <a:pt x="3208" y="49528"/>
                  </a:lnTo>
                  <a:lnTo>
                    <a:pt x="3868" y="50754"/>
                  </a:lnTo>
                  <a:lnTo>
                    <a:pt x="3208" y="48962"/>
                  </a:lnTo>
                  <a:lnTo>
                    <a:pt x="3585" y="49339"/>
                  </a:lnTo>
                  <a:lnTo>
                    <a:pt x="3774" y="49433"/>
                  </a:lnTo>
                  <a:lnTo>
                    <a:pt x="3962" y="49528"/>
                  </a:lnTo>
                  <a:lnTo>
                    <a:pt x="4057" y="49905"/>
                  </a:lnTo>
                  <a:lnTo>
                    <a:pt x="3868" y="48962"/>
                  </a:lnTo>
                  <a:lnTo>
                    <a:pt x="3491" y="47924"/>
                  </a:lnTo>
                  <a:lnTo>
                    <a:pt x="2641" y="45565"/>
                  </a:lnTo>
                  <a:lnTo>
                    <a:pt x="2170" y="43867"/>
                  </a:lnTo>
                  <a:lnTo>
                    <a:pt x="1698" y="41886"/>
                  </a:lnTo>
                  <a:lnTo>
                    <a:pt x="1698" y="41886"/>
                  </a:lnTo>
                  <a:lnTo>
                    <a:pt x="1887" y="42075"/>
                  </a:lnTo>
                  <a:lnTo>
                    <a:pt x="1981" y="41981"/>
                  </a:lnTo>
                  <a:lnTo>
                    <a:pt x="2075" y="42075"/>
                  </a:lnTo>
                  <a:lnTo>
                    <a:pt x="2264" y="42169"/>
                  </a:lnTo>
                  <a:lnTo>
                    <a:pt x="2170" y="40283"/>
                  </a:lnTo>
                  <a:lnTo>
                    <a:pt x="2075" y="38301"/>
                  </a:lnTo>
                  <a:lnTo>
                    <a:pt x="2170" y="36415"/>
                  </a:lnTo>
                  <a:lnTo>
                    <a:pt x="2358" y="35566"/>
                  </a:lnTo>
                  <a:lnTo>
                    <a:pt x="2453" y="34811"/>
                  </a:lnTo>
                  <a:lnTo>
                    <a:pt x="2830" y="32830"/>
                  </a:lnTo>
                  <a:lnTo>
                    <a:pt x="2830" y="33207"/>
                  </a:lnTo>
                  <a:lnTo>
                    <a:pt x="2924" y="33490"/>
                  </a:lnTo>
                  <a:lnTo>
                    <a:pt x="2924" y="32453"/>
                  </a:lnTo>
                  <a:lnTo>
                    <a:pt x="3019" y="31415"/>
                  </a:lnTo>
                  <a:lnTo>
                    <a:pt x="3396" y="29245"/>
                  </a:lnTo>
                  <a:lnTo>
                    <a:pt x="3868" y="27075"/>
                  </a:lnTo>
                  <a:lnTo>
                    <a:pt x="4623" y="25000"/>
                  </a:lnTo>
                  <a:lnTo>
                    <a:pt x="5566" y="22830"/>
                  </a:lnTo>
                  <a:lnTo>
                    <a:pt x="6604" y="20849"/>
                  </a:lnTo>
                  <a:lnTo>
                    <a:pt x="7830" y="18868"/>
                  </a:lnTo>
                  <a:lnTo>
                    <a:pt x="9151" y="16887"/>
                  </a:lnTo>
                  <a:lnTo>
                    <a:pt x="10566" y="15094"/>
                  </a:lnTo>
                  <a:lnTo>
                    <a:pt x="12075" y="13302"/>
                  </a:lnTo>
                  <a:lnTo>
                    <a:pt x="13773" y="11698"/>
                  </a:lnTo>
                  <a:lnTo>
                    <a:pt x="15377" y="10095"/>
                  </a:lnTo>
                  <a:lnTo>
                    <a:pt x="17170" y="8679"/>
                  </a:lnTo>
                  <a:lnTo>
                    <a:pt x="18962" y="7453"/>
                  </a:lnTo>
                  <a:lnTo>
                    <a:pt x="20754" y="6321"/>
                  </a:lnTo>
                  <a:lnTo>
                    <a:pt x="22547" y="5378"/>
                  </a:lnTo>
                  <a:lnTo>
                    <a:pt x="21603" y="6227"/>
                  </a:lnTo>
                  <a:lnTo>
                    <a:pt x="22641" y="5472"/>
                  </a:lnTo>
                  <a:lnTo>
                    <a:pt x="23302" y="5095"/>
                  </a:lnTo>
                  <a:lnTo>
                    <a:pt x="25377" y="4151"/>
                  </a:lnTo>
                  <a:lnTo>
                    <a:pt x="24811" y="4151"/>
                  </a:lnTo>
                  <a:lnTo>
                    <a:pt x="25660" y="3774"/>
                  </a:lnTo>
                  <a:lnTo>
                    <a:pt x="26886" y="3208"/>
                  </a:lnTo>
                  <a:lnTo>
                    <a:pt x="26603" y="3585"/>
                  </a:lnTo>
                  <a:lnTo>
                    <a:pt x="26886" y="3585"/>
                  </a:lnTo>
                  <a:lnTo>
                    <a:pt x="26886" y="3680"/>
                  </a:lnTo>
                  <a:lnTo>
                    <a:pt x="26792" y="3774"/>
                  </a:lnTo>
                  <a:lnTo>
                    <a:pt x="28301" y="3302"/>
                  </a:lnTo>
                  <a:lnTo>
                    <a:pt x="29622" y="2736"/>
                  </a:lnTo>
                  <a:lnTo>
                    <a:pt x="31037" y="2264"/>
                  </a:lnTo>
                  <a:lnTo>
                    <a:pt x="31792" y="2076"/>
                  </a:lnTo>
                  <a:lnTo>
                    <a:pt x="32641" y="1981"/>
                  </a:lnTo>
                  <a:lnTo>
                    <a:pt x="32547" y="2076"/>
                  </a:lnTo>
                  <a:lnTo>
                    <a:pt x="32924" y="1981"/>
                  </a:lnTo>
                  <a:lnTo>
                    <a:pt x="34245" y="1793"/>
                  </a:lnTo>
                  <a:lnTo>
                    <a:pt x="35848" y="1415"/>
                  </a:lnTo>
                  <a:lnTo>
                    <a:pt x="36981" y="1132"/>
                  </a:lnTo>
                  <a:lnTo>
                    <a:pt x="36981" y="1415"/>
                  </a:lnTo>
                  <a:lnTo>
                    <a:pt x="40943" y="1227"/>
                  </a:lnTo>
                  <a:lnTo>
                    <a:pt x="41509" y="1038"/>
                  </a:lnTo>
                  <a:lnTo>
                    <a:pt x="41697" y="1132"/>
                  </a:lnTo>
                  <a:lnTo>
                    <a:pt x="41509" y="1227"/>
                  </a:lnTo>
                  <a:lnTo>
                    <a:pt x="41320" y="1321"/>
                  </a:lnTo>
                  <a:lnTo>
                    <a:pt x="42263" y="1321"/>
                  </a:lnTo>
                  <a:lnTo>
                    <a:pt x="43113" y="1227"/>
                  </a:lnTo>
                  <a:lnTo>
                    <a:pt x="43396" y="1415"/>
                  </a:lnTo>
                  <a:lnTo>
                    <a:pt x="44056" y="1604"/>
                  </a:lnTo>
                  <a:lnTo>
                    <a:pt x="45943" y="2076"/>
                  </a:lnTo>
                  <a:lnTo>
                    <a:pt x="48018" y="2359"/>
                  </a:lnTo>
                  <a:lnTo>
                    <a:pt x="49622" y="2736"/>
                  </a:lnTo>
                  <a:lnTo>
                    <a:pt x="47641" y="1981"/>
                  </a:lnTo>
                  <a:lnTo>
                    <a:pt x="45282" y="1321"/>
                  </a:lnTo>
                  <a:lnTo>
                    <a:pt x="42735" y="755"/>
                  </a:lnTo>
                  <a:lnTo>
                    <a:pt x="40188" y="283"/>
                  </a:lnTo>
                  <a:lnTo>
                    <a:pt x="37735" y="95"/>
                  </a:lnTo>
                  <a:lnTo>
                    <a:pt x="35471" y="0"/>
                  </a:lnTo>
                  <a:close/>
                </a:path>
              </a:pathLst>
            </a:custGeom>
            <a:solidFill>
              <a:srgbClr val="FF0000"/>
            </a:solidFill>
            <a:ln>
              <a:noFill/>
            </a:ln>
          </p:spPr>
          <p:txBody>
            <a:bodyPr spcFirstLastPara="1" wrap="square" lIns="91425" tIns="91425" rIns="91425" bIns="91425" anchor="ctr" anchorCtr="0">
              <a:noAutofit/>
            </a:bodyPr>
            <a:lstStyle/>
            <a:p>
              <a:pPr marL="0" lvl="0" indent="0">
                <a:spcBef>
                  <a:spcPts val="0"/>
                </a:spcBef>
                <a:spcAft>
                  <a:spcPts val="0"/>
                </a:spcAft>
                <a:buNone/>
              </a:pPr>
              <a:endParaRPr sz="800">
                <a:latin typeface="Comic Sans MS" panose="030F0902030302020204" pitchFamily="66" charset="0"/>
              </a:endParaRPr>
            </a:p>
          </p:txBody>
        </p:sp>
        <p:sp>
          <p:nvSpPr>
            <p:cNvPr id="70" name="TextBox 69">
              <a:extLst>
                <a:ext uri="{FF2B5EF4-FFF2-40B4-BE49-F238E27FC236}">
                  <a16:creationId xmlns:a16="http://schemas.microsoft.com/office/drawing/2014/main" id="{42F5E975-D509-AB49-A04E-FB361D8F9066}"/>
                </a:ext>
              </a:extLst>
            </p:cNvPr>
            <p:cNvSpPr txBox="1"/>
            <p:nvPr/>
          </p:nvSpPr>
          <p:spPr>
            <a:xfrm>
              <a:off x="702590" y="1244892"/>
              <a:ext cx="301686" cy="180620"/>
            </a:xfrm>
            <a:prstGeom prst="rect">
              <a:avLst/>
            </a:prstGeom>
            <a:noFill/>
          </p:spPr>
          <p:txBody>
            <a:bodyPr wrap="square" rtlCol="0">
              <a:spAutoFit/>
            </a:bodyPr>
            <a:lstStyle/>
            <a:p>
              <a:r>
                <a:rPr lang="en-US" sz="300" dirty="0">
                  <a:solidFill>
                    <a:srgbClr val="FF0000"/>
                  </a:solidFill>
                  <a:latin typeface="Comic Sans MS" panose="030F0902030302020204" pitchFamily="66" charset="0"/>
                </a:rPr>
                <a:t>2.</a:t>
              </a:r>
            </a:p>
          </p:txBody>
        </p:sp>
      </p:grpSp>
      <p:grpSp>
        <p:nvGrpSpPr>
          <p:cNvPr id="325" name="Group 324">
            <a:extLst>
              <a:ext uri="{FF2B5EF4-FFF2-40B4-BE49-F238E27FC236}">
                <a16:creationId xmlns:a16="http://schemas.microsoft.com/office/drawing/2014/main" id="{F15A52DC-9DA7-BF43-9F82-49F6F5ED0ACE}"/>
              </a:ext>
            </a:extLst>
          </p:cNvPr>
          <p:cNvGrpSpPr/>
          <p:nvPr/>
        </p:nvGrpSpPr>
        <p:grpSpPr>
          <a:xfrm rot="21011211">
            <a:off x="551137" y="3117211"/>
            <a:ext cx="292910" cy="222927"/>
            <a:chOff x="702590" y="1203599"/>
            <a:chExt cx="301686" cy="290724"/>
          </a:xfrm>
        </p:grpSpPr>
        <p:sp>
          <p:nvSpPr>
            <p:cNvPr id="326" name="Google Shape;431;p39">
              <a:extLst>
                <a:ext uri="{FF2B5EF4-FFF2-40B4-BE49-F238E27FC236}">
                  <a16:creationId xmlns:a16="http://schemas.microsoft.com/office/drawing/2014/main" id="{11158A78-5D02-6949-A18A-7C0AB477D296}"/>
                </a:ext>
              </a:extLst>
            </p:cNvPr>
            <p:cNvSpPr/>
            <p:nvPr/>
          </p:nvSpPr>
          <p:spPr>
            <a:xfrm>
              <a:off x="736556" y="1203599"/>
              <a:ext cx="219241" cy="290724"/>
            </a:xfrm>
            <a:custGeom>
              <a:avLst/>
              <a:gdLst/>
              <a:ahLst/>
              <a:cxnLst/>
              <a:rect l="0" t="0" r="0" b="0"/>
              <a:pathLst>
                <a:path w="67641" h="69056" extrusionOk="0">
                  <a:moveTo>
                    <a:pt x="49622" y="2736"/>
                  </a:moveTo>
                  <a:lnTo>
                    <a:pt x="49622" y="2736"/>
                  </a:lnTo>
                  <a:lnTo>
                    <a:pt x="49622" y="2736"/>
                  </a:lnTo>
                  <a:close/>
                  <a:moveTo>
                    <a:pt x="59622" y="55565"/>
                  </a:moveTo>
                  <a:lnTo>
                    <a:pt x="59622" y="55565"/>
                  </a:lnTo>
                  <a:lnTo>
                    <a:pt x="59622" y="55565"/>
                  </a:lnTo>
                  <a:close/>
                  <a:moveTo>
                    <a:pt x="35471" y="0"/>
                  </a:moveTo>
                  <a:lnTo>
                    <a:pt x="34433" y="95"/>
                  </a:lnTo>
                  <a:lnTo>
                    <a:pt x="33584" y="189"/>
                  </a:lnTo>
                  <a:lnTo>
                    <a:pt x="32735" y="378"/>
                  </a:lnTo>
                  <a:lnTo>
                    <a:pt x="32169" y="566"/>
                  </a:lnTo>
                  <a:lnTo>
                    <a:pt x="31509" y="472"/>
                  </a:lnTo>
                  <a:lnTo>
                    <a:pt x="30754" y="472"/>
                  </a:lnTo>
                  <a:lnTo>
                    <a:pt x="29339" y="566"/>
                  </a:lnTo>
                  <a:lnTo>
                    <a:pt x="27830" y="849"/>
                  </a:lnTo>
                  <a:lnTo>
                    <a:pt x="26320" y="1321"/>
                  </a:lnTo>
                  <a:lnTo>
                    <a:pt x="24811" y="1981"/>
                  </a:lnTo>
                  <a:lnTo>
                    <a:pt x="23207" y="2736"/>
                  </a:lnTo>
                  <a:lnTo>
                    <a:pt x="21698" y="3585"/>
                  </a:lnTo>
                  <a:lnTo>
                    <a:pt x="20188" y="4623"/>
                  </a:lnTo>
                  <a:lnTo>
                    <a:pt x="18679" y="5661"/>
                  </a:lnTo>
                  <a:lnTo>
                    <a:pt x="17170" y="6793"/>
                  </a:lnTo>
                  <a:lnTo>
                    <a:pt x="15754" y="8019"/>
                  </a:lnTo>
                  <a:lnTo>
                    <a:pt x="14434" y="9151"/>
                  </a:lnTo>
                  <a:lnTo>
                    <a:pt x="11981" y="11510"/>
                  </a:lnTo>
                  <a:lnTo>
                    <a:pt x="10000" y="13774"/>
                  </a:lnTo>
                  <a:lnTo>
                    <a:pt x="7736" y="16981"/>
                  </a:lnTo>
                  <a:lnTo>
                    <a:pt x="8019" y="16321"/>
                  </a:lnTo>
                  <a:lnTo>
                    <a:pt x="8302" y="15660"/>
                  </a:lnTo>
                  <a:lnTo>
                    <a:pt x="7736" y="16604"/>
                  </a:lnTo>
                  <a:lnTo>
                    <a:pt x="7075" y="17642"/>
                  </a:lnTo>
                  <a:lnTo>
                    <a:pt x="7170" y="17830"/>
                  </a:lnTo>
                  <a:lnTo>
                    <a:pt x="6509" y="18868"/>
                  </a:lnTo>
                  <a:lnTo>
                    <a:pt x="7075" y="17359"/>
                  </a:lnTo>
                  <a:lnTo>
                    <a:pt x="6132" y="19057"/>
                  </a:lnTo>
                  <a:lnTo>
                    <a:pt x="5189" y="20849"/>
                  </a:lnTo>
                  <a:lnTo>
                    <a:pt x="4434" y="22736"/>
                  </a:lnTo>
                  <a:lnTo>
                    <a:pt x="3679" y="24622"/>
                  </a:lnTo>
                  <a:lnTo>
                    <a:pt x="2453" y="28490"/>
                  </a:lnTo>
                  <a:lnTo>
                    <a:pt x="1321" y="32169"/>
                  </a:lnTo>
                  <a:lnTo>
                    <a:pt x="1509" y="32264"/>
                  </a:lnTo>
                  <a:lnTo>
                    <a:pt x="1604" y="32453"/>
                  </a:lnTo>
                  <a:lnTo>
                    <a:pt x="1604" y="32641"/>
                  </a:lnTo>
                  <a:lnTo>
                    <a:pt x="1509" y="32924"/>
                  </a:lnTo>
                  <a:lnTo>
                    <a:pt x="1226" y="33396"/>
                  </a:lnTo>
                  <a:lnTo>
                    <a:pt x="1038" y="33585"/>
                  </a:lnTo>
                  <a:lnTo>
                    <a:pt x="1038" y="33773"/>
                  </a:lnTo>
                  <a:lnTo>
                    <a:pt x="1038" y="35000"/>
                  </a:lnTo>
                  <a:lnTo>
                    <a:pt x="849" y="36132"/>
                  </a:lnTo>
                  <a:lnTo>
                    <a:pt x="660" y="37358"/>
                  </a:lnTo>
                  <a:lnTo>
                    <a:pt x="472" y="38867"/>
                  </a:lnTo>
                  <a:lnTo>
                    <a:pt x="283" y="38301"/>
                  </a:lnTo>
                  <a:lnTo>
                    <a:pt x="94" y="39811"/>
                  </a:lnTo>
                  <a:lnTo>
                    <a:pt x="0" y="41509"/>
                  </a:lnTo>
                  <a:lnTo>
                    <a:pt x="94" y="43301"/>
                  </a:lnTo>
                  <a:lnTo>
                    <a:pt x="283" y="44056"/>
                  </a:lnTo>
                  <a:lnTo>
                    <a:pt x="472" y="44622"/>
                  </a:lnTo>
                  <a:lnTo>
                    <a:pt x="566" y="45660"/>
                  </a:lnTo>
                  <a:lnTo>
                    <a:pt x="755" y="46792"/>
                  </a:lnTo>
                  <a:lnTo>
                    <a:pt x="1226" y="48962"/>
                  </a:lnTo>
                  <a:lnTo>
                    <a:pt x="1981" y="51037"/>
                  </a:lnTo>
                  <a:lnTo>
                    <a:pt x="2924" y="53112"/>
                  </a:lnTo>
                  <a:lnTo>
                    <a:pt x="4057" y="55094"/>
                  </a:lnTo>
                  <a:lnTo>
                    <a:pt x="5283" y="56980"/>
                  </a:lnTo>
                  <a:lnTo>
                    <a:pt x="6698" y="58678"/>
                  </a:lnTo>
                  <a:lnTo>
                    <a:pt x="8113" y="60282"/>
                  </a:lnTo>
                  <a:lnTo>
                    <a:pt x="9056" y="61131"/>
                  </a:lnTo>
                  <a:lnTo>
                    <a:pt x="10000" y="61980"/>
                  </a:lnTo>
                  <a:lnTo>
                    <a:pt x="11038" y="62829"/>
                  </a:lnTo>
                  <a:lnTo>
                    <a:pt x="12075" y="63584"/>
                  </a:lnTo>
                  <a:lnTo>
                    <a:pt x="14339" y="64905"/>
                  </a:lnTo>
                  <a:lnTo>
                    <a:pt x="16604" y="66131"/>
                  </a:lnTo>
                  <a:lnTo>
                    <a:pt x="19056" y="67169"/>
                  </a:lnTo>
                  <a:lnTo>
                    <a:pt x="21509" y="67923"/>
                  </a:lnTo>
                  <a:lnTo>
                    <a:pt x="24056" y="68584"/>
                  </a:lnTo>
                  <a:lnTo>
                    <a:pt x="26603" y="69055"/>
                  </a:lnTo>
                  <a:lnTo>
                    <a:pt x="27830" y="69055"/>
                  </a:lnTo>
                  <a:lnTo>
                    <a:pt x="30188" y="68867"/>
                  </a:lnTo>
                  <a:lnTo>
                    <a:pt x="33113" y="68678"/>
                  </a:lnTo>
                  <a:lnTo>
                    <a:pt x="36509" y="68301"/>
                  </a:lnTo>
                  <a:lnTo>
                    <a:pt x="39811" y="67923"/>
                  </a:lnTo>
                  <a:lnTo>
                    <a:pt x="42735" y="67452"/>
                  </a:lnTo>
                  <a:lnTo>
                    <a:pt x="44905" y="66980"/>
                  </a:lnTo>
                  <a:lnTo>
                    <a:pt x="45565" y="66791"/>
                  </a:lnTo>
                  <a:lnTo>
                    <a:pt x="45943" y="66508"/>
                  </a:lnTo>
                  <a:lnTo>
                    <a:pt x="47358" y="65942"/>
                  </a:lnTo>
                  <a:lnTo>
                    <a:pt x="48018" y="65565"/>
                  </a:lnTo>
                  <a:lnTo>
                    <a:pt x="48678" y="65188"/>
                  </a:lnTo>
                  <a:lnTo>
                    <a:pt x="47924" y="65471"/>
                  </a:lnTo>
                  <a:lnTo>
                    <a:pt x="51509" y="62924"/>
                  </a:lnTo>
                  <a:lnTo>
                    <a:pt x="53301" y="61508"/>
                  </a:lnTo>
                  <a:lnTo>
                    <a:pt x="55093" y="59905"/>
                  </a:lnTo>
                  <a:lnTo>
                    <a:pt x="55093" y="59905"/>
                  </a:lnTo>
                  <a:lnTo>
                    <a:pt x="54810" y="60376"/>
                  </a:lnTo>
                  <a:lnTo>
                    <a:pt x="54339" y="60754"/>
                  </a:lnTo>
                  <a:lnTo>
                    <a:pt x="55376" y="59999"/>
                  </a:lnTo>
                  <a:lnTo>
                    <a:pt x="56320" y="59056"/>
                  </a:lnTo>
                  <a:lnTo>
                    <a:pt x="57075" y="58395"/>
                  </a:lnTo>
                  <a:lnTo>
                    <a:pt x="57169" y="58207"/>
                  </a:lnTo>
                  <a:lnTo>
                    <a:pt x="57075" y="58207"/>
                  </a:lnTo>
                  <a:lnTo>
                    <a:pt x="57924" y="57546"/>
                  </a:lnTo>
                  <a:lnTo>
                    <a:pt x="58678" y="56697"/>
                  </a:lnTo>
                  <a:lnTo>
                    <a:pt x="59339" y="55754"/>
                  </a:lnTo>
                  <a:lnTo>
                    <a:pt x="59905" y="54905"/>
                  </a:lnTo>
                  <a:lnTo>
                    <a:pt x="59716" y="54999"/>
                  </a:lnTo>
                  <a:lnTo>
                    <a:pt x="59622" y="54999"/>
                  </a:lnTo>
                  <a:lnTo>
                    <a:pt x="59810" y="54622"/>
                  </a:lnTo>
                  <a:lnTo>
                    <a:pt x="59150" y="55565"/>
                  </a:lnTo>
                  <a:lnTo>
                    <a:pt x="59527" y="55094"/>
                  </a:lnTo>
                  <a:lnTo>
                    <a:pt x="59433" y="55377"/>
                  </a:lnTo>
                  <a:lnTo>
                    <a:pt x="58867" y="56037"/>
                  </a:lnTo>
                  <a:lnTo>
                    <a:pt x="59056" y="55660"/>
                  </a:lnTo>
                  <a:lnTo>
                    <a:pt x="59056" y="55660"/>
                  </a:lnTo>
                  <a:lnTo>
                    <a:pt x="58678" y="56037"/>
                  </a:lnTo>
                  <a:lnTo>
                    <a:pt x="59810" y="54339"/>
                  </a:lnTo>
                  <a:lnTo>
                    <a:pt x="60282" y="53490"/>
                  </a:lnTo>
                  <a:lnTo>
                    <a:pt x="60282" y="53301"/>
                  </a:lnTo>
                  <a:lnTo>
                    <a:pt x="60188" y="53395"/>
                  </a:lnTo>
                  <a:lnTo>
                    <a:pt x="60188" y="53395"/>
                  </a:lnTo>
                  <a:lnTo>
                    <a:pt x="60565" y="52924"/>
                  </a:lnTo>
                  <a:lnTo>
                    <a:pt x="61037" y="52452"/>
                  </a:lnTo>
                  <a:lnTo>
                    <a:pt x="61886" y="51509"/>
                  </a:lnTo>
                  <a:lnTo>
                    <a:pt x="61508" y="52452"/>
                  </a:lnTo>
                  <a:lnTo>
                    <a:pt x="60848" y="53584"/>
                  </a:lnTo>
                  <a:lnTo>
                    <a:pt x="59622" y="55565"/>
                  </a:lnTo>
                  <a:lnTo>
                    <a:pt x="60376" y="54528"/>
                  </a:lnTo>
                  <a:lnTo>
                    <a:pt x="60942" y="53678"/>
                  </a:lnTo>
                  <a:lnTo>
                    <a:pt x="61980" y="51792"/>
                  </a:lnTo>
                  <a:lnTo>
                    <a:pt x="61886" y="51886"/>
                  </a:lnTo>
                  <a:lnTo>
                    <a:pt x="61886" y="51697"/>
                  </a:lnTo>
                  <a:lnTo>
                    <a:pt x="62169" y="51037"/>
                  </a:lnTo>
                  <a:lnTo>
                    <a:pt x="62735" y="49999"/>
                  </a:lnTo>
                  <a:lnTo>
                    <a:pt x="61508" y="51603"/>
                  </a:lnTo>
                  <a:lnTo>
                    <a:pt x="61603" y="51037"/>
                  </a:lnTo>
                  <a:lnTo>
                    <a:pt x="61697" y="50377"/>
                  </a:lnTo>
                  <a:lnTo>
                    <a:pt x="62169" y="48962"/>
                  </a:lnTo>
                  <a:lnTo>
                    <a:pt x="62829" y="47358"/>
                  </a:lnTo>
                  <a:lnTo>
                    <a:pt x="63678" y="45565"/>
                  </a:lnTo>
                  <a:lnTo>
                    <a:pt x="65376" y="42169"/>
                  </a:lnTo>
                  <a:lnTo>
                    <a:pt x="66131" y="40660"/>
                  </a:lnTo>
                  <a:lnTo>
                    <a:pt x="66697" y="39339"/>
                  </a:lnTo>
                  <a:lnTo>
                    <a:pt x="66603" y="39528"/>
                  </a:lnTo>
                  <a:lnTo>
                    <a:pt x="66697" y="39056"/>
                  </a:lnTo>
                  <a:lnTo>
                    <a:pt x="66791" y="38962"/>
                  </a:lnTo>
                  <a:lnTo>
                    <a:pt x="66791" y="39056"/>
                  </a:lnTo>
                  <a:lnTo>
                    <a:pt x="66886" y="38584"/>
                  </a:lnTo>
                  <a:lnTo>
                    <a:pt x="66791" y="38867"/>
                  </a:lnTo>
                  <a:lnTo>
                    <a:pt x="66980" y="38207"/>
                  </a:lnTo>
                  <a:lnTo>
                    <a:pt x="67169" y="37264"/>
                  </a:lnTo>
                  <a:lnTo>
                    <a:pt x="67263" y="36415"/>
                  </a:lnTo>
                  <a:lnTo>
                    <a:pt x="67357" y="36509"/>
                  </a:lnTo>
                  <a:lnTo>
                    <a:pt x="67452" y="36509"/>
                  </a:lnTo>
                  <a:lnTo>
                    <a:pt x="67546" y="35943"/>
                  </a:lnTo>
                  <a:lnTo>
                    <a:pt x="67546" y="34811"/>
                  </a:lnTo>
                  <a:lnTo>
                    <a:pt x="67640" y="31037"/>
                  </a:lnTo>
                  <a:lnTo>
                    <a:pt x="67640" y="28490"/>
                  </a:lnTo>
                  <a:lnTo>
                    <a:pt x="67546" y="27736"/>
                  </a:lnTo>
                  <a:lnTo>
                    <a:pt x="67546" y="27547"/>
                  </a:lnTo>
                  <a:lnTo>
                    <a:pt x="67452" y="27547"/>
                  </a:lnTo>
                  <a:lnTo>
                    <a:pt x="67074" y="26792"/>
                  </a:lnTo>
                  <a:lnTo>
                    <a:pt x="66791" y="25660"/>
                  </a:lnTo>
                  <a:lnTo>
                    <a:pt x="66508" y="24528"/>
                  </a:lnTo>
                  <a:lnTo>
                    <a:pt x="66414" y="23585"/>
                  </a:lnTo>
                  <a:lnTo>
                    <a:pt x="66320" y="23679"/>
                  </a:lnTo>
                  <a:lnTo>
                    <a:pt x="66320" y="23490"/>
                  </a:lnTo>
                  <a:lnTo>
                    <a:pt x="65942" y="22924"/>
                  </a:lnTo>
                  <a:lnTo>
                    <a:pt x="65565" y="22358"/>
                  </a:lnTo>
                  <a:lnTo>
                    <a:pt x="64527" y="21132"/>
                  </a:lnTo>
                  <a:lnTo>
                    <a:pt x="63584" y="19906"/>
                  </a:lnTo>
                  <a:lnTo>
                    <a:pt x="63207" y="19340"/>
                  </a:lnTo>
                  <a:lnTo>
                    <a:pt x="63018" y="18774"/>
                  </a:lnTo>
                  <a:lnTo>
                    <a:pt x="63112" y="18962"/>
                  </a:lnTo>
                  <a:lnTo>
                    <a:pt x="63301" y="19057"/>
                  </a:lnTo>
                  <a:lnTo>
                    <a:pt x="63301" y="19057"/>
                  </a:lnTo>
                  <a:lnTo>
                    <a:pt x="63207" y="18868"/>
                  </a:lnTo>
                  <a:lnTo>
                    <a:pt x="62923" y="18491"/>
                  </a:lnTo>
                  <a:lnTo>
                    <a:pt x="61980" y="17453"/>
                  </a:lnTo>
                  <a:lnTo>
                    <a:pt x="61037" y="16509"/>
                  </a:lnTo>
                  <a:lnTo>
                    <a:pt x="61037" y="16698"/>
                  </a:lnTo>
                  <a:lnTo>
                    <a:pt x="61037" y="16887"/>
                  </a:lnTo>
                  <a:lnTo>
                    <a:pt x="60093" y="15943"/>
                  </a:lnTo>
                  <a:lnTo>
                    <a:pt x="60376" y="16321"/>
                  </a:lnTo>
                  <a:lnTo>
                    <a:pt x="59527" y="15377"/>
                  </a:lnTo>
                  <a:lnTo>
                    <a:pt x="59056" y="14906"/>
                  </a:lnTo>
                  <a:lnTo>
                    <a:pt x="59244" y="14906"/>
                  </a:lnTo>
                  <a:lnTo>
                    <a:pt x="59905" y="15472"/>
                  </a:lnTo>
                  <a:lnTo>
                    <a:pt x="59905" y="15472"/>
                  </a:lnTo>
                  <a:lnTo>
                    <a:pt x="57641" y="13396"/>
                  </a:lnTo>
                  <a:lnTo>
                    <a:pt x="58112" y="13868"/>
                  </a:lnTo>
                  <a:lnTo>
                    <a:pt x="56886" y="13019"/>
                  </a:lnTo>
                  <a:lnTo>
                    <a:pt x="55754" y="12453"/>
                  </a:lnTo>
                  <a:lnTo>
                    <a:pt x="56603" y="13113"/>
                  </a:lnTo>
                  <a:lnTo>
                    <a:pt x="57452" y="13774"/>
                  </a:lnTo>
                  <a:lnTo>
                    <a:pt x="58961" y="15283"/>
                  </a:lnTo>
                  <a:lnTo>
                    <a:pt x="60376" y="16604"/>
                  </a:lnTo>
                  <a:lnTo>
                    <a:pt x="61225" y="17264"/>
                  </a:lnTo>
                  <a:lnTo>
                    <a:pt x="62074" y="17925"/>
                  </a:lnTo>
                  <a:lnTo>
                    <a:pt x="62074" y="17925"/>
                  </a:lnTo>
                  <a:lnTo>
                    <a:pt x="61414" y="17547"/>
                  </a:lnTo>
                  <a:lnTo>
                    <a:pt x="60659" y="16981"/>
                  </a:lnTo>
                  <a:lnTo>
                    <a:pt x="60754" y="17264"/>
                  </a:lnTo>
                  <a:lnTo>
                    <a:pt x="60942" y="17642"/>
                  </a:lnTo>
                  <a:lnTo>
                    <a:pt x="61980" y="19151"/>
                  </a:lnTo>
                  <a:lnTo>
                    <a:pt x="63301" y="20943"/>
                  </a:lnTo>
                  <a:lnTo>
                    <a:pt x="63207" y="20943"/>
                  </a:lnTo>
                  <a:lnTo>
                    <a:pt x="63395" y="21038"/>
                  </a:lnTo>
                  <a:lnTo>
                    <a:pt x="63490" y="21321"/>
                  </a:lnTo>
                  <a:lnTo>
                    <a:pt x="63678" y="21604"/>
                  </a:lnTo>
                  <a:lnTo>
                    <a:pt x="63773" y="21698"/>
                  </a:lnTo>
                  <a:lnTo>
                    <a:pt x="63584" y="21321"/>
                  </a:lnTo>
                  <a:lnTo>
                    <a:pt x="63584" y="21321"/>
                  </a:lnTo>
                  <a:lnTo>
                    <a:pt x="64244" y="22170"/>
                  </a:lnTo>
                  <a:lnTo>
                    <a:pt x="64716" y="22641"/>
                  </a:lnTo>
                  <a:lnTo>
                    <a:pt x="64905" y="22830"/>
                  </a:lnTo>
                  <a:lnTo>
                    <a:pt x="64999" y="22830"/>
                  </a:lnTo>
                  <a:lnTo>
                    <a:pt x="64999" y="22641"/>
                  </a:lnTo>
                  <a:lnTo>
                    <a:pt x="64905" y="22358"/>
                  </a:lnTo>
                  <a:lnTo>
                    <a:pt x="65282" y="23207"/>
                  </a:lnTo>
                  <a:lnTo>
                    <a:pt x="65565" y="24056"/>
                  </a:lnTo>
                  <a:lnTo>
                    <a:pt x="66225" y="25943"/>
                  </a:lnTo>
                  <a:lnTo>
                    <a:pt x="66697" y="27830"/>
                  </a:lnTo>
                  <a:lnTo>
                    <a:pt x="66886" y="28490"/>
                  </a:lnTo>
                  <a:lnTo>
                    <a:pt x="66980" y="28868"/>
                  </a:lnTo>
                  <a:lnTo>
                    <a:pt x="66886" y="28962"/>
                  </a:lnTo>
                  <a:lnTo>
                    <a:pt x="66697" y="28679"/>
                  </a:lnTo>
                  <a:lnTo>
                    <a:pt x="66697" y="29245"/>
                  </a:lnTo>
                  <a:lnTo>
                    <a:pt x="66791" y="29905"/>
                  </a:lnTo>
                  <a:lnTo>
                    <a:pt x="66886" y="29905"/>
                  </a:lnTo>
                  <a:lnTo>
                    <a:pt x="66886" y="30094"/>
                  </a:lnTo>
                  <a:lnTo>
                    <a:pt x="66886" y="30566"/>
                  </a:lnTo>
                  <a:lnTo>
                    <a:pt x="66697" y="30377"/>
                  </a:lnTo>
                  <a:lnTo>
                    <a:pt x="66603" y="30188"/>
                  </a:lnTo>
                  <a:lnTo>
                    <a:pt x="66603" y="30094"/>
                  </a:lnTo>
                  <a:lnTo>
                    <a:pt x="66697" y="29905"/>
                  </a:lnTo>
                  <a:lnTo>
                    <a:pt x="66508" y="28679"/>
                  </a:lnTo>
                  <a:lnTo>
                    <a:pt x="66225" y="27358"/>
                  </a:lnTo>
                  <a:lnTo>
                    <a:pt x="66603" y="30283"/>
                  </a:lnTo>
                  <a:lnTo>
                    <a:pt x="66697" y="31792"/>
                  </a:lnTo>
                  <a:lnTo>
                    <a:pt x="66697" y="33302"/>
                  </a:lnTo>
                  <a:lnTo>
                    <a:pt x="66603" y="34717"/>
                  </a:lnTo>
                  <a:lnTo>
                    <a:pt x="66414" y="36226"/>
                  </a:lnTo>
                  <a:lnTo>
                    <a:pt x="66131" y="37547"/>
                  </a:lnTo>
                  <a:lnTo>
                    <a:pt x="65659" y="38962"/>
                  </a:lnTo>
                  <a:lnTo>
                    <a:pt x="65848" y="38584"/>
                  </a:lnTo>
                  <a:lnTo>
                    <a:pt x="65942" y="38584"/>
                  </a:lnTo>
                  <a:lnTo>
                    <a:pt x="65848" y="39245"/>
                  </a:lnTo>
                  <a:lnTo>
                    <a:pt x="65565" y="40188"/>
                  </a:lnTo>
                  <a:lnTo>
                    <a:pt x="65471" y="40471"/>
                  </a:lnTo>
                  <a:lnTo>
                    <a:pt x="65282" y="40660"/>
                  </a:lnTo>
                  <a:lnTo>
                    <a:pt x="65282" y="40566"/>
                  </a:lnTo>
                  <a:lnTo>
                    <a:pt x="65093" y="41132"/>
                  </a:lnTo>
                  <a:lnTo>
                    <a:pt x="64433" y="43018"/>
                  </a:lnTo>
                  <a:lnTo>
                    <a:pt x="63678" y="45282"/>
                  </a:lnTo>
                  <a:lnTo>
                    <a:pt x="62735" y="47264"/>
                  </a:lnTo>
                  <a:lnTo>
                    <a:pt x="61697" y="49056"/>
                  </a:lnTo>
                  <a:lnTo>
                    <a:pt x="60659" y="50943"/>
                  </a:lnTo>
                  <a:lnTo>
                    <a:pt x="59433" y="52735"/>
                  </a:lnTo>
                  <a:lnTo>
                    <a:pt x="58207" y="54433"/>
                  </a:lnTo>
                  <a:lnTo>
                    <a:pt x="56886" y="56037"/>
                  </a:lnTo>
                  <a:lnTo>
                    <a:pt x="55376" y="57641"/>
                  </a:lnTo>
                  <a:lnTo>
                    <a:pt x="53867" y="59150"/>
                  </a:lnTo>
                  <a:lnTo>
                    <a:pt x="52169" y="60376"/>
                  </a:lnTo>
                  <a:lnTo>
                    <a:pt x="48961" y="62452"/>
                  </a:lnTo>
                  <a:lnTo>
                    <a:pt x="44528" y="65282"/>
                  </a:lnTo>
                  <a:lnTo>
                    <a:pt x="44622" y="65188"/>
                  </a:lnTo>
                  <a:lnTo>
                    <a:pt x="44716" y="65093"/>
                  </a:lnTo>
                  <a:lnTo>
                    <a:pt x="45094" y="64810"/>
                  </a:lnTo>
                  <a:lnTo>
                    <a:pt x="45660" y="64527"/>
                  </a:lnTo>
                  <a:lnTo>
                    <a:pt x="43867" y="65376"/>
                  </a:lnTo>
                  <a:lnTo>
                    <a:pt x="43113" y="65754"/>
                  </a:lnTo>
                  <a:lnTo>
                    <a:pt x="42924" y="65754"/>
                  </a:lnTo>
                  <a:lnTo>
                    <a:pt x="43113" y="65659"/>
                  </a:lnTo>
                  <a:lnTo>
                    <a:pt x="41603" y="66037"/>
                  </a:lnTo>
                  <a:lnTo>
                    <a:pt x="39999" y="66320"/>
                  </a:lnTo>
                  <a:lnTo>
                    <a:pt x="38396" y="66508"/>
                  </a:lnTo>
                  <a:lnTo>
                    <a:pt x="36792" y="66697"/>
                  </a:lnTo>
                  <a:lnTo>
                    <a:pt x="33584" y="66980"/>
                  </a:lnTo>
                  <a:lnTo>
                    <a:pt x="32169" y="67169"/>
                  </a:lnTo>
                  <a:lnTo>
                    <a:pt x="30754" y="67357"/>
                  </a:lnTo>
                  <a:lnTo>
                    <a:pt x="30094" y="67357"/>
                  </a:lnTo>
                  <a:lnTo>
                    <a:pt x="29339" y="67263"/>
                  </a:lnTo>
                  <a:lnTo>
                    <a:pt x="27830" y="66886"/>
                  </a:lnTo>
                  <a:lnTo>
                    <a:pt x="26415" y="66508"/>
                  </a:lnTo>
                  <a:lnTo>
                    <a:pt x="25754" y="66414"/>
                  </a:lnTo>
                  <a:lnTo>
                    <a:pt x="25094" y="66414"/>
                  </a:lnTo>
                  <a:lnTo>
                    <a:pt x="25566" y="66980"/>
                  </a:lnTo>
                  <a:lnTo>
                    <a:pt x="25471" y="67074"/>
                  </a:lnTo>
                  <a:lnTo>
                    <a:pt x="25188" y="66980"/>
                  </a:lnTo>
                  <a:lnTo>
                    <a:pt x="24339" y="66791"/>
                  </a:lnTo>
                  <a:lnTo>
                    <a:pt x="23773" y="66508"/>
                  </a:lnTo>
                  <a:lnTo>
                    <a:pt x="24245" y="66414"/>
                  </a:lnTo>
                  <a:lnTo>
                    <a:pt x="24717" y="66603"/>
                  </a:lnTo>
                  <a:lnTo>
                    <a:pt x="24811" y="66414"/>
                  </a:lnTo>
                  <a:lnTo>
                    <a:pt x="24811" y="66320"/>
                  </a:lnTo>
                  <a:lnTo>
                    <a:pt x="24717" y="66225"/>
                  </a:lnTo>
                  <a:lnTo>
                    <a:pt x="24528" y="66131"/>
                  </a:lnTo>
                  <a:lnTo>
                    <a:pt x="24151" y="66225"/>
                  </a:lnTo>
                  <a:lnTo>
                    <a:pt x="23679" y="66320"/>
                  </a:lnTo>
                  <a:lnTo>
                    <a:pt x="23018" y="66414"/>
                  </a:lnTo>
                  <a:lnTo>
                    <a:pt x="23490" y="66225"/>
                  </a:lnTo>
                  <a:lnTo>
                    <a:pt x="22075" y="65942"/>
                  </a:lnTo>
                  <a:lnTo>
                    <a:pt x="20943" y="65659"/>
                  </a:lnTo>
                  <a:lnTo>
                    <a:pt x="20000" y="65282"/>
                  </a:lnTo>
                  <a:lnTo>
                    <a:pt x="19056" y="64810"/>
                  </a:lnTo>
                  <a:lnTo>
                    <a:pt x="19056" y="64810"/>
                  </a:lnTo>
                  <a:lnTo>
                    <a:pt x="19717" y="64999"/>
                  </a:lnTo>
                  <a:lnTo>
                    <a:pt x="19151" y="64716"/>
                  </a:lnTo>
                  <a:lnTo>
                    <a:pt x="18962" y="64810"/>
                  </a:lnTo>
                  <a:lnTo>
                    <a:pt x="19151" y="64905"/>
                  </a:lnTo>
                  <a:lnTo>
                    <a:pt x="18490" y="64905"/>
                  </a:lnTo>
                  <a:lnTo>
                    <a:pt x="17830" y="64716"/>
                  </a:lnTo>
                  <a:lnTo>
                    <a:pt x="17264" y="64527"/>
                  </a:lnTo>
                  <a:lnTo>
                    <a:pt x="16698" y="64150"/>
                  </a:lnTo>
                  <a:lnTo>
                    <a:pt x="16981" y="64056"/>
                  </a:lnTo>
                  <a:lnTo>
                    <a:pt x="17264" y="64150"/>
                  </a:lnTo>
                  <a:lnTo>
                    <a:pt x="17264" y="64150"/>
                  </a:lnTo>
                  <a:lnTo>
                    <a:pt x="15188" y="63207"/>
                  </a:lnTo>
                  <a:lnTo>
                    <a:pt x="14622" y="62829"/>
                  </a:lnTo>
                  <a:lnTo>
                    <a:pt x="14717" y="62924"/>
                  </a:lnTo>
                  <a:lnTo>
                    <a:pt x="13773" y="62546"/>
                  </a:lnTo>
                  <a:lnTo>
                    <a:pt x="12924" y="62075"/>
                  </a:lnTo>
                  <a:lnTo>
                    <a:pt x="12358" y="61697"/>
                  </a:lnTo>
                  <a:lnTo>
                    <a:pt x="12264" y="61508"/>
                  </a:lnTo>
                  <a:lnTo>
                    <a:pt x="12170" y="61320"/>
                  </a:lnTo>
                  <a:lnTo>
                    <a:pt x="11698" y="60942"/>
                  </a:lnTo>
                  <a:lnTo>
                    <a:pt x="11132" y="60471"/>
                  </a:lnTo>
                  <a:lnTo>
                    <a:pt x="9906" y="59244"/>
                  </a:lnTo>
                  <a:lnTo>
                    <a:pt x="9906" y="59244"/>
                  </a:lnTo>
                  <a:lnTo>
                    <a:pt x="10566" y="59527"/>
                  </a:lnTo>
                  <a:lnTo>
                    <a:pt x="9434" y="58584"/>
                  </a:lnTo>
                  <a:lnTo>
                    <a:pt x="8207" y="57546"/>
                  </a:lnTo>
                  <a:lnTo>
                    <a:pt x="7547" y="56886"/>
                  </a:lnTo>
                  <a:lnTo>
                    <a:pt x="6981" y="56131"/>
                  </a:lnTo>
                  <a:lnTo>
                    <a:pt x="6226" y="55094"/>
                  </a:lnTo>
                  <a:lnTo>
                    <a:pt x="6415" y="55377"/>
                  </a:lnTo>
                  <a:lnTo>
                    <a:pt x="6038" y="54905"/>
                  </a:lnTo>
                  <a:lnTo>
                    <a:pt x="5472" y="54244"/>
                  </a:lnTo>
                  <a:lnTo>
                    <a:pt x="5283" y="53961"/>
                  </a:lnTo>
                  <a:lnTo>
                    <a:pt x="5094" y="53867"/>
                  </a:lnTo>
                  <a:lnTo>
                    <a:pt x="5377" y="54622"/>
                  </a:lnTo>
                  <a:lnTo>
                    <a:pt x="5849" y="55282"/>
                  </a:lnTo>
                  <a:lnTo>
                    <a:pt x="6321" y="55943"/>
                  </a:lnTo>
                  <a:lnTo>
                    <a:pt x="6698" y="56603"/>
                  </a:lnTo>
                  <a:lnTo>
                    <a:pt x="6226" y="56226"/>
                  </a:lnTo>
                  <a:lnTo>
                    <a:pt x="5943" y="55848"/>
                  </a:lnTo>
                  <a:lnTo>
                    <a:pt x="6038" y="56037"/>
                  </a:lnTo>
                  <a:lnTo>
                    <a:pt x="5943" y="55943"/>
                  </a:lnTo>
                  <a:lnTo>
                    <a:pt x="5377" y="55188"/>
                  </a:lnTo>
                  <a:lnTo>
                    <a:pt x="5000" y="54716"/>
                  </a:lnTo>
                  <a:lnTo>
                    <a:pt x="4717" y="54150"/>
                  </a:lnTo>
                  <a:lnTo>
                    <a:pt x="4528" y="53678"/>
                  </a:lnTo>
                  <a:lnTo>
                    <a:pt x="4528" y="53584"/>
                  </a:lnTo>
                  <a:lnTo>
                    <a:pt x="4623" y="53395"/>
                  </a:lnTo>
                  <a:lnTo>
                    <a:pt x="5094" y="54244"/>
                  </a:lnTo>
                  <a:lnTo>
                    <a:pt x="4717" y="53301"/>
                  </a:lnTo>
                  <a:lnTo>
                    <a:pt x="4528" y="53018"/>
                  </a:lnTo>
                  <a:lnTo>
                    <a:pt x="4151" y="52263"/>
                  </a:lnTo>
                  <a:lnTo>
                    <a:pt x="4151" y="52169"/>
                  </a:lnTo>
                  <a:lnTo>
                    <a:pt x="3774" y="51509"/>
                  </a:lnTo>
                  <a:lnTo>
                    <a:pt x="3396" y="50660"/>
                  </a:lnTo>
                  <a:lnTo>
                    <a:pt x="3585" y="51603"/>
                  </a:lnTo>
                  <a:lnTo>
                    <a:pt x="3396" y="51226"/>
                  </a:lnTo>
                  <a:lnTo>
                    <a:pt x="3208" y="50848"/>
                  </a:lnTo>
                  <a:lnTo>
                    <a:pt x="3208" y="50471"/>
                  </a:lnTo>
                  <a:lnTo>
                    <a:pt x="3208" y="50094"/>
                  </a:lnTo>
                  <a:lnTo>
                    <a:pt x="3585" y="50754"/>
                  </a:lnTo>
                  <a:lnTo>
                    <a:pt x="3868" y="51509"/>
                  </a:lnTo>
                  <a:lnTo>
                    <a:pt x="3868" y="51509"/>
                  </a:lnTo>
                  <a:lnTo>
                    <a:pt x="3208" y="49528"/>
                  </a:lnTo>
                  <a:lnTo>
                    <a:pt x="3208" y="49528"/>
                  </a:lnTo>
                  <a:lnTo>
                    <a:pt x="3868" y="50754"/>
                  </a:lnTo>
                  <a:lnTo>
                    <a:pt x="3208" y="48962"/>
                  </a:lnTo>
                  <a:lnTo>
                    <a:pt x="3585" y="49339"/>
                  </a:lnTo>
                  <a:lnTo>
                    <a:pt x="3774" y="49433"/>
                  </a:lnTo>
                  <a:lnTo>
                    <a:pt x="3962" y="49528"/>
                  </a:lnTo>
                  <a:lnTo>
                    <a:pt x="4057" y="49905"/>
                  </a:lnTo>
                  <a:lnTo>
                    <a:pt x="3868" y="48962"/>
                  </a:lnTo>
                  <a:lnTo>
                    <a:pt x="3491" y="47924"/>
                  </a:lnTo>
                  <a:lnTo>
                    <a:pt x="2641" y="45565"/>
                  </a:lnTo>
                  <a:lnTo>
                    <a:pt x="2170" y="43867"/>
                  </a:lnTo>
                  <a:lnTo>
                    <a:pt x="1698" y="41886"/>
                  </a:lnTo>
                  <a:lnTo>
                    <a:pt x="1698" y="41886"/>
                  </a:lnTo>
                  <a:lnTo>
                    <a:pt x="1887" y="42075"/>
                  </a:lnTo>
                  <a:lnTo>
                    <a:pt x="1981" y="41981"/>
                  </a:lnTo>
                  <a:lnTo>
                    <a:pt x="2075" y="42075"/>
                  </a:lnTo>
                  <a:lnTo>
                    <a:pt x="2264" y="42169"/>
                  </a:lnTo>
                  <a:lnTo>
                    <a:pt x="2170" y="40283"/>
                  </a:lnTo>
                  <a:lnTo>
                    <a:pt x="2075" y="38301"/>
                  </a:lnTo>
                  <a:lnTo>
                    <a:pt x="2170" y="36415"/>
                  </a:lnTo>
                  <a:lnTo>
                    <a:pt x="2358" y="35566"/>
                  </a:lnTo>
                  <a:lnTo>
                    <a:pt x="2453" y="34811"/>
                  </a:lnTo>
                  <a:lnTo>
                    <a:pt x="2830" y="32830"/>
                  </a:lnTo>
                  <a:lnTo>
                    <a:pt x="2830" y="33207"/>
                  </a:lnTo>
                  <a:lnTo>
                    <a:pt x="2924" y="33490"/>
                  </a:lnTo>
                  <a:lnTo>
                    <a:pt x="2924" y="32453"/>
                  </a:lnTo>
                  <a:lnTo>
                    <a:pt x="3019" y="31415"/>
                  </a:lnTo>
                  <a:lnTo>
                    <a:pt x="3396" y="29245"/>
                  </a:lnTo>
                  <a:lnTo>
                    <a:pt x="3868" y="27075"/>
                  </a:lnTo>
                  <a:lnTo>
                    <a:pt x="4623" y="25000"/>
                  </a:lnTo>
                  <a:lnTo>
                    <a:pt x="5566" y="22830"/>
                  </a:lnTo>
                  <a:lnTo>
                    <a:pt x="6604" y="20849"/>
                  </a:lnTo>
                  <a:lnTo>
                    <a:pt x="7830" y="18868"/>
                  </a:lnTo>
                  <a:lnTo>
                    <a:pt x="9151" y="16887"/>
                  </a:lnTo>
                  <a:lnTo>
                    <a:pt x="10566" y="15094"/>
                  </a:lnTo>
                  <a:lnTo>
                    <a:pt x="12075" y="13302"/>
                  </a:lnTo>
                  <a:lnTo>
                    <a:pt x="13773" y="11698"/>
                  </a:lnTo>
                  <a:lnTo>
                    <a:pt x="15377" y="10095"/>
                  </a:lnTo>
                  <a:lnTo>
                    <a:pt x="17170" y="8679"/>
                  </a:lnTo>
                  <a:lnTo>
                    <a:pt x="18962" y="7453"/>
                  </a:lnTo>
                  <a:lnTo>
                    <a:pt x="20754" y="6321"/>
                  </a:lnTo>
                  <a:lnTo>
                    <a:pt x="22547" y="5378"/>
                  </a:lnTo>
                  <a:lnTo>
                    <a:pt x="21603" y="6227"/>
                  </a:lnTo>
                  <a:lnTo>
                    <a:pt x="22641" y="5472"/>
                  </a:lnTo>
                  <a:lnTo>
                    <a:pt x="23302" y="5095"/>
                  </a:lnTo>
                  <a:lnTo>
                    <a:pt x="25377" y="4151"/>
                  </a:lnTo>
                  <a:lnTo>
                    <a:pt x="24811" y="4151"/>
                  </a:lnTo>
                  <a:lnTo>
                    <a:pt x="25660" y="3774"/>
                  </a:lnTo>
                  <a:lnTo>
                    <a:pt x="26886" y="3208"/>
                  </a:lnTo>
                  <a:lnTo>
                    <a:pt x="26603" y="3585"/>
                  </a:lnTo>
                  <a:lnTo>
                    <a:pt x="26886" y="3585"/>
                  </a:lnTo>
                  <a:lnTo>
                    <a:pt x="26886" y="3680"/>
                  </a:lnTo>
                  <a:lnTo>
                    <a:pt x="26792" y="3774"/>
                  </a:lnTo>
                  <a:lnTo>
                    <a:pt x="28301" y="3302"/>
                  </a:lnTo>
                  <a:lnTo>
                    <a:pt x="29622" y="2736"/>
                  </a:lnTo>
                  <a:lnTo>
                    <a:pt x="31037" y="2264"/>
                  </a:lnTo>
                  <a:lnTo>
                    <a:pt x="31792" y="2076"/>
                  </a:lnTo>
                  <a:lnTo>
                    <a:pt x="32641" y="1981"/>
                  </a:lnTo>
                  <a:lnTo>
                    <a:pt x="32547" y="2076"/>
                  </a:lnTo>
                  <a:lnTo>
                    <a:pt x="32924" y="1981"/>
                  </a:lnTo>
                  <a:lnTo>
                    <a:pt x="34245" y="1793"/>
                  </a:lnTo>
                  <a:lnTo>
                    <a:pt x="35848" y="1415"/>
                  </a:lnTo>
                  <a:lnTo>
                    <a:pt x="36981" y="1132"/>
                  </a:lnTo>
                  <a:lnTo>
                    <a:pt x="36981" y="1415"/>
                  </a:lnTo>
                  <a:lnTo>
                    <a:pt x="40943" y="1227"/>
                  </a:lnTo>
                  <a:lnTo>
                    <a:pt x="41509" y="1038"/>
                  </a:lnTo>
                  <a:lnTo>
                    <a:pt x="41697" y="1132"/>
                  </a:lnTo>
                  <a:lnTo>
                    <a:pt x="41509" y="1227"/>
                  </a:lnTo>
                  <a:lnTo>
                    <a:pt x="41320" y="1321"/>
                  </a:lnTo>
                  <a:lnTo>
                    <a:pt x="42263" y="1321"/>
                  </a:lnTo>
                  <a:lnTo>
                    <a:pt x="43113" y="1227"/>
                  </a:lnTo>
                  <a:lnTo>
                    <a:pt x="43396" y="1415"/>
                  </a:lnTo>
                  <a:lnTo>
                    <a:pt x="44056" y="1604"/>
                  </a:lnTo>
                  <a:lnTo>
                    <a:pt x="45943" y="2076"/>
                  </a:lnTo>
                  <a:lnTo>
                    <a:pt x="48018" y="2359"/>
                  </a:lnTo>
                  <a:lnTo>
                    <a:pt x="49622" y="2736"/>
                  </a:lnTo>
                  <a:lnTo>
                    <a:pt x="47641" y="1981"/>
                  </a:lnTo>
                  <a:lnTo>
                    <a:pt x="45282" y="1321"/>
                  </a:lnTo>
                  <a:lnTo>
                    <a:pt x="42735" y="755"/>
                  </a:lnTo>
                  <a:lnTo>
                    <a:pt x="40188" y="283"/>
                  </a:lnTo>
                  <a:lnTo>
                    <a:pt x="37735" y="95"/>
                  </a:lnTo>
                  <a:lnTo>
                    <a:pt x="35471" y="0"/>
                  </a:lnTo>
                  <a:close/>
                </a:path>
              </a:pathLst>
            </a:custGeom>
            <a:solidFill>
              <a:srgbClr val="FF0000"/>
            </a:solidFill>
            <a:ln>
              <a:noFill/>
            </a:ln>
          </p:spPr>
          <p:txBody>
            <a:bodyPr spcFirstLastPara="1" wrap="square" lIns="91425" tIns="91425" rIns="91425" bIns="91425" anchor="ctr" anchorCtr="0">
              <a:noAutofit/>
            </a:bodyPr>
            <a:lstStyle/>
            <a:p>
              <a:pPr marL="0" lvl="0" indent="0">
                <a:spcBef>
                  <a:spcPts val="0"/>
                </a:spcBef>
                <a:spcAft>
                  <a:spcPts val="0"/>
                </a:spcAft>
                <a:buNone/>
              </a:pPr>
              <a:endParaRPr sz="800">
                <a:latin typeface="Comic Sans MS" panose="030F0902030302020204" pitchFamily="66" charset="0"/>
              </a:endParaRPr>
            </a:p>
          </p:txBody>
        </p:sp>
        <p:sp>
          <p:nvSpPr>
            <p:cNvPr id="328" name="TextBox 327">
              <a:extLst>
                <a:ext uri="{FF2B5EF4-FFF2-40B4-BE49-F238E27FC236}">
                  <a16:creationId xmlns:a16="http://schemas.microsoft.com/office/drawing/2014/main" id="{A1517C7C-E464-5647-BC9A-4234D1513EE0}"/>
                </a:ext>
              </a:extLst>
            </p:cNvPr>
            <p:cNvSpPr txBox="1"/>
            <p:nvPr/>
          </p:nvSpPr>
          <p:spPr>
            <a:xfrm>
              <a:off x="702590" y="1244892"/>
              <a:ext cx="301686" cy="180620"/>
            </a:xfrm>
            <a:prstGeom prst="rect">
              <a:avLst/>
            </a:prstGeom>
            <a:noFill/>
          </p:spPr>
          <p:txBody>
            <a:bodyPr wrap="square" rtlCol="0">
              <a:spAutoFit/>
            </a:bodyPr>
            <a:lstStyle/>
            <a:p>
              <a:r>
                <a:rPr lang="en-US" sz="300" dirty="0">
                  <a:solidFill>
                    <a:srgbClr val="FF0000"/>
                  </a:solidFill>
                  <a:latin typeface="Comic Sans MS" panose="030F0902030302020204" pitchFamily="66" charset="0"/>
                </a:rPr>
                <a:t>4.</a:t>
              </a:r>
            </a:p>
          </p:txBody>
        </p:sp>
      </p:grpSp>
      <p:sp>
        <p:nvSpPr>
          <p:cNvPr id="329" name="Rounded Rectangle 328">
            <a:extLst>
              <a:ext uri="{FF2B5EF4-FFF2-40B4-BE49-F238E27FC236}">
                <a16:creationId xmlns:a16="http://schemas.microsoft.com/office/drawing/2014/main" id="{67136803-906D-2043-9142-410F16E4CE18}"/>
              </a:ext>
            </a:extLst>
          </p:cNvPr>
          <p:cNvSpPr/>
          <p:nvPr/>
        </p:nvSpPr>
        <p:spPr>
          <a:xfrm>
            <a:off x="565061" y="1574783"/>
            <a:ext cx="1172463" cy="504056"/>
          </a:xfrm>
          <a:prstGeom prst="roundRect">
            <a:avLst/>
          </a:prstGeom>
          <a:solidFill>
            <a:schemeClr val="bg1">
              <a:lumMod val="85000"/>
            </a:schemeClr>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b="1" dirty="0">
              <a:solidFill>
                <a:schemeClr val="bg1">
                  <a:lumMod val="50000"/>
                </a:schemeClr>
              </a:solidFill>
              <a:latin typeface="Comic Sans MS" panose="030F0902030302020204" pitchFamily="66" charset="0"/>
              <a:ea typeface="Nanum Pen Script" panose="03040600000000000000" pitchFamily="66" charset="-127"/>
            </a:endParaRPr>
          </a:p>
          <a:p>
            <a:pPr algn="ctr"/>
            <a:endParaRPr lang="en-US" sz="800" b="1" dirty="0">
              <a:solidFill>
                <a:schemeClr val="bg1">
                  <a:lumMod val="50000"/>
                </a:schemeClr>
              </a:solidFill>
              <a:latin typeface="Comic Sans MS" panose="030F0902030302020204" pitchFamily="66" charset="0"/>
              <a:ea typeface="Nanum Pen Script" panose="03040600000000000000" pitchFamily="66" charset="-127"/>
            </a:endParaRPr>
          </a:p>
          <a:p>
            <a:pPr algn="ctr"/>
            <a:endParaRPr lang="en-US" sz="800" b="1" dirty="0">
              <a:solidFill>
                <a:schemeClr val="bg1">
                  <a:lumMod val="50000"/>
                </a:schemeClr>
              </a:solidFill>
              <a:latin typeface="Comic Sans MS" panose="030F0902030302020204" pitchFamily="66" charset="0"/>
              <a:ea typeface="Nanum Pen Script" panose="03040600000000000000" pitchFamily="66" charset="-127"/>
            </a:endParaRPr>
          </a:p>
          <a:p>
            <a:pPr algn="ctr"/>
            <a:endParaRPr lang="en-US" sz="800" b="1" dirty="0">
              <a:solidFill>
                <a:schemeClr val="bg1">
                  <a:lumMod val="50000"/>
                </a:schemeClr>
              </a:solidFill>
              <a:latin typeface="Comic Sans MS" panose="030F0902030302020204" pitchFamily="66" charset="0"/>
              <a:ea typeface="Nanum Pen Script" panose="03040600000000000000" pitchFamily="66" charset="-127"/>
            </a:endParaRPr>
          </a:p>
          <a:p>
            <a:pPr algn="ctr"/>
            <a:endParaRPr lang="en-US" sz="700" b="1" dirty="0">
              <a:solidFill>
                <a:schemeClr val="bg1">
                  <a:lumMod val="50000"/>
                </a:schemeClr>
              </a:solidFill>
              <a:latin typeface="Comic Sans MS" panose="030F0902030302020204" pitchFamily="66" charset="0"/>
              <a:ea typeface="Nanum Pen Script" panose="03040600000000000000" pitchFamily="66" charset="-127"/>
            </a:endParaRPr>
          </a:p>
          <a:p>
            <a:pPr algn="ctr"/>
            <a:endParaRPr lang="en-US" sz="700" b="1" dirty="0">
              <a:solidFill>
                <a:schemeClr val="bg1">
                  <a:lumMod val="50000"/>
                </a:schemeClr>
              </a:solidFill>
              <a:latin typeface="Comic Sans MS" panose="030F0902030302020204" pitchFamily="66" charset="0"/>
              <a:ea typeface="Nanum Pen Script" panose="03040600000000000000" pitchFamily="66" charset="-127"/>
            </a:endParaRPr>
          </a:p>
          <a:p>
            <a:pPr algn="ctr">
              <a:spcBef>
                <a:spcPts val="0"/>
              </a:spcBef>
            </a:pPr>
            <a:r>
              <a:rPr lang="en-US" sz="7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Kafka REST Proxy</a:t>
            </a:r>
          </a:p>
          <a:p>
            <a:pPr algn="ctr">
              <a:spcBef>
                <a:spcPts val="0"/>
              </a:spcBef>
            </a:pPr>
            <a:endParaRPr lang="en-US" sz="1600" dirty="0">
              <a:solidFill>
                <a:schemeClr val="tx1"/>
              </a:solidFill>
              <a:latin typeface="Comic Sans MS" panose="030F0902030302020204" pitchFamily="66" charset="0"/>
              <a:ea typeface="Nanum Pen Script" panose="03040600000000000000" pitchFamily="66" charset="-127"/>
            </a:endParaRPr>
          </a:p>
          <a:p>
            <a:pPr algn="ctr"/>
            <a:endParaRPr lang="en-US" sz="1600" dirty="0">
              <a:solidFill>
                <a:schemeClr val="tx1"/>
              </a:solidFill>
              <a:latin typeface="Comic Sans MS" panose="030F0902030302020204" pitchFamily="66" charset="0"/>
              <a:ea typeface="Nanum Pen Script" panose="03040600000000000000" pitchFamily="66" charset="-127"/>
            </a:endParaRPr>
          </a:p>
        </p:txBody>
      </p:sp>
      <p:grpSp>
        <p:nvGrpSpPr>
          <p:cNvPr id="331" name="Group 330">
            <a:extLst>
              <a:ext uri="{FF2B5EF4-FFF2-40B4-BE49-F238E27FC236}">
                <a16:creationId xmlns:a16="http://schemas.microsoft.com/office/drawing/2014/main" id="{F61F1FAF-A661-DC49-BF75-240CAF3BE594}"/>
              </a:ext>
            </a:extLst>
          </p:cNvPr>
          <p:cNvGrpSpPr/>
          <p:nvPr/>
        </p:nvGrpSpPr>
        <p:grpSpPr>
          <a:xfrm rot="21011211">
            <a:off x="554227" y="1600275"/>
            <a:ext cx="292910" cy="222927"/>
            <a:chOff x="702590" y="1203599"/>
            <a:chExt cx="301686" cy="290724"/>
          </a:xfrm>
        </p:grpSpPr>
        <p:sp>
          <p:nvSpPr>
            <p:cNvPr id="332" name="Google Shape;431;p39">
              <a:extLst>
                <a:ext uri="{FF2B5EF4-FFF2-40B4-BE49-F238E27FC236}">
                  <a16:creationId xmlns:a16="http://schemas.microsoft.com/office/drawing/2014/main" id="{71211895-6C9C-3041-B731-C7878FD1E252}"/>
                </a:ext>
              </a:extLst>
            </p:cNvPr>
            <p:cNvSpPr/>
            <p:nvPr/>
          </p:nvSpPr>
          <p:spPr>
            <a:xfrm>
              <a:off x="736556" y="1203599"/>
              <a:ext cx="219241" cy="290724"/>
            </a:xfrm>
            <a:custGeom>
              <a:avLst/>
              <a:gdLst/>
              <a:ahLst/>
              <a:cxnLst/>
              <a:rect l="0" t="0" r="0" b="0"/>
              <a:pathLst>
                <a:path w="67641" h="69056" extrusionOk="0">
                  <a:moveTo>
                    <a:pt x="49622" y="2736"/>
                  </a:moveTo>
                  <a:lnTo>
                    <a:pt x="49622" y="2736"/>
                  </a:lnTo>
                  <a:lnTo>
                    <a:pt x="49622" y="2736"/>
                  </a:lnTo>
                  <a:close/>
                  <a:moveTo>
                    <a:pt x="59622" y="55565"/>
                  </a:moveTo>
                  <a:lnTo>
                    <a:pt x="59622" y="55565"/>
                  </a:lnTo>
                  <a:lnTo>
                    <a:pt x="59622" y="55565"/>
                  </a:lnTo>
                  <a:close/>
                  <a:moveTo>
                    <a:pt x="35471" y="0"/>
                  </a:moveTo>
                  <a:lnTo>
                    <a:pt x="34433" y="95"/>
                  </a:lnTo>
                  <a:lnTo>
                    <a:pt x="33584" y="189"/>
                  </a:lnTo>
                  <a:lnTo>
                    <a:pt x="32735" y="378"/>
                  </a:lnTo>
                  <a:lnTo>
                    <a:pt x="32169" y="566"/>
                  </a:lnTo>
                  <a:lnTo>
                    <a:pt x="31509" y="472"/>
                  </a:lnTo>
                  <a:lnTo>
                    <a:pt x="30754" y="472"/>
                  </a:lnTo>
                  <a:lnTo>
                    <a:pt x="29339" y="566"/>
                  </a:lnTo>
                  <a:lnTo>
                    <a:pt x="27830" y="849"/>
                  </a:lnTo>
                  <a:lnTo>
                    <a:pt x="26320" y="1321"/>
                  </a:lnTo>
                  <a:lnTo>
                    <a:pt x="24811" y="1981"/>
                  </a:lnTo>
                  <a:lnTo>
                    <a:pt x="23207" y="2736"/>
                  </a:lnTo>
                  <a:lnTo>
                    <a:pt x="21698" y="3585"/>
                  </a:lnTo>
                  <a:lnTo>
                    <a:pt x="20188" y="4623"/>
                  </a:lnTo>
                  <a:lnTo>
                    <a:pt x="18679" y="5661"/>
                  </a:lnTo>
                  <a:lnTo>
                    <a:pt x="17170" y="6793"/>
                  </a:lnTo>
                  <a:lnTo>
                    <a:pt x="15754" y="8019"/>
                  </a:lnTo>
                  <a:lnTo>
                    <a:pt x="14434" y="9151"/>
                  </a:lnTo>
                  <a:lnTo>
                    <a:pt x="11981" y="11510"/>
                  </a:lnTo>
                  <a:lnTo>
                    <a:pt x="10000" y="13774"/>
                  </a:lnTo>
                  <a:lnTo>
                    <a:pt x="7736" y="16981"/>
                  </a:lnTo>
                  <a:lnTo>
                    <a:pt x="8019" y="16321"/>
                  </a:lnTo>
                  <a:lnTo>
                    <a:pt x="8302" y="15660"/>
                  </a:lnTo>
                  <a:lnTo>
                    <a:pt x="7736" y="16604"/>
                  </a:lnTo>
                  <a:lnTo>
                    <a:pt x="7075" y="17642"/>
                  </a:lnTo>
                  <a:lnTo>
                    <a:pt x="7170" y="17830"/>
                  </a:lnTo>
                  <a:lnTo>
                    <a:pt x="6509" y="18868"/>
                  </a:lnTo>
                  <a:lnTo>
                    <a:pt x="7075" y="17359"/>
                  </a:lnTo>
                  <a:lnTo>
                    <a:pt x="6132" y="19057"/>
                  </a:lnTo>
                  <a:lnTo>
                    <a:pt x="5189" y="20849"/>
                  </a:lnTo>
                  <a:lnTo>
                    <a:pt x="4434" y="22736"/>
                  </a:lnTo>
                  <a:lnTo>
                    <a:pt x="3679" y="24622"/>
                  </a:lnTo>
                  <a:lnTo>
                    <a:pt x="2453" y="28490"/>
                  </a:lnTo>
                  <a:lnTo>
                    <a:pt x="1321" y="32169"/>
                  </a:lnTo>
                  <a:lnTo>
                    <a:pt x="1509" y="32264"/>
                  </a:lnTo>
                  <a:lnTo>
                    <a:pt x="1604" y="32453"/>
                  </a:lnTo>
                  <a:lnTo>
                    <a:pt x="1604" y="32641"/>
                  </a:lnTo>
                  <a:lnTo>
                    <a:pt x="1509" y="32924"/>
                  </a:lnTo>
                  <a:lnTo>
                    <a:pt x="1226" y="33396"/>
                  </a:lnTo>
                  <a:lnTo>
                    <a:pt x="1038" y="33585"/>
                  </a:lnTo>
                  <a:lnTo>
                    <a:pt x="1038" y="33773"/>
                  </a:lnTo>
                  <a:lnTo>
                    <a:pt x="1038" y="35000"/>
                  </a:lnTo>
                  <a:lnTo>
                    <a:pt x="849" y="36132"/>
                  </a:lnTo>
                  <a:lnTo>
                    <a:pt x="660" y="37358"/>
                  </a:lnTo>
                  <a:lnTo>
                    <a:pt x="472" y="38867"/>
                  </a:lnTo>
                  <a:lnTo>
                    <a:pt x="283" y="38301"/>
                  </a:lnTo>
                  <a:lnTo>
                    <a:pt x="94" y="39811"/>
                  </a:lnTo>
                  <a:lnTo>
                    <a:pt x="0" y="41509"/>
                  </a:lnTo>
                  <a:lnTo>
                    <a:pt x="94" y="43301"/>
                  </a:lnTo>
                  <a:lnTo>
                    <a:pt x="283" y="44056"/>
                  </a:lnTo>
                  <a:lnTo>
                    <a:pt x="472" y="44622"/>
                  </a:lnTo>
                  <a:lnTo>
                    <a:pt x="566" y="45660"/>
                  </a:lnTo>
                  <a:lnTo>
                    <a:pt x="755" y="46792"/>
                  </a:lnTo>
                  <a:lnTo>
                    <a:pt x="1226" y="48962"/>
                  </a:lnTo>
                  <a:lnTo>
                    <a:pt x="1981" y="51037"/>
                  </a:lnTo>
                  <a:lnTo>
                    <a:pt x="2924" y="53112"/>
                  </a:lnTo>
                  <a:lnTo>
                    <a:pt x="4057" y="55094"/>
                  </a:lnTo>
                  <a:lnTo>
                    <a:pt x="5283" y="56980"/>
                  </a:lnTo>
                  <a:lnTo>
                    <a:pt x="6698" y="58678"/>
                  </a:lnTo>
                  <a:lnTo>
                    <a:pt x="8113" y="60282"/>
                  </a:lnTo>
                  <a:lnTo>
                    <a:pt x="9056" y="61131"/>
                  </a:lnTo>
                  <a:lnTo>
                    <a:pt x="10000" y="61980"/>
                  </a:lnTo>
                  <a:lnTo>
                    <a:pt x="11038" y="62829"/>
                  </a:lnTo>
                  <a:lnTo>
                    <a:pt x="12075" y="63584"/>
                  </a:lnTo>
                  <a:lnTo>
                    <a:pt x="14339" y="64905"/>
                  </a:lnTo>
                  <a:lnTo>
                    <a:pt x="16604" y="66131"/>
                  </a:lnTo>
                  <a:lnTo>
                    <a:pt x="19056" y="67169"/>
                  </a:lnTo>
                  <a:lnTo>
                    <a:pt x="21509" y="67923"/>
                  </a:lnTo>
                  <a:lnTo>
                    <a:pt x="24056" y="68584"/>
                  </a:lnTo>
                  <a:lnTo>
                    <a:pt x="26603" y="69055"/>
                  </a:lnTo>
                  <a:lnTo>
                    <a:pt x="27830" y="69055"/>
                  </a:lnTo>
                  <a:lnTo>
                    <a:pt x="30188" y="68867"/>
                  </a:lnTo>
                  <a:lnTo>
                    <a:pt x="33113" y="68678"/>
                  </a:lnTo>
                  <a:lnTo>
                    <a:pt x="36509" y="68301"/>
                  </a:lnTo>
                  <a:lnTo>
                    <a:pt x="39811" y="67923"/>
                  </a:lnTo>
                  <a:lnTo>
                    <a:pt x="42735" y="67452"/>
                  </a:lnTo>
                  <a:lnTo>
                    <a:pt x="44905" y="66980"/>
                  </a:lnTo>
                  <a:lnTo>
                    <a:pt x="45565" y="66791"/>
                  </a:lnTo>
                  <a:lnTo>
                    <a:pt x="45943" y="66508"/>
                  </a:lnTo>
                  <a:lnTo>
                    <a:pt x="47358" y="65942"/>
                  </a:lnTo>
                  <a:lnTo>
                    <a:pt x="48018" y="65565"/>
                  </a:lnTo>
                  <a:lnTo>
                    <a:pt x="48678" y="65188"/>
                  </a:lnTo>
                  <a:lnTo>
                    <a:pt x="47924" y="65471"/>
                  </a:lnTo>
                  <a:lnTo>
                    <a:pt x="51509" y="62924"/>
                  </a:lnTo>
                  <a:lnTo>
                    <a:pt x="53301" y="61508"/>
                  </a:lnTo>
                  <a:lnTo>
                    <a:pt x="55093" y="59905"/>
                  </a:lnTo>
                  <a:lnTo>
                    <a:pt x="55093" y="59905"/>
                  </a:lnTo>
                  <a:lnTo>
                    <a:pt x="54810" y="60376"/>
                  </a:lnTo>
                  <a:lnTo>
                    <a:pt x="54339" y="60754"/>
                  </a:lnTo>
                  <a:lnTo>
                    <a:pt x="55376" y="59999"/>
                  </a:lnTo>
                  <a:lnTo>
                    <a:pt x="56320" y="59056"/>
                  </a:lnTo>
                  <a:lnTo>
                    <a:pt x="57075" y="58395"/>
                  </a:lnTo>
                  <a:lnTo>
                    <a:pt x="57169" y="58207"/>
                  </a:lnTo>
                  <a:lnTo>
                    <a:pt x="57075" y="58207"/>
                  </a:lnTo>
                  <a:lnTo>
                    <a:pt x="57924" y="57546"/>
                  </a:lnTo>
                  <a:lnTo>
                    <a:pt x="58678" y="56697"/>
                  </a:lnTo>
                  <a:lnTo>
                    <a:pt x="59339" y="55754"/>
                  </a:lnTo>
                  <a:lnTo>
                    <a:pt x="59905" y="54905"/>
                  </a:lnTo>
                  <a:lnTo>
                    <a:pt x="59716" y="54999"/>
                  </a:lnTo>
                  <a:lnTo>
                    <a:pt x="59622" y="54999"/>
                  </a:lnTo>
                  <a:lnTo>
                    <a:pt x="59810" y="54622"/>
                  </a:lnTo>
                  <a:lnTo>
                    <a:pt x="59150" y="55565"/>
                  </a:lnTo>
                  <a:lnTo>
                    <a:pt x="59527" y="55094"/>
                  </a:lnTo>
                  <a:lnTo>
                    <a:pt x="59433" y="55377"/>
                  </a:lnTo>
                  <a:lnTo>
                    <a:pt x="58867" y="56037"/>
                  </a:lnTo>
                  <a:lnTo>
                    <a:pt x="59056" y="55660"/>
                  </a:lnTo>
                  <a:lnTo>
                    <a:pt x="59056" y="55660"/>
                  </a:lnTo>
                  <a:lnTo>
                    <a:pt x="58678" y="56037"/>
                  </a:lnTo>
                  <a:lnTo>
                    <a:pt x="59810" y="54339"/>
                  </a:lnTo>
                  <a:lnTo>
                    <a:pt x="60282" y="53490"/>
                  </a:lnTo>
                  <a:lnTo>
                    <a:pt x="60282" y="53301"/>
                  </a:lnTo>
                  <a:lnTo>
                    <a:pt x="60188" y="53395"/>
                  </a:lnTo>
                  <a:lnTo>
                    <a:pt x="60188" y="53395"/>
                  </a:lnTo>
                  <a:lnTo>
                    <a:pt x="60565" y="52924"/>
                  </a:lnTo>
                  <a:lnTo>
                    <a:pt x="61037" y="52452"/>
                  </a:lnTo>
                  <a:lnTo>
                    <a:pt x="61886" y="51509"/>
                  </a:lnTo>
                  <a:lnTo>
                    <a:pt x="61508" y="52452"/>
                  </a:lnTo>
                  <a:lnTo>
                    <a:pt x="60848" y="53584"/>
                  </a:lnTo>
                  <a:lnTo>
                    <a:pt x="59622" y="55565"/>
                  </a:lnTo>
                  <a:lnTo>
                    <a:pt x="60376" y="54528"/>
                  </a:lnTo>
                  <a:lnTo>
                    <a:pt x="60942" y="53678"/>
                  </a:lnTo>
                  <a:lnTo>
                    <a:pt x="61980" y="51792"/>
                  </a:lnTo>
                  <a:lnTo>
                    <a:pt x="61886" y="51886"/>
                  </a:lnTo>
                  <a:lnTo>
                    <a:pt x="61886" y="51697"/>
                  </a:lnTo>
                  <a:lnTo>
                    <a:pt x="62169" y="51037"/>
                  </a:lnTo>
                  <a:lnTo>
                    <a:pt x="62735" y="49999"/>
                  </a:lnTo>
                  <a:lnTo>
                    <a:pt x="61508" y="51603"/>
                  </a:lnTo>
                  <a:lnTo>
                    <a:pt x="61603" y="51037"/>
                  </a:lnTo>
                  <a:lnTo>
                    <a:pt x="61697" y="50377"/>
                  </a:lnTo>
                  <a:lnTo>
                    <a:pt x="62169" y="48962"/>
                  </a:lnTo>
                  <a:lnTo>
                    <a:pt x="62829" y="47358"/>
                  </a:lnTo>
                  <a:lnTo>
                    <a:pt x="63678" y="45565"/>
                  </a:lnTo>
                  <a:lnTo>
                    <a:pt x="65376" y="42169"/>
                  </a:lnTo>
                  <a:lnTo>
                    <a:pt x="66131" y="40660"/>
                  </a:lnTo>
                  <a:lnTo>
                    <a:pt x="66697" y="39339"/>
                  </a:lnTo>
                  <a:lnTo>
                    <a:pt x="66603" y="39528"/>
                  </a:lnTo>
                  <a:lnTo>
                    <a:pt x="66697" y="39056"/>
                  </a:lnTo>
                  <a:lnTo>
                    <a:pt x="66791" y="38962"/>
                  </a:lnTo>
                  <a:lnTo>
                    <a:pt x="66791" y="39056"/>
                  </a:lnTo>
                  <a:lnTo>
                    <a:pt x="66886" y="38584"/>
                  </a:lnTo>
                  <a:lnTo>
                    <a:pt x="66791" y="38867"/>
                  </a:lnTo>
                  <a:lnTo>
                    <a:pt x="66980" y="38207"/>
                  </a:lnTo>
                  <a:lnTo>
                    <a:pt x="67169" y="37264"/>
                  </a:lnTo>
                  <a:lnTo>
                    <a:pt x="67263" y="36415"/>
                  </a:lnTo>
                  <a:lnTo>
                    <a:pt x="67357" y="36509"/>
                  </a:lnTo>
                  <a:lnTo>
                    <a:pt x="67452" y="36509"/>
                  </a:lnTo>
                  <a:lnTo>
                    <a:pt x="67546" y="35943"/>
                  </a:lnTo>
                  <a:lnTo>
                    <a:pt x="67546" y="34811"/>
                  </a:lnTo>
                  <a:lnTo>
                    <a:pt x="67640" y="31037"/>
                  </a:lnTo>
                  <a:lnTo>
                    <a:pt x="67640" y="28490"/>
                  </a:lnTo>
                  <a:lnTo>
                    <a:pt x="67546" y="27736"/>
                  </a:lnTo>
                  <a:lnTo>
                    <a:pt x="67546" y="27547"/>
                  </a:lnTo>
                  <a:lnTo>
                    <a:pt x="67452" y="27547"/>
                  </a:lnTo>
                  <a:lnTo>
                    <a:pt x="67074" y="26792"/>
                  </a:lnTo>
                  <a:lnTo>
                    <a:pt x="66791" y="25660"/>
                  </a:lnTo>
                  <a:lnTo>
                    <a:pt x="66508" y="24528"/>
                  </a:lnTo>
                  <a:lnTo>
                    <a:pt x="66414" y="23585"/>
                  </a:lnTo>
                  <a:lnTo>
                    <a:pt x="66320" y="23679"/>
                  </a:lnTo>
                  <a:lnTo>
                    <a:pt x="66320" y="23490"/>
                  </a:lnTo>
                  <a:lnTo>
                    <a:pt x="65942" y="22924"/>
                  </a:lnTo>
                  <a:lnTo>
                    <a:pt x="65565" y="22358"/>
                  </a:lnTo>
                  <a:lnTo>
                    <a:pt x="64527" y="21132"/>
                  </a:lnTo>
                  <a:lnTo>
                    <a:pt x="63584" y="19906"/>
                  </a:lnTo>
                  <a:lnTo>
                    <a:pt x="63207" y="19340"/>
                  </a:lnTo>
                  <a:lnTo>
                    <a:pt x="63018" y="18774"/>
                  </a:lnTo>
                  <a:lnTo>
                    <a:pt x="63112" y="18962"/>
                  </a:lnTo>
                  <a:lnTo>
                    <a:pt x="63301" y="19057"/>
                  </a:lnTo>
                  <a:lnTo>
                    <a:pt x="63301" y="19057"/>
                  </a:lnTo>
                  <a:lnTo>
                    <a:pt x="63207" y="18868"/>
                  </a:lnTo>
                  <a:lnTo>
                    <a:pt x="62923" y="18491"/>
                  </a:lnTo>
                  <a:lnTo>
                    <a:pt x="61980" y="17453"/>
                  </a:lnTo>
                  <a:lnTo>
                    <a:pt x="61037" y="16509"/>
                  </a:lnTo>
                  <a:lnTo>
                    <a:pt x="61037" y="16698"/>
                  </a:lnTo>
                  <a:lnTo>
                    <a:pt x="61037" y="16887"/>
                  </a:lnTo>
                  <a:lnTo>
                    <a:pt x="60093" y="15943"/>
                  </a:lnTo>
                  <a:lnTo>
                    <a:pt x="60376" y="16321"/>
                  </a:lnTo>
                  <a:lnTo>
                    <a:pt x="59527" y="15377"/>
                  </a:lnTo>
                  <a:lnTo>
                    <a:pt x="59056" y="14906"/>
                  </a:lnTo>
                  <a:lnTo>
                    <a:pt x="59244" y="14906"/>
                  </a:lnTo>
                  <a:lnTo>
                    <a:pt x="59905" y="15472"/>
                  </a:lnTo>
                  <a:lnTo>
                    <a:pt x="59905" y="15472"/>
                  </a:lnTo>
                  <a:lnTo>
                    <a:pt x="57641" y="13396"/>
                  </a:lnTo>
                  <a:lnTo>
                    <a:pt x="58112" y="13868"/>
                  </a:lnTo>
                  <a:lnTo>
                    <a:pt x="56886" y="13019"/>
                  </a:lnTo>
                  <a:lnTo>
                    <a:pt x="55754" y="12453"/>
                  </a:lnTo>
                  <a:lnTo>
                    <a:pt x="56603" y="13113"/>
                  </a:lnTo>
                  <a:lnTo>
                    <a:pt x="57452" y="13774"/>
                  </a:lnTo>
                  <a:lnTo>
                    <a:pt x="58961" y="15283"/>
                  </a:lnTo>
                  <a:lnTo>
                    <a:pt x="60376" y="16604"/>
                  </a:lnTo>
                  <a:lnTo>
                    <a:pt x="61225" y="17264"/>
                  </a:lnTo>
                  <a:lnTo>
                    <a:pt x="62074" y="17925"/>
                  </a:lnTo>
                  <a:lnTo>
                    <a:pt x="62074" y="17925"/>
                  </a:lnTo>
                  <a:lnTo>
                    <a:pt x="61414" y="17547"/>
                  </a:lnTo>
                  <a:lnTo>
                    <a:pt x="60659" y="16981"/>
                  </a:lnTo>
                  <a:lnTo>
                    <a:pt x="60754" y="17264"/>
                  </a:lnTo>
                  <a:lnTo>
                    <a:pt x="60942" y="17642"/>
                  </a:lnTo>
                  <a:lnTo>
                    <a:pt x="61980" y="19151"/>
                  </a:lnTo>
                  <a:lnTo>
                    <a:pt x="63301" y="20943"/>
                  </a:lnTo>
                  <a:lnTo>
                    <a:pt x="63207" y="20943"/>
                  </a:lnTo>
                  <a:lnTo>
                    <a:pt x="63395" y="21038"/>
                  </a:lnTo>
                  <a:lnTo>
                    <a:pt x="63490" y="21321"/>
                  </a:lnTo>
                  <a:lnTo>
                    <a:pt x="63678" y="21604"/>
                  </a:lnTo>
                  <a:lnTo>
                    <a:pt x="63773" y="21698"/>
                  </a:lnTo>
                  <a:lnTo>
                    <a:pt x="63584" y="21321"/>
                  </a:lnTo>
                  <a:lnTo>
                    <a:pt x="63584" y="21321"/>
                  </a:lnTo>
                  <a:lnTo>
                    <a:pt x="64244" y="22170"/>
                  </a:lnTo>
                  <a:lnTo>
                    <a:pt x="64716" y="22641"/>
                  </a:lnTo>
                  <a:lnTo>
                    <a:pt x="64905" y="22830"/>
                  </a:lnTo>
                  <a:lnTo>
                    <a:pt x="64999" y="22830"/>
                  </a:lnTo>
                  <a:lnTo>
                    <a:pt x="64999" y="22641"/>
                  </a:lnTo>
                  <a:lnTo>
                    <a:pt x="64905" y="22358"/>
                  </a:lnTo>
                  <a:lnTo>
                    <a:pt x="65282" y="23207"/>
                  </a:lnTo>
                  <a:lnTo>
                    <a:pt x="65565" y="24056"/>
                  </a:lnTo>
                  <a:lnTo>
                    <a:pt x="66225" y="25943"/>
                  </a:lnTo>
                  <a:lnTo>
                    <a:pt x="66697" y="27830"/>
                  </a:lnTo>
                  <a:lnTo>
                    <a:pt x="66886" y="28490"/>
                  </a:lnTo>
                  <a:lnTo>
                    <a:pt x="66980" y="28868"/>
                  </a:lnTo>
                  <a:lnTo>
                    <a:pt x="66886" y="28962"/>
                  </a:lnTo>
                  <a:lnTo>
                    <a:pt x="66697" y="28679"/>
                  </a:lnTo>
                  <a:lnTo>
                    <a:pt x="66697" y="29245"/>
                  </a:lnTo>
                  <a:lnTo>
                    <a:pt x="66791" y="29905"/>
                  </a:lnTo>
                  <a:lnTo>
                    <a:pt x="66886" y="29905"/>
                  </a:lnTo>
                  <a:lnTo>
                    <a:pt x="66886" y="30094"/>
                  </a:lnTo>
                  <a:lnTo>
                    <a:pt x="66886" y="30566"/>
                  </a:lnTo>
                  <a:lnTo>
                    <a:pt x="66697" y="30377"/>
                  </a:lnTo>
                  <a:lnTo>
                    <a:pt x="66603" y="30188"/>
                  </a:lnTo>
                  <a:lnTo>
                    <a:pt x="66603" y="30094"/>
                  </a:lnTo>
                  <a:lnTo>
                    <a:pt x="66697" y="29905"/>
                  </a:lnTo>
                  <a:lnTo>
                    <a:pt x="66508" y="28679"/>
                  </a:lnTo>
                  <a:lnTo>
                    <a:pt x="66225" y="27358"/>
                  </a:lnTo>
                  <a:lnTo>
                    <a:pt x="66603" y="30283"/>
                  </a:lnTo>
                  <a:lnTo>
                    <a:pt x="66697" y="31792"/>
                  </a:lnTo>
                  <a:lnTo>
                    <a:pt x="66697" y="33302"/>
                  </a:lnTo>
                  <a:lnTo>
                    <a:pt x="66603" y="34717"/>
                  </a:lnTo>
                  <a:lnTo>
                    <a:pt x="66414" y="36226"/>
                  </a:lnTo>
                  <a:lnTo>
                    <a:pt x="66131" y="37547"/>
                  </a:lnTo>
                  <a:lnTo>
                    <a:pt x="65659" y="38962"/>
                  </a:lnTo>
                  <a:lnTo>
                    <a:pt x="65848" y="38584"/>
                  </a:lnTo>
                  <a:lnTo>
                    <a:pt x="65942" y="38584"/>
                  </a:lnTo>
                  <a:lnTo>
                    <a:pt x="65848" y="39245"/>
                  </a:lnTo>
                  <a:lnTo>
                    <a:pt x="65565" y="40188"/>
                  </a:lnTo>
                  <a:lnTo>
                    <a:pt x="65471" y="40471"/>
                  </a:lnTo>
                  <a:lnTo>
                    <a:pt x="65282" y="40660"/>
                  </a:lnTo>
                  <a:lnTo>
                    <a:pt x="65282" y="40566"/>
                  </a:lnTo>
                  <a:lnTo>
                    <a:pt x="65093" y="41132"/>
                  </a:lnTo>
                  <a:lnTo>
                    <a:pt x="64433" y="43018"/>
                  </a:lnTo>
                  <a:lnTo>
                    <a:pt x="63678" y="45282"/>
                  </a:lnTo>
                  <a:lnTo>
                    <a:pt x="62735" y="47264"/>
                  </a:lnTo>
                  <a:lnTo>
                    <a:pt x="61697" y="49056"/>
                  </a:lnTo>
                  <a:lnTo>
                    <a:pt x="60659" y="50943"/>
                  </a:lnTo>
                  <a:lnTo>
                    <a:pt x="59433" y="52735"/>
                  </a:lnTo>
                  <a:lnTo>
                    <a:pt x="58207" y="54433"/>
                  </a:lnTo>
                  <a:lnTo>
                    <a:pt x="56886" y="56037"/>
                  </a:lnTo>
                  <a:lnTo>
                    <a:pt x="55376" y="57641"/>
                  </a:lnTo>
                  <a:lnTo>
                    <a:pt x="53867" y="59150"/>
                  </a:lnTo>
                  <a:lnTo>
                    <a:pt x="52169" y="60376"/>
                  </a:lnTo>
                  <a:lnTo>
                    <a:pt x="48961" y="62452"/>
                  </a:lnTo>
                  <a:lnTo>
                    <a:pt x="44528" y="65282"/>
                  </a:lnTo>
                  <a:lnTo>
                    <a:pt x="44622" y="65188"/>
                  </a:lnTo>
                  <a:lnTo>
                    <a:pt x="44716" y="65093"/>
                  </a:lnTo>
                  <a:lnTo>
                    <a:pt x="45094" y="64810"/>
                  </a:lnTo>
                  <a:lnTo>
                    <a:pt x="45660" y="64527"/>
                  </a:lnTo>
                  <a:lnTo>
                    <a:pt x="43867" y="65376"/>
                  </a:lnTo>
                  <a:lnTo>
                    <a:pt x="43113" y="65754"/>
                  </a:lnTo>
                  <a:lnTo>
                    <a:pt x="42924" y="65754"/>
                  </a:lnTo>
                  <a:lnTo>
                    <a:pt x="43113" y="65659"/>
                  </a:lnTo>
                  <a:lnTo>
                    <a:pt x="41603" y="66037"/>
                  </a:lnTo>
                  <a:lnTo>
                    <a:pt x="39999" y="66320"/>
                  </a:lnTo>
                  <a:lnTo>
                    <a:pt x="38396" y="66508"/>
                  </a:lnTo>
                  <a:lnTo>
                    <a:pt x="36792" y="66697"/>
                  </a:lnTo>
                  <a:lnTo>
                    <a:pt x="33584" y="66980"/>
                  </a:lnTo>
                  <a:lnTo>
                    <a:pt x="32169" y="67169"/>
                  </a:lnTo>
                  <a:lnTo>
                    <a:pt x="30754" y="67357"/>
                  </a:lnTo>
                  <a:lnTo>
                    <a:pt x="30094" y="67357"/>
                  </a:lnTo>
                  <a:lnTo>
                    <a:pt x="29339" y="67263"/>
                  </a:lnTo>
                  <a:lnTo>
                    <a:pt x="27830" y="66886"/>
                  </a:lnTo>
                  <a:lnTo>
                    <a:pt x="26415" y="66508"/>
                  </a:lnTo>
                  <a:lnTo>
                    <a:pt x="25754" y="66414"/>
                  </a:lnTo>
                  <a:lnTo>
                    <a:pt x="25094" y="66414"/>
                  </a:lnTo>
                  <a:lnTo>
                    <a:pt x="25566" y="66980"/>
                  </a:lnTo>
                  <a:lnTo>
                    <a:pt x="25471" y="67074"/>
                  </a:lnTo>
                  <a:lnTo>
                    <a:pt x="25188" y="66980"/>
                  </a:lnTo>
                  <a:lnTo>
                    <a:pt x="24339" y="66791"/>
                  </a:lnTo>
                  <a:lnTo>
                    <a:pt x="23773" y="66508"/>
                  </a:lnTo>
                  <a:lnTo>
                    <a:pt x="24245" y="66414"/>
                  </a:lnTo>
                  <a:lnTo>
                    <a:pt x="24717" y="66603"/>
                  </a:lnTo>
                  <a:lnTo>
                    <a:pt x="24811" y="66414"/>
                  </a:lnTo>
                  <a:lnTo>
                    <a:pt x="24811" y="66320"/>
                  </a:lnTo>
                  <a:lnTo>
                    <a:pt x="24717" y="66225"/>
                  </a:lnTo>
                  <a:lnTo>
                    <a:pt x="24528" y="66131"/>
                  </a:lnTo>
                  <a:lnTo>
                    <a:pt x="24151" y="66225"/>
                  </a:lnTo>
                  <a:lnTo>
                    <a:pt x="23679" y="66320"/>
                  </a:lnTo>
                  <a:lnTo>
                    <a:pt x="23018" y="66414"/>
                  </a:lnTo>
                  <a:lnTo>
                    <a:pt x="23490" y="66225"/>
                  </a:lnTo>
                  <a:lnTo>
                    <a:pt x="22075" y="65942"/>
                  </a:lnTo>
                  <a:lnTo>
                    <a:pt x="20943" y="65659"/>
                  </a:lnTo>
                  <a:lnTo>
                    <a:pt x="20000" y="65282"/>
                  </a:lnTo>
                  <a:lnTo>
                    <a:pt x="19056" y="64810"/>
                  </a:lnTo>
                  <a:lnTo>
                    <a:pt x="19056" y="64810"/>
                  </a:lnTo>
                  <a:lnTo>
                    <a:pt x="19717" y="64999"/>
                  </a:lnTo>
                  <a:lnTo>
                    <a:pt x="19151" y="64716"/>
                  </a:lnTo>
                  <a:lnTo>
                    <a:pt x="18962" y="64810"/>
                  </a:lnTo>
                  <a:lnTo>
                    <a:pt x="19151" y="64905"/>
                  </a:lnTo>
                  <a:lnTo>
                    <a:pt x="18490" y="64905"/>
                  </a:lnTo>
                  <a:lnTo>
                    <a:pt x="17830" y="64716"/>
                  </a:lnTo>
                  <a:lnTo>
                    <a:pt x="17264" y="64527"/>
                  </a:lnTo>
                  <a:lnTo>
                    <a:pt x="16698" y="64150"/>
                  </a:lnTo>
                  <a:lnTo>
                    <a:pt x="16981" y="64056"/>
                  </a:lnTo>
                  <a:lnTo>
                    <a:pt x="17264" y="64150"/>
                  </a:lnTo>
                  <a:lnTo>
                    <a:pt x="17264" y="64150"/>
                  </a:lnTo>
                  <a:lnTo>
                    <a:pt x="15188" y="63207"/>
                  </a:lnTo>
                  <a:lnTo>
                    <a:pt x="14622" y="62829"/>
                  </a:lnTo>
                  <a:lnTo>
                    <a:pt x="14717" y="62924"/>
                  </a:lnTo>
                  <a:lnTo>
                    <a:pt x="13773" y="62546"/>
                  </a:lnTo>
                  <a:lnTo>
                    <a:pt x="12924" y="62075"/>
                  </a:lnTo>
                  <a:lnTo>
                    <a:pt x="12358" y="61697"/>
                  </a:lnTo>
                  <a:lnTo>
                    <a:pt x="12264" y="61508"/>
                  </a:lnTo>
                  <a:lnTo>
                    <a:pt x="12170" y="61320"/>
                  </a:lnTo>
                  <a:lnTo>
                    <a:pt x="11698" y="60942"/>
                  </a:lnTo>
                  <a:lnTo>
                    <a:pt x="11132" y="60471"/>
                  </a:lnTo>
                  <a:lnTo>
                    <a:pt x="9906" y="59244"/>
                  </a:lnTo>
                  <a:lnTo>
                    <a:pt x="9906" y="59244"/>
                  </a:lnTo>
                  <a:lnTo>
                    <a:pt x="10566" y="59527"/>
                  </a:lnTo>
                  <a:lnTo>
                    <a:pt x="9434" y="58584"/>
                  </a:lnTo>
                  <a:lnTo>
                    <a:pt x="8207" y="57546"/>
                  </a:lnTo>
                  <a:lnTo>
                    <a:pt x="7547" y="56886"/>
                  </a:lnTo>
                  <a:lnTo>
                    <a:pt x="6981" y="56131"/>
                  </a:lnTo>
                  <a:lnTo>
                    <a:pt x="6226" y="55094"/>
                  </a:lnTo>
                  <a:lnTo>
                    <a:pt x="6415" y="55377"/>
                  </a:lnTo>
                  <a:lnTo>
                    <a:pt x="6038" y="54905"/>
                  </a:lnTo>
                  <a:lnTo>
                    <a:pt x="5472" y="54244"/>
                  </a:lnTo>
                  <a:lnTo>
                    <a:pt x="5283" y="53961"/>
                  </a:lnTo>
                  <a:lnTo>
                    <a:pt x="5094" y="53867"/>
                  </a:lnTo>
                  <a:lnTo>
                    <a:pt x="5377" y="54622"/>
                  </a:lnTo>
                  <a:lnTo>
                    <a:pt x="5849" y="55282"/>
                  </a:lnTo>
                  <a:lnTo>
                    <a:pt x="6321" y="55943"/>
                  </a:lnTo>
                  <a:lnTo>
                    <a:pt x="6698" y="56603"/>
                  </a:lnTo>
                  <a:lnTo>
                    <a:pt x="6226" y="56226"/>
                  </a:lnTo>
                  <a:lnTo>
                    <a:pt x="5943" y="55848"/>
                  </a:lnTo>
                  <a:lnTo>
                    <a:pt x="6038" y="56037"/>
                  </a:lnTo>
                  <a:lnTo>
                    <a:pt x="5943" y="55943"/>
                  </a:lnTo>
                  <a:lnTo>
                    <a:pt x="5377" y="55188"/>
                  </a:lnTo>
                  <a:lnTo>
                    <a:pt x="5000" y="54716"/>
                  </a:lnTo>
                  <a:lnTo>
                    <a:pt x="4717" y="54150"/>
                  </a:lnTo>
                  <a:lnTo>
                    <a:pt x="4528" y="53678"/>
                  </a:lnTo>
                  <a:lnTo>
                    <a:pt x="4528" y="53584"/>
                  </a:lnTo>
                  <a:lnTo>
                    <a:pt x="4623" y="53395"/>
                  </a:lnTo>
                  <a:lnTo>
                    <a:pt x="5094" y="54244"/>
                  </a:lnTo>
                  <a:lnTo>
                    <a:pt x="4717" y="53301"/>
                  </a:lnTo>
                  <a:lnTo>
                    <a:pt x="4528" y="53018"/>
                  </a:lnTo>
                  <a:lnTo>
                    <a:pt x="4151" y="52263"/>
                  </a:lnTo>
                  <a:lnTo>
                    <a:pt x="4151" y="52169"/>
                  </a:lnTo>
                  <a:lnTo>
                    <a:pt x="3774" y="51509"/>
                  </a:lnTo>
                  <a:lnTo>
                    <a:pt x="3396" y="50660"/>
                  </a:lnTo>
                  <a:lnTo>
                    <a:pt x="3585" y="51603"/>
                  </a:lnTo>
                  <a:lnTo>
                    <a:pt x="3396" y="51226"/>
                  </a:lnTo>
                  <a:lnTo>
                    <a:pt x="3208" y="50848"/>
                  </a:lnTo>
                  <a:lnTo>
                    <a:pt x="3208" y="50471"/>
                  </a:lnTo>
                  <a:lnTo>
                    <a:pt x="3208" y="50094"/>
                  </a:lnTo>
                  <a:lnTo>
                    <a:pt x="3585" y="50754"/>
                  </a:lnTo>
                  <a:lnTo>
                    <a:pt x="3868" y="51509"/>
                  </a:lnTo>
                  <a:lnTo>
                    <a:pt x="3868" y="51509"/>
                  </a:lnTo>
                  <a:lnTo>
                    <a:pt x="3208" y="49528"/>
                  </a:lnTo>
                  <a:lnTo>
                    <a:pt x="3208" y="49528"/>
                  </a:lnTo>
                  <a:lnTo>
                    <a:pt x="3868" y="50754"/>
                  </a:lnTo>
                  <a:lnTo>
                    <a:pt x="3208" y="48962"/>
                  </a:lnTo>
                  <a:lnTo>
                    <a:pt x="3585" y="49339"/>
                  </a:lnTo>
                  <a:lnTo>
                    <a:pt x="3774" y="49433"/>
                  </a:lnTo>
                  <a:lnTo>
                    <a:pt x="3962" y="49528"/>
                  </a:lnTo>
                  <a:lnTo>
                    <a:pt x="4057" y="49905"/>
                  </a:lnTo>
                  <a:lnTo>
                    <a:pt x="3868" y="48962"/>
                  </a:lnTo>
                  <a:lnTo>
                    <a:pt x="3491" y="47924"/>
                  </a:lnTo>
                  <a:lnTo>
                    <a:pt x="2641" y="45565"/>
                  </a:lnTo>
                  <a:lnTo>
                    <a:pt x="2170" y="43867"/>
                  </a:lnTo>
                  <a:lnTo>
                    <a:pt x="1698" y="41886"/>
                  </a:lnTo>
                  <a:lnTo>
                    <a:pt x="1698" y="41886"/>
                  </a:lnTo>
                  <a:lnTo>
                    <a:pt x="1887" y="42075"/>
                  </a:lnTo>
                  <a:lnTo>
                    <a:pt x="1981" y="41981"/>
                  </a:lnTo>
                  <a:lnTo>
                    <a:pt x="2075" y="42075"/>
                  </a:lnTo>
                  <a:lnTo>
                    <a:pt x="2264" y="42169"/>
                  </a:lnTo>
                  <a:lnTo>
                    <a:pt x="2170" y="40283"/>
                  </a:lnTo>
                  <a:lnTo>
                    <a:pt x="2075" y="38301"/>
                  </a:lnTo>
                  <a:lnTo>
                    <a:pt x="2170" y="36415"/>
                  </a:lnTo>
                  <a:lnTo>
                    <a:pt x="2358" y="35566"/>
                  </a:lnTo>
                  <a:lnTo>
                    <a:pt x="2453" y="34811"/>
                  </a:lnTo>
                  <a:lnTo>
                    <a:pt x="2830" y="32830"/>
                  </a:lnTo>
                  <a:lnTo>
                    <a:pt x="2830" y="33207"/>
                  </a:lnTo>
                  <a:lnTo>
                    <a:pt x="2924" y="33490"/>
                  </a:lnTo>
                  <a:lnTo>
                    <a:pt x="2924" y="32453"/>
                  </a:lnTo>
                  <a:lnTo>
                    <a:pt x="3019" y="31415"/>
                  </a:lnTo>
                  <a:lnTo>
                    <a:pt x="3396" y="29245"/>
                  </a:lnTo>
                  <a:lnTo>
                    <a:pt x="3868" y="27075"/>
                  </a:lnTo>
                  <a:lnTo>
                    <a:pt x="4623" y="25000"/>
                  </a:lnTo>
                  <a:lnTo>
                    <a:pt x="5566" y="22830"/>
                  </a:lnTo>
                  <a:lnTo>
                    <a:pt x="6604" y="20849"/>
                  </a:lnTo>
                  <a:lnTo>
                    <a:pt x="7830" y="18868"/>
                  </a:lnTo>
                  <a:lnTo>
                    <a:pt x="9151" y="16887"/>
                  </a:lnTo>
                  <a:lnTo>
                    <a:pt x="10566" y="15094"/>
                  </a:lnTo>
                  <a:lnTo>
                    <a:pt x="12075" y="13302"/>
                  </a:lnTo>
                  <a:lnTo>
                    <a:pt x="13773" y="11698"/>
                  </a:lnTo>
                  <a:lnTo>
                    <a:pt x="15377" y="10095"/>
                  </a:lnTo>
                  <a:lnTo>
                    <a:pt x="17170" y="8679"/>
                  </a:lnTo>
                  <a:lnTo>
                    <a:pt x="18962" y="7453"/>
                  </a:lnTo>
                  <a:lnTo>
                    <a:pt x="20754" y="6321"/>
                  </a:lnTo>
                  <a:lnTo>
                    <a:pt x="22547" y="5378"/>
                  </a:lnTo>
                  <a:lnTo>
                    <a:pt x="21603" y="6227"/>
                  </a:lnTo>
                  <a:lnTo>
                    <a:pt x="22641" y="5472"/>
                  </a:lnTo>
                  <a:lnTo>
                    <a:pt x="23302" y="5095"/>
                  </a:lnTo>
                  <a:lnTo>
                    <a:pt x="25377" y="4151"/>
                  </a:lnTo>
                  <a:lnTo>
                    <a:pt x="24811" y="4151"/>
                  </a:lnTo>
                  <a:lnTo>
                    <a:pt x="25660" y="3774"/>
                  </a:lnTo>
                  <a:lnTo>
                    <a:pt x="26886" y="3208"/>
                  </a:lnTo>
                  <a:lnTo>
                    <a:pt x="26603" y="3585"/>
                  </a:lnTo>
                  <a:lnTo>
                    <a:pt x="26886" y="3585"/>
                  </a:lnTo>
                  <a:lnTo>
                    <a:pt x="26886" y="3680"/>
                  </a:lnTo>
                  <a:lnTo>
                    <a:pt x="26792" y="3774"/>
                  </a:lnTo>
                  <a:lnTo>
                    <a:pt x="28301" y="3302"/>
                  </a:lnTo>
                  <a:lnTo>
                    <a:pt x="29622" y="2736"/>
                  </a:lnTo>
                  <a:lnTo>
                    <a:pt x="31037" y="2264"/>
                  </a:lnTo>
                  <a:lnTo>
                    <a:pt x="31792" y="2076"/>
                  </a:lnTo>
                  <a:lnTo>
                    <a:pt x="32641" y="1981"/>
                  </a:lnTo>
                  <a:lnTo>
                    <a:pt x="32547" y="2076"/>
                  </a:lnTo>
                  <a:lnTo>
                    <a:pt x="32924" y="1981"/>
                  </a:lnTo>
                  <a:lnTo>
                    <a:pt x="34245" y="1793"/>
                  </a:lnTo>
                  <a:lnTo>
                    <a:pt x="35848" y="1415"/>
                  </a:lnTo>
                  <a:lnTo>
                    <a:pt x="36981" y="1132"/>
                  </a:lnTo>
                  <a:lnTo>
                    <a:pt x="36981" y="1415"/>
                  </a:lnTo>
                  <a:lnTo>
                    <a:pt x="40943" y="1227"/>
                  </a:lnTo>
                  <a:lnTo>
                    <a:pt x="41509" y="1038"/>
                  </a:lnTo>
                  <a:lnTo>
                    <a:pt x="41697" y="1132"/>
                  </a:lnTo>
                  <a:lnTo>
                    <a:pt x="41509" y="1227"/>
                  </a:lnTo>
                  <a:lnTo>
                    <a:pt x="41320" y="1321"/>
                  </a:lnTo>
                  <a:lnTo>
                    <a:pt x="42263" y="1321"/>
                  </a:lnTo>
                  <a:lnTo>
                    <a:pt x="43113" y="1227"/>
                  </a:lnTo>
                  <a:lnTo>
                    <a:pt x="43396" y="1415"/>
                  </a:lnTo>
                  <a:lnTo>
                    <a:pt x="44056" y="1604"/>
                  </a:lnTo>
                  <a:lnTo>
                    <a:pt x="45943" y="2076"/>
                  </a:lnTo>
                  <a:lnTo>
                    <a:pt x="48018" y="2359"/>
                  </a:lnTo>
                  <a:lnTo>
                    <a:pt x="49622" y="2736"/>
                  </a:lnTo>
                  <a:lnTo>
                    <a:pt x="47641" y="1981"/>
                  </a:lnTo>
                  <a:lnTo>
                    <a:pt x="45282" y="1321"/>
                  </a:lnTo>
                  <a:lnTo>
                    <a:pt x="42735" y="755"/>
                  </a:lnTo>
                  <a:lnTo>
                    <a:pt x="40188" y="283"/>
                  </a:lnTo>
                  <a:lnTo>
                    <a:pt x="37735" y="95"/>
                  </a:lnTo>
                  <a:lnTo>
                    <a:pt x="35471" y="0"/>
                  </a:lnTo>
                  <a:close/>
                </a:path>
              </a:pathLst>
            </a:custGeom>
            <a:solidFill>
              <a:srgbClr val="FF0000"/>
            </a:solidFill>
            <a:ln>
              <a:noFill/>
            </a:ln>
          </p:spPr>
          <p:txBody>
            <a:bodyPr spcFirstLastPara="1" wrap="square" lIns="91425" tIns="91425" rIns="91425" bIns="91425" anchor="ctr" anchorCtr="0">
              <a:noAutofit/>
            </a:bodyPr>
            <a:lstStyle/>
            <a:p>
              <a:pPr marL="0" lvl="0" indent="0">
                <a:spcBef>
                  <a:spcPts val="0"/>
                </a:spcBef>
                <a:spcAft>
                  <a:spcPts val="0"/>
                </a:spcAft>
                <a:buNone/>
              </a:pPr>
              <a:endParaRPr sz="800">
                <a:latin typeface="Comic Sans MS" panose="030F0902030302020204" pitchFamily="66" charset="0"/>
              </a:endParaRPr>
            </a:p>
          </p:txBody>
        </p:sp>
        <p:sp>
          <p:nvSpPr>
            <p:cNvPr id="334" name="TextBox 333">
              <a:extLst>
                <a:ext uri="{FF2B5EF4-FFF2-40B4-BE49-F238E27FC236}">
                  <a16:creationId xmlns:a16="http://schemas.microsoft.com/office/drawing/2014/main" id="{8FADCBF9-535F-D348-9D86-A2F5C0831E93}"/>
                </a:ext>
              </a:extLst>
            </p:cNvPr>
            <p:cNvSpPr txBox="1"/>
            <p:nvPr/>
          </p:nvSpPr>
          <p:spPr>
            <a:xfrm>
              <a:off x="702590" y="1244892"/>
              <a:ext cx="301686" cy="180620"/>
            </a:xfrm>
            <a:prstGeom prst="rect">
              <a:avLst/>
            </a:prstGeom>
            <a:noFill/>
          </p:spPr>
          <p:txBody>
            <a:bodyPr wrap="square" rtlCol="0">
              <a:spAutoFit/>
            </a:bodyPr>
            <a:lstStyle/>
            <a:p>
              <a:r>
                <a:rPr lang="en-US" sz="300" dirty="0">
                  <a:solidFill>
                    <a:srgbClr val="FF0000"/>
                  </a:solidFill>
                  <a:latin typeface="Comic Sans MS" panose="030F0902030302020204" pitchFamily="66" charset="0"/>
                </a:rPr>
                <a:t>1.</a:t>
              </a:r>
            </a:p>
          </p:txBody>
        </p:sp>
      </p:grpSp>
      <p:sp>
        <p:nvSpPr>
          <p:cNvPr id="337" name="TextBox 336">
            <a:extLst>
              <a:ext uri="{FF2B5EF4-FFF2-40B4-BE49-F238E27FC236}">
                <a16:creationId xmlns:a16="http://schemas.microsoft.com/office/drawing/2014/main" id="{950AAB3D-45D3-A14B-86EA-B9705C5ADD94}"/>
              </a:ext>
            </a:extLst>
          </p:cNvPr>
          <p:cNvSpPr txBox="1"/>
          <p:nvPr/>
        </p:nvSpPr>
        <p:spPr>
          <a:xfrm>
            <a:off x="333437" y="1044000"/>
            <a:ext cx="1476000" cy="288000"/>
          </a:xfrm>
          <a:prstGeom prst="rect">
            <a:avLst/>
          </a:prstGeom>
          <a:noFill/>
        </p:spPr>
        <p:txBody>
          <a:bodyPr wrap="none" tIns="90000" bIns="90000" rtlCol="0" anchor="t">
            <a:spAutoFit/>
          </a:bodyPr>
          <a:lstStyle/>
          <a:p>
            <a:pPr algn="ctr"/>
            <a:r>
              <a:rPr lang="en-US" sz="1200" dirty="0">
                <a:solidFill>
                  <a:schemeClr val="tx1">
                    <a:lumMod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Consumer over REST/JSON</a:t>
            </a:r>
          </a:p>
        </p:txBody>
      </p:sp>
      <p:cxnSp>
        <p:nvCxnSpPr>
          <p:cNvPr id="338" name="Straight Connector 337">
            <a:extLst>
              <a:ext uri="{FF2B5EF4-FFF2-40B4-BE49-F238E27FC236}">
                <a16:creationId xmlns:a16="http://schemas.microsoft.com/office/drawing/2014/main" id="{4CD56052-F377-BC4B-935E-3F2F224C0B0F}"/>
              </a:ext>
            </a:extLst>
          </p:cNvPr>
          <p:cNvCxnSpPr>
            <a:cxnSpLocks/>
            <a:endCxn id="337" idx="2"/>
          </p:cNvCxnSpPr>
          <p:nvPr/>
        </p:nvCxnSpPr>
        <p:spPr>
          <a:xfrm flipH="1" flipV="1">
            <a:off x="1071437" y="1332000"/>
            <a:ext cx="212835" cy="369328"/>
          </a:xfrm>
          <a:prstGeom prst="line">
            <a:avLst/>
          </a:prstGeom>
          <a:ln w="12700">
            <a:solidFill>
              <a:srgbClr val="FF0000">
                <a:alpha val="50000"/>
              </a:srgbClr>
            </a:solidFill>
            <a:headEnd type="oval"/>
          </a:ln>
        </p:spPr>
        <p:style>
          <a:lnRef idx="1">
            <a:schemeClr val="accent1"/>
          </a:lnRef>
          <a:fillRef idx="0">
            <a:schemeClr val="accent1"/>
          </a:fillRef>
          <a:effectRef idx="0">
            <a:schemeClr val="accent1"/>
          </a:effectRef>
          <a:fontRef idx="minor">
            <a:schemeClr val="tx1"/>
          </a:fontRef>
        </p:style>
      </p:cxnSp>
      <p:sp>
        <p:nvSpPr>
          <p:cNvPr id="342" name="TextBox 341">
            <a:extLst>
              <a:ext uri="{FF2B5EF4-FFF2-40B4-BE49-F238E27FC236}">
                <a16:creationId xmlns:a16="http://schemas.microsoft.com/office/drawing/2014/main" id="{893005C6-0178-034F-A7B9-E486E8DF9470}"/>
              </a:ext>
            </a:extLst>
          </p:cNvPr>
          <p:cNvSpPr txBox="1"/>
          <p:nvPr/>
        </p:nvSpPr>
        <p:spPr>
          <a:xfrm>
            <a:off x="2000232" y="2308719"/>
            <a:ext cx="1241201" cy="551090"/>
          </a:xfrm>
          <a:prstGeom prst="rect">
            <a:avLst/>
          </a:prstGeom>
          <a:noFill/>
        </p:spPr>
        <p:txBody>
          <a:bodyPr wrap="square" tIns="90000" bIns="90000" rtlCol="0" anchor="t">
            <a:spAutoFit/>
          </a:bodyPr>
          <a:lstStyle/>
          <a:p>
            <a:pPr algn="ctr"/>
            <a:r>
              <a:rPr lang="en-US" sz="800" dirty="0">
                <a:solidFill>
                  <a:schemeClr val="tx1">
                    <a:lumMod val="50000"/>
                  </a:schemeClr>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Prepackaged Connectors for input (source)</a:t>
            </a:r>
          </a:p>
        </p:txBody>
      </p:sp>
      <p:cxnSp>
        <p:nvCxnSpPr>
          <p:cNvPr id="343" name="Straight Connector 342">
            <a:extLst>
              <a:ext uri="{FF2B5EF4-FFF2-40B4-BE49-F238E27FC236}">
                <a16:creationId xmlns:a16="http://schemas.microsoft.com/office/drawing/2014/main" id="{6AF644E1-BA9C-8848-8A2A-52C4DB3D705C}"/>
              </a:ext>
            </a:extLst>
          </p:cNvPr>
          <p:cNvCxnSpPr>
            <a:cxnSpLocks/>
            <a:endCxn id="413" idx="1"/>
          </p:cNvCxnSpPr>
          <p:nvPr/>
        </p:nvCxnSpPr>
        <p:spPr>
          <a:xfrm>
            <a:off x="1618430" y="4350253"/>
            <a:ext cx="642934" cy="149198"/>
          </a:xfrm>
          <a:prstGeom prst="line">
            <a:avLst/>
          </a:prstGeom>
          <a:ln w="12700">
            <a:solidFill>
              <a:srgbClr val="FF0000">
                <a:alpha val="50000"/>
              </a:srgbClr>
            </a:solidFill>
            <a:headEnd type="oval"/>
          </a:ln>
        </p:spPr>
        <p:style>
          <a:lnRef idx="1">
            <a:schemeClr val="accent1"/>
          </a:lnRef>
          <a:fillRef idx="0">
            <a:schemeClr val="accent1"/>
          </a:fillRef>
          <a:effectRef idx="0">
            <a:schemeClr val="accent1"/>
          </a:effectRef>
          <a:fontRef idx="minor">
            <a:schemeClr val="tx1"/>
          </a:fontRef>
        </p:style>
      </p:cxnSp>
      <p:sp>
        <p:nvSpPr>
          <p:cNvPr id="367" name="TextBox 366">
            <a:extLst>
              <a:ext uri="{FF2B5EF4-FFF2-40B4-BE49-F238E27FC236}">
                <a16:creationId xmlns:a16="http://schemas.microsoft.com/office/drawing/2014/main" id="{24D599E4-DAA8-C84D-A9EE-DAB5A4A570D5}"/>
              </a:ext>
            </a:extLst>
          </p:cNvPr>
          <p:cNvSpPr txBox="1"/>
          <p:nvPr/>
        </p:nvSpPr>
        <p:spPr>
          <a:xfrm>
            <a:off x="9416878" y="2228661"/>
            <a:ext cx="1060959" cy="797311"/>
          </a:xfrm>
          <a:prstGeom prst="rect">
            <a:avLst/>
          </a:prstGeom>
          <a:noFill/>
        </p:spPr>
        <p:txBody>
          <a:bodyPr wrap="square" tIns="90000" bIns="90000" rtlCol="0" anchor="t">
            <a:spAutoFit/>
          </a:bodyPr>
          <a:lstStyle/>
          <a:p>
            <a:r>
              <a:rPr lang="en-US" sz="800" dirty="0">
                <a:solidFill>
                  <a:schemeClr val="tx1">
                    <a:lumMod val="50000"/>
                  </a:schemeClr>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Transforms Creates new streams Aggregates Joins Analysis </a:t>
            </a:r>
          </a:p>
        </p:txBody>
      </p:sp>
      <p:cxnSp>
        <p:nvCxnSpPr>
          <p:cNvPr id="368" name="Straight Connector 367">
            <a:extLst>
              <a:ext uri="{FF2B5EF4-FFF2-40B4-BE49-F238E27FC236}">
                <a16:creationId xmlns:a16="http://schemas.microsoft.com/office/drawing/2014/main" id="{A12D6386-10DA-4E4D-A697-D6AC2E6E3694}"/>
              </a:ext>
            </a:extLst>
          </p:cNvPr>
          <p:cNvCxnSpPr>
            <a:cxnSpLocks/>
            <a:endCxn id="367" idx="1"/>
          </p:cNvCxnSpPr>
          <p:nvPr/>
        </p:nvCxnSpPr>
        <p:spPr>
          <a:xfrm>
            <a:off x="8603045" y="2549508"/>
            <a:ext cx="813833" cy="77809"/>
          </a:xfrm>
          <a:prstGeom prst="line">
            <a:avLst/>
          </a:prstGeom>
          <a:ln w="12700">
            <a:solidFill>
              <a:srgbClr val="FF0000">
                <a:alpha val="50000"/>
              </a:srgbClr>
            </a:solidFill>
            <a:headEnd type="oval"/>
          </a:ln>
        </p:spPr>
        <p:style>
          <a:lnRef idx="1">
            <a:schemeClr val="accent1"/>
          </a:lnRef>
          <a:fillRef idx="0">
            <a:schemeClr val="accent1"/>
          </a:fillRef>
          <a:effectRef idx="0">
            <a:schemeClr val="accent1"/>
          </a:effectRef>
          <a:fontRef idx="minor">
            <a:schemeClr val="tx1"/>
          </a:fontRef>
        </p:style>
      </p:cxnSp>
      <p:sp>
        <p:nvSpPr>
          <p:cNvPr id="371" name="TextBox 370">
            <a:extLst>
              <a:ext uri="{FF2B5EF4-FFF2-40B4-BE49-F238E27FC236}">
                <a16:creationId xmlns:a16="http://schemas.microsoft.com/office/drawing/2014/main" id="{89B9B42D-1273-DF47-9C42-E27AF273B881}"/>
              </a:ext>
            </a:extLst>
          </p:cNvPr>
          <p:cNvSpPr txBox="1"/>
          <p:nvPr/>
        </p:nvSpPr>
        <p:spPr>
          <a:xfrm>
            <a:off x="9268075" y="5390361"/>
            <a:ext cx="852807" cy="427979"/>
          </a:xfrm>
          <a:prstGeom prst="rect">
            <a:avLst/>
          </a:prstGeom>
          <a:noFill/>
        </p:spPr>
        <p:txBody>
          <a:bodyPr wrap="square" tIns="90000" bIns="90000" rtlCol="0" anchor="t">
            <a:spAutoFit/>
          </a:bodyPr>
          <a:lstStyle/>
          <a:p>
            <a:r>
              <a:rPr lang="en-US" sz="800" dirty="0">
                <a:solidFill>
                  <a:schemeClr val="tx1">
                    <a:lumMod val="50000"/>
                  </a:schemeClr>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Output Data Streams </a:t>
            </a:r>
          </a:p>
        </p:txBody>
      </p:sp>
      <p:cxnSp>
        <p:nvCxnSpPr>
          <p:cNvPr id="372" name="Straight Connector 371">
            <a:extLst>
              <a:ext uri="{FF2B5EF4-FFF2-40B4-BE49-F238E27FC236}">
                <a16:creationId xmlns:a16="http://schemas.microsoft.com/office/drawing/2014/main" id="{D171C906-7FCB-D047-9B15-8223EFBA6D3A}"/>
              </a:ext>
            </a:extLst>
          </p:cNvPr>
          <p:cNvCxnSpPr>
            <a:cxnSpLocks/>
            <a:stCxn id="173" idx="1"/>
            <a:endCxn id="371" idx="3"/>
          </p:cNvCxnSpPr>
          <p:nvPr/>
        </p:nvCxnSpPr>
        <p:spPr>
          <a:xfrm flipH="1">
            <a:off x="10120882" y="3784765"/>
            <a:ext cx="399368" cy="1819586"/>
          </a:xfrm>
          <a:prstGeom prst="line">
            <a:avLst/>
          </a:prstGeom>
          <a:ln w="12700">
            <a:solidFill>
              <a:srgbClr val="FF0000">
                <a:alpha val="50000"/>
              </a:srgbClr>
            </a:solidFill>
            <a:headEnd type="oval"/>
          </a:ln>
        </p:spPr>
        <p:style>
          <a:lnRef idx="1">
            <a:schemeClr val="accent1"/>
          </a:lnRef>
          <a:fillRef idx="0">
            <a:schemeClr val="accent1"/>
          </a:fillRef>
          <a:effectRef idx="0">
            <a:schemeClr val="accent1"/>
          </a:effectRef>
          <a:fontRef idx="minor">
            <a:schemeClr val="tx1"/>
          </a:fontRef>
        </p:style>
      </p:cxnSp>
      <p:sp>
        <p:nvSpPr>
          <p:cNvPr id="386" name="TextBox 385">
            <a:extLst>
              <a:ext uri="{FF2B5EF4-FFF2-40B4-BE49-F238E27FC236}">
                <a16:creationId xmlns:a16="http://schemas.microsoft.com/office/drawing/2014/main" id="{05B04114-4ECD-4443-8367-136048449DDC}"/>
              </a:ext>
            </a:extLst>
          </p:cNvPr>
          <p:cNvSpPr txBox="1"/>
          <p:nvPr/>
        </p:nvSpPr>
        <p:spPr>
          <a:xfrm flipH="1">
            <a:off x="6374682" y="1200338"/>
            <a:ext cx="1098870" cy="304868"/>
          </a:xfrm>
          <a:prstGeom prst="rect">
            <a:avLst/>
          </a:prstGeom>
          <a:noFill/>
        </p:spPr>
        <p:txBody>
          <a:bodyPr wrap="square" tIns="90000" bIns="90000" rtlCol="0" anchor="t">
            <a:spAutoFit/>
          </a:bodyPr>
          <a:lstStyle/>
          <a:p>
            <a:pPr algn="ctr"/>
            <a:r>
              <a:rPr lang="en-US" sz="800" dirty="0">
                <a:solidFill>
                  <a:schemeClr val="tx1">
                    <a:lumMod val="50000"/>
                  </a:schemeClr>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Kafka Consumer</a:t>
            </a:r>
          </a:p>
        </p:txBody>
      </p:sp>
      <p:cxnSp>
        <p:nvCxnSpPr>
          <p:cNvPr id="387" name="Straight Connector 386">
            <a:extLst>
              <a:ext uri="{FF2B5EF4-FFF2-40B4-BE49-F238E27FC236}">
                <a16:creationId xmlns:a16="http://schemas.microsoft.com/office/drawing/2014/main" id="{EDA567EC-FD5A-1D41-BFCA-F0BEA19FA4C5}"/>
              </a:ext>
            </a:extLst>
          </p:cNvPr>
          <p:cNvCxnSpPr>
            <a:cxnSpLocks/>
            <a:endCxn id="386" idx="2"/>
          </p:cNvCxnSpPr>
          <p:nvPr/>
        </p:nvCxnSpPr>
        <p:spPr>
          <a:xfrm flipH="1" flipV="1">
            <a:off x="6924117" y="1505206"/>
            <a:ext cx="389438" cy="329667"/>
          </a:xfrm>
          <a:prstGeom prst="line">
            <a:avLst/>
          </a:prstGeom>
          <a:ln w="12700">
            <a:solidFill>
              <a:srgbClr val="FF0000">
                <a:alpha val="50000"/>
              </a:srgbClr>
            </a:solidFill>
            <a:headEnd type="oval"/>
          </a:ln>
        </p:spPr>
        <p:style>
          <a:lnRef idx="1">
            <a:schemeClr val="accent1"/>
          </a:lnRef>
          <a:fillRef idx="0">
            <a:schemeClr val="accent1"/>
          </a:fillRef>
          <a:effectRef idx="0">
            <a:schemeClr val="accent1"/>
          </a:effectRef>
          <a:fontRef idx="minor">
            <a:schemeClr val="tx1"/>
          </a:fontRef>
        </p:style>
      </p:cxnSp>
      <p:cxnSp>
        <p:nvCxnSpPr>
          <p:cNvPr id="389" name="Straight Connector 388">
            <a:extLst>
              <a:ext uri="{FF2B5EF4-FFF2-40B4-BE49-F238E27FC236}">
                <a16:creationId xmlns:a16="http://schemas.microsoft.com/office/drawing/2014/main" id="{E967CE67-5ECA-D949-B1B7-440F8B7A3927}"/>
              </a:ext>
            </a:extLst>
          </p:cNvPr>
          <p:cNvCxnSpPr>
            <a:cxnSpLocks/>
            <a:endCxn id="386" idx="2"/>
          </p:cNvCxnSpPr>
          <p:nvPr/>
        </p:nvCxnSpPr>
        <p:spPr>
          <a:xfrm flipH="1" flipV="1">
            <a:off x="6924117" y="1505206"/>
            <a:ext cx="389438" cy="1025151"/>
          </a:xfrm>
          <a:prstGeom prst="line">
            <a:avLst/>
          </a:prstGeom>
          <a:ln w="12700">
            <a:solidFill>
              <a:srgbClr val="FF0000">
                <a:alpha val="50000"/>
              </a:srgbClr>
            </a:solidFill>
            <a:headEnd type="oval"/>
          </a:ln>
        </p:spPr>
        <p:style>
          <a:lnRef idx="1">
            <a:schemeClr val="accent1"/>
          </a:lnRef>
          <a:fillRef idx="0">
            <a:schemeClr val="accent1"/>
          </a:fillRef>
          <a:effectRef idx="0">
            <a:schemeClr val="accent1"/>
          </a:effectRef>
          <a:fontRef idx="minor">
            <a:schemeClr val="tx1"/>
          </a:fontRef>
        </p:style>
      </p:cxnSp>
      <p:cxnSp>
        <p:nvCxnSpPr>
          <p:cNvPr id="390" name="Straight Connector 389">
            <a:extLst>
              <a:ext uri="{FF2B5EF4-FFF2-40B4-BE49-F238E27FC236}">
                <a16:creationId xmlns:a16="http://schemas.microsoft.com/office/drawing/2014/main" id="{71F17D89-0C89-574C-85FE-0DD70E0C8430}"/>
              </a:ext>
            </a:extLst>
          </p:cNvPr>
          <p:cNvCxnSpPr>
            <a:cxnSpLocks/>
            <a:endCxn id="386" idx="2"/>
          </p:cNvCxnSpPr>
          <p:nvPr/>
        </p:nvCxnSpPr>
        <p:spPr>
          <a:xfrm flipH="1" flipV="1">
            <a:off x="6924117" y="1505206"/>
            <a:ext cx="382062" cy="1692455"/>
          </a:xfrm>
          <a:prstGeom prst="line">
            <a:avLst/>
          </a:prstGeom>
          <a:ln w="12700">
            <a:solidFill>
              <a:srgbClr val="FF0000">
                <a:alpha val="50000"/>
              </a:srgbClr>
            </a:solidFill>
            <a:headEnd type="oval"/>
          </a:ln>
        </p:spPr>
        <p:style>
          <a:lnRef idx="1">
            <a:schemeClr val="accent1"/>
          </a:lnRef>
          <a:fillRef idx="0">
            <a:schemeClr val="accent1"/>
          </a:fillRef>
          <a:effectRef idx="0">
            <a:schemeClr val="accent1"/>
          </a:effectRef>
          <a:fontRef idx="minor">
            <a:schemeClr val="tx1"/>
          </a:fontRef>
        </p:style>
      </p:cxnSp>
      <p:sp>
        <p:nvSpPr>
          <p:cNvPr id="409" name="TextBox 408">
            <a:extLst>
              <a:ext uri="{FF2B5EF4-FFF2-40B4-BE49-F238E27FC236}">
                <a16:creationId xmlns:a16="http://schemas.microsoft.com/office/drawing/2014/main" id="{BA535E12-7E02-6E4B-9302-86DA6D72A95D}"/>
              </a:ext>
            </a:extLst>
          </p:cNvPr>
          <p:cNvSpPr txBox="1"/>
          <p:nvPr/>
        </p:nvSpPr>
        <p:spPr>
          <a:xfrm>
            <a:off x="9500792" y="4138737"/>
            <a:ext cx="852807" cy="674200"/>
          </a:xfrm>
          <a:prstGeom prst="rect">
            <a:avLst/>
          </a:prstGeom>
          <a:noFill/>
        </p:spPr>
        <p:txBody>
          <a:bodyPr wrap="square" tIns="90000" bIns="90000" rtlCol="0" anchor="t">
            <a:spAutoFit/>
          </a:bodyPr>
          <a:lstStyle/>
          <a:p>
            <a:pPr algn="ctr"/>
            <a:r>
              <a:rPr lang="en-US" sz="800" dirty="0">
                <a:solidFill>
                  <a:schemeClr val="tx1">
                    <a:lumMod val="50000"/>
                  </a:schemeClr>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Prepackaged Connectors for output (source)</a:t>
            </a:r>
          </a:p>
        </p:txBody>
      </p:sp>
      <p:cxnSp>
        <p:nvCxnSpPr>
          <p:cNvPr id="410" name="Straight Connector 409">
            <a:extLst>
              <a:ext uri="{FF2B5EF4-FFF2-40B4-BE49-F238E27FC236}">
                <a16:creationId xmlns:a16="http://schemas.microsoft.com/office/drawing/2014/main" id="{C7E645AB-3E6E-C444-8633-7EF945566D2F}"/>
              </a:ext>
            </a:extLst>
          </p:cNvPr>
          <p:cNvCxnSpPr>
            <a:cxnSpLocks/>
            <a:endCxn id="409" idx="1"/>
          </p:cNvCxnSpPr>
          <p:nvPr/>
        </p:nvCxnSpPr>
        <p:spPr>
          <a:xfrm flipV="1">
            <a:off x="8230909" y="4475837"/>
            <a:ext cx="1269883" cy="71290"/>
          </a:xfrm>
          <a:prstGeom prst="line">
            <a:avLst/>
          </a:prstGeom>
          <a:ln w="12700">
            <a:solidFill>
              <a:srgbClr val="FF0000">
                <a:alpha val="50000"/>
              </a:srgbClr>
            </a:solidFill>
            <a:headEnd type="oval"/>
          </a:ln>
        </p:spPr>
        <p:style>
          <a:lnRef idx="1">
            <a:schemeClr val="accent1"/>
          </a:lnRef>
          <a:fillRef idx="0">
            <a:schemeClr val="accent1"/>
          </a:fillRef>
          <a:effectRef idx="0">
            <a:schemeClr val="accent1"/>
          </a:effectRef>
          <a:fontRef idx="minor">
            <a:schemeClr val="tx1"/>
          </a:fontRef>
        </p:style>
      </p:cxnSp>
      <p:cxnSp>
        <p:nvCxnSpPr>
          <p:cNvPr id="411" name="Straight Connector 410">
            <a:extLst>
              <a:ext uri="{FF2B5EF4-FFF2-40B4-BE49-F238E27FC236}">
                <a16:creationId xmlns:a16="http://schemas.microsoft.com/office/drawing/2014/main" id="{018D65D2-BE19-C644-A08B-0204F636E8AF}"/>
              </a:ext>
            </a:extLst>
          </p:cNvPr>
          <p:cNvCxnSpPr>
            <a:cxnSpLocks/>
            <a:endCxn id="413" idx="1"/>
          </p:cNvCxnSpPr>
          <p:nvPr/>
        </p:nvCxnSpPr>
        <p:spPr>
          <a:xfrm>
            <a:off x="1645338" y="2421278"/>
            <a:ext cx="616026" cy="2078173"/>
          </a:xfrm>
          <a:prstGeom prst="line">
            <a:avLst/>
          </a:prstGeom>
          <a:ln w="12700">
            <a:solidFill>
              <a:srgbClr val="FF0000">
                <a:alpha val="50000"/>
              </a:srgbClr>
            </a:solidFill>
            <a:headEnd type="oval"/>
          </a:ln>
        </p:spPr>
        <p:style>
          <a:lnRef idx="1">
            <a:schemeClr val="accent1"/>
          </a:lnRef>
          <a:fillRef idx="0">
            <a:schemeClr val="accent1"/>
          </a:fillRef>
          <a:effectRef idx="0">
            <a:schemeClr val="accent1"/>
          </a:effectRef>
          <a:fontRef idx="minor">
            <a:schemeClr val="tx1"/>
          </a:fontRef>
        </p:style>
      </p:cxnSp>
      <p:sp>
        <p:nvSpPr>
          <p:cNvPr id="413" name="TextBox 412">
            <a:extLst>
              <a:ext uri="{FF2B5EF4-FFF2-40B4-BE49-F238E27FC236}">
                <a16:creationId xmlns:a16="http://schemas.microsoft.com/office/drawing/2014/main" id="{516AB994-DE02-9A43-A46E-A679635FEA30}"/>
              </a:ext>
            </a:extLst>
          </p:cNvPr>
          <p:cNvSpPr txBox="1"/>
          <p:nvPr/>
        </p:nvSpPr>
        <p:spPr>
          <a:xfrm>
            <a:off x="2261364" y="4285461"/>
            <a:ext cx="851045" cy="427979"/>
          </a:xfrm>
          <a:prstGeom prst="rect">
            <a:avLst/>
          </a:prstGeom>
          <a:noFill/>
        </p:spPr>
        <p:txBody>
          <a:bodyPr wrap="square" tIns="90000" bIns="90000" rtlCol="0" anchor="t">
            <a:spAutoFit/>
          </a:bodyPr>
          <a:lstStyle/>
          <a:p>
            <a:pPr algn="ctr"/>
            <a:r>
              <a:rPr lang="en-US" sz="800" dirty="0">
                <a:solidFill>
                  <a:schemeClr val="tx1">
                    <a:lumMod val="50000"/>
                  </a:schemeClr>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Input Data Stream</a:t>
            </a:r>
          </a:p>
        </p:txBody>
      </p:sp>
      <p:sp>
        <p:nvSpPr>
          <p:cNvPr id="422" name="Rounded Rectangle 421">
            <a:extLst>
              <a:ext uri="{FF2B5EF4-FFF2-40B4-BE49-F238E27FC236}">
                <a16:creationId xmlns:a16="http://schemas.microsoft.com/office/drawing/2014/main" id="{D5CAE5D8-ABFC-C440-B9B8-DE0EBB61F7CD}"/>
              </a:ext>
            </a:extLst>
          </p:cNvPr>
          <p:cNvSpPr/>
          <p:nvPr/>
        </p:nvSpPr>
        <p:spPr>
          <a:xfrm>
            <a:off x="570773" y="5117115"/>
            <a:ext cx="1182630" cy="420294"/>
          </a:xfrm>
          <a:prstGeom prst="roundRect">
            <a:avLst/>
          </a:prstGeom>
          <a:solidFill>
            <a:schemeClr val="bg1">
              <a:lumMod val="85000"/>
            </a:schemeClr>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b="1" dirty="0">
              <a:solidFill>
                <a:schemeClr val="bg1">
                  <a:lumMod val="50000"/>
                </a:schemeClr>
              </a:solidFill>
              <a:latin typeface="Comic Sans MS" panose="030F0902030302020204" pitchFamily="66" charset="0"/>
              <a:ea typeface="Nanum Pen Script" panose="03040600000000000000" pitchFamily="66" charset="-127"/>
            </a:endParaRPr>
          </a:p>
          <a:p>
            <a:pPr algn="ctr"/>
            <a:endParaRPr lang="en-US" sz="800" b="1" dirty="0">
              <a:solidFill>
                <a:schemeClr val="bg1">
                  <a:lumMod val="50000"/>
                </a:schemeClr>
              </a:solidFill>
              <a:latin typeface="Comic Sans MS" panose="030F0902030302020204" pitchFamily="66" charset="0"/>
              <a:ea typeface="Nanum Pen Script" panose="03040600000000000000" pitchFamily="66" charset="-127"/>
            </a:endParaRPr>
          </a:p>
          <a:p>
            <a:pPr algn="ctr"/>
            <a:endParaRPr lang="en-US" sz="800" b="1" dirty="0">
              <a:solidFill>
                <a:schemeClr val="bg1">
                  <a:lumMod val="50000"/>
                </a:schemeClr>
              </a:solidFill>
              <a:latin typeface="Comic Sans MS" panose="030F0902030302020204" pitchFamily="66" charset="0"/>
              <a:ea typeface="Nanum Pen Script" panose="03040600000000000000" pitchFamily="66" charset="-127"/>
            </a:endParaRPr>
          </a:p>
          <a:p>
            <a:pPr algn="ctr"/>
            <a:endParaRPr lang="en-US" sz="800" b="1" dirty="0">
              <a:solidFill>
                <a:schemeClr val="bg1">
                  <a:lumMod val="50000"/>
                </a:schemeClr>
              </a:solidFill>
              <a:latin typeface="Comic Sans MS" panose="030F0902030302020204" pitchFamily="66" charset="0"/>
              <a:ea typeface="Nanum Pen Script" panose="03040600000000000000" pitchFamily="66" charset="-127"/>
            </a:endParaRPr>
          </a:p>
          <a:p>
            <a:pPr algn="ctr"/>
            <a:endParaRPr lang="en-US" sz="700" b="1" dirty="0">
              <a:solidFill>
                <a:schemeClr val="bg1">
                  <a:lumMod val="50000"/>
                </a:schemeClr>
              </a:solidFill>
              <a:latin typeface="Comic Sans MS" panose="030F0902030302020204" pitchFamily="66" charset="0"/>
              <a:ea typeface="Nanum Pen Script" panose="03040600000000000000" pitchFamily="66" charset="-127"/>
            </a:endParaRPr>
          </a:p>
          <a:p>
            <a:pPr algn="ctr"/>
            <a:endParaRPr lang="en-US" sz="700" b="1" dirty="0">
              <a:solidFill>
                <a:schemeClr val="bg1">
                  <a:lumMod val="50000"/>
                </a:schemeClr>
              </a:solidFill>
              <a:latin typeface="Comic Sans MS" panose="030F0902030302020204" pitchFamily="66" charset="0"/>
              <a:ea typeface="Nanum Pen Script" panose="03040600000000000000" pitchFamily="66" charset="-127"/>
            </a:endParaRPr>
          </a:p>
          <a:p>
            <a:pPr algn="ctr">
              <a:spcBef>
                <a:spcPts val="0"/>
              </a:spcBef>
            </a:pPr>
            <a:r>
              <a:rPr lang="en-US" sz="7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Log aggregation</a:t>
            </a:r>
          </a:p>
          <a:p>
            <a:pPr algn="ctr">
              <a:spcBef>
                <a:spcPts val="0"/>
              </a:spcBef>
            </a:pPr>
            <a:endParaRPr lang="en-US" sz="1600" dirty="0">
              <a:solidFill>
                <a:schemeClr val="tx1"/>
              </a:solidFill>
              <a:latin typeface="Comic Sans MS" panose="030F0902030302020204" pitchFamily="66" charset="0"/>
              <a:ea typeface="Nanum Pen Script" panose="03040600000000000000" pitchFamily="66" charset="-127"/>
            </a:endParaRPr>
          </a:p>
          <a:p>
            <a:pPr algn="ctr"/>
            <a:endParaRPr lang="en-US" sz="1600" dirty="0">
              <a:solidFill>
                <a:schemeClr val="tx1"/>
              </a:solidFill>
              <a:latin typeface="Comic Sans MS" panose="030F0902030302020204" pitchFamily="66" charset="0"/>
              <a:ea typeface="Nanum Pen Script" panose="03040600000000000000" pitchFamily="66" charset="-127"/>
            </a:endParaRPr>
          </a:p>
        </p:txBody>
      </p:sp>
      <p:grpSp>
        <p:nvGrpSpPr>
          <p:cNvPr id="427" name="Group 426">
            <a:extLst>
              <a:ext uri="{FF2B5EF4-FFF2-40B4-BE49-F238E27FC236}">
                <a16:creationId xmlns:a16="http://schemas.microsoft.com/office/drawing/2014/main" id="{9DF5EEF1-EEBE-1E42-A74A-49962FE2DB6F}"/>
              </a:ext>
            </a:extLst>
          </p:cNvPr>
          <p:cNvGrpSpPr/>
          <p:nvPr/>
        </p:nvGrpSpPr>
        <p:grpSpPr>
          <a:xfrm rot="21011211">
            <a:off x="572948" y="4756659"/>
            <a:ext cx="292910" cy="222927"/>
            <a:chOff x="702590" y="1203599"/>
            <a:chExt cx="301686" cy="290724"/>
          </a:xfrm>
        </p:grpSpPr>
        <p:sp>
          <p:nvSpPr>
            <p:cNvPr id="428" name="Google Shape;431;p39">
              <a:extLst>
                <a:ext uri="{FF2B5EF4-FFF2-40B4-BE49-F238E27FC236}">
                  <a16:creationId xmlns:a16="http://schemas.microsoft.com/office/drawing/2014/main" id="{E9C7A80B-27E3-D141-BE77-F17FA0537908}"/>
                </a:ext>
              </a:extLst>
            </p:cNvPr>
            <p:cNvSpPr/>
            <p:nvPr/>
          </p:nvSpPr>
          <p:spPr>
            <a:xfrm>
              <a:off x="736556" y="1203599"/>
              <a:ext cx="219241" cy="290724"/>
            </a:xfrm>
            <a:custGeom>
              <a:avLst/>
              <a:gdLst/>
              <a:ahLst/>
              <a:cxnLst/>
              <a:rect l="0" t="0" r="0" b="0"/>
              <a:pathLst>
                <a:path w="67641" h="69056" extrusionOk="0">
                  <a:moveTo>
                    <a:pt x="49622" y="2736"/>
                  </a:moveTo>
                  <a:lnTo>
                    <a:pt x="49622" y="2736"/>
                  </a:lnTo>
                  <a:lnTo>
                    <a:pt x="49622" y="2736"/>
                  </a:lnTo>
                  <a:close/>
                  <a:moveTo>
                    <a:pt x="59622" y="55565"/>
                  </a:moveTo>
                  <a:lnTo>
                    <a:pt x="59622" y="55565"/>
                  </a:lnTo>
                  <a:lnTo>
                    <a:pt x="59622" y="55565"/>
                  </a:lnTo>
                  <a:close/>
                  <a:moveTo>
                    <a:pt x="35471" y="0"/>
                  </a:moveTo>
                  <a:lnTo>
                    <a:pt x="34433" y="95"/>
                  </a:lnTo>
                  <a:lnTo>
                    <a:pt x="33584" y="189"/>
                  </a:lnTo>
                  <a:lnTo>
                    <a:pt x="32735" y="378"/>
                  </a:lnTo>
                  <a:lnTo>
                    <a:pt x="32169" y="566"/>
                  </a:lnTo>
                  <a:lnTo>
                    <a:pt x="31509" y="472"/>
                  </a:lnTo>
                  <a:lnTo>
                    <a:pt x="30754" y="472"/>
                  </a:lnTo>
                  <a:lnTo>
                    <a:pt x="29339" y="566"/>
                  </a:lnTo>
                  <a:lnTo>
                    <a:pt x="27830" y="849"/>
                  </a:lnTo>
                  <a:lnTo>
                    <a:pt x="26320" y="1321"/>
                  </a:lnTo>
                  <a:lnTo>
                    <a:pt x="24811" y="1981"/>
                  </a:lnTo>
                  <a:lnTo>
                    <a:pt x="23207" y="2736"/>
                  </a:lnTo>
                  <a:lnTo>
                    <a:pt x="21698" y="3585"/>
                  </a:lnTo>
                  <a:lnTo>
                    <a:pt x="20188" y="4623"/>
                  </a:lnTo>
                  <a:lnTo>
                    <a:pt x="18679" y="5661"/>
                  </a:lnTo>
                  <a:lnTo>
                    <a:pt x="17170" y="6793"/>
                  </a:lnTo>
                  <a:lnTo>
                    <a:pt x="15754" y="8019"/>
                  </a:lnTo>
                  <a:lnTo>
                    <a:pt x="14434" y="9151"/>
                  </a:lnTo>
                  <a:lnTo>
                    <a:pt x="11981" y="11510"/>
                  </a:lnTo>
                  <a:lnTo>
                    <a:pt x="10000" y="13774"/>
                  </a:lnTo>
                  <a:lnTo>
                    <a:pt x="7736" y="16981"/>
                  </a:lnTo>
                  <a:lnTo>
                    <a:pt x="8019" y="16321"/>
                  </a:lnTo>
                  <a:lnTo>
                    <a:pt x="8302" y="15660"/>
                  </a:lnTo>
                  <a:lnTo>
                    <a:pt x="7736" y="16604"/>
                  </a:lnTo>
                  <a:lnTo>
                    <a:pt x="7075" y="17642"/>
                  </a:lnTo>
                  <a:lnTo>
                    <a:pt x="7170" y="17830"/>
                  </a:lnTo>
                  <a:lnTo>
                    <a:pt x="6509" y="18868"/>
                  </a:lnTo>
                  <a:lnTo>
                    <a:pt x="7075" y="17359"/>
                  </a:lnTo>
                  <a:lnTo>
                    <a:pt x="6132" y="19057"/>
                  </a:lnTo>
                  <a:lnTo>
                    <a:pt x="5189" y="20849"/>
                  </a:lnTo>
                  <a:lnTo>
                    <a:pt x="4434" y="22736"/>
                  </a:lnTo>
                  <a:lnTo>
                    <a:pt x="3679" y="24622"/>
                  </a:lnTo>
                  <a:lnTo>
                    <a:pt x="2453" y="28490"/>
                  </a:lnTo>
                  <a:lnTo>
                    <a:pt x="1321" y="32169"/>
                  </a:lnTo>
                  <a:lnTo>
                    <a:pt x="1509" y="32264"/>
                  </a:lnTo>
                  <a:lnTo>
                    <a:pt x="1604" y="32453"/>
                  </a:lnTo>
                  <a:lnTo>
                    <a:pt x="1604" y="32641"/>
                  </a:lnTo>
                  <a:lnTo>
                    <a:pt x="1509" y="32924"/>
                  </a:lnTo>
                  <a:lnTo>
                    <a:pt x="1226" y="33396"/>
                  </a:lnTo>
                  <a:lnTo>
                    <a:pt x="1038" y="33585"/>
                  </a:lnTo>
                  <a:lnTo>
                    <a:pt x="1038" y="33773"/>
                  </a:lnTo>
                  <a:lnTo>
                    <a:pt x="1038" y="35000"/>
                  </a:lnTo>
                  <a:lnTo>
                    <a:pt x="849" y="36132"/>
                  </a:lnTo>
                  <a:lnTo>
                    <a:pt x="660" y="37358"/>
                  </a:lnTo>
                  <a:lnTo>
                    <a:pt x="472" y="38867"/>
                  </a:lnTo>
                  <a:lnTo>
                    <a:pt x="283" y="38301"/>
                  </a:lnTo>
                  <a:lnTo>
                    <a:pt x="94" y="39811"/>
                  </a:lnTo>
                  <a:lnTo>
                    <a:pt x="0" y="41509"/>
                  </a:lnTo>
                  <a:lnTo>
                    <a:pt x="94" y="43301"/>
                  </a:lnTo>
                  <a:lnTo>
                    <a:pt x="283" y="44056"/>
                  </a:lnTo>
                  <a:lnTo>
                    <a:pt x="472" y="44622"/>
                  </a:lnTo>
                  <a:lnTo>
                    <a:pt x="566" y="45660"/>
                  </a:lnTo>
                  <a:lnTo>
                    <a:pt x="755" y="46792"/>
                  </a:lnTo>
                  <a:lnTo>
                    <a:pt x="1226" y="48962"/>
                  </a:lnTo>
                  <a:lnTo>
                    <a:pt x="1981" y="51037"/>
                  </a:lnTo>
                  <a:lnTo>
                    <a:pt x="2924" y="53112"/>
                  </a:lnTo>
                  <a:lnTo>
                    <a:pt x="4057" y="55094"/>
                  </a:lnTo>
                  <a:lnTo>
                    <a:pt x="5283" y="56980"/>
                  </a:lnTo>
                  <a:lnTo>
                    <a:pt x="6698" y="58678"/>
                  </a:lnTo>
                  <a:lnTo>
                    <a:pt x="8113" y="60282"/>
                  </a:lnTo>
                  <a:lnTo>
                    <a:pt x="9056" y="61131"/>
                  </a:lnTo>
                  <a:lnTo>
                    <a:pt x="10000" y="61980"/>
                  </a:lnTo>
                  <a:lnTo>
                    <a:pt x="11038" y="62829"/>
                  </a:lnTo>
                  <a:lnTo>
                    <a:pt x="12075" y="63584"/>
                  </a:lnTo>
                  <a:lnTo>
                    <a:pt x="14339" y="64905"/>
                  </a:lnTo>
                  <a:lnTo>
                    <a:pt x="16604" y="66131"/>
                  </a:lnTo>
                  <a:lnTo>
                    <a:pt x="19056" y="67169"/>
                  </a:lnTo>
                  <a:lnTo>
                    <a:pt x="21509" y="67923"/>
                  </a:lnTo>
                  <a:lnTo>
                    <a:pt x="24056" y="68584"/>
                  </a:lnTo>
                  <a:lnTo>
                    <a:pt x="26603" y="69055"/>
                  </a:lnTo>
                  <a:lnTo>
                    <a:pt x="27830" y="69055"/>
                  </a:lnTo>
                  <a:lnTo>
                    <a:pt x="30188" y="68867"/>
                  </a:lnTo>
                  <a:lnTo>
                    <a:pt x="33113" y="68678"/>
                  </a:lnTo>
                  <a:lnTo>
                    <a:pt x="36509" y="68301"/>
                  </a:lnTo>
                  <a:lnTo>
                    <a:pt x="39811" y="67923"/>
                  </a:lnTo>
                  <a:lnTo>
                    <a:pt x="42735" y="67452"/>
                  </a:lnTo>
                  <a:lnTo>
                    <a:pt x="44905" y="66980"/>
                  </a:lnTo>
                  <a:lnTo>
                    <a:pt x="45565" y="66791"/>
                  </a:lnTo>
                  <a:lnTo>
                    <a:pt x="45943" y="66508"/>
                  </a:lnTo>
                  <a:lnTo>
                    <a:pt x="47358" y="65942"/>
                  </a:lnTo>
                  <a:lnTo>
                    <a:pt x="48018" y="65565"/>
                  </a:lnTo>
                  <a:lnTo>
                    <a:pt x="48678" y="65188"/>
                  </a:lnTo>
                  <a:lnTo>
                    <a:pt x="47924" y="65471"/>
                  </a:lnTo>
                  <a:lnTo>
                    <a:pt x="51509" y="62924"/>
                  </a:lnTo>
                  <a:lnTo>
                    <a:pt x="53301" y="61508"/>
                  </a:lnTo>
                  <a:lnTo>
                    <a:pt x="55093" y="59905"/>
                  </a:lnTo>
                  <a:lnTo>
                    <a:pt x="55093" y="59905"/>
                  </a:lnTo>
                  <a:lnTo>
                    <a:pt x="54810" y="60376"/>
                  </a:lnTo>
                  <a:lnTo>
                    <a:pt x="54339" y="60754"/>
                  </a:lnTo>
                  <a:lnTo>
                    <a:pt x="55376" y="59999"/>
                  </a:lnTo>
                  <a:lnTo>
                    <a:pt x="56320" y="59056"/>
                  </a:lnTo>
                  <a:lnTo>
                    <a:pt x="57075" y="58395"/>
                  </a:lnTo>
                  <a:lnTo>
                    <a:pt x="57169" y="58207"/>
                  </a:lnTo>
                  <a:lnTo>
                    <a:pt x="57075" y="58207"/>
                  </a:lnTo>
                  <a:lnTo>
                    <a:pt x="57924" y="57546"/>
                  </a:lnTo>
                  <a:lnTo>
                    <a:pt x="58678" y="56697"/>
                  </a:lnTo>
                  <a:lnTo>
                    <a:pt x="59339" y="55754"/>
                  </a:lnTo>
                  <a:lnTo>
                    <a:pt x="59905" y="54905"/>
                  </a:lnTo>
                  <a:lnTo>
                    <a:pt x="59716" y="54999"/>
                  </a:lnTo>
                  <a:lnTo>
                    <a:pt x="59622" y="54999"/>
                  </a:lnTo>
                  <a:lnTo>
                    <a:pt x="59810" y="54622"/>
                  </a:lnTo>
                  <a:lnTo>
                    <a:pt x="59150" y="55565"/>
                  </a:lnTo>
                  <a:lnTo>
                    <a:pt x="59527" y="55094"/>
                  </a:lnTo>
                  <a:lnTo>
                    <a:pt x="59433" y="55377"/>
                  </a:lnTo>
                  <a:lnTo>
                    <a:pt x="58867" y="56037"/>
                  </a:lnTo>
                  <a:lnTo>
                    <a:pt x="59056" y="55660"/>
                  </a:lnTo>
                  <a:lnTo>
                    <a:pt x="59056" y="55660"/>
                  </a:lnTo>
                  <a:lnTo>
                    <a:pt x="58678" y="56037"/>
                  </a:lnTo>
                  <a:lnTo>
                    <a:pt x="59810" y="54339"/>
                  </a:lnTo>
                  <a:lnTo>
                    <a:pt x="60282" y="53490"/>
                  </a:lnTo>
                  <a:lnTo>
                    <a:pt x="60282" y="53301"/>
                  </a:lnTo>
                  <a:lnTo>
                    <a:pt x="60188" y="53395"/>
                  </a:lnTo>
                  <a:lnTo>
                    <a:pt x="60188" y="53395"/>
                  </a:lnTo>
                  <a:lnTo>
                    <a:pt x="60565" y="52924"/>
                  </a:lnTo>
                  <a:lnTo>
                    <a:pt x="61037" y="52452"/>
                  </a:lnTo>
                  <a:lnTo>
                    <a:pt x="61886" y="51509"/>
                  </a:lnTo>
                  <a:lnTo>
                    <a:pt x="61508" y="52452"/>
                  </a:lnTo>
                  <a:lnTo>
                    <a:pt x="60848" y="53584"/>
                  </a:lnTo>
                  <a:lnTo>
                    <a:pt x="59622" y="55565"/>
                  </a:lnTo>
                  <a:lnTo>
                    <a:pt x="60376" y="54528"/>
                  </a:lnTo>
                  <a:lnTo>
                    <a:pt x="60942" y="53678"/>
                  </a:lnTo>
                  <a:lnTo>
                    <a:pt x="61980" y="51792"/>
                  </a:lnTo>
                  <a:lnTo>
                    <a:pt x="61886" y="51886"/>
                  </a:lnTo>
                  <a:lnTo>
                    <a:pt x="61886" y="51697"/>
                  </a:lnTo>
                  <a:lnTo>
                    <a:pt x="62169" y="51037"/>
                  </a:lnTo>
                  <a:lnTo>
                    <a:pt x="62735" y="49999"/>
                  </a:lnTo>
                  <a:lnTo>
                    <a:pt x="61508" y="51603"/>
                  </a:lnTo>
                  <a:lnTo>
                    <a:pt x="61603" y="51037"/>
                  </a:lnTo>
                  <a:lnTo>
                    <a:pt x="61697" y="50377"/>
                  </a:lnTo>
                  <a:lnTo>
                    <a:pt x="62169" y="48962"/>
                  </a:lnTo>
                  <a:lnTo>
                    <a:pt x="62829" y="47358"/>
                  </a:lnTo>
                  <a:lnTo>
                    <a:pt x="63678" y="45565"/>
                  </a:lnTo>
                  <a:lnTo>
                    <a:pt x="65376" y="42169"/>
                  </a:lnTo>
                  <a:lnTo>
                    <a:pt x="66131" y="40660"/>
                  </a:lnTo>
                  <a:lnTo>
                    <a:pt x="66697" y="39339"/>
                  </a:lnTo>
                  <a:lnTo>
                    <a:pt x="66603" y="39528"/>
                  </a:lnTo>
                  <a:lnTo>
                    <a:pt x="66697" y="39056"/>
                  </a:lnTo>
                  <a:lnTo>
                    <a:pt x="66791" y="38962"/>
                  </a:lnTo>
                  <a:lnTo>
                    <a:pt x="66791" y="39056"/>
                  </a:lnTo>
                  <a:lnTo>
                    <a:pt x="66886" y="38584"/>
                  </a:lnTo>
                  <a:lnTo>
                    <a:pt x="66791" y="38867"/>
                  </a:lnTo>
                  <a:lnTo>
                    <a:pt x="66980" y="38207"/>
                  </a:lnTo>
                  <a:lnTo>
                    <a:pt x="67169" y="37264"/>
                  </a:lnTo>
                  <a:lnTo>
                    <a:pt x="67263" y="36415"/>
                  </a:lnTo>
                  <a:lnTo>
                    <a:pt x="67357" y="36509"/>
                  </a:lnTo>
                  <a:lnTo>
                    <a:pt x="67452" y="36509"/>
                  </a:lnTo>
                  <a:lnTo>
                    <a:pt x="67546" y="35943"/>
                  </a:lnTo>
                  <a:lnTo>
                    <a:pt x="67546" y="34811"/>
                  </a:lnTo>
                  <a:lnTo>
                    <a:pt x="67640" y="31037"/>
                  </a:lnTo>
                  <a:lnTo>
                    <a:pt x="67640" y="28490"/>
                  </a:lnTo>
                  <a:lnTo>
                    <a:pt x="67546" y="27736"/>
                  </a:lnTo>
                  <a:lnTo>
                    <a:pt x="67546" y="27547"/>
                  </a:lnTo>
                  <a:lnTo>
                    <a:pt x="67452" y="27547"/>
                  </a:lnTo>
                  <a:lnTo>
                    <a:pt x="67074" y="26792"/>
                  </a:lnTo>
                  <a:lnTo>
                    <a:pt x="66791" y="25660"/>
                  </a:lnTo>
                  <a:lnTo>
                    <a:pt x="66508" y="24528"/>
                  </a:lnTo>
                  <a:lnTo>
                    <a:pt x="66414" y="23585"/>
                  </a:lnTo>
                  <a:lnTo>
                    <a:pt x="66320" y="23679"/>
                  </a:lnTo>
                  <a:lnTo>
                    <a:pt x="66320" y="23490"/>
                  </a:lnTo>
                  <a:lnTo>
                    <a:pt x="65942" y="22924"/>
                  </a:lnTo>
                  <a:lnTo>
                    <a:pt x="65565" y="22358"/>
                  </a:lnTo>
                  <a:lnTo>
                    <a:pt x="64527" y="21132"/>
                  </a:lnTo>
                  <a:lnTo>
                    <a:pt x="63584" y="19906"/>
                  </a:lnTo>
                  <a:lnTo>
                    <a:pt x="63207" y="19340"/>
                  </a:lnTo>
                  <a:lnTo>
                    <a:pt x="63018" y="18774"/>
                  </a:lnTo>
                  <a:lnTo>
                    <a:pt x="63112" y="18962"/>
                  </a:lnTo>
                  <a:lnTo>
                    <a:pt x="63301" y="19057"/>
                  </a:lnTo>
                  <a:lnTo>
                    <a:pt x="63301" y="19057"/>
                  </a:lnTo>
                  <a:lnTo>
                    <a:pt x="63207" y="18868"/>
                  </a:lnTo>
                  <a:lnTo>
                    <a:pt x="62923" y="18491"/>
                  </a:lnTo>
                  <a:lnTo>
                    <a:pt x="61980" y="17453"/>
                  </a:lnTo>
                  <a:lnTo>
                    <a:pt x="61037" y="16509"/>
                  </a:lnTo>
                  <a:lnTo>
                    <a:pt x="61037" y="16698"/>
                  </a:lnTo>
                  <a:lnTo>
                    <a:pt x="61037" y="16887"/>
                  </a:lnTo>
                  <a:lnTo>
                    <a:pt x="60093" y="15943"/>
                  </a:lnTo>
                  <a:lnTo>
                    <a:pt x="60376" y="16321"/>
                  </a:lnTo>
                  <a:lnTo>
                    <a:pt x="59527" y="15377"/>
                  </a:lnTo>
                  <a:lnTo>
                    <a:pt x="59056" y="14906"/>
                  </a:lnTo>
                  <a:lnTo>
                    <a:pt x="59244" y="14906"/>
                  </a:lnTo>
                  <a:lnTo>
                    <a:pt x="59905" y="15472"/>
                  </a:lnTo>
                  <a:lnTo>
                    <a:pt x="59905" y="15472"/>
                  </a:lnTo>
                  <a:lnTo>
                    <a:pt x="57641" y="13396"/>
                  </a:lnTo>
                  <a:lnTo>
                    <a:pt x="58112" y="13868"/>
                  </a:lnTo>
                  <a:lnTo>
                    <a:pt x="56886" y="13019"/>
                  </a:lnTo>
                  <a:lnTo>
                    <a:pt x="55754" y="12453"/>
                  </a:lnTo>
                  <a:lnTo>
                    <a:pt x="56603" y="13113"/>
                  </a:lnTo>
                  <a:lnTo>
                    <a:pt x="57452" y="13774"/>
                  </a:lnTo>
                  <a:lnTo>
                    <a:pt x="58961" y="15283"/>
                  </a:lnTo>
                  <a:lnTo>
                    <a:pt x="60376" y="16604"/>
                  </a:lnTo>
                  <a:lnTo>
                    <a:pt x="61225" y="17264"/>
                  </a:lnTo>
                  <a:lnTo>
                    <a:pt x="62074" y="17925"/>
                  </a:lnTo>
                  <a:lnTo>
                    <a:pt x="62074" y="17925"/>
                  </a:lnTo>
                  <a:lnTo>
                    <a:pt x="61414" y="17547"/>
                  </a:lnTo>
                  <a:lnTo>
                    <a:pt x="60659" y="16981"/>
                  </a:lnTo>
                  <a:lnTo>
                    <a:pt x="60754" y="17264"/>
                  </a:lnTo>
                  <a:lnTo>
                    <a:pt x="60942" y="17642"/>
                  </a:lnTo>
                  <a:lnTo>
                    <a:pt x="61980" y="19151"/>
                  </a:lnTo>
                  <a:lnTo>
                    <a:pt x="63301" y="20943"/>
                  </a:lnTo>
                  <a:lnTo>
                    <a:pt x="63207" y="20943"/>
                  </a:lnTo>
                  <a:lnTo>
                    <a:pt x="63395" y="21038"/>
                  </a:lnTo>
                  <a:lnTo>
                    <a:pt x="63490" y="21321"/>
                  </a:lnTo>
                  <a:lnTo>
                    <a:pt x="63678" y="21604"/>
                  </a:lnTo>
                  <a:lnTo>
                    <a:pt x="63773" y="21698"/>
                  </a:lnTo>
                  <a:lnTo>
                    <a:pt x="63584" y="21321"/>
                  </a:lnTo>
                  <a:lnTo>
                    <a:pt x="63584" y="21321"/>
                  </a:lnTo>
                  <a:lnTo>
                    <a:pt x="64244" y="22170"/>
                  </a:lnTo>
                  <a:lnTo>
                    <a:pt x="64716" y="22641"/>
                  </a:lnTo>
                  <a:lnTo>
                    <a:pt x="64905" y="22830"/>
                  </a:lnTo>
                  <a:lnTo>
                    <a:pt x="64999" y="22830"/>
                  </a:lnTo>
                  <a:lnTo>
                    <a:pt x="64999" y="22641"/>
                  </a:lnTo>
                  <a:lnTo>
                    <a:pt x="64905" y="22358"/>
                  </a:lnTo>
                  <a:lnTo>
                    <a:pt x="65282" y="23207"/>
                  </a:lnTo>
                  <a:lnTo>
                    <a:pt x="65565" y="24056"/>
                  </a:lnTo>
                  <a:lnTo>
                    <a:pt x="66225" y="25943"/>
                  </a:lnTo>
                  <a:lnTo>
                    <a:pt x="66697" y="27830"/>
                  </a:lnTo>
                  <a:lnTo>
                    <a:pt x="66886" y="28490"/>
                  </a:lnTo>
                  <a:lnTo>
                    <a:pt x="66980" y="28868"/>
                  </a:lnTo>
                  <a:lnTo>
                    <a:pt x="66886" y="28962"/>
                  </a:lnTo>
                  <a:lnTo>
                    <a:pt x="66697" y="28679"/>
                  </a:lnTo>
                  <a:lnTo>
                    <a:pt x="66697" y="29245"/>
                  </a:lnTo>
                  <a:lnTo>
                    <a:pt x="66791" y="29905"/>
                  </a:lnTo>
                  <a:lnTo>
                    <a:pt x="66886" y="29905"/>
                  </a:lnTo>
                  <a:lnTo>
                    <a:pt x="66886" y="30094"/>
                  </a:lnTo>
                  <a:lnTo>
                    <a:pt x="66886" y="30566"/>
                  </a:lnTo>
                  <a:lnTo>
                    <a:pt x="66697" y="30377"/>
                  </a:lnTo>
                  <a:lnTo>
                    <a:pt x="66603" y="30188"/>
                  </a:lnTo>
                  <a:lnTo>
                    <a:pt x="66603" y="30094"/>
                  </a:lnTo>
                  <a:lnTo>
                    <a:pt x="66697" y="29905"/>
                  </a:lnTo>
                  <a:lnTo>
                    <a:pt x="66508" y="28679"/>
                  </a:lnTo>
                  <a:lnTo>
                    <a:pt x="66225" y="27358"/>
                  </a:lnTo>
                  <a:lnTo>
                    <a:pt x="66603" y="30283"/>
                  </a:lnTo>
                  <a:lnTo>
                    <a:pt x="66697" y="31792"/>
                  </a:lnTo>
                  <a:lnTo>
                    <a:pt x="66697" y="33302"/>
                  </a:lnTo>
                  <a:lnTo>
                    <a:pt x="66603" y="34717"/>
                  </a:lnTo>
                  <a:lnTo>
                    <a:pt x="66414" y="36226"/>
                  </a:lnTo>
                  <a:lnTo>
                    <a:pt x="66131" y="37547"/>
                  </a:lnTo>
                  <a:lnTo>
                    <a:pt x="65659" y="38962"/>
                  </a:lnTo>
                  <a:lnTo>
                    <a:pt x="65848" y="38584"/>
                  </a:lnTo>
                  <a:lnTo>
                    <a:pt x="65942" y="38584"/>
                  </a:lnTo>
                  <a:lnTo>
                    <a:pt x="65848" y="39245"/>
                  </a:lnTo>
                  <a:lnTo>
                    <a:pt x="65565" y="40188"/>
                  </a:lnTo>
                  <a:lnTo>
                    <a:pt x="65471" y="40471"/>
                  </a:lnTo>
                  <a:lnTo>
                    <a:pt x="65282" y="40660"/>
                  </a:lnTo>
                  <a:lnTo>
                    <a:pt x="65282" y="40566"/>
                  </a:lnTo>
                  <a:lnTo>
                    <a:pt x="65093" y="41132"/>
                  </a:lnTo>
                  <a:lnTo>
                    <a:pt x="64433" y="43018"/>
                  </a:lnTo>
                  <a:lnTo>
                    <a:pt x="63678" y="45282"/>
                  </a:lnTo>
                  <a:lnTo>
                    <a:pt x="62735" y="47264"/>
                  </a:lnTo>
                  <a:lnTo>
                    <a:pt x="61697" y="49056"/>
                  </a:lnTo>
                  <a:lnTo>
                    <a:pt x="60659" y="50943"/>
                  </a:lnTo>
                  <a:lnTo>
                    <a:pt x="59433" y="52735"/>
                  </a:lnTo>
                  <a:lnTo>
                    <a:pt x="58207" y="54433"/>
                  </a:lnTo>
                  <a:lnTo>
                    <a:pt x="56886" y="56037"/>
                  </a:lnTo>
                  <a:lnTo>
                    <a:pt x="55376" y="57641"/>
                  </a:lnTo>
                  <a:lnTo>
                    <a:pt x="53867" y="59150"/>
                  </a:lnTo>
                  <a:lnTo>
                    <a:pt x="52169" y="60376"/>
                  </a:lnTo>
                  <a:lnTo>
                    <a:pt x="48961" y="62452"/>
                  </a:lnTo>
                  <a:lnTo>
                    <a:pt x="44528" y="65282"/>
                  </a:lnTo>
                  <a:lnTo>
                    <a:pt x="44622" y="65188"/>
                  </a:lnTo>
                  <a:lnTo>
                    <a:pt x="44716" y="65093"/>
                  </a:lnTo>
                  <a:lnTo>
                    <a:pt x="45094" y="64810"/>
                  </a:lnTo>
                  <a:lnTo>
                    <a:pt x="45660" y="64527"/>
                  </a:lnTo>
                  <a:lnTo>
                    <a:pt x="43867" y="65376"/>
                  </a:lnTo>
                  <a:lnTo>
                    <a:pt x="43113" y="65754"/>
                  </a:lnTo>
                  <a:lnTo>
                    <a:pt x="42924" y="65754"/>
                  </a:lnTo>
                  <a:lnTo>
                    <a:pt x="43113" y="65659"/>
                  </a:lnTo>
                  <a:lnTo>
                    <a:pt x="41603" y="66037"/>
                  </a:lnTo>
                  <a:lnTo>
                    <a:pt x="39999" y="66320"/>
                  </a:lnTo>
                  <a:lnTo>
                    <a:pt x="38396" y="66508"/>
                  </a:lnTo>
                  <a:lnTo>
                    <a:pt x="36792" y="66697"/>
                  </a:lnTo>
                  <a:lnTo>
                    <a:pt x="33584" y="66980"/>
                  </a:lnTo>
                  <a:lnTo>
                    <a:pt x="32169" y="67169"/>
                  </a:lnTo>
                  <a:lnTo>
                    <a:pt x="30754" y="67357"/>
                  </a:lnTo>
                  <a:lnTo>
                    <a:pt x="30094" y="67357"/>
                  </a:lnTo>
                  <a:lnTo>
                    <a:pt x="29339" y="67263"/>
                  </a:lnTo>
                  <a:lnTo>
                    <a:pt x="27830" y="66886"/>
                  </a:lnTo>
                  <a:lnTo>
                    <a:pt x="26415" y="66508"/>
                  </a:lnTo>
                  <a:lnTo>
                    <a:pt x="25754" y="66414"/>
                  </a:lnTo>
                  <a:lnTo>
                    <a:pt x="25094" y="66414"/>
                  </a:lnTo>
                  <a:lnTo>
                    <a:pt x="25566" y="66980"/>
                  </a:lnTo>
                  <a:lnTo>
                    <a:pt x="25471" y="67074"/>
                  </a:lnTo>
                  <a:lnTo>
                    <a:pt x="25188" y="66980"/>
                  </a:lnTo>
                  <a:lnTo>
                    <a:pt x="24339" y="66791"/>
                  </a:lnTo>
                  <a:lnTo>
                    <a:pt x="23773" y="66508"/>
                  </a:lnTo>
                  <a:lnTo>
                    <a:pt x="24245" y="66414"/>
                  </a:lnTo>
                  <a:lnTo>
                    <a:pt x="24717" y="66603"/>
                  </a:lnTo>
                  <a:lnTo>
                    <a:pt x="24811" y="66414"/>
                  </a:lnTo>
                  <a:lnTo>
                    <a:pt x="24811" y="66320"/>
                  </a:lnTo>
                  <a:lnTo>
                    <a:pt x="24717" y="66225"/>
                  </a:lnTo>
                  <a:lnTo>
                    <a:pt x="24528" y="66131"/>
                  </a:lnTo>
                  <a:lnTo>
                    <a:pt x="24151" y="66225"/>
                  </a:lnTo>
                  <a:lnTo>
                    <a:pt x="23679" y="66320"/>
                  </a:lnTo>
                  <a:lnTo>
                    <a:pt x="23018" y="66414"/>
                  </a:lnTo>
                  <a:lnTo>
                    <a:pt x="23490" y="66225"/>
                  </a:lnTo>
                  <a:lnTo>
                    <a:pt x="22075" y="65942"/>
                  </a:lnTo>
                  <a:lnTo>
                    <a:pt x="20943" y="65659"/>
                  </a:lnTo>
                  <a:lnTo>
                    <a:pt x="20000" y="65282"/>
                  </a:lnTo>
                  <a:lnTo>
                    <a:pt x="19056" y="64810"/>
                  </a:lnTo>
                  <a:lnTo>
                    <a:pt x="19056" y="64810"/>
                  </a:lnTo>
                  <a:lnTo>
                    <a:pt x="19717" y="64999"/>
                  </a:lnTo>
                  <a:lnTo>
                    <a:pt x="19151" y="64716"/>
                  </a:lnTo>
                  <a:lnTo>
                    <a:pt x="18962" y="64810"/>
                  </a:lnTo>
                  <a:lnTo>
                    <a:pt x="19151" y="64905"/>
                  </a:lnTo>
                  <a:lnTo>
                    <a:pt x="18490" y="64905"/>
                  </a:lnTo>
                  <a:lnTo>
                    <a:pt x="17830" y="64716"/>
                  </a:lnTo>
                  <a:lnTo>
                    <a:pt x="17264" y="64527"/>
                  </a:lnTo>
                  <a:lnTo>
                    <a:pt x="16698" y="64150"/>
                  </a:lnTo>
                  <a:lnTo>
                    <a:pt x="16981" y="64056"/>
                  </a:lnTo>
                  <a:lnTo>
                    <a:pt x="17264" y="64150"/>
                  </a:lnTo>
                  <a:lnTo>
                    <a:pt x="17264" y="64150"/>
                  </a:lnTo>
                  <a:lnTo>
                    <a:pt x="15188" y="63207"/>
                  </a:lnTo>
                  <a:lnTo>
                    <a:pt x="14622" y="62829"/>
                  </a:lnTo>
                  <a:lnTo>
                    <a:pt x="14717" y="62924"/>
                  </a:lnTo>
                  <a:lnTo>
                    <a:pt x="13773" y="62546"/>
                  </a:lnTo>
                  <a:lnTo>
                    <a:pt x="12924" y="62075"/>
                  </a:lnTo>
                  <a:lnTo>
                    <a:pt x="12358" y="61697"/>
                  </a:lnTo>
                  <a:lnTo>
                    <a:pt x="12264" y="61508"/>
                  </a:lnTo>
                  <a:lnTo>
                    <a:pt x="12170" y="61320"/>
                  </a:lnTo>
                  <a:lnTo>
                    <a:pt x="11698" y="60942"/>
                  </a:lnTo>
                  <a:lnTo>
                    <a:pt x="11132" y="60471"/>
                  </a:lnTo>
                  <a:lnTo>
                    <a:pt x="9906" y="59244"/>
                  </a:lnTo>
                  <a:lnTo>
                    <a:pt x="9906" y="59244"/>
                  </a:lnTo>
                  <a:lnTo>
                    <a:pt x="10566" y="59527"/>
                  </a:lnTo>
                  <a:lnTo>
                    <a:pt x="9434" y="58584"/>
                  </a:lnTo>
                  <a:lnTo>
                    <a:pt x="8207" y="57546"/>
                  </a:lnTo>
                  <a:lnTo>
                    <a:pt x="7547" y="56886"/>
                  </a:lnTo>
                  <a:lnTo>
                    <a:pt x="6981" y="56131"/>
                  </a:lnTo>
                  <a:lnTo>
                    <a:pt x="6226" y="55094"/>
                  </a:lnTo>
                  <a:lnTo>
                    <a:pt x="6415" y="55377"/>
                  </a:lnTo>
                  <a:lnTo>
                    <a:pt x="6038" y="54905"/>
                  </a:lnTo>
                  <a:lnTo>
                    <a:pt x="5472" y="54244"/>
                  </a:lnTo>
                  <a:lnTo>
                    <a:pt x="5283" y="53961"/>
                  </a:lnTo>
                  <a:lnTo>
                    <a:pt x="5094" y="53867"/>
                  </a:lnTo>
                  <a:lnTo>
                    <a:pt x="5377" y="54622"/>
                  </a:lnTo>
                  <a:lnTo>
                    <a:pt x="5849" y="55282"/>
                  </a:lnTo>
                  <a:lnTo>
                    <a:pt x="6321" y="55943"/>
                  </a:lnTo>
                  <a:lnTo>
                    <a:pt x="6698" y="56603"/>
                  </a:lnTo>
                  <a:lnTo>
                    <a:pt x="6226" y="56226"/>
                  </a:lnTo>
                  <a:lnTo>
                    <a:pt x="5943" y="55848"/>
                  </a:lnTo>
                  <a:lnTo>
                    <a:pt x="6038" y="56037"/>
                  </a:lnTo>
                  <a:lnTo>
                    <a:pt x="5943" y="55943"/>
                  </a:lnTo>
                  <a:lnTo>
                    <a:pt x="5377" y="55188"/>
                  </a:lnTo>
                  <a:lnTo>
                    <a:pt x="5000" y="54716"/>
                  </a:lnTo>
                  <a:lnTo>
                    <a:pt x="4717" y="54150"/>
                  </a:lnTo>
                  <a:lnTo>
                    <a:pt x="4528" y="53678"/>
                  </a:lnTo>
                  <a:lnTo>
                    <a:pt x="4528" y="53584"/>
                  </a:lnTo>
                  <a:lnTo>
                    <a:pt x="4623" y="53395"/>
                  </a:lnTo>
                  <a:lnTo>
                    <a:pt x="5094" y="54244"/>
                  </a:lnTo>
                  <a:lnTo>
                    <a:pt x="4717" y="53301"/>
                  </a:lnTo>
                  <a:lnTo>
                    <a:pt x="4528" y="53018"/>
                  </a:lnTo>
                  <a:lnTo>
                    <a:pt x="4151" y="52263"/>
                  </a:lnTo>
                  <a:lnTo>
                    <a:pt x="4151" y="52169"/>
                  </a:lnTo>
                  <a:lnTo>
                    <a:pt x="3774" y="51509"/>
                  </a:lnTo>
                  <a:lnTo>
                    <a:pt x="3396" y="50660"/>
                  </a:lnTo>
                  <a:lnTo>
                    <a:pt x="3585" y="51603"/>
                  </a:lnTo>
                  <a:lnTo>
                    <a:pt x="3396" y="51226"/>
                  </a:lnTo>
                  <a:lnTo>
                    <a:pt x="3208" y="50848"/>
                  </a:lnTo>
                  <a:lnTo>
                    <a:pt x="3208" y="50471"/>
                  </a:lnTo>
                  <a:lnTo>
                    <a:pt x="3208" y="50094"/>
                  </a:lnTo>
                  <a:lnTo>
                    <a:pt x="3585" y="50754"/>
                  </a:lnTo>
                  <a:lnTo>
                    <a:pt x="3868" y="51509"/>
                  </a:lnTo>
                  <a:lnTo>
                    <a:pt x="3868" y="51509"/>
                  </a:lnTo>
                  <a:lnTo>
                    <a:pt x="3208" y="49528"/>
                  </a:lnTo>
                  <a:lnTo>
                    <a:pt x="3208" y="49528"/>
                  </a:lnTo>
                  <a:lnTo>
                    <a:pt x="3868" y="50754"/>
                  </a:lnTo>
                  <a:lnTo>
                    <a:pt x="3208" y="48962"/>
                  </a:lnTo>
                  <a:lnTo>
                    <a:pt x="3585" y="49339"/>
                  </a:lnTo>
                  <a:lnTo>
                    <a:pt x="3774" y="49433"/>
                  </a:lnTo>
                  <a:lnTo>
                    <a:pt x="3962" y="49528"/>
                  </a:lnTo>
                  <a:lnTo>
                    <a:pt x="4057" y="49905"/>
                  </a:lnTo>
                  <a:lnTo>
                    <a:pt x="3868" y="48962"/>
                  </a:lnTo>
                  <a:lnTo>
                    <a:pt x="3491" y="47924"/>
                  </a:lnTo>
                  <a:lnTo>
                    <a:pt x="2641" y="45565"/>
                  </a:lnTo>
                  <a:lnTo>
                    <a:pt x="2170" y="43867"/>
                  </a:lnTo>
                  <a:lnTo>
                    <a:pt x="1698" y="41886"/>
                  </a:lnTo>
                  <a:lnTo>
                    <a:pt x="1698" y="41886"/>
                  </a:lnTo>
                  <a:lnTo>
                    <a:pt x="1887" y="42075"/>
                  </a:lnTo>
                  <a:lnTo>
                    <a:pt x="1981" y="41981"/>
                  </a:lnTo>
                  <a:lnTo>
                    <a:pt x="2075" y="42075"/>
                  </a:lnTo>
                  <a:lnTo>
                    <a:pt x="2264" y="42169"/>
                  </a:lnTo>
                  <a:lnTo>
                    <a:pt x="2170" y="40283"/>
                  </a:lnTo>
                  <a:lnTo>
                    <a:pt x="2075" y="38301"/>
                  </a:lnTo>
                  <a:lnTo>
                    <a:pt x="2170" y="36415"/>
                  </a:lnTo>
                  <a:lnTo>
                    <a:pt x="2358" y="35566"/>
                  </a:lnTo>
                  <a:lnTo>
                    <a:pt x="2453" y="34811"/>
                  </a:lnTo>
                  <a:lnTo>
                    <a:pt x="2830" y="32830"/>
                  </a:lnTo>
                  <a:lnTo>
                    <a:pt x="2830" y="33207"/>
                  </a:lnTo>
                  <a:lnTo>
                    <a:pt x="2924" y="33490"/>
                  </a:lnTo>
                  <a:lnTo>
                    <a:pt x="2924" y="32453"/>
                  </a:lnTo>
                  <a:lnTo>
                    <a:pt x="3019" y="31415"/>
                  </a:lnTo>
                  <a:lnTo>
                    <a:pt x="3396" y="29245"/>
                  </a:lnTo>
                  <a:lnTo>
                    <a:pt x="3868" y="27075"/>
                  </a:lnTo>
                  <a:lnTo>
                    <a:pt x="4623" y="25000"/>
                  </a:lnTo>
                  <a:lnTo>
                    <a:pt x="5566" y="22830"/>
                  </a:lnTo>
                  <a:lnTo>
                    <a:pt x="6604" y="20849"/>
                  </a:lnTo>
                  <a:lnTo>
                    <a:pt x="7830" y="18868"/>
                  </a:lnTo>
                  <a:lnTo>
                    <a:pt x="9151" y="16887"/>
                  </a:lnTo>
                  <a:lnTo>
                    <a:pt x="10566" y="15094"/>
                  </a:lnTo>
                  <a:lnTo>
                    <a:pt x="12075" y="13302"/>
                  </a:lnTo>
                  <a:lnTo>
                    <a:pt x="13773" y="11698"/>
                  </a:lnTo>
                  <a:lnTo>
                    <a:pt x="15377" y="10095"/>
                  </a:lnTo>
                  <a:lnTo>
                    <a:pt x="17170" y="8679"/>
                  </a:lnTo>
                  <a:lnTo>
                    <a:pt x="18962" y="7453"/>
                  </a:lnTo>
                  <a:lnTo>
                    <a:pt x="20754" y="6321"/>
                  </a:lnTo>
                  <a:lnTo>
                    <a:pt x="22547" y="5378"/>
                  </a:lnTo>
                  <a:lnTo>
                    <a:pt x="21603" y="6227"/>
                  </a:lnTo>
                  <a:lnTo>
                    <a:pt x="22641" y="5472"/>
                  </a:lnTo>
                  <a:lnTo>
                    <a:pt x="23302" y="5095"/>
                  </a:lnTo>
                  <a:lnTo>
                    <a:pt x="25377" y="4151"/>
                  </a:lnTo>
                  <a:lnTo>
                    <a:pt x="24811" y="4151"/>
                  </a:lnTo>
                  <a:lnTo>
                    <a:pt x="25660" y="3774"/>
                  </a:lnTo>
                  <a:lnTo>
                    <a:pt x="26886" y="3208"/>
                  </a:lnTo>
                  <a:lnTo>
                    <a:pt x="26603" y="3585"/>
                  </a:lnTo>
                  <a:lnTo>
                    <a:pt x="26886" y="3585"/>
                  </a:lnTo>
                  <a:lnTo>
                    <a:pt x="26886" y="3680"/>
                  </a:lnTo>
                  <a:lnTo>
                    <a:pt x="26792" y="3774"/>
                  </a:lnTo>
                  <a:lnTo>
                    <a:pt x="28301" y="3302"/>
                  </a:lnTo>
                  <a:lnTo>
                    <a:pt x="29622" y="2736"/>
                  </a:lnTo>
                  <a:lnTo>
                    <a:pt x="31037" y="2264"/>
                  </a:lnTo>
                  <a:lnTo>
                    <a:pt x="31792" y="2076"/>
                  </a:lnTo>
                  <a:lnTo>
                    <a:pt x="32641" y="1981"/>
                  </a:lnTo>
                  <a:lnTo>
                    <a:pt x="32547" y="2076"/>
                  </a:lnTo>
                  <a:lnTo>
                    <a:pt x="32924" y="1981"/>
                  </a:lnTo>
                  <a:lnTo>
                    <a:pt x="34245" y="1793"/>
                  </a:lnTo>
                  <a:lnTo>
                    <a:pt x="35848" y="1415"/>
                  </a:lnTo>
                  <a:lnTo>
                    <a:pt x="36981" y="1132"/>
                  </a:lnTo>
                  <a:lnTo>
                    <a:pt x="36981" y="1415"/>
                  </a:lnTo>
                  <a:lnTo>
                    <a:pt x="40943" y="1227"/>
                  </a:lnTo>
                  <a:lnTo>
                    <a:pt x="41509" y="1038"/>
                  </a:lnTo>
                  <a:lnTo>
                    <a:pt x="41697" y="1132"/>
                  </a:lnTo>
                  <a:lnTo>
                    <a:pt x="41509" y="1227"/>
                  </a:lnTo>
                  <a:lnTo>
                    <a:pt x="41320" y="1321"/>
                  </a:lnTo>
                  <a:lnTo>
                    <a:pt x="42263" y="1321"/>
                  </a:lnTo>
                  <a:lnTo>
                    <a:pt x="43113" y="1227"/>
                  </a:lnTo>
                  <a:lnTo>
                    <a:pt x="43396" y="1415"/>
                  </a:lnTo>
                  <a:lnTo>
                    <a:pt x="44056" y="1604"/>
                  </a:lnTo>
                  <a:lnTo>
                    <a:pt x="45943" y="2076"/>
                  </a:lnTo>
                  <a:lnTo>
                    <a:pt x="48018" y="2359"/>
                  </a:lnTo>
                  <a:lnTo>
                    <a:pt x="49622" y="2736"/>
                  </a:lnTo>
                  <a:lnTo>
                    <a:pt x="47641" y="1981"/>
                  </a:lnTo>
                  <a:lnTo>
                    <a:pt x="45282" y="1321"/>
                  </a:lnTo>
                  <a:lnTo>
                    <a:pt x="42735" y="755"/>
                  </a:lnTo>
                  <a:lnTo>
                    <a:pt x="40188" y="283"/>
                  </a:lnTo>
                  <a:lnTo>
                    <a:pt x="37735" y="95"/>
                  </a:lnTo>
                  <a:lnTo>
                    <a:pt x="35471" y="0"/>
                  </a:lnTo>
                  <a:close/>
                </a:path>
              </a:pathLst>
            </a:custGeom>
            <a:solidFill>
              <a:srgbClr val="FF0000"/>
            </a:solidFill>
            <a:ln>
              <a:noFill/>
            </a:ln>
          </p:spPr>
          <p:txBody>
            <a:bodyPr spcFirstLastPara="1" wrap="square" lIns="91425" tIns="91425" rIns="91425" bIns="91425" anchor="ctr" anchorCtr="0">
              <a:noAutofit/>
            </a:bodyPr>
            <a:lstStyle/>
            <a:p>
              <a:pPr marL="0" lvl="0" indent="0">
                <a:spcBef>
                  <a:spcPts val="0"/>
                </a:spcBef>
                <a:spcAft>
                  <a:spcPts val="0"/>
                </a:spcAft>
                <a:buNone/>
              </a:pPr>
              <a:endParaRPr sz="800">
                <a:latin typeface="Comic Sans MS" panose="030F0902030302020204" pitchFamily="66" charset="0"/>
              </a:endParaRPr>
            </a:p>
          </p:txBody>
        </p:sp>
        <p:sp>
          <p:nvSpPr>
            <p:cNvPr id="429" name="TextBox 428">
              <a:extLst>
                <a:ext uri="{FF2B5EF4-FFF2-40B4-BE49-F238E27FC236}">
                  <a16:creationId xmlns:a16="http://schemas.microsoft.com/office/drawing/2014/main" id="{39B85AA9-5620-8046-A1DC-AE0E1F94E4C7}"/>
                </a:ext>
              </a:extLst>
            </p:cNvPr>
            <p:cNvSpPr txBox="1"/>
            <p:nvPr/>
          </p:nvSpPr>
          <p:spPr>
            <a:xfrm>
              <a:off x="702590" y="1244892"/>
              <a:ext cx="301686" cy="180620"/>
            </a:xfrm>
            <a:prstGeom prst="rect">
              <a:avLst/>
            </a:prstGeom>
            <a:noFill/>
          </p:spPr>
          <p:txBody>
            <a:bodyPr wrap="square" rtlCol="0">
              <a:spAutoFit/>
            </a:bodyPr>
            <a:lstStyle/>
            <a:p>
              <a:r>
                <a:rPr lang="en-US" sz="300" dirty="0">
                  <a:solidFill>
                    <a:srgbClr val="FF0000"/>
                  </a:solidFill>
                  <a:latin typeface="Comic Sans MS" panose="030F0902030302020204" pitchFamily="66" charset="0"/>
                </a:rPr>
                <a:t>7.</a:t>
              </a:r>
            </a:p>
          </p:txBody>
        </p:sp>
      </p:grpSp>
      <p:cxnSp>
        <p:nvCxnSpPr>
          <p:cNvPr id="430" name="Elbow Connector 429">
            <a:extLst>
              <a:ext uri="{FF2B5EF4-FFF2-40B4-BE49-F238E27FC236}">
                <a16:creationId xmlns:a16="http://schemas.microsoft.com/office/drawing/2014/main" id="{39515340-4DE6-5E4E-8A47-AC9AFFA18029}"/>
              </a:ext>
            </a:extLst>
          </p:cNvPr>
          <p:cNvCxnSpPr>
            <a:cxnSpLocks/>
            <a:stCxn id="422" idx="3"/>
            <a:endCxn id="58" idx="1"/>
          </p:cNvCxnSpPr>
          <p:nvPr/>
        </p:nvCxnSpPr>
        <p:spPr>
          <a:xfrm flipV="1">
            <a:off x="1753403" y="3543338"/>
            <a:ext cx="464176" cy="1783924"/>
          </a:xfrm>
          <a:prstGeom prst="bentConnector3">
            <a:avLst>
              <a:gd name="adj1" fmla="val 47787"/>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437" name="Straight Connector 436">
            <a:extLst>
              <a:ext uri="{FF2B5EF4-FFF2-40B4-BE49-F238E27FC236}">
                <a16:creationId xmlns:a16="http://schemas.microsoft.com/office/drawing/2014/main" id="{67564D38-BE6D-154C-86A7-BAEFC184D6A6}"/>
              </a:ext>
            </a:extLst>
          </p:cNvPr>
          <p:cNvCxnSpPr>
            <a:cxnSpLocks/>
            <a:endCxn id="413" idx="1"/>
          </p:cNvCxnSpPr>
          <p:nvPr/>
        </p:nvCxnSpPr>
        <p:spPr>
          <a:xfrm>
            <a:off x="1634772" y="2874808"/>
            <a:ext cx="626592" cy="1624643"/>
          </a:xfrm>
          <a:prstGeom prst="line">
            <a:avLst/>
          </a:prstGeom>
          <a:ln w="12700">
            <a:solidFill>
              <a:srgbClr val="FF0000">
                <a:alpha val="50000"/>
              </a:srgbClr>
            </a:solidFill>
            <a:headEnd type="oval"/>
          </a:ln>
        </p:spPr>
        <p:style>
          <a:lnRef idx="1">
            <a:schemeClr val="accent1"/>
          </a:lnRef>
          <a:fillRef idx="0">
            <a:schemeClr val="accent1"/>
          </a:fillRef>
          <a:effectRef idx="0">
            <a:schemeClr val="accent1"/>
          </a:effectRef>
          <a:fontRef idx="minor">
            <a:schemeClr val="tx1"/>
          </a:fontRef>
        </p:style>
      </p:cxnSp>
      <p:cxnSp>
        <p:nvCxnSpPr>
          <p:cNvPr id="441" name="Straight Connector 440">
            <a:extLst>
              <a:ext uri="{FF2B5EF4-FFF2-40B4-BE49-F238E27FC236}">
                <a16:creationId xmlns:a16="http://schemas.microsoft.com/office/drawing/2014/main" id="{ED70A527-8E1C-8040-A531-DA851E1EE8C1}"/>
              </a:ext>
            </a:extLst>
          </p:cNvPr>
          <p:cNvCxnSpPr>
            <a:cxnSpLocks/>
            <a:endCxn id="413" idx="1"/>
          </p:cNvCxnSpPr>
          <p:nvPr/>
        </p:nvCxnSpPr>
        <p:spPr>
          <a:xfrm>
            <a:off x="1644710" y="3406585"/>
            <a:ext cx="616654" cy="1092866"/>
          </a:xfrm>
          <a:prstGeom prst="line">
            <a:avLst/>
          </a:prstGeom>
          <a:ln w="12700">
            <a:solidFill>
              <a:srgbClr val="FF0000">
                <a:alpha val="50000"/>
              </a:srgbClr>
            </a:solidFill>
            <a:headEnd type="oval"/>
          </a:ln>
        </p:spPr>
        <p:style>
          <a:lnRef idx="1">
            <a:schemeClr val="accent1"/>
          </a:lnRef>
          <a:fillRef idx="0">
            <a:schemeClr val="accent1"/>
          </a:fillRef>
          <a:effectRef idx="0">
            <a:schemeClr val="accent1"/>
          </a:effectRef>
          <a:fontRef idx="minor">
            <a:schemeClr val="tx1"/>
          </a:fontRef>
        </p:style>
      </p:cxnSp>
      <p:cxnSp>
        <p:nvCxnSpPr>
          <p:cNvPr id="442" name="Straight Connector 441">
            <a:extLst>
              <a:ext uri="{FF2B5EF4-FFF2-40B4-BE49-F238E27FC236}">
                <a16:creationId xmlns:a16="http://schemas.microsoft.com/office/drawing/2014/main" id="{A69AE544-9D0B-A142-83EB-94532BA9AC45}"/>
              </a:ext>
            </a:extLst>
          </p:cNvPr>
          <p:cNvCxnSpPr>
            <a:cxnSpLocks/>
            <a:endCxn id="413" idx="1"/>
          </p:cNvCxnSpPr>
          <p:nvPr/>
        </p:nvCxnSpPr>
        <p:spPr>
          <a:xfrm>
            <a:off x="1619058" y="3837183"/>
            <a:ext cx="642306" cy="662268"/>
          </a:xfrm>
          <a:prstGeom prst="line">
            <a:avLst/>
          </a:prstGeom>
          <a:ln w="12700">
            <a:solidFill>
              <a:srgbClr val="FF0000">
                <a:alpha val="50000"/>
              </a:srgbClr>
            </a:solidFill>
            <a:headEnd type="oval"/>
          </a:ln>
        </p:spPr>
        <p:style>
          <a:lnRef idx="1">
            <a:schemeClr val="accent1"/>
          </a:lnRef>
          <a:fillRef idx="0">
            <a:schemeClr val="accent1"/>
          </a:fillRef>
          <a:effectRef idx="0">
            <a:schemeClr val="accent1"/>
          </a:effectRef>
          <a:fontRef idx="minor">
            <a:schemeClr val="tx1"/>
          </a:fontRef>
        </p:style>
      </p:cxnSp>
      <p:cxnSp>
        <p:nvCxnSpPr>
          <p:cNvPr id="450" name="Straight Connector 449">
            <a:extLst>
              <a:ext uri="{FF2B5EF4-FFF2-40B4-BE49-F238E27FC236}">
                <a16:creationId xmlns:a16="http://schemas.microsoft.com/office/drawing/2014/main" id="{C342290D-FCDC-2545-9177-A3F10F974C44}"/>
              </a:ext>
            </a:extLst>
          </p:cNvPr>
          <p:cNvCxnSpPr>
            <a:cxnSpLocks/>
            <a:endCxn id="413" idx="1"/>
          </p:cNvCxnSpPr>
          <p:nvPr/>
        </p:nvCxnSpPr>
        <p:spPr>
          <a:xfrm flipV="1">
            <a:off x="1612603" y="4499451"/>
            <a:ext cx="648761" cy="310063"/>
          </a:xfrm>
          <a:prstGeom prst="line">
            <a:avLst/>
          </a:prstGeom>
          <a:ln w="12700">
            <a:solidFill>
              <a:srgbClr val="FF0000">
                <a:alpha val="50000"/>
              </a:srgbClr>
            </a:solidFill>
            <a:headEnd type="oval"/>
          </a:ln>
        </p:spPr>
        <p:style>
          <a:lnRef idx="1">
            <a:schemeClr val="accent1"/>
          </a:lnRef>
          <a:fillRef idx="0">
            <a:schemeClr val="accent1"/>
          </a:fillRef>
          <a:effectRef idx="0">
            <a:schemeClr val="accent1"/>
          </a:effectRef>
          <a:fontRef idx="minor">
            <a:schemeClr val="tx1"/>
          </a:fontRef>
        </p:style>
      </p:cxnSp>
      <p:cxnSp>
        <p:nvCxnSpPr>
          <p:cNvPr id="452" name="Straight Connector 451">
            <a:extLst>
              <a:ext uri="{FF2B5EF4-FFF2-40B4-BE49-F238E27FC236}">
                <a16:creationId xmlns:a16="http://schemas.microsoft.com/office/drawing/2014/main" id="{19BC253A-525F-DD48-8B0F-5EF2AA31C905}"/>
              </a:ext>
            </a:extLst>
          </p:cNvPr>
          <p:cNvCxnSpPr>
            <a:cxnSpLocks/>
            <a:endCxn id="413" idx="1"/>
          </p:cNvCxnSpPr>
          <p:nvPr/>
        </p:nvCxnSpPr>
        <p:spPr>
          <a:xfrm flipV="1">
            <a:off x="1644082" y="4499451"/>
            <a:ext cx="617282" cy="745671"/>
          </a:xfrm>
          <a:prstGeom prst="line">
            <a:avLst/>
          </a:prstGeom>
          <a:ln w="12700">
            <a:solidFill>
              <a:srgbClr val="FF0000">
                <a:alpha val="50000"/>
              </a:srgbClr>
            </a:solidFill>
            <a:headEnd type="oval"/>
          </a:ln>
        </p:spPr>
        <p:style>
          <a:lnRef idx="1">
            <a:schemeClr val="accent1"/>
          </a:lnRef>
          <a:fillRef idx="0">
            <a:schemeClr val="accent1"/>
          </a:fillRef>
          <a:effectRef idx="0">
            <a:schemeClr val="accent1"/>
          </a:effectRef>
          <a:fontRef idx="minor">
            <a:schemeClr val="tx1"/>
          </a:fontRef>
        </p:style>
      </p:cxnSp>
      <p:cxnSp>
        <p:nvCxnSpPr>
          <p:cNvPr id="464" name="Straight Connector 463">
            <a:extLst>
              <a:ext uri="{FF2B5EF4-FFF2-40B4-BE49-F238E27FC236}">
                <a16:creationId xmlns:a16="http://schemas.microsoft.com/office/drawing/2014/main" id="{C98228CD-2CAC-9E4A-9BD3-93955528ADE9}"/>
              </a:ext>
            </a:extLst>
          </p:cNvPr>
          <p:cNvCxnSpPr>
            <a:cxnSpLocks/>
            <a:endCxn id="386" idx="2"/>
          </p:cNvCxnSpPr>
          <p:nvPr/>
        </p:nvCxnSpPr>
        <p:spPr>
          <a:xfrm flipH="1" flipV="1">
            <a:off x="6924117" y="1505206"/>
            <a:ext cx="365224" cy="2312617"/>
          </a:xfrm>
          <a:prstGeom prst="line">
            <a:avLst/>
          </a:prstGeom>
          <a:ln w="12700">
            <a:solidFill>
              <a:srgbClr val="FF0000">
                <a:alpha val="50000"/>
              </a:srgbClr>
            </a:solidFill>
            <a:headEnd type="oval"/>
          </a:ln>
        </p:spPr>
        <p:style>
          <a:lnRef idx="1">
            <a:schemeClr val="accent1"/>
          </a:lnRef>
          <a:fillRef idx="0">
            <a:schemeClr val="accent1"/>
          </a:fillRef>
          <a:effectRef idx="0">
            <a:schemeClr val="accent1"/>
          </a:effectRef>
          <a:fontRef idx="minor">
            <a:schemeClr val="tx1"/>
          </a:fontRef>
        </p:style>
      </p:cxnSp>
      <p:cxnSp>
        <p:nvCxnSpPr>
          <p:cNvPr id="468" name="Straight Connector 467">
            <a:extLst>
              <a:ext uri="{FF2B5EF4-FFF2-40B4-BE49-F238E27FC236}">
                <a16:creationId xmlns:a16="http://schemas.microsoft.com/office/drawing/2014/main" id="{4D650585-47AF-F846-956F-DA00BC52EE38}"/>
              </a:ext>
            </a:extLst>
          </p:cNvPr>
          <p:cNvCxnSpPr>
            <a:cxnSpLocks/>
            <a:endCxn id="487" idx="1"/>
          </p:cNvCxnSpPr>
          <p:nvPr/>
        </p:nvCxnSpPr>
        <p:spPr>
          <a:xfrm>
            <a:off x="6454776" y="4829914"/>
            <a:ext cx="457828" cy="1330745"/>
          </a:xfrm>
          <a:prstGeom prst="line">
            <a:avLst/>
          </a:prstGeom>
          <a:ln w="12700">
            <a:solidFill>
              <a:srgbClr val="FF0000">
                <a:alpha val="50000"/>
              </a:srgbClr>
            </a:solidFill>
            <a:headEnd type="oval"/>
          </a:ln>
        </p:spPr>
        <p:style>
          <a:lnRef idx="1">
            <a:schemeClr val="accent1"/>
          </a:lnRef>
          <a:fillRef idx="0">
            <a:schemeClr val="accent1"/>
          </a:fillRef>
          <a:effectRef idx="0">
            <a:schemeClr val="accent1"/>
          </a:effectRef>
          <a:fontRef idx="minor">
            <a:schemeClr val="tx1"/>
          </a:fontRef>
        </p:style>
      </p:cxnSp>
      <p:sp>
        <p:nvSpPr>
          <p:cNvPr id="487" name="TextBox 486">
            <a:extLst>
              <a:ext uri="{FF2B5EF4-FFF2-40B4-BE49-F238E27FC236}">
                <a16:creationId xmlns:a16="http://schemas.microsoft.com/office/drawing/2014/main" id="{A7DFEE96-BEB9-5D41-9CC3-B0C3FE97C7C5}"/>
              </a:ext>
            </a:extLst>
          </p:cNvPr>
          <p:cNvSpPr txBox="1"/>
          <p:nvPr/>
        </p:nvSpPr>
        <p:spPr>
          <a:xfrm>
            <a:off x="6912604" y="5792781"/>
            <a:ext cx="1839711" cy="735756"/>
          </a:xfrm>
          <a:prstGeom prst="rect">
            <a:avLst/>
          </a:prstGeom>
          <a:noFill/>
        </p:spPr>
        <p:txBody>
          <a:bodyPr wrap="square" tIns="90000" bIns="90000" rtlCol="0" anchor="t">
            <a:spAutoFit/>
          </a:bodyPr>
          <a:lstStyle/>
          <a:p>
            <a:pPr algn="just"/>
            <a:r>
              <a:rPr lang="en-US" sz="1200" dirty="0">
                <a:solidFill>
                  <a:schemeClr val="tx1">
                    <a:lumMod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Host standby</a:t>
            </a:r>
          </a:p>
          <a:p>
            <a:pPr algn="just"/>
            <a:r>
              <a:rPr lang="en-US" sz="1200" dirty="0">
                <a:solidFill>
                  <a:schemeClr val="tx1">
                    <a:lumMod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cluster for disaster recovery in another data center </a:t>
            </a:r>
          </a:p>
        </p:txBody>
      </p:sp>
      <p:sp>
        <p:nvSpPr>
          <p:cNvPr id="220" name="Rounded Rectangle 219">
            <a:extLst>
              <a:ext uri="{FF2B5EF4-FFF2-40B4-BE49-F238E27FC236}">
                <a16:creationId xmlns:a16="http://schemas.microsoft.com/office/drawing/2014/main" id="{3813A13A-C399-E241-9E0E-53E65E8B9E63}"/>
              </a:ext>
            </a:extLst>
          </p:cNvPr>
          <p:cNvSpPr/>
          <p:nvPr/>
        </p:nvSpPr>
        <p:spPr>
          <a:xfrm>
            <a:off x="3901007" y="1973652"/>
            <a:ext cx="2453796" cy="3779481"/>
          </a:xfrm>
          <a:prstGeom prst="roundRect">
            <a:avLst/>
          </a:prstGeom>
          <a:solidFill>
            <a:schemeClr val="bg1">
              <a:lumMod val="85000"/>
            </a:schemeClr>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800" b="1" dirty="0">
                <a:solidFill>
                  <a:schemeClr val="bg1">
                    <a:lumMod val="50000"/>
                  </a:schemeClr>
                </a:solidFill>
                <a:latin typeface="Comic Sans MS" panose="030F0902030302020204" pitchFamily="66" charset="0"/>
                <a:ea typeface="Nanum Pen Script" panose="03040600000000000000" pitchFamily="66" charset="-127"/>
              </a:rPr>
              <a:t>Kafka Cluster (Brokers, Zookeeper)</a:t>
            </a:r>
          </a:p>
          <a:p>
            <a:pPr algn="ctr"/>
            <a:endParaRPr lang="en-US" sz="800" b="1" dirty="0">
              <a:solidFill>
                <a:schemeClr val="bg1">
                  <a:lumMod val="50000"/>
                </a:schemeClr>
              </a:solidFill>
              <a:latin typeface="Comic Sans MS" panose="030F0902030302020204" pitchFamily="66" charset="0"/>
              <a:ea typeface="Nanum Pen Script" panose="03040600000000000000" pitchFamily="66" charset="-127"/>
            </a:endParaRPr>
          </a:p>
          <a:p>
            <a:pPr algn="ctr"/>
            <a:endParaRPr lang="en-US" sz="800" b="1" dirty="0">
              <a:solidFill>
                <a:schemeClr val="bg1">
                  <a:lumMod val="50000"/>
                </a:schemeClr>
              </a:solidFill>
              <a:latin typeface="Comic Sans MS" panose="030F0902030302020204" pitchFamily="66" charset="0"/>
              <a:ea typeface="Nanum Pen Script" panose="03040600000000000000" pitchFamily="66" charset="-127"/>
            </a:endParaRPr>
          </a:p>
          <a:p>
            <a:pPr algn="ctr"/>
            <a:endParaRPr lang="en-US" sz="800" b="1" dirty="0">
              <a:solidFill>
                <a:schemeClr val="bg1">
                  <a:lumMod val="50000"/>
                </a:schemeClr>
              </a:solidFill>
              <a:latin typeface="Comic Sans MS" panose="030F0902030302020204" pitchFamily="66" charset="0"/>
              <a:ea typeface="Nanum Pen Script" panose="03040600000000000000" pitchFamily="66" charset="-127"/>
            </a:endParaRPr>
          </a:p>
          <a:p>
            <a:pPr algn="ctr"/>
            <a:endParaRPr lang="en-US" sz="700" b="1" dirty="0">
              <a:solidFill>
                <a:schemeClr val="bg1">
                  <a:lumMod val="50000"/>
                </a:schemeClr>
              </a:solidFill>
              <a:latin typeface="Comic Sans MS" panose="030F0902030302020204" pitchFamily="66" charset="0"/>
              <a:ea typeface="Nanum Pen Script" panose="03040600000000000000" pitchFamily="66" charset="-127"/>
            </a:endParaRPr>
          </a:p>
          <a:p>
            <a:pPr algn="ctr"/>
            <a:endParaRPr lang="en-US" sz="700" b="1" dirty="0">
              <a:solidFill>
                <a:schemeClr val="bg1">
                  <a:lumMod val="50000"/>
                </a:schemeClr>
              </a:solidFill>
              <a:latin typeface="Comic Sans MS" panose="030F0902030302020204" pitchFamily="66" charset="0"/>
              <a:ea typeface="Nanum Pen Script" panose="03040600000000000000" pitchFamily="66" charset="-127"/>
            </a:endParaRPr>
          </a:p>
          <a:p>
            <a:pPr algn="ctr"/>
            <a:endParaRPr lang="en-US" sz="700" b="1" dirty="0">
              <a:solidFill>
                <a:schemeClr val="bg1">
                  <a:lumMod val="50000"/>
                </a:schemeClr>
              </a:solidFill>
              <a:latin typeface="Comic Sans MS" panose="030F0902030302020204" pitchFamily="66" charset="0"/>
              <a:ea typeface="Nanum Pen Script" panose="03040600000000000000" pitchFamily="66" charset="-127"/>
            </a:endParaRPr>
          </a:p>
          <a:p>
            <a:pPr algn="ctr"/>
            <a:endParaRPr lang="en-US" sz="700" b="1" dirty="0">
              <a:solidFill>
                <a:schemeClr val="bg1">
                  <a:lumMod val="50000"/>
                </a:schemeClr>
              </a:solidFill>
              <a:latin typeface="Comic Sans MS" panose="030F0902030302020204" pitchFamily="66" charset="0"/>
              <a:ea typeface="Nanum Pen Script" panose="03040600000000000000" pitchFamily="66" charset="-127"/>
            </a:endParaRPr>
          </a:p>
          <a:p>
            <a:pPr algn="ctr"/>
            <a:endParaRPr lang="en-US" sz="1600" dirty="0">
              <a:solidFill>
                <a:schemeClr val="tx1"/>
              </a:solidFill>
              <a:latin typeface="Comic Sans MS" panose="030F0902030302020204" pitchFamily="66" charset="0"/>
              <a:ea typeface="Nanum Pen Script" panose="03040600000000000000" pitchFamily="66" charset="-127"/>
            </a:endParaRPr>
          </a:p>
          <a:p>
            <a:pPr algn="ctr"/>
            <a:endParaRPr lang="en-US" sz="1600" dirty="0">
              <a:solidFill>
                <a:schemeClr val="tx1"/>
              </a:solidFill>
              <a:latin typeface="Comic Sans MS" panose="030F0902030302020204" pitchFamily="66" charset="0"/>
              <a:ea typeface="Nanum Pen Script" panose="03040600000000000000" pitchFamily="66" charset="-127"/>
            </a:endParaRPr>
          </a:p>
        </p:txBody>
      </p:sp>
      <p:grpSp>
        <p:nvGrpSpPr>
          <p:cNvPr id="80" name="Group 79">
            <a:extLst>
              <a:ext uri="{FF2B5EF4-FFF2-40B4-BE49-F238E27FC236}">
                <a16:creationId xmlns:a16="http://schemas.microsoft.com/office/drawing/2014/main" id="{7BFF43CC-DBCA-4E49-BDD2-A8713338DE46}"/>
              </a:ext>
            </a:extLst>
          </p:cNvPr>
          <p:cNvGrpSpPr/>
          <p:nvPr/>
        </p:nvGrpSpPr>
        <p:grpSpPr>
          <a:xfrm>
            <a:off x="3742059" y="2360030"/>
            <a:ext cx="2501261" cy="3779481"/>
            <a:chOff x="3331098" y="2544962"/>
            <a:chExt cx="2501261" cy="3779481"/>
          </a:xfrm>
        </p:grpSpPr>
        <p:sp>
          <p:nvSpPr>
            <p:cNvPr id="179" name="Rounded Rectangle 178">
              <a:extLst>
                <a:ext uri="{FF2B5EF4-FFF2-40B4-BE49-F238E27FC236}">
                  <a16:creationId xmlns:a16="http://schemas.microsoft.com/office/drawing/2014/main" id="{7637BCFA-F43F-A948-A5AA-B9A8BA969A8C}"/>
                </a:ext>
              </a:extLst>
            </p:cNvPr>
            <p:cNvSpPr/>
            <p:nvPr/>
          </p:nvSpPr>
          <p:spPr>
            <a:xfrm>
              <a:off x="3881308" y="2689281"/>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Comic Sans MS" panose="030F0902030302020204" pitchFamily="66" charset="0"/>
                <a:ea typeface="Nanum Pen Script" panose="03040600000000000000" pitchFamily="66" charset="-127"/>
              </a:endParaRPr>
            </a:p>
          </p:txBody>
        </p:sp>
        <p:sp>
          <p:nvSpPr>
            <p:cNvPr id="180" name="Rounded Rectangle 179">
              <a:extLst>
                <a:ext uri="{FF2B5EF4-FFF2-40B4-BE49-F238E27FC236}">
                  <a16:creationId xmlns:a16="http://schemas.microsoft.com/office/drawing/2014/main" id="{20127023-3C5E-4E42-841D-930EE1EFB1CD}"/>
                </a:ext>
              </a:extLst>
            </p:cNvPr>
            <p:cNvSpPr/>
            <p:nvPr/>
          </p:nvSpPr>
          <p:spPr>
            <a:xfrm>
              <a:off x="4075471" y="2689280"/>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Comic Sans MS" panose="030F0902030302020204" pitchFamily="66" charset="0"/>
                <a:ea typeface="Nanum Pen Script" panose="03040600000000000000" pitchFamily="66" charset="-127"/>
              </a:endParaRPr>
            </a:p>
          </p:txBody>
        </p:sp>
        <p:sp>
          <p:nvSpPr>
            <p:cNvPr id="181" name="Rounded Rectangle 180">
              <a:extLst>
                <a:ext uri="{FF2B5EF4-FFF2-40B4-BE49-F238E27FC236}">
                  <a16:creationId xmlns:a16="http://schemas.microsoft.com/office/drawing/2014/main" id="{6C2E48A9-48BE-774F-BA4C-853DF9425465}"/>
                </a:ext>
              </a:extLst>
            </p:cNvPr>
            <p:cNvSpPr/>
            <p:nvPr/>
          </p:nvSpPr>
          <p:spPr>
            <a:xfrm>
              <a:off x="4269634" y="2689280"/>
              <a:ext cx="180437"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Comic Sans MS" panose="030F0902030302020204" pitchFamily="66" charset="0"/>
                <a:ea typeface="Nanum Pen Script" panose="03040600000000000000" pitchFamily="66" charset="-127"/>
              </a:endParaRPr>
            </a:p>
          </p:txBody>
        </p:sp>
        <p:sp>
          <p:nvSpPr>
            <p:cNvPr id="184" name="Rounded Rectangle 183">
              <a:extLst>
                <a:ext uri="{FF2B5EF4-FFF2-40B4-BE49-F238E27FC236}">
                  <a16:creationId xmlns:a16="http://schemas.microsoft.com/office/drawing/2014/main" id="{73CBAB54-A4F4-E848-8123-D5C9ABC6B015}"/>
                </a:ext>
              </a:extLst>
            </p:cNvPr>
            <p:cNvSpPr/>
            <p:nvPr/>
          </p:nvSpPr>
          <p:spPr>
            <a:xfrm>
              <a:off x="4462043" y="2689558"/>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Comic Sans MS" panose="030F0902030302020204" pitchFamily="66" charset="0"/>
                <a:ea typeface="Nanum Pen Script" panose="03040600000000000000" pitchFamily="66" charset="-127"/>
              </a:endParaRPr>
            </a:p>
          </p:txBody>
        </p:sp>
        <p:sp>
          <p:nvSpPr>
            <p:cNvPr id="185" name="Rounded Rectangle 184">
              <a:extLst>
                <a:ext uri="{FF2B5EF4-FFF2-40B4-BE49-F238E27FC236}">
                  <a16:creationId xmlns:a16="http://schemas.microsoft.com/office/drawing/2014/main" id="{8CD1D91D-81A9-5441-B402-EEBF6072C420}"/>
                </a:ext>
              </a:extLst>
            </p:cNvPr>
            <p:cNvSpPr/>
            <p:nvPr/>
          </p:nvSpPr>
          <p:spPr>
            <a:xfrm>
              <a:off x="4642503" y="2692952"/>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Comic Sans MS" panose="030F0902030302020204" pitchFamily="66" charset="0"/>
                <a:ea typeface="Nanum Pen Script" panose="03040600000000000000" pitchFamily="66" charset="-127"/>
              </a:endParaRPr>
            </a:p>
          </p:txBody>
        </p:sp>
        <p:sp>
          <p:nvSpPr>
            <p:cNvPr id="186" name="Rounded Rectangle 185">
              <a:extLst>
                <a:ext uri="{FF2B5EF4-FFF2-40B4-BE49-F238E27FC236}">
                  <a16:creationId xmlns:a16="http://schemas.microsoft.com/office/drawing/2014/main" id="{8223E9AD-2A73-2D49-967D-28F919C3F9BD}"/>
                </a:ext>
              </a:extLst>
            </p:cNvPr>
            <p:cNvSpPr/>
            <p:nvPr/>
          </p:nvSpPr>
          <p:spPr>
            <a:xfrm>
              <a:off x="4836666" y="2692951"/>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Comic Sans MS" panose="030F0902030302020204" pitchFamily="66" charset="0"/>
                <a:ea typeface="Nanum Pen Script" panose="03040600000000000000" pitchFamily="66" charset="-127"/>
              </a:endParaRPr>
            </a:p>
          </p:txBody>
        </p:sp>
        <p:sp>
          <p:nvSpPr>
            <p:cNvPr id="187" name="Rounded Rectangle 186">
              <a:extLst>
                <a:ext uri="{FF2B5EF4-FFF2-40B4-BE49-F238E27FC236}">
                  <a16:creationId xmlns:a16="http://schemas.microsoft.com/office/drawing/2014/main" id="{71D7DA9F-31E7-C245-AF56-F6128671BAE4}"/>
                </a:ext>
              </a:extLst>
            </p:cNvPr>
            <p:cNvSpPr/>
            <p:nvPr/>
          </p:nvSpPr>
          <p:spPr>
            <a:xfrm>
              <a:off x="5030829" y="2690393"/>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Comic Sans MS" panose="030F0902030302020204" pitchFamily="66" charset="0"/>
                <a:ea typeface="Nanum Pen Script" panose="03040600000000000000" pitchFamily="66" charset="-127"/>
              </a:endParaRPr>
            </a:p>
          </p:txBody>
        </p:sp>
        <p:sp>
          <p:nvSpPr>
            <p:cNvPr id="189" name="Rounded Rectangle 188">
              <a:extLst>
                <a:ext uri="{FF2B5EF4-FFF2-40B4-BE49-F238E27FC236}">
                  <a16:creationId xmlns:a16="http://schemas.microsoft.com/office/drawing/2014/main" id="{D7D5FA62-85F2-B740-A727-D41E21B1E79C}"/>
                </a:ext>
              </a:extLst>
            </p:cNvPr>
            <p:cNvSpPr/>
            <p:nvPr/>
          </p:nvSpPr>
          <p:spPr>
            <a:xfrm>
              <a:off x="5223238" y="2693229"/>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Comic Sans MS" panose="030F0902030302020204" pitchFamily="66" charset="0"/>
                <a:ea typeface="Nanum Pen Script" panose="03040600000000000000" pitchFamily="66" charset="-127"/>
              </a:endParaRPr>
            </a:p>
          </p:txBody>
        </p:sp>
        <p:sp>
          <p:nvSpPr>
            <p:cNvPr id="190" name="TextBox 189">
              <a:extLst>
                <a:ext uri="{FF2B5EF4-FFF2-40B4-BE49-F238E27FC236}">
                  <a16:creationId xmlns:a16="http://schemas.microsoft.com/office/drawing/2014/main" id="{63AFF036-5359-5545-B7BF-343DD148D791}"/>
                </a:ext>
              </a:extLst>
            </p:cNvPr>
            <p:cNvSpPr txBox="1"/>
            <p:nvPr/>
          </p:nvSpPr>
          <p:spPr>
            <a:xfrm>
              <a:off x="3728234" y="2797564"/>
              <a:ext cx="1173718" cy="304868"/>
            </a:xfrm>
            <a:prstGeom prst="rect">
              <a:avLst/>
            </a:prstGeom>
            <a:noFill/>
          </p:spPr>
          <p:txBody>
            <a:bodyPr wrap="none" tIns="90000" bIns="90000" rtlCol="0" anchor="t">
              <a:spAutoFit/>
            </a:bodyPr>
            <a:lstStyle/>
            <a:p>
              <a:pPr algn="ctr" defTabSz="457200"/>
              <a:r>
                <a:rPr lang="en-US" sz="8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Name Events (Topic)</a:t>
              </a:r>
            </a:p>
          </p:txBody>
        </p:sp>
        <p:sp>
          <p:nvSpPr>
            <p:cNvPr id="191" name="Rounded Rectangle 190">
              <a:extLst>
                <a:ext uri="{FF2B5EF4-FFF2-40B4-BE49-F238E27FC236}">
                  <a16:creationId xmlns:a16="http://schemas.microsoft.com/office/drawing/2014/main" id="{44B431DF-C75C-0E4D-864F-B327ABA8F080}"/>
                </a:ext>
              </a:extLst>
            </p:cNvPr>
            <p:cNvSpPr/>
            <p:nvPr/>
          </p:nvSpPr>
          <p:spPr>
            <a:xfrm>
              <a:off x="3826779" y="3165876"/>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Comic Sans MS" panose="030F0902030302020204" pitchFamily="66" charset="0"/>
                <a:ea typeface="Nanum Pen Script" panose="03040600000000000000" pitchFamily="66" charset="-127"/>
              </a:endParaRPr>
            </a:p>
          </p:txBody>
        </p:sp>
        <p:sp>
          <p:nvSpPr>
            <p:cNvPr id="192" name="Rounded Rectangle 191">
              <a:extLst>
                <a:ext uri="{FF2B5EF4-FFF2-40B4-BE49-F238E27FC236}">
                  <a16:creationId xmlns:a16="http://schemas.microsoft.com/office/drawing/2014/main" id="{7C66B8F6-5A3A-F748-B906-F73357C7892E}"/>
                </a:ext>
              </a:extLst>
            </p:cNvPr>
            <p:cNvSpPr/>
            <p:nvPr/>
          </p:nvSpPr>
          <p:spPr>
            <a:xfrm>
              <a:off x="4020942" y="3165875"/>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Comic Sans MS" panose="030F0902030302020204" pitchFamily="66" charset="0"/>
                <a:ea typeface="Nanum Pen Script" panose="03040600000000000000" pitchFamily="66" charset="-127"/>
              </a:endParaRPr>
            </a:p>
          </p:txBody>
        </p:sp>
        <p:sp>
          <p:nvSpPr>
            <p:cNvPr id="193" name="Rounded Rectangle 192">
              <a:extLst>
                <a:ext uri="{FF2B5EF4-FFF2-40B4-BE49-F238E27FC236}">
                  <a16:creationId xmlns:a16="http://schemas.microsoft.com/office/drawing/2014/main" id="{7FC9BC27-B273-6F4B-8CBF-6F11682E7820}"/>
                </a:ext>
              </a:extLst>
            </p:cNvPr>
            <p:cNvSpPr/>
            <p:nvPr/>
          </p:nvSpPr>
          <p:spPr>
            <a:xfrm>
              <a:off x="4215105" y="3165875"/>
              <a:ext cx="180437"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Comic Sans MS" panose="030F0902030302020204" pitchFamily="66" charset="0"/>
                <a:ea typeface="Nanum Pen Script" panose="03040600000000000000" pitchFamily="66" charset="-127"/>
              </a:endParaRPr>
            </a:p>
          </p:txBody>
        </p:sp>
        <p:sp>
          <p:nvSpPr>
            <p:cNvPr id="194" name="Rounded Rectangle 193">
              <a:extLst>
                <a:ext uri="{FF2B5EF4-FFF2-40B4-BE49-F238E27FC236}">
                  <a16:creationId xmlns:a16="http://schemas.microsoft.com/office/drawing/2014/main" id="{797FC571-9C18-AE4C-A8BE-E76D2C669966}"/>
                </a:ext>
              </a:extLst>
            </p:cNvPr>
            <p:cNvSpPr/>
            <p:nvPr/>
          </p:nvSpPr>
          <p:spPr>
            <a:xfrm>
              <a:off x="4407514" y="3166153"/>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Comic Sans MS" panose="030F0902030302020204" pitchFamily="66" charset="0"/>
                <a:ea typeface="Nanum Pen Script" panose="03040600000000000000" pitchFamily="66" charset="-127"/>
              </a:endParaRPr>
            </a:p>
          </p:txBody>
        </p:sp>
        <p:sp>
          <p:nvSpPr>
            <p:cNvPr id="195" name="Rounded Rectangle 194">
              <a:extLst>
                <a:ext uri="{FF2B5EF4-FFF2-40B4-BE49-F238E27FC236}">
                  <a16:creationId xmlns:a16="http://schemas.microsoft.com/office/drawing/2014/main" id="{2E659901-58D1-264F-B3EB-35E2309324A6}"/>
                </a:ext>
              </a:extLst>
            </p:cNvPr>
            <p:cNvSpPr/>
            <p:nvPr/>
          </p:nvSpPr>
          <p:spPr>
            <a:xfrm>
              <a:off x="4587974" y="3159715"/>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Comic Sans MS" panose="030F0902030302020204" pitchFamily="66" charset="0"/>
                <a:ea typeface="Nanum Pen Script" panose="03040600000000000000" pitchFamily="66" charset="-127"/>
              </a:endParaRPr>
            </a:p>
          </p:txBody>
        </p:sp>
        <p:sp>
          <p:nvSpPr>
            <p:cNvPr id="196" name="Rounded Rectangle 195">
              <a:extLst>
                <a:ext uri="{FF2B5EF4-FFF2-40B4-BE49-F238E27FC236}">
                  <a16:creationId xmlns:a16="http://schemas.microsoft.com/office/drawing/2014/main" id="{5AECAC06-2896-1E4B-8AC4-70245C86A264}"/>
                </a:ext>
              </a:extLst>
            </p:cNvPr>
            <p:cNvSpPr/>
            <p:nvPr/>
          </p:nvSpPr>
          <p:spPr>
            <a:xfrm>
              <a:off x="4782137" y="3159714"/>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Comic Sans MS" panose="030F0902030302020204" pitchFamily="66" charset="0"/>
                <a:ea typeface="Nanum Pen Script" panose="03040600000000000000" pitchFamily="66" charset="-127"/>
              </a:endParaRPr>
            </a:p>
          </p:txBody>
        </p:sp>
        <p:sp>
          <p:nvSpPr>
            <p:cNvPr id="197" name="Rounded Rectangle 196">
              <a:extLst>
                <a:ext uri="{FF2B5EF4-FFF2-40B4-BE49-F238E27FC236}">
                  <a16:creationId xmlns:a16="http://schemas.microsoft.com/office/drawing/2014/main" id="{A25210F1-9541-5944-A5F7-AEBC83E10178}"/>
                </a:ext>
              </a:extLst>
            </p:cNvPr>
            <p:cNvSpPr/>
            <p:nvPr/>
          </p:nvSpPr>
          <p:spPr>
            <a:xfrm>
              <a:off x="4976300" y="3166988"/>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Comic Sans MS" panose="030F0902030302020204" pitchFamily="66" charset="0"/>
                <a:ea typeface="Nanum Pen Script" panose="03040600000000000000" pitchFamily="66" charset="-127"/>
              </a:endParaRPr>
            </a:p>
          </p:txBody>
        </p:sp>
        <p:sp>
          <p:nvSpPr>
            <p:cNvPr id="199" name="TextBox 198">
              <a:extLst>
                <a:ext uri="{FF2B5EF4-FFF2-40B4-BE49-F238E27FC236}">
                  <a16:creationId xmlns:a16="http://schemas.microsoft.com/office/drawing/2014/main" id="{31E70A8A-B1DB-7643-802F-40BF2BC0D7B1}"/>
                </a:ext>
              </a:extLst>
            </p:cNvPr>
            <p:cNvSpPr txBox="1"/>
            <p:nvPr/>
          </p:nvSpPr>
          <p:spPr>
            <a:xfrm>
              <a:off x="3673705" y="3274159"/>
              <a:ext cx="1173718" cy="304868"/>
            </a:xfrm>
            <a:prstGeom prst="rect">
              <a:avLst/>
            </a:prstGeom>
            <a:noFill/>
          </p:spPr>
          <p:txBody>
            <a:bodyPr wrap="none" tIns="90000" bIns="90000" rtlCol="0" anchor="t">
              <a:spAutoFit/>
            </a:bodyPr>
            <a:lstStyle/>
            <a:p>
              <a:pPr algn="ctr" defTabSz="457200"/>
              <a:r>
                <a:rPr lang="en-US" sz="8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Name Events (Topic)</a:t>
              </a:r>
            </a:p>
          </p:txBody>
        </p:sp>
        <p:sp>
          <p:nvSpPr>
            <p:cNvPr id="200" name="Rounded Rectangle 199">
              <a:extLst>
                <a:ext uri="{FF2B5EF4-FFF2-40B4-BE49-F238E27FC236}">
                  <a16:creationId xmlns:a16="http://schemas.microsoft.com/office/drawing/2014/main" id="{B5DCD5F1-EEAA-EF40-B931-FC100A70FF30}"/>
                </a:ext>
              </a:extLst>
            </p:cNvPr>
            <p:cNvSpPr/>
            <p:nvPr/>
          </p:nvSpPr>
          <p:spPr>
            <a:xfrm>
              <a:off x="5419986" y="2692951"/>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Comic Sans MS" panose="030F0902030302020204" pitchFamily="66" charset="0"/>
                <a:ea typeface="Nanum Pen Script" panose="03040600000000000000" pitchFamily="66" charset="-127"/>
              </a:endParaRPr>
            </a:p>
          </p:txBody>
        </p:sp>
        <p:sp>
          <p:nvSpPr>
            <p:cNvPr id="201" name="Rounded Rectangle 200">
              <a:extLst>
                <a:ext uri="{FF2B5EF4-FFF2-40B4-BE49-F238E27FC236}">
                  <a16:creationId xmlns:a16="http://schemas.microsoft.com/office/drawing/2014/main" id="{F1AC5640-E321-7C47-8ABF-ECA3DDC1B1CC}"/>
                </a:ext>
              </a:extLst>
            </p:cNvPr>
            <p:cNvSpPr/>
            <p:nvPr/>
          </p:nvSpPr>
          <p:spPr>
            <a:xfrm>
              <a:off x="5646297" y="2689280"/>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Comic Sans MS" panose="030F0902030302020204" pitchFamily="66" charset="0"/>
                <a:ea typeface="Nanum Pen Script" panose="03040600000000000000" pitchFamily="66" charset="-127"/>
              </a:endParaRPr>
            </a:p>
          </p:txBody>
        </p:sp>
        <p:sp>
          <p:nvSpPr>
            <p:cNvPr id="202" name="Rounded Rectangle 201">
              <a:extLst>
                <a:ext uri="{FF2B5EF4-FFF2-40B4-BE49-F238E27FC236}">
                  <a16:creationId xmlns:a16="http://schemas.microsoft.com/office/drawing/2014/main" id="{DBC01DDE-79FC-374E-9F2E-E044F3C428E6}"/>
                </a:ext>
              </a:extLst>
            </p:cNvPr>
            <p:cNvSpPr/>
            <p:nvPr/>
          </p:nvSpPr>
          <p:spPr>
            <a:xfrm>
              <a:off x="3842529" y="3651185"/>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Comic Sans MS" panose="030F0902030302020204" pitchFamily="66" charset="0"/>
                <a:ea typeface="Nanum Pen Script" panose="03040600000000000000" pitchFamily="66" charset="-127"/>
              </a:endParaRPr>
            </a:p>
          </p:txBody>
        </p:sp>
        <p:sp>
          <p:nvSpPr>
            <p:cNvPr id="203" name="Rounded Rectangle 202">
              <a:extLst>
                <a:ext uri="{FF2B5EF4-FFF2-40B4-BE49-F238E27FC236}">
                  <a16:creationId xmlns:a16="http://schemas.microsoft.com/office/drawing/2014/main" id="{AC0E6A56-29DA-9841-B985-C2F6A402A2E7}"/>
                </a:ext>
              </a:extLst>
            </p:cNvPr>
            <p:cNvSpPr/>
            <p:nvPr/>
          </p:nvSpPr>
          <p:spPr>
            <a:xfrm>
              <a:off x="4036692" y="3651184"/>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Comic Sans MS" panose="030F0902030302020204" pitchFamily="66" charset="0"/>
                <a:ea typeface="Nanum Pen Script" panose="03040600000000000000" pitchFamily="66" charset="-127"/>
              </a:endParaRPr>
            </a:p>
          </p:txBody>
        </p:sp>
        <p:sp>
          <p:nvSpPr>
            <p:cNvPr id="204" name="Rounded Rectangle 203">
              <a:extLst>
                <a:ext uri="{FF2B5EF4-FFF2-40B4-BE49-F238E27FC236}">
                  <a16:creationId xmlns:a16="http://schemas.microsoft.com/office/drawing/2014/main" id="{EA3E8E63-DAC9-B04D-8415-2F5833FF5D1C}"/>
                </a:ext>
              </a:extLst>
            </p:cNvPr>
            <p:cNvSpPr/>
            <p:nvPr/>
          </p:nvSpPr>
          <p:spPr>
            <a:xfrm>
              <a:off x="4230855" y="3651184"/>
              <a:ext cx="180437"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Comic Sans MS" panose="030F0902030302020204" pitchFamily="66" charset="0"/>
                <a:ea typeface="Nanum Pen Script" panose="03040600000000000000" pitchFamily="66" charset="-127"/>
              </a:endParaRPr>
            </a:p>
          </p:txBody>
        </p:sp>
        <p:sp>
          <p:nvSpPr>
            <p:cNvPr id="205" name="Rounded Rectangle 204">
              <a:extLst>
                <a:ext uri="{FF2B5EF4-FFF2-40B4-BE49-F238E27FC236}">
                  <a16:creationId xmlns:a16="http://schemas.microsoft.com/office/drawing/2014/main" id="{0520E55E-6597-6344-B835-EDC550B31974}"/>
                </a:ext>
              </a:extLst>
            </p:cNvPr>
            <p:cNvSpPr/>
            <p:nvPr/>
          </p:nvSpPr>
          <p:spPr>
            <a:xfrm>
              <a:off x="4423264" y="3651462"/>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Comic Sans MS" panose="030F0902030302020204" pitchFamily="66" charset="0"/>
                <a:ea typeface="Nanum Pen Script" panose="03040600000000000000" pitchFamily="66" charset="-127"/>
              </a:endParaRPr>
            </a:p>
          </p:txBody>
        </p:sp>
        <p:sp>
          <p:nvSpPr>
            <p:cNvPr id="206" name="Rounded Rectangle 205">
              <a:extLst>
                <a:ext uri="{FF2B5EF4-FFF2-40B4-BE49-F238E27FC236}">
                  <a16:creationId xmlns:a16="http://schemas.microsoft.com/office/drawing/2014/main" id="{2267E9B7-C51B-FC4B-8272-B7925D95AA4A}"/>
                </a:ext>
              </a:extLst>
            </p:cNvPr>
            <p:cNvSpPr/>
            <p:nvPr/>
          </p:nvSpPr>
          <p:spPr>
            <a:xfrm>
              <a:off x="4603724" y="3654856"/>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Comic Sans MS" panose="030F0902030302020204" pitchFamily="66" charset="0"/>
                <a:ea typeface="Nanum Pen Script" panose="03040600000000000000" pitchFamily="66" charset="-127"/>
              </a:endParaRPr>
            </a:p>
          </p:txBody>
        </p:sp>
        <p:sp>
          <p:nvSpPr>
            <p:cNvPr id="207" name="Rounded Rectangle 206">
              <a:extLst>
                <a:ext uri="{FF2B5EF4-FFF2-40B4-BE49-F238E27FC236}">
                  <a16:creationId xmlns:a16="http://schemas.microsoft.com/office/drawing/2014/main" id="{0C5FD92B-420F-9D49-A73D-8831FBCC17B4}"/>
                </a:ext>
              </a:extLst>
            </p:cNvPr>
            <p:cNvSpPr/>
            <p:nvPr/>
          </p:nvSpPr>
          <p:spPr>
            <a:xfrm>
              <a:off x="4797887" y="3654855"/>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Comic Sans MS" panose="030F0902030302020204" pitchFamily="66" charset="0"/>
                <a:ea typeface="Nanum Pen Script" panose="03040600000000000000" pitchFamily="66" charset="-127"/>
              </a:endParaRPr>
            </a:p>
          </p:txBody>
        </p:sp>
        <p:sp>
          <p:nvSpPr>
            <p:cNvPr id="208" name="Rounded Rectangle 207">
              <a:extLst>
                <a:ext uri="{FF2B5EF4-FFF2-40B4-BE49-F238E27FC236}">
                  <a16:creationId xmlns:a16="http://schemas.microsoft.com/office/drawing/2014/main" id="{3F79E851-3730-A041-9CAA-41CB885303D6}"/>
                </a:ext>
              </a:extLst>
            </p:cNvPr>
            <p:cNvSpPr/>
            <p:nvPr/>
          </p:nvSpPr>
          <p:spPr>
            <a:xfrm>
              <a:off x="4992050" y="3652297"/>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Comic Sans MS" panose="030F0902030302020204" pitchFamily="66" charset="0"/>
                <a:ea typeface="Nanum Pen Script" panose="03040600000000000000" pitchFamily="66" charset="-127"/>
              </a:endParaRPr>
            </a:p>
          </p:txBody>
        </p:sp>
        <p:sp>
          <p:nvSpPr>
            <p:cNvPr id="209" name="TextBox 208">
              <a:extLst>
                <a:ext uri="{FF2B5EF4-FFF2-40B4-BE49-F238E27FC236}">
                  <a16:creationId xmlns:a16="http://schemas.microsoft.com/office/drawing/2014/main" id="{83A64F98-C7DD-484F-AD10-3DE1675DF686}"/>
                </a:ext>
              </a:extLst>
            </p:cNvPr>
            <p:cNvSpPr txBox="1"/>
            <p:nvPr/>
          </p:nvSpPr>
          <p:spPr>
            <a:xfrm>
              <a:off x="3689455" y="3759468"/>
              <a:ext cx="1173718" cy="304868"/>
            </a:xfrm>
            <a:prstGeom prst="rect">
              <a:avLst/>
            </a:prstGeom>
            <a:noFill/>
          </p:spPr>
          <p:txBody>
            <a:bodyPr wrap="none" tIns="90000" bIns="90000" rtlCol="0" anchor="t">
              <a:spAutoFit/>
            </a:bodyPr>
            <a:lstStyle/>
            <a:p>
              <a:pPr algn="ctr" defTabSz="457200"/>
              <a:r>
                <a:rPr lang="en-US" sz="8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Name Events (Topic)</a:t>
              </a:r>
            </a:p>
          </p:txBody>
        </p:sp>
        <p:sp>
          <p:nvSpPr>
            <p:cNvPr id="210" name="Rounded Rectangle 209">
              <a:extLst>
                <a:ext uri="{FF2B5EF4-FFF2-40B4-BE49-F238E27FC236}">
                  <a16:creationId xmlns:a16="http://schemas.microsoft.com/office/drawing/2014/main" id="{F0097E52-24F4-C44E-A46A-9035B92D835D}"/>
                </a:ext>
              </a:extLst>
            </p:cNvPr>
            <p:cNvSpPr/>
            <p:nvPr/>
          </p:nvSpPr>
          <p:spPr>
            <a:xfrm>
              <a:off x="3853065" y="4088000"/>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Comic Sans MS" panose="030F0902030302020204" pitchFamily="66" charset="0"/>
                <a:ea typeface="Nanum Pen Script" panose="03040600000000000000" pitchFamily="66" charset="-127"/>
              </a:endParaRPr>
            </a:p>
          </p:txBody>
        </p:sp>
        <p:sp>
          <p:nvSpPr>
            <p:cNvPr id="211" name="Rounded Rectangle 210">
              <a:extLst>
                <a:ext uri="{FF2B5EF4-FFF2-40B4-BE49-F238E27FC236}">
                  <a16:creationId xmlns:a16="http://schemas.microsoft.com/office/drawing/2014/main" id="{C2A58F58-0D89-9548-BB30-C6E39417DD62}"/>
                </a:ext>
              </a:extLst>
            </p:cNvPr>
            <p:cNvSpPr/>
            <p:nvPr/>
          </p:nvSpPr>
          <p:spPr>
            <a:xfrm>
              <a:off x="4047228" y="4087999"/>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Comic Sans MS" panose="030F0902030302020204" pitchFamily="66" charset="0"/>
                <a:ea typeface="Nanum Pen Script" panose="03040600000000000000" pitchFamily="66" charset="-127"/>
              </a:endParaRPr>
            </a:p>
          </p:txBody>
        </p:sp>
        <p:sp>
          <p:nvSpPr>
            <p:cNvPr id="212" name="Rounded Rectangle 211">
              <a:extLst>
                <a:ext uri="{FF2B5EF4-FFF2-40B4-BE49-F238E27FC236}">
                  <a16:creationId xmlns:a16="http://schemas.microsoft.com/office/drawing/2014/main" id="{98345D7C-DEC0-8748-B78C-02F3D48FB41B}"/>
                </a:ext>
              </a:extLst>
            </p:cNvPr>
            <p:cNvSpPr/>
            <p:nvPr/>
          </p:nvSpPr>
          <p:spPr>
            <a:xfrm>
              <a:off x="4241391" y="4085441"/>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Comic Sans MS" panose="030F0902030302020204" pitchFamily="66" charset="0"/>
                <a:ea typeface="Nanum Pen Script" panose="03040600000000000000" pitchFamily="66" charset="-127"/>
              </a:endParaRPr>
            </a:p>
          </p:txBody>
        </p:sp>
        <p:sp>
          <p:nvSpPr>
            <p:cNvPr id="213" name="Rounded Rectangle 212">
              <a:extLst>
                <a:ext uri="{FF2B5EF4-FFF2-40B4-BE49-F238E27FC236}">
                  <a16:creationId xmlns:a16="http://schemas.microsoft.com/office/drawing/2014/main" id="{887E1EB9-59D3-0A45-A7E8-01E6A323565C}"/>
                </a:ext>
              </a:extLst>
            </p:cNvPr>
            <p:cNvSpPr/>
            <p:nvPr/>
          </p:nvSpPr>
          <p:spPr>
            <a:xfrm>
              <a:off x="4423968" y="4088277"/>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Comic Sans MS" panose="030F0902030302020204" pitchFamily="66" charset="0"/>
                <a:ea typeface="Nanum Pen Script" panose="03040600000000000000" pitchFamily="66" charset="-127"/>
              </a:endParaRPr>
            </a:p>
          </p:txBody>
        </p:sp>
        <p:sp>
          <p:nvSpPr>
            <p:cNvPr id="214" name="Rounded Rectangle 213">
              <a:extLst>
                <a:ext uri="{FF2B5EF4-FFF2-40B4-BE49-F238E27FC236}">
                  <a16:creationId xmlns:a16="http://schemas.microsoft.com/office/drawing/2014/main" id="{93F11E95-9593-CD4D-8E66-1C7BCBE8B8BD}"/>
                </a:ext>
              </a:extLst>
            </p:cNvPr>
            <p:cNvSpPr/>
            <p:nvPr/>
          </p:nvSpPr>
          <p:spPr>
            <a:xfrm>
              <a:off x="4614260" y="4091671"/>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Comic Sans MS" panose="030F0902030302020204" pitchFamily="66" charset="0"/>
                <a:ea typeface="Nanum Pen Script" panose="03040600000000000000" pitchFamily="66" charset="-127"/>
              </a:endParaRPr>
            </a:p>
          </p:txBody>
        </p:sp>
        <p:sp>
          <p:nvSpPr>
            <p:cNvPr id="215" name="Rounded Rectangle 214">
              <a:extLst>
                <a:ext uri="{FF2B5EF4-FFF2-40B4-BE49-F238E27FC236}">
                  <a16:creationId xmlns:a16="http://schemas.microsoft.com/office/drawing/2014/main" id="{40A066ED-C07D-A54F-A96A-43E8F8B1EE4A}"/>
                </a:ext>
              </a:extLst>
            </p:cNvPr>
            <p:cNvSpPr/>
            <p:nvPr/>
          </p:nvSpPr>
          <p:spPr>
            <a:xfrm>
              <a:off x="4798591" y="4091670"/>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Comic Sans MS" panose="030F0902030302020204" pitchFamily="66" charset="0"/>
                <a:ea typeface="Nanum Pen Script" panose="03040600000000000000" pitchFamily="66" charset="-127"/>
              </a:endParaRPr>
            </a:p>
          </p:txBody>
        </p:sp>
        <p:sp>
          <p:nvSpPr>
            <p:cNvPr id="216" name="Rounded Rectangle 215">
              <a:extLst>
                <a:ext uri="{FF2B5EF4-FFF2-40B4-BE49-F238E27FC236}">
                  <a16:creationId xmlns:a16="http://schemas.microsoft.com/office/drawing/2014/main" id="{17D08553-561E-C54C-A155-307FB319BB25}"/>
                </a:ext>
              </a:extLst>
            </p:cNvPr>
            <p:cNvSpPr/>
            <p:nvPr/>
          </p:nvSpPr>
          <p:spPr>
            <a:xfrm>
              <a:off x="4992754" y="4089112"/>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Comic Sans MS" panose="030F0902030302020204" pitchFamily="66" charset="0"/>
                <a:ea typeface="Nanum Pen Script" panose="03040600000000000000" pitchFamily="66" charset="-127"/>
              </a:endParaRPr>
            </a:p>
          </p:txBody>
        </p:sp>
        <p:sp>
          <p:nvSpPr>
            <p:cNvPr id="217" name="Rounded Rectangle 216">
              <a:extLst>
                <a:ext uri="{FF2B5EF4-FFF2-40B4-BE49-F238E27FC236}">
                  <a16:creationId xmlns:a16="http://schemas.microsoft.com/office/drawing/2014/main" id="{045CD28C-CA90-3545-8584-BD9F8133CF3C}"/>
                </a:ext>
              </a:extLst>
            </p:cNvPr>
            <p:cNvSpPr/>
            <p:nvPr/>
          </p:nvSpPr>
          <p:spPr>
            <a:xfrm>
              <a:off x="5185163" y="4091948"/>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Comic Sans MS" panose="030F0902030302020204" pitchFamily="66" charset="0"/>
                <a:ea typeface="Nanum Pen Script" panose="03040600000000000000" pitchFamily="66" charset="-127"/>
              </a:endParaRPr>
            </a:p>
          </p:txBody>
        </p:sp>
        <p:sp>
          <p:nvSpPr>
            <p:cNvPr id="218" name="TextBox 217">
              <a:extLst>
                <a:ext uri="{FF2B5EF4-FFF2-40B4-BE49-F238E27FC236}">
                  <a16:creationId xmlns:a16="http://schemas.microsoft.com/office/drawing/2014/main" id="{358DB2A2-C865-2A4F-9D12-BDA5B88F4CB2}"/>
                </a:ext>
              </a:extLst>
            </p:cNvPr>
            <p:cNvSpPr txBox="1"/>
            <p:nvPr/>
          </p:nvSpPr>
          <p:spPr>
            <a:xfrm>
              <a:off x="3699991" y="4196283"/>
              <a:ext cx="1173718" cy="304868"/>
            </a:xfrm>
            <a:prstGeom prst="rect">
              <a:avLst/>
            </a:prstGeom>
            <a:noFill/>
          </p:spPr>
          <p:txBody>
            <a:bodyPr wrap="none" tIns="90000" bIns="90000" rtlCol="0" anchor="t">
              <a:spAutoFit/>
            </a:bodyPr>
            <a:lstStyle/>
            <a:p>
              <a:pPr algn="ctr" defTabSz="457200"/>
              <a:r>
                <a:rPr lang="en-US" sz="8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Name Events (Topic)</a:t>
              </a:r>
            </a:p>
          </p:txBody>
        </p:sp>
        <p:sp>
          <p:nvSpPr>
            <p:cNvPr id="223" name="Rounded Rectangle 222">
              <a:extLst>
                <a:ext uri="{FF2B5EF4-FFF2-40B4-BE49-F238E27FC236}">
                  <a16:creationId xmlns:a16="http://schemas.microsoft.com/office/drawing/2014/main" id="{2F63FF0E-D797-3D45-93C7-58E8C22C56CA}"/>
                </a:ext>
              </a:extLst>
            </p:cNvPr>
            <p:cNvSpPr/>
            <p:nvPr/>
          </p:nvSpPr>
          <p:spPr>
            <a:xfrm>
              <a:off x="3848193" y="4555663"/>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Comic Sans MS" panose="030F0902030302020204" pitchFamily="66" charset="0"/>
                <a:ea typeface="Nanum Pen Script" panose="03040600000000000000" pitchFamily="66" charset="-127"/>
              </a:endParaRPr>
            </a:p>
          </p:txBody>
        </p:sp>
        <p:sp>
          <p:nvSpPr>
            <p:cNvPr id="224" name="Rounded Rectangle 223">
              <a:extLst>
                <a:ext uri="{FF2B5EF4-FFF2-40B4-BE49-F238E27FC236}">
                  <a16:creationId xmlns:a16="http://schemas.microsoft.com/office/drawing/2014/main" id="{73D6241A-8C2C-964B-A5BA-3551E97872D5}"/>
                </a:ext>
              </a:extLst>
            </p:cNvPr>
            <p:cNvSpPr/>
            <p:nvPr/>
          </p:nvSpPr>
          <p:spPr>
            <a:xfrm>
              <a:off x="4042356" y="4555662"/>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Comic Sans MS" panose="030F0902030302020204" pitchFamily="66" charset="0"/>
                <a:ea typeface="Nanum Pen Script" panose="03040600000000000000" pitchFamily="66" charset="-127"/>
              </a:endParaRPr>
            </a:p>
          </p:txBody>
        </p:sp>
        <p:sp>
          <p:nvSpPr>
            <p:cNvPr id="225" name="Rounded Rectangle 224">
              <a:extLst>
                <a:ext uri="{FF2B5EF4-FFF2-40B4-BE49-F238E27FC236}">
                  <a16:creationId xmlns:a16="http://schemas.microsoft.com/office/drawing/2014/main" id="{8BC9CD7C-08D8-9D42-9793-53A32F4D1A41}"/>
                </a:ext>
              </a:extLst>
            </p:cNvPr>
            <p:cNvSpPr/>
            <p:nvPr/>
          </p:nvSpPr>
          <p:spPr>
            <a:xfrm>
              <a:off x="4236519" y="4555662"/>
              <a:ext cx="180437"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Comic Sans MS" panose="030F0902030302020204" pitchFamily="66" charset="0"/>
                <a:ea typeface="Nanum Pen Script" panose="03040600000000000000" pitchFamily="66" charset="-127"/>
              </a:endParaRPr>
            </a:p>
          </p:txBody>
        </p:sp>
        <p:sp>
          <p:nvSpPr>
            <p:cNvPr id="226" name="Rounded Rectangle 225">
              <a:extLst>
                <a:ext uri="{FF2B5EF4-FFF2-40B4-BE49-F238E27FC236}">
                  <a16:creationId xmlns:a16="http://schemas.microsoft.com/office/drawing/2014/main" id="{55CD6305-5FD2-1A4F-B781-61C198732C23}"/>
                </a:ext>
              </a:extLst>
            </p:cNvPr>
            <p:cNvSpPr/>
            <p:nvPr/>
          </p:nvSpPr>
          <p:spPr>
            <a:xfrm>
              <a:off x="4428928" y="4555940"/>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Comic Sans MS" panose="030F0902030302020204" pitchFamily="66" charset="0"/>
                <a:ea typeface="Nanum Pen Script" panose="03040600000000000000" pitchFamily="66" charset="-127"/>
              </a:endParaRPr>
            </a:p>
          </p:txBody>
        </p:sp>
        <p:sp>
          <p:nvSpPr>
            <p:cNvPr id="227" name="Rounded Rectangle 226">
              <a:extLst>
                <a:ext uri="{FF2B5EF4-FFF2-40B4-BE49-F238E27FC236}">
                  <a16:creationId xmlns:a16="http://schemas.microsoft.com/office/drawing/2014/main" id="{567B7917-2D58-0D4F-AF1A-E68313E6BBDE}"/>
                </a:ext>
              </a:extLst>
            </p:cNvPr>
            <p:cNvSpPr/>
            <p:nvPr/>
          </p:nvSpPr>
          <p:spPr>
            <a:xfrm>
              <a:off x="4609388" y="4559334"/>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Comic Sans MS" panose="030F0902030302020204" pitchFamily="66" charset="0"/>
                <a:ea typeface="Nanum Pen Script" panose="03040600000000000000" pitchFamily="66" charset="-127"/>
              </a:endParaRPr>
            </a:p>
          </p:txBody>
        </p:sp>
        <p:sp>
          <p:nvSpPr>
            <p:cNvPr id="228" name="Rounded Rectangle 227">
              <a:extLst>
                <a:ext uri="{FF2B5EF4-FFF2-40B4-BE49-F238E27FC236}">
                  <a16:creationId xmlns:a16="http://schemas.microsoft.com/office/drawing/2014/main" id="{333049DE-1408-7545-A9B0-0CF8443E39B4}"/>
                </a:ext>
              </a:extLst>
            </p:cNvPr>
            <p:cNvSpPr/>
            <p:nvPr/>
          </p:nvSpPr>
          <p:spPr>
            <a:xfrm>
              <a:off x="4803551" y="4559333"/>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Comic Sans MS" panose="030F0902030302020204" pitchFamily="66" charset="0"/>
                <a:ea typeface="Nanum Pen Script" panose="03040600000000000000" pitchFamily="66" charset="-127"/>
              </a:endParaRPr>
            </a:p>
          </p:txBody>
        </p:sp>
        <p:sp>
          <p:nvSpPr>
            <p:cNvPr id="229" name="Rounded Rectangle 228">
              <a:extLst>
                <a:ext uri="{FF2B5EF4-FFF2-40B4-BE49-F238E27FC236}">
                  <a16:creationId xmlns:a16="http://schemas.microsoft.com/office/drawing/2014/main" id="{0BCA8BFE-530B-004D-B70D-A8D1A8F24851}"/>
                </a:ext>
              </a:extLst>
            </p:cNvPr>
            <p:cNvSpPr/>
            <p:nvPr/>
          </p:nvSpPr>
          <p:spPr>
            <a:xfrm>
              <a:off x="4997714" y="4556775"/>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Comic Sans MS" panose="030F0902030302020204" pitchFamily="66" charset="0"/>
                <a:ea typeface="Nanum Pen Script" panose="03040600000000000000" pitchFamily="66" charset="-127"/>
              </a:endParaRPr>
            </a:p>
          </p:txBody>
        </p:sp>
        <p:sp>
          <p:nvSpPr>
            <p:cNvPr id="230" name="Rounded Rectangle 229">
              <a:extLst>
                <a:ext uri="{FF2B5EF4-FFF2-40B4-BE49-F238E27FC236}">
                  <a16:creationId xmlns:a16="http://schemas.microsoft.com/office/drawing/2014/main" id="{3E54E5ED-56EF-2544-9D83-FAB3E9BFE097}"/>
                </a:ext>
              </a:extLst>
            </p:cNvPr>
            <p:cNvSpPr/>
            <p:nvPr/>
          </p:nvSpPr>
          <p:spPr>
            <a:xfrm>
              <a:off x="5190123" y="4559611"/>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Comic Sans MS" panose="030F0902030302020204" pitchFamily="66" charset="0"/>
                <a:ea typeface="Nanum Pen Script" panose="03040600000000000000" pitchFamily="66" charset="-127"/>
              </a:endParaRPr>
            </a:p>
          </p:txBody>
        </p:sp>
        <p:sp>
          <p:nvSpPr>
            <p:cNvPr id="231" name="TextBox 230">
              <a:extLst>
                <a:ext uri="{FF2B5EF4-FFF2-40B4-BE49-F238E27FC236}">
                  <a16:creationId xmlns:a16="http://schemas.microsoft.com/office/drawing/2014/main" id="{05395620-8E23-1643-8669-FC339C6113CA}"/>
                </a:ext>
              </a:extLst>
            </p:cNvPr>
            <p:cNvSpPr txBox="1"/>
            <p:nvPr/>
          </p:nvSpPr>
          <p:spPr>
            <a:xfrm>
              <a:off x="3695119" y="4663946"/>
              <a:ext cx="1173718" cy="304868"/>
            </a:xfrm>
            <a:prstGeom prst="rect">
              <a:avLst/>
            </a:prstGeom>
            <a:noFill/>
          </p:spPr>
          <p:txBody>
            <a:bodyPr wrap="none" tIns="90000" bIns="90000" rtlCol="0" anchor="t">
              <a:spAutoFit/>
            </a:bodyPr>
            <a:lstStyle/>
            <a:p>
              <a:pPr algn="ctr" defTabSz="457200"/>
              <a:r>
                <a:rPr lang="en-US" sz="8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Name Events (Topic)</a:t>
              </a:r>
            </a:p>
          </p:txBody>
        </p:sp>
        <p:sp>
          <p:nvSpPr>
            <p:cNvPr id="232" name="Rounded Rectangle 231">
              <a:extLst>
                <a:ext uri="{FF2B5EF4-FFF2-40B4-BE49-F238E27FC236}">
                  <a16:creationId xmlns:a16="http://schemas.microsoft.com/office/drawing/2014/main" id="{ABA466FE-8D61-6A41-A40F-4EB13E9E2B63}"/>
                </a:ext>
              </a:extLst>
            </p:cNvPr>
            <p:cNvSpPr/>
            <p:nvPr/>
          </p:nvSpPr>
          <p:spPr>
            <a:xfrm>
              <a:off x="5386871" y="4559333"/>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Comic Sans MS" panose="030F0902030302020204" pitchFamily="66" charset="0"/>
                <a:ea typeface="Nanum Pen Script" panose="03040600000000000000" pitchFamily="66" charset="-127"/>
              </a:endParaRPr>
            </a:p>
          </p:txBody>
        </p:sp>
        <p:sp>
          <p:nvSpPr>
            <p:cNvPr id="233" name="Rounded Rectangle 232">
              <a:extLst>
                <a:ext uri="{FF2B5EF4-FFF2-40B4-BE49-F238E27FC236}">
                  <a16:creationId xmlns:a16="http://schemas.microsoft.com/office/drawing/2014/main" id="{61E1DBCB-7EC3-2C43-A28B-25A07489CCFC}"/>
                </a:ext>
              </a:extLst>
            </p:cNvPr>
            <p:cNvSpPr/>
            <p:nvPr/>
          </p:nvSpPr>
          <p:spPr>
            <a:xfrm>
              <a:off x="5582360" y="4555662"/>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Comic Sans MS" panose="030F0902030302020204" pitchFamily="66" charset="0"/>
                <a:ea typeface="Nanum Pen Script" panose="03040600000000000000" pitchFamily="66" charset="-127"/>
              </a:endParaRPr>
            </a:p>
          </p:txBody>
        </p:sp>
        <p:sp>
          <p:nvSpPr>
            <p:cNvPr id="253" name="Rounded Rectangle 252">
              <a:extLst>
                <a:ext uri="{FF2B5EF4-FFF2-40B4-BE49-F238E27FC236}">
                  <a16:creationId xmlns:a16="http://schemas.microsoft.com/office/drawing/2014/main" id="{5961578F-1E78-1742-9201-8B666670FC20}"/>
                </a:ext>
              </a:extLst>
            </p:cNvPr>
            <p:cNvSpPr/>
            <p:nvPr/>
          </p:nvSpPr>
          <p:spPr>
            <a:xfrm>
              <a:off x="3871881" y="4991282"/>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Comic Sans MS" panose="030F0902030302020204" pitchFamily="66" charset="0"/>
                <a:ea typeface="Nanum Pen Script" panose="03040600000000000000" pitchFamily="66" charset="-127"/>
              </a:endParaRPr>
            </a:p>
          </p:txBody>
        </p:sp>
        <p:sp>
          <p:nvSpPr>
            <p:cNvPr id="254" name="Rounded Rectangle 253">
              <a:extLst>
                <a:ext uri="{FF2B5EF4-FFF2-40B4-BE49-F238E27FC236}">
                  <a16:creationId xmlns:a16="http://schemas.microsoft.com/office/drawing/2014/main" id="{6B1AF1D5-403F-2D42-90D6-567482F780EA}"/>
                </a:ext>
              </a:extLst>
            </p:cNvPr>
            <p:cNvSpPr/>
            <p:nvPr/>
          </p:nvSpPr>
          <p:spPr>
            <a:xfrm>
              <a:off x="4066044" y="4991281"/>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Comic Sans MS" panose="030F0902030302020204" pitchFamily="66" charset="0"/>
                <a:ea typeface="Nanum Pen Script" panose="03040600000000000000" pitchFamily="66" charset="-127"/>
              </a:endParaRPr>
            </a:p>
          </p:txBody>
        </p:sp>
        <p:sp>
          <p:nvSpPr>
            <p:cNvPr id="255" name="Rounded Rectangle 254">
              <a:extLst>
                <a:ext uri="{FF2B5EF4-FFF2-40B4-BE49-F238E27FC236}">
                  <a16:creationId xmlns:a16="http://schemas.microsoft.com/office/drawing/2014/main" id="{2C1F6014-F1C6-E74E-8366-95CE021EC40F}"/>
                </a:ext>
              </a:extLst>
            </p:cNvPr>
            <p:cNvSpPr/>
            <p:nvPr/>
          </p:nvSpPr>
          <p:spPr>
            <a:xfrm>
              <a:off x="4260207" y="4991281"/>
              <a:ext cx="180437"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Comic Sans MS" panose="030F0902030302020204" pitchFamily="66" charset="0"/>
                <a:ea typeface="Nanum Pen Script" panose="03040600000000000000" pitchFamily="66" charset="-127"/>
              </a:endParaRPr>
            </a:p>
          </p:txBody>
        </p:sp>
        <p:sp>
          <p:nvSpPr>
            <p:cNvPr id="256" name="Rounded Rectangle 255">
              <a:extLst>
                <a:ext uri="{FF2B5EF4-FFF2-40B4-BE49-F238E27FC236}">
                  <a16:creationId xmlns:a16="http://schemas.microsoft.com/office/drawing/2014/main" id="{13C3D224-BDE5-3D4B-BD5A-A16CC45D26DE}"/>
                </a:ext>
              </a:extLst>
            </p:cNvPr>
            <p:cNvSpPr/>
            <p:nvPr/>
          </p:nvSpPr>
          <p:spPr>
            <a:xfrm>
              <a:off x="4452616" y="4991559"/>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Comic Sans MS" panose="030F0902030302020204" pitchFamily="66" charset="0"/>
                <a:ea typeface="Nanum Pen Script" panose="03040600000000000000" pitchFamily="66" charset="-127"/>
              </a:endParaRPr>
            </a:p>
          </p:txBody>
        </p:sp>
        <p:sp>
          <p:nvSpPr>
            <p:cNvPr id="257" name="Rounded Rectangle 256">
              <a:extLst>
                <a:ext uri="{FF2B5EF4-FFF2-40B4-BE49-F238E27FC236}">
                  <a16:creationId xmlns:a16="http://schemas.microsoft.com/office/drawing/2014/main" id="{2F56D233-6163-3A46-832E-9089216FF397}"/>
                </a:ext>
              </a:extLst>
            </p:cNvPr>
            <p:cNvSpPr/>
            <p:nvPr/>
          </p:nvSpPr>
          <p:spPr>
            <a:xfrm>
              <a:off x="4633076" y="4994953"/>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Comic Sans MS" panose="030F0902030302020204" pitchFamily="66" charset="0"/>
                <a:ea typeface="Nanum Pen Script" panose="03040600000000000000" pitchFamily="66" charset="-127"/>
              </a:endParaRPr>
            </a:p>
          </p:txBody>
        </p:sp>
        <p:sp>
          <p:nvSpPr>
            <p:cNvPr id="258" name="Rounded Rectangle 257">
              <a:extLst>
                <a:ext uri="{FF2B5EF4-FFF2-40B4-BE49-F238E27FC236}">
                  <a16:creationId xmlns:a16="http://schemas.microsoft.com/office/drawing/2014/main" id="{520A7A5D-FF6D-6E4F-B766-E99F2DAF5556}"/>
                </a:ext>
              </a:extLst>
            </p:cNvPr>
            <p:cNvSpPr/>
            <p:nvPr/>
          </p:nvSpPr>
          <p:spPr>
            <a:xfrm>
              <a:off x="4827239" y="4994952"/>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Comic Sans MS" panose="030F0902030302020204" pitchFamily="66" charset="0"/>
                <a:ea typeface="Nanum Pen Script" panose="03040600000000000000" pitchFamily="66" charset="-127"/>
              </a:endParaRPr>
            </a:p>
          </p:txBody>
        </p:sp>
        <p:sp>
          <p:nvSpPr>
            <p:cNvPr id="259" name="Rounded Rectangle 258">
              <a:extLst>
                <a:ext uri="{FF2B5EF4-FFF2-40B4-BE49-F238E27FC236}">
                  <a16:creationId xmlns:a16="http://schemas.microsoft.com/office/drawing/2014/main" id="{4A3F6DD1-DD32-1E4A-AB99-27C8413B9D06}"/>
                </a:ext>
              </a:extLst>
            </p:cNvPr>
            <p:cNvSpPr/>
            <p:nvPr/>
          </p:nvSpPr>
          <p:spPr>
            <a:xfrm>
              <a:off x="5021402" y="4992394"/>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Comic Sans MS" panose="030F0902030302020204" pitchFamily="66" charset="0"/>
                <a:ea typeface="Nanum Pen Script" panose="03040600000000000000" pitchFamily="66" charset="-127"/>
              </a:endParaRPr>
            </a:p>
          </p:txBody>
        </p:sp>
        <p:sp>
          <p:nvSpPr>
            <p:cNvPr id="260" name="Rounded Rectangle 259">
              <a:extLst>
                <a:ext uri="{FF2B5EF4-FFF2-40B4-BE49-F238E27FC236}">
                  <a16:creationId xmlns:a16="http://schemas.microsoft.com/office/drawing/2014/main" id="{7A212C40-73CE-364B-AE3D-0F60FADC7AD5}"/>
                </a:ext>
              </a:extLst>
            </p:cNvPr>
            <p:cNvSpPr/>
            <p:nvPr/>
          </p:nvSpPr>
          <p:spPr>
            <a:xfrm>
              <a:off x="5213811" y="4995230"/>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Comic Sans MS" panose="030F0902030302020204" pitchFamily="66" charset="0"/>
                <a:ea typeface="Nanum Pen Script" panose="03040600000000000000" pitchFamily="66" charset="-127"/>
              </a:endParaRPr>
            </a:p>
          </p:txBody>
        </p:sp>
        <p:sp>
          <p:nvSpPr>
            <p:cNvPr id="261" name="TextBox 260">
              <a:extLst>
                <a:ext uri="{FF2B5EF4-FFF2-40B4-BE49-F238E27FC236}">
                  <a16:creationId xmlns:a16="http://schemas.microsoft.com/office/drawing/2014/main" id="{A7BE5E6D-32D7-8741-A89E-CE7833480F50}"/>
                </a:ext>
              </a:extLst>
            </p:cNvPr>
            <p:cNvSpPr txBox="1"/>
            <p:nvPr/>
          </p:nvSpPr>
          <p:spPr>
            <a:xfrm>
              <a:off x="3718807" y="5099565"/>
              <a:ext cx="1173718" cy="304868"/>
            </a:xfrm>
            <a:prstGeom prst="rect">
              <a:avLst/>
            </a:prstGeom>
            <a:noFill/>
          </p:spPr>
          <p:txBody>
            <a:bodyPr wrap="none" tIns="90000" bIns="90000" rtlCol="0" anchor="t">
              <a:spAutoFit/>
            </a:bodyPr>
            <a:lstStyle/>
            <a:p>
              <a:pPr algn="ctr" defTabSz="457200"/>
              <a:r>
                <a:rPr lang="en-US" sz="8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Name Events (Topic)</a:t>
              </a:r>
            </a:p>
          </p:txBody>
        </p:sp>
        <p:sp>
          <p:nvSpPr>
            <p:cNvPr id="262" name="Rounded Rectangle 261">
              <a:extLst>
                <a:ext uri="{FF2B5EF4-FFF2-40B4-BE49-F238E27FC236}">
                  <a16:creationId xmlns:a16="http://schemas.microsoft.com/office/drawing/2014/main" id="{C0F345D3-B5F7-414B-AE24-D6AE10EA8B0F}"/>
                </a:ext>
              </a:extLst>
            </p:cNvPr>
            <p:cNvSpPr/>
            <p:nvPr/>
          </p:nvSpPr>
          <p:spPr>
            <a:xfrm>
              <a:off x="5410559" y="4994952"/>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Comic Sans MS" panose="030F0902030302020204" pitchFamily="66" charset="0"/>
                <a:ea typeface="Nanum Pen Script" panose="03040600000000000000" pitchFamily="66" charset="-127"/>
              </a:endParaRPr>
            </a:p>
          </p:txBody>
        </p:sp>
        <p:sp>
          <p:nvSpPr>
            <p:cNvPr id="221" name="Rounded Rectangle 220">
              <a:extLst>
                <a:ext uri="{FF2B5EF4-FFF2-40B4-BE49-F238E27FC236}">
                  <a16:creationId xmlns:a16="http://schemas.microsoft.com/office/drawing/2014/main" id="{C7FBC913-3260-814F-A572-FABE3ECEC19D}"/>
                </a:ext>
              </a:extLst>
            </p:cNvPr>
            <p:cNvSpPr/>
            <p:nvPr/>
          </p:nvSpPr>
          <p:spPr>
            <a:xfrm>
              <a:off x="3716750" y="2592177"/>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Comic Sans MS" panose="030F0902030302020204" pitchFamily="66" charset="0"/>
                <a:ea typeface="Nanum Pen Script" panose="03040600000000000000" pitchFamily="66" charset="-127"/>
              </a:endParaRPr>
            </a:p>
          </p:txBody>
        </p:sp>
        <p:sp>
          <p:nvSpPr>
            <p:cNvPr id="222" name="Rounded Rectangle 221">
              <a:extLst>
                <a:ext uri="{FF2B5EF4-FFF2-40B4-BE49-F238E27FC236}">
                  <a16:creationId xmlns:a16="http://schemas.microsoft.com/office/drawing/2014/main" id="{2528197F-5DEC-F54B-93CC-B134D422C0AB}"/>
                </a:ext>
              </a:extLst>
            </p:cNvPr>
            <p:cNvSpPr/>
            <p:nvPr/>
          </p:nvSpPr>
          <p:spPr>
            <a:xfrm>
              <a:off x="3910913" y="2592176"/>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Comic Sans MS" panose="030F0902030302020204" pitchFamily="66" charset="0"/>
                <a:ea typeface="Nanum Pen Script" panose="03040600000000000000" pitchFamily="66" charset="-127"/>
              </a:endParaRPr>
            </a:p>
          </p:txBody>
        </p:sp>
        <p:sp>
          <p:nvSpPr>
            <p:cNvPr id="234" name="Rounded Rectangle 233">
              <a:extLst>
                <a:ext uri="{FF2B5EF4-FFF2-40B4-BE49-F238E27FC236}">
                  <a16:creationId xmlns:a16="http://schemas.microsoft.com/office/drawing/2014/main" id="{27302803-81CB-444A-9069-7D12F802F063}"/>
                </a:ext>
              </a:extLst>
            </p:cNvPr>
            <p:cNvSpPr/>
            <p:nvPr/>
          </p:nvSpPr>
          <p:spPr>
            <a:xfrm>
              <a:off x="4105076" y="2589618"/>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Comic Sans MS" panose="030F0902030302020204" pitchFamily="66" charset="0"/>
                <a:ea typeface="Nanum Pen Script" panose="03040600000000000000" pitchFamily="66" charset="-127"/>
              </a:endParaRPr>
            </a:p>
          </p:txBody>
        </p:sp>
        <p:sp>
          <p:nvSpPr>
            <p:cNvPr id="235" name="Rounded Rectangle 234">
              <a:extLst>
                <a:ext uri="{FF2B5EF4-FFF2-40B4-BE49-F238E27FC236}">
                  <a16:creationId xmlns:a16="http://schemas.microsoft.com/office/drawing/2014/main" id="{4673BCCA-578C-EE49-A5CA-C3429EE24336}"/>
                </a:ext>
              </a:extLst>
            </p:cNvPr>
            <p:cNvSpPr/>
            <p:nvPr/>
          </p:nvSpPr>
          <p:spPr>
            <a:xfrm>
              <a:off x="4297485" y="2592454"/>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Comic Sans MS" panose="030F0902030302020204" pitchFamily="66" charset="0"/>
                <a:ea typeface="Nanum Pen Script" panose="03040600000000000000" pitchFamily="66" charset="-127"/>
              </a:endParaRPr>
            </a:p>
          </p:txBody>
        </p:sp>
        <p:sp>
          <p:nvSpPr>
            <p:cNvPr id="236" name="Rounded Rectangle 235">
              <a:extLst>
                <a:ext uri="{FF2B5EF4-FFF2-40B4-BE49-F238E27FC236}">
                  <a16:creationId xmlns:a16="http://schemas.microsoft.com/office/drawing/2014/main" id="{9C6D628B-182A-D141-B0E0-C790259F12D9}"/>
                </a:ext>
              </a:extLst>
            </p:cNvPr>
            <p:cNvSpPr/>
            <p:nvPr/>
          </p:nvSpPr>
          <p:spPr>
            <a:xfrm>
              <a:off x="4488219" y="2596290"/>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Comic Sans MS" panose="030F0902030302020204" pitchFamily="66" charset="0"/>
                <a:ea typeface="Nanum Pen Script" panose="03040600000000000000" pitchFamily="66" charset="-127"/>
              </a:endParaRPr>
            </a:p>
          </p:txBody>
        </p:sp>
        <p:sp>
          <p:nvSpPr>
            <p:cNvPr id="237" name="Rounded Rectangle 236">
              <a:extLst>
                <a:ext uri="{FF2B5EF4-FFF2-40B4-BE49-F238E27FC236}">
                  <a16:creationId xmlns:a16="http://schemas.microsoft.com/office/drawing/2014/main" id="{0CF0C66F-BCC9-764E-91AA-B3646B913F0E}"/>
                </a:ext>
              </a:extLst>
            </p:cNvPr>
            <p:cNvSpPr/>
            <p:nvPr/>
          </p:nvSpPr>
          <p:spPr>
            <a:xfrm>
              <a:off x="4672108" y="2586015"/>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Comic Sans MS" panose="030F0902030302020204" pitchFamily="66" charset="0"/>
                <a:ea typeface="Nanum Pen Script" panose="03040600000000000000" pitchFamily="66" charset="-127"/>
              </a:endParaRPr>
            </a:p>
          </p:txBody>
        </p:sp>
        <p:sp>
          <p:nvSpPr>
            <p:cNvPr id="240" name="Rounded Rectangle 239">
              <a:extLst>
                <a:ext uri="{FF2B5EF4-FFF2-40B4-BE49-F238E27FC236}">
                  <a16:creationId xmlns:a16="http://schemas.microsoft.com/office/drawing/2014/main" id="{2D51B9E7-E34F-284A-BEF1-844C992FBFA3}"/>
                </a:ext>
              </a:extLst>
            </p:cNvPr>
            <p:cNvSpPr/>
            <p:nvPr/>
          </p:nvSpPr>
          <p:spPr>
            <a:xfrm>
              <a:off x="4866271" y="2593289"/>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Comic Sans MS" panose="030F0902030302020204" pitchFamily="66" charset="0"/>
                <a:ea typeface="Nanum Pen Script" panose="03040600000000000000" pitchFamily="66" charset="-127"/>
              </a:endParaRPr>
            </a:p>
          </p:txBody>
        </p:sp>
        <p:sp>
          <p:nvSpPr>
            <p:cNvPr id="247" name="Rounded Rectangle 246">
              <a:extLst>
                <a:ext uri="{FF2B5EF4-FFF2-40B4-BE49-F238E27FC236}">
                  <a16:creationId xmlns:a16="http://schemas.microsoft.com/office/drawing/2014/main" id="{669DA2B4-D6D1-334A-B580-0D4639E560ED}"/>
                </a:ext>
              </a:extLst>
            </p:cNvPr>
            <p:cNvSpPr/>
            <p:nvPr/>
          </p:nvSpPr>
          <p:spPr>
            <a:xfrm>
              <a:off x="5058680" y="2586293"/>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Comic Sans MS" panose="030F0902030302020204" pitchFamily="66" charset="0"/>
                <a:ea typeface="Nanum Pen Script" panose="03040600000000000000" pitchFamily="66" charset="-127"/>
              </a:endParaRPr>
            </a:p>
          </p:txBody>
        </p:sp>
        <p:sp>
          <p:nvSpPr>
            <p:cNvPr id="248" name="TextBox 247">
              <a:extLst>
                <a:ext uri="{FF2B5EF4-FFF2-40B4-BE49-F238E27FC236}">
                  <a16:creationId xmlns:a16="http://schemas.microsoft.com/office/drawing/2014/main" id="{0B4615C0-5686-6C4C-80E2-5C2A18B93528}"/>
                </a:ext>
              </a:extLst>
            </p:cNvPr>
            <p:cNvSpPr txBox="1"/>
            <p:nvPr/>
          </p:nvSpPr>
          <p:spPr>
            <a:xfrm>
              <a:off x="3563676" y="2700460"/>
              <a:ext cx="1173718" cy="304868"/>
            </a:xfrm>
            <a:prstGeom prst="rect">
              <a:avLst/>
            </a:prstGeom>
            <a:noFill/>
          </p:spPr>
          <p:txBody>
            <a:bodyPr wrap="none" tIns="90000" bIns="90000" rtlCol="0" anchor="t">
              <a:spAutoFit/>
            </a:bodyPr>
            <a:lstStyle/>
            <a:p>
              <a:pPr algn="ctr" defTabSz="457200"/>
              <a:r>
                <a:rPr lang="en-US" sz="8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Name Events (Topic)</a:t>
              </a:r>
            </a:p>
          </p:txBody>
        </p:sp>
        <p:sp>
          <p:nvSpPr>
            <p:cNvPr id="249" name="Rounded Rectangle 248">
              <a:extLst>
                <a:ext uri="{FF2B5EF4-FFF2-40B4-BE49-F238E27FC236}">
                  <a16:creationId xmlns:a16="http://schemas.microsoft.com/office/drawing/2014/main" id="{0EF31D03-0C0A-904B-8A91-91072277B128}"/>
                </a:ext>
              </a:extLst>
            </p:cNvPr>
            <p:cNvSpPr/>
            <p:nvPr/>
          </p:nvSpPr>
          <p:spPr>
            <a:xfrm>
              <a:off x="3706022" y="3078599"/>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Comic Sans MS" panose="030F0902030302020204" pitchFamily="66" charset="0"/>
                <a:ea typeface="Nanum Pen Script" panose="03040600000000000000" pitchFamily="66" charset="-127"/>
              </a:endParaRPr>
            </a:p>
          </p:txBody>
        </p:sp>
        <p:sp>
          <p:nvSpPr>
            <p:cNvPr id="250" name="Rounded Rectangle 249">
              <a:extLst>
                <a:ext uri="{FF2B5EF4-FFF2-40B4-BE49-F238E27FC236}">
                  <a16:creationId xmlns:a16="http://schemas.microsoft.com/office/drawing/2014/main" id="{7C5765E2-DCA4-1E48-AD30-8372F794C3DF}"/>
                </a:ext>
              </a:extLst>
            </p:cNvPr>
            <p:cNvSpPr/>
            <p:nvPr/>
          </p:nvSpPr>
          <p:spPr>
            <a:xfrm>
              <a:off x="3900185" y="3078598"/>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Comic Sans MS" panose="030F0902030302020204" pitchFamily="66" charset="0"/>
                <a:ea typeface="Nanum Pen Script" panose="03040600000000000000" pitchFamily="66" charset="-127"/>
              </a:endParaRPr>
            </a:p>
          </p:txBody>
        </p:sp>
        <p:sp>
          <p:nvSpPr>
            <p:cNvPr id="251" name="Rounded Rectangle 250">
              <a:extLst>
                <a:ext uri="{FF2B5EF4-FFF2-40B4-BE49-F238E27FC236}">
                  <a16:creationId xmlns:a16="http://schemas.microsoft.com/office/drawing/2014/main" id="{D02F1A34-C91D-924C-8CF4-543DABEDB17B}"/>
                </a:ext>
              </a:extLst>
            </p:cNvPr>
            <p:cNvSpPr/>
            <p:nvPr/>
          </p:nvSpPr>
          <p:spPr>
            <a:xfrm>
              <a:off x="4094348" y="3078598"/>
              <a:ext cx="180437"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Comic Sans MS" panose="030F0902030302020204" pitchFamily="66" charset="0"/>
                <a:ea typeface="Nanum Pen Script" panose="03040600000000000000" pitchFamily="66" charset="-127"/>
              </a:endParaRPr>
            </a:p>
          </p:txBody>
        </p:sp>
        <p:sp>
          <p:nvSpPr>
            <p:cNvPr id="264" name="Rounded Rectangle 263">
              <a:extLst>
                <a:ext uri="{FF2B5EF4-FFF2-40B4-BE49-F238E27FC236}">
                  <a16:creationId xmlns:a16="http://schemas.microsoft.com/office/drawing/2014/main" id="{3D926696-86C8-424F-9D30-BC499E3D43F8}"/>
                </a:ext>
              </a:extLst>
            </p:cNvPr>
            <p:cNvSpPr/>
            <p:nvPr/>
          </p:nvSpPr>
          <p:spPr>
            <a:xfrm>
              <a:off x="4286757" y="3078876"/>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Comic Sans MS" panose="030F0902030302020204" pitchFamily="66" charset="0"/>
                <a:ea typeface="Nanum Pen Script" panose="03040600000000000000" pitchFamily="66" charset="-127"/>
              </a:endParaRPr>
            </a:p>
          </p:txBody>
        </p:sp>
        <p:sp>
          <p:nvSpPr>
            <p:cNvPr id="266" name="Rounded Rectangle 265">
              <a:extLst>
                <a:ext uri="{FF2B5EF4-FFF2-40B4-BE49-F238E27FC236}">
                  <a16:creationId xmlns:a16="http://schemas.microsoft.com/office/drawing/2014/main" id="{C2FDA340-DAB0-574D-BB2F-5B02815D3D1E}"/>
                </a:ext>
              </a:extLst>
            </p:cNvPr>
            <p:cNvSpPr/>
            <p:nvPr/>
          </p:nvSpPr>
          <p:spPr>
            <a:xfrm>
              <a:off x="4467217" y="3082270"/>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Comic Sans MS" panose="030F0902030302020204" pitchFamily="66" charset="0"/>
                <a:ea typeface="Nanum Pen Script" panose="03040600000000000000" pitchFamily="66" charset="-127"/>
              </a:endParaRPr>
            </a:p>
          </p:txBody>
        </p:sp>
        <p:sp>
          <p:nvSpPr>
            <p:cNvPr id="267" name="Rounded Rectangle 266">
              <a:extLst>
                <a:ext uri="{FF2B5EF4-FFF2-40B4-BE49-F238E27FC236}">
                  <a16:creationId xmlns:a16="http://schemas.microsoft.com/office/drawing/2014/main" id="{F8C6D321-D156-BD47-B2C4-D5EF893D7E91}"/>
                </a:ext>
              </a:extLst>
            </p:cNvPr>
            <p:cNvSpPr/>
            <p:nvPr/>
          </p:nvSpPr>
          <p:spPr>
            <a:xfrm>
              <a:off x="4661380" y="3082269"/>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Comic Sans MS" panose="030F0902030302020204" pitchFamily="66" charset="0"/>
                <a:ea typeface="Nanum Pen Script" panose="03040600000000000000" pitchFamily="66" charset="-127"/>
              </a:endParaRPr>
            </a:p>
          </p:txBody>
        </p:sp>
        <p:sp>
          <p:nvSpPr>
            <p:cNvPr id="268" name="Rounded Rectangle 267">
              <a:extLst>
                <a:ext uri="{FF2B5EF4-FFF2-40B4-BE49-F238E27FC236}">
                  <a16:creationId xmlns:a16="http://schemas.microsoft.com/office/drawing/2014/main" id="{DA51E773-42C5-654B-970B-6F048B0E4CA3}"/>
                </a:ext>
              </a:extLst>
            </p:cNvPr>
            <p:cNvSpPr/>
            <p:nvPr/>
          </p:nvSpPr>
          <p:spPr>
            <a:xfrm>
              <a:off x="4855543" y="3079711"/>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Comic Sans MS" panose="030F0902030302020204" pitchFamily="66" charset="0"/>
                <a:ea typeface="Nanum Pen Script" panose="03040600000000000000" pitchFamily="66" charset="-127"/>
              </a:endParaRPr>
            </a:p>
          </p:txBody>
        </p:sp>
        <p:sp>
          <p:nvSpPr>
            <p:cNvPr id="269" name="Rounded Rectangle 268">
              <a:extLst>
                <a:ext uri="{FF2B5EF4-FFF2-40B4-BE49-F238E27FC236}">
                  <a16:creationId xmlns:a16="http://schemas.microsoft.com/office/drawing/2014/main" id="{B29BCC21-7D9D-C04E-8246-D8151E815150}"/>
                </a:ext>
              </a:extLst>
            </p:cNvPr>
            <p:cNvSpPr/>
            <p:nvPr/>
          </p:nvSpPr>
          <p:spPr>
            <a:xfrm>
              <a:off x="5047952" y="3082547"/>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Comic Sans MS" panose="030F0902030302020204" pitchFamily="66" charset="0"/>
                <a:ea typeface="Nanum Pen Script" panose="03040600000000000000" pitchFamily="66" charset="-127"/>
              </a:endParaRPr>
            </a:p>
          </p:txBody>
        </p:sp>
        <p:sp>
          <p:nvSpPr>
            <p:cNvPr id="270" name="TextBox 269">
              <a:extLst>
                <a:ext uri="{FF2B5EF4-FFF2-40B4-BE49-F238E27FC236}">
                  <a16:creationId xmlns:a16="http://schemas.microsoft.com/office/drawing/2014/main" id="{0A5ECF0C-C7F0-B044-908E-E1FFAA8598EC}"/>
                </a:ext>
              </a:extLst>
            </p:cNvPr>
            <p:cNvSpPr txBox="1"/>
            <p:nvPr/>
          </p:nvSpPr>
          <p:spPr>
            <a:xfrm>
              <a:off x="3552948" y="3186882"/>
              <a:ext cx="1173718" cy="304868"/>
            </a:xfrm>
            <a:prstGeom prst="rect">
              <a:avLst/>
            </a:prstGeom>
            <a:noFill/>
          </p:spPr>
          <p:txBody>
            <a:bodyPr wrap="none" tIns="90000" bIns="90000" rtlCol="0" anchor="t">
              <a:spAutoFit/>
            </a:bodyPr>
            <a:lstStyle/>
            <a:p>
              <a:pPr algn="ctr" defTabSz="457200"/>
              <a:r>
                <a:rPr lang="en-US" sz="8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Name Events (Topic)</a:t>
              </a:r>
            </a:p>
          </p:txBody>
        </p:sp>
        <p:sp>
          <p:nvSpPr>
            <p:cNvPr id="271" name="Rounded Rectangle 270">
              <a:extLst>
                <a:ext uri="{FF2B5EF4-FFF2-40B4-BE49-F238E27FC236}">
                  <a16:creationId xmlns:a16="http://schemas.microsoft.com/office/drawing/2014/main" id="{A1B831A2-25DE-DF41-8420-B5E88BF32B7D}"/>
                </a:ext>
              </a:extLst>
            </p:cNvPr>
            <p:cNvSpPr/>
            <p:nvPr/>
          </p:nvSpPr>
          <p:spPr>
            <a:xfrm>
              <a:off x="3651493" y="3555194"/>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Comic Sans MS" panose="030F0902030302020204" pitchFamily="66" charset="0"/>
                <a:ea typeface="Nanum Pen Script" panose="03040600000000000000" pitchFamily="66" charset="-127"/>
              </a:endParaRPr>
            </a:p>
          </p:txBody>
        </p:sp>
        <p:sp>
          <p:nvSpPr>
            <p:cNvPr id="272" name="Rounded Rectangle 271">
              <a:extLst>
                <a:ext uri="{FF2B5EF4-FFF2-40B4-BE49-F238E27FC236}">
                  <a16:creationId xmlns:a16="http://schemas.microsoft.com/office/drawing/2014/main" id="{BD96D415-B31E-044D-AB78-84F551C9504A}"/>
                </a:ext>
              </a:extLst>
            </p:cNvPr>
            <p:cNvSpPr/>
            <p:nvPr/>
          </p:nvSpPr>
          <p:spPr>
            <a:xfrm>
              <a:off x="3845656" y="3555193"/>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Comic Sans MS" panose="030F0902030302020204" pitchFamily="66" charset="0"/>
                <a:ea typeface="Nanum Pen Script" panose="03040600000000000000" pitchFamily="66" charset="-127"/>
              </a:endParaRPr>
            </a:p>
          </p:txBody>
        </p:sp>
        <p:sp>
          <p:nvSpPr>
            <p:cNvPr id="273" name="Rounded Rectangle 272">
              <a:extLst>
                <a:ext uri="{FF2B5EF4-FFF2-40B4-BE49-F238E27FC236}">
                  <a16:creationId xmlns:a16="http://schemas.microsoft.com/office/drawing/2014/main" id="{E7BDA45C-9E4D-DE4E-949B-14650D5055BC}"/>
                </a:ext>
              </a:extLst>
            </p:cNvPr>
            <p:cNvSpPr/>
            <p:nvPr/>
          </p:nvSpPr>
          <p:spPr>
            <a:xfrm>
              <a:off x="4039819" y="3555193"/>
              <a:ext cx="180437"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Comic Sans MS" panose="030F0902030302020204" pitchFamily="66" charset="0"/>
                <a:ea typeface="Nanum Pen Script" panose="03040600000000000000" pitchFamily="66" charset="-127"/>
              </a:endParaRPr>
            </a:p>
          </p:txBody>
        </p:sp>
        <p:sp>
          <p:nvSpPr>
            <p:cNvPr id="274" name="Rounded Rectangle 273">
              <a:extLst>
                <a:ext uri="{FF2B5EF4-FFF2-40B4-BE49-F238E27FC236}">
                  <a16:creationId xmlns:a16="http://schemas.microsoft.com/office/drawing/2014/main" id="{1279E106-9900-6147-9365-9C87B254D33A}"/>
                </a:ext>
              </a:extLst>
            </p:cNvPr>
            <p:cNvSpPr/>
            <p:nvPr/>
          </p:nvSpPr>
          <p:spPr>
            <a:xfrm>
              <a:off x="4232228" y="3555471"/>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Comic Sans MS" panose="030F0902030302020204" pitchFamily="66" charset="0"/>
                <a:ea typeface="Nanum Pen Script" panose="03040600000000000000" pitchFamily="66" charset="-127"/>
              </a:endParaRPr>
            </a:p>
          </p:txBody>
        </p:sp>
        <p:sp>
          <p:nvSpPr>
            <p:cNvPr id="275" name="Rounded Rectangle 274">
              <a:extLst>
                <a:ext uri="{FF2B5EF4-FFF2-40B4-BE49-F238E27FC236}">
                  <a16:creationId xmlns:a16="http://schemas.microsoft.com/office/drawing/2014/main" id="{1CA9C281-4F53-5C4B-8343-29870E4537A0}"/>
                </a:ext>
              </a:extLst>
            </p:cNvPr>
            <p:cNvSpPr/>
            <p:nvPr/>
          </p:nvSpPr>
          <p:spPr>
            <a:xfrm>
              <a:off x="4412688" y="3549033"/>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Comic Sans MS" panose="030F0902030302020204" pitchFamily="66" charset="0"/>
                <a:ea typeface="Nanum Pen Script" panose="03040600000000000000" pitchFamily="66" charset="-127"/>
              </a:endParaRPr>
            </a:p>
          </p:txBody>
        </p:sp>
        <p:sp>
          <p:nvSpPr>
            <p:cNvPr id="276" name="Rounded Rectangle 275">
              <a:extLst>
                <a:ext uri="{FF2B5EF4-FFF2-40B4-BE49-F238E27FC236}">
                  <a16:creationId xmlns:a16="http://schemas.microsoft.com/office/drawing/2014/main" id="{9114F533-BF1E-2647-86B2-2E7D3AAD0C7D}"/>
                </a:ext>
              </a:extLst>
            </p:cNvPr>
            <p:cNvSpPr/>
            <p:nvPr/>
          </p:nvSpPr>
          <p:spPr>
            <a:xfrm>
              <a:off x="4606851" y="3549032"/>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Comic Sans MS" panose="030F0902030302020204" pitchFamily="66" charset="0"/>
                <a:ea typeface="Nanum Pen Script" panose="03040600000000000000" pitchFamily="66" charset="-127"/>
              </a:endParaRPr>
            </a:p>
          </p:txBody>
        </p:sp>
        <p:sp>
          <p:nvSpPr>
            <p:cNvPr id="277" name="Rounded Rectangle 276">
              <a:extLst>
                <a:ext uri="{FF2B5EF4-FFF2-40B4-BE49-F238E27FC236}">
                  <a16:creationId xmlns:a16="http://schemas.microsoft.com/office/drawing/2014/main" id="{D55A9D17-6CFC-BF43-B9BF-FE956B4BFC17}"/>
                </a:ext>
              </a:extLst>
            </p:cNvPr>
            <p:cNvSpPr/>
            <p:nvPr/>
          </p:nvSpPr>
          <p:spPr>
            <a:xfrm>
              <a:off x="4801014" y="3556306"/>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Comic Sans MS" panose="030F0902030302020204" pitchFamily="66" charset="0"/>
                <a:ea typeface="Nanum Pen Script" panose="03040600000000000000" pitchFamily="66" charset="-127"/>
              </a:endParaRPr>
            </a:p>
          </p:txBody>
        </p:sp>
        <p:sp>
          <p:nvSpPr>
            <p:cNvPr id="278" name="TextBox 277">
              <a:extLst>
                <a:ext uri="{FF2B5EF4-FFF2-40B4-BE49-F238E27FC236}">
                  <a16:creationId xmlns:a16="http://schemas.microsoft.com/office/drawing/2014/main" id="{322F63CB-D7C4-1147-824C-72601DC568E6}"/>
                </a:ext>
              </a:extLst>
            </p:cNvPr>
            <p:cNvSpPr txBox="1"/>
            <p:nvPr/>
          </p:nvSpPr>
          <p:spPr>
            <a:xfrm>
              <a:off x="3498419" y="3663477"/>
              <a:ext cx="1173718" cy="304868"/>
            </a:xfrm>
            <a:prstGeom prst="rect">
              <a:avLst/>
            </a:prstGeom>
            <a:noFill/>
          </p:spPr>
          <p:txBody>
            <a:bodyPr wrap="none" tIns="90000" bIns="90000" rtlCol="0" anchor="t">
              <a:spAutoFit/>
            </a:bodyPr>
            <a:lstStyle/>
            <a:p>
              <a:pPr algn="ctr" defTabSz="457200"/>
              <a:r>
                <a:rPr lang="en-US" sz="8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Name Events (Topic)</a:t>
              </a:r>
            </a:p>
          </p:txBody>
        </p:sp>
        <p:sp>
          <p:nvSpPr>
            <p:cNvPr id="279" name="Rounded Rectangle 278">
              <a:extLst>
                <a:ext uri="{FF2B5EF4-FFF2-40B4-BE49-F238E27FC236}">
                  <a16:creationId xmlns:a16="http://schemas.microsoft.com/office/drawing/2014/main" id="{02D46F6F-0C1D-4342-8759-33161360722E}"/>
                </a:ext>
              </a:extLst>
            </p:cNvPr>
            <p:cNvSpPr/>
            <p:nvPr/>
          </p:nvSpPr>
          <p:spPr>
            <a:xfrm>
              <a:off x="5244700" y="3082269"/>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Comic Sans MS" panose="030F0902030302020204" pitchFamily="66" charset="0"/>
                <a:ea typeface="Nanum Pen Script" panose="03040600000000000000" pitchFamily="66" charset="-127"/>
              </a:endParaRPr>
            </a:p>
          </p:txBody>
        </p:sp>
        <p:sp>
          <p:nvSpPr>
            <p:cNvPr id="280" name="Rounded Rectangle 279">
              <a:extLst>
                <a:ext uri="{FF2B5EF4-FFF2-40B4-BE49-F238E27FC236}">
                  <a16:creationId xmlns:a16="http://schemas.microsoft.com/office/drawing/2014/main" id="{1D1457DF-4FB0-2F42-9857-5251FF1DDE53}"/>
                </a:ext>
              </a:extLst>
            </p:cNvPr>
            <p:cNvSpPr/>
            <p:nvPr/>
          </p:nvSpPr>
          <p:spPr>
            <a:xfrm>
              <a:off x="5440189" y="3078598"/>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Comic Sans MS" panose="030F0902030302020204" pitchFamily="66" charset="0"/>
                <a:ea typeface="Nanum Pen Script" panose="03040600000000000000" pitchFamily="66" charset="-127"/>
              </a:endParaRPr>
            </a:p>
          </p:txBody>
        </p:sp>
        <p:sp>
          <p:nvSpPr>
            <p:cNvPr id="281" name="Rounded Rectangle 280">
              <a:extLst>
                <a:ext uri="{FF2B5EF4-FFF2-40B4-BE49-F238E27FC236}">
                  <a16:creationId xmlns:a16="http://schemas.microsoft.com/office/drawing/2014/main" id="{666A5412-D581-6F4D-A5CC-36D16300ED92}"/>
                </a:ext>
              </a:extLst>
            </p:cNvPr>
            <p:cNvSpPr/>
            <p:nvPr/>
          </p:nvSpPr>
          <p:spPr>
            <a:xfrm>
              <a:off x="3667243" y="4040503"/>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Comic Sans MS" panose="030F0902030302020204" pitchFamily="66" charset="0"/>
                <a:ea typeface="Nanum Pen Script" panose="03040600000000000000" pitchFamily="66" charset="-127"/>
              </a:endParaRPr>
            </a:p>
          </p:txBody>
        </p:sp>
        <p:sp>
          <p:nvSpPr>
            <p:cNvPr id="282" name="Rounded Rectangle 281">
              <a:extLst>
                <a:ext uri="{FF2B5EF4-FFF2-40B4-BE49-F238E27FC236}">
                  <a16:creationId xmlns:a16="http://schemas.microsoft.com/office/drawing/2014/main" id="{7601277A-DA1C-7040-A8C1-AD0DD36D9672}"/>
                </a:ext>
              </a:extLst>
            </p:cNvPr>
            <p:cNvSpPr/>
            <p:nvPr/>
          </p:nvSpPr>
          <p:spPr>
            <a:xfrm>
              <a:off x="3861406" y="4040502"/>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Comic Sans MS" panose="030F0902030302020204" pitchFamily="66" charset="0"/>
                <a:ea typeface="Nanum Pen Script" panose="03040600000000000000" pitchFamily="66" charset="-127"/>
              </a:endParaRPr>
            </a:p>
          </p:txBody>
        </p:sp>
        <p:sp>
          <p:nvSpPr>
            <p:cNvPr id="283" name="Rounded Rectangle 282">
              <a:extLst>
                <a:ext uri="{FF2B5EF4-FFF2-40B4-BE49-F238E27FC236}">
                  <a16:creationId xmlns:a16="http://schemas.microsoft.com/office/drawing/2014/main" id="{2D9A08D6-013F-484B-B5C0-83C2D17D1CC4}"/>
                </a:ext>
              </a:extLst>
            </p:cNvPr>
            <p:cNvSpPr/>
            <p:nvPr/>
          </p:nvSpPr>
          <p:spPr>
            <a:xfrm>
              <a:off x="4055569" y="4040502"/>
              <a:ext cx="180437"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Comic Sans MS" panose="030F0902030302020204" pitchFamily="66" charset="0"/>
                <a:ea typeface="Nanum Pen Script" panose="03040600000000000000" pitchFamily="66" charset="-127"/>
              </a:endParaRPr>
            </a:p>
          </p:txBody>
        </p:sp>
        <p:sp>
          <p:nvSpPr>
            <p:cNvPr id="284" name="Rounded Rectangle 283">
              <a:extLst>
                <a:ext uri="{FF2B5EF4-FFF2-40B4-BE49-F238E27FC236}">
                  <a16:creationId xmlns:a16="http://schemas.microsoft.com/office/drawing/2014/main" id="{3E5634DB-3930-0C49-8E2C-E64BF469FCFF}"/>
                </a:ext>
              </a:extLst>
            </p:cNvPr>
            <p:cNvSpPr/>
            <p:nvPr/>
          </p:nvSpPr>
          <p:spPr>
            <a:xfrm>
              <a:off x="4247978" y="4040780"/>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Comic Sans MS" panose="030F0902030302020204" pitchFamily="66" charset="0"/>
                <a:ea typeface="Nanum Pen Script" panose="03040600000000000000" pitchFamily="66" charset="-127"/>
              </a:endParaRPr>
            </a:p>
          </p:txBody>
        </p:sp>
        <p:sp>
          <p:nvSpPr>
            <p:cNvPr id="285" name="Rounded Rectangle 284">
              <a:extLst>
                <a:ext uri="{FF2B5EF4-FFF2-40B4-BE49-F238E27FC236}">
                  <a16:creationId xmlns:a16="http://schemas.microsoft.com/office/drawing/2014/main" id="{FA694FAD-D771-F043-ABCB-31393D10AED2}"/>
                </a:ext>
              </a:extLst>
            </p:cNvPr>
            <p:cNvSpPr/>
            <p:nvPr/>
          </p:nvSpPr>
          <p:spPr>
            <a:xfrm>
              <a:off x="4428438" y="4044174"/>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Comic Sans MS" panose="030F0902030302020204" pitchFamily="66" charset="0"/>
                <a:ea typeface="Nanum Pen Script" panose="03040600000000000000" pitchFamily="66" charset="-127"/>
              </a:endParaRPr>
            </a:p>
          </p:txBody>
        </p:sp>
        <p:sp>
          <p:nvSpPr>
            <p:cNvPr id="286" name="Rounded Rectangle 285">
              <a:extLst>
                <a:ext uri="{FF2B5EF4-FFF2-40B4-BE49-F238E27FC236}">
                  <a16:creationId xmlns:a16="http://schemas.microsoft.com/office/drawing/2014/main" id="{FC4CD56C-3DE6-2B40-95C6-4F8D83D694B3}"/>
                </a:ext>
              </a:extLst>
            </p:cNvPr>
            <p:cNvSpPr/>
            <p:nvPr/>
          </p:nvSpPr>
          <p:spPr>
            <a:xfrm>
              <a:off x="4622601" y="4044173"/>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Comic Sans MS" panose="030F0902030302020204" pitchFamily="66" charset="0"/>
                <a:ea typeface="Nanum Pen Script" panose="03040600000000000000" pitchFamily="66" charset="-127"/>
              </a:endParaRPr>
            </a:p>
          </p:txBody>
        </p:sp>
        <p:sp>
          <p:nvSpPr>
            <p:cNvPr id="287" name="Rounded Rectangle 286">
              <a:extLst>
                <a:ext uri="{FF2B5EF4-FFF2-40B4-BE49-F238E27FC236}">
                  <a16:creationId xmlns:a16="http://schemas.microsoft.com/office/drawing/2014/main" id="{E0C6B0A0-681A-184B-9C54-2B5506359416}"/>
                </a:ext>
              </a:extLst>
            </p:cNvPr>
            <p:cNvSpPr/>
            <p:nvPr/>
          </p:nvSpPr>
          <p:spPr>
            <a:xfrm>
              <a:off x="4816764" y="4041615"/>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Comic Sans MS" panose="030F0902030302020204" pitchFamily="66" charset="0"/>
                <a:ea typeface="Nanum Pen Script" panose="03040600000000000000" pitchFamily="66" charset="-127"/>
              </a:endParaRPr>
            </a:p>
          </p:txBody>
        </p:sp>
        <p:sp>
          <p:nvSpPr>
            <p:cNvPr id="288" name="TextBox 287">
              <a:extLst>
                <a:ext uri="{FF2B5EF4-FFF2-40B4-BE49-F238E27FC236}">
                  <a16:creationId xmlns:a16="http://schemas.microsoft.com/office/drawing/2014/main" id="{1EF25CE1-E471-694F-B75B-3AF32F34308E}"/>
                </a:ext>
              </a:extLst>
            </p:cNvPr>
            <p:cNvSpPr txBox="1"/>
            <p:nvPr/>
          </p:nvSpPr>
          <p:spPr>
            <a:xfrm>
              <a:off x="3514169" y="4148786"/>
              <a:ext cx="1173718" cy="304868"/>
            </a:xfrm>
            <a:prstGeom prst="rect">
              <a:avLst/>
            </a:prstGeom>
            <a:noFill/>
          </p:spPr>
          <p:txBody>
            <a:bodyPr wrap="none" tIns="90000" bIns="90000" rtlCol="0" anchor="t">
              <a:spAutoFit/>
            </a:bodyPr>
            <a:lstStyle/>
            <a:p>
              <a:pPr algn="ctr" defTabSz="457200"/>
              <a:r>
                <a:rPr lang="en-US" sz="8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Name Events (Topic)</a:t>
              </a:r>
            </a:p>
          </p:txBody>
        </p:sp>
        <p:sp>
          <p:nvSpPr>
            <p:cNvPr id="335" name="Rounded Rectangle 334">
              <a:extLst>
                <a:ext uri="{FF2B5EF4-FFF2-40B4-BE49-F238E27FC236}">
                  <a16:creationId xmlns:a16="http://schemas.microsoft.com/office/drawing/2014/main" id="{DE73C00F-BF86-E642-9EDC-07FDDC28DE4D}"/>
                </a:ext>
              </a:extLst>
            </p:cNvPr>
            <p:cNvSpPr/>
            <p:nvPr/>
          </p:nvSpPr>
          <p:spPr>
            <a:xfrm>
              <a:off x="3677779" y="4477318"/>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Comic Sans MS" panose="030F0902030302020204" pitchFamily="66" charset="0"/>
                <a:ea typeface="Nanum Pen Script" panose="03040600000000000000" pitchFamily="66" charset="-127"/>
              </a:endParaRPr>
            </a:p>
          </p:txBody>
        </p:sp>
        <p:sp>
          <p:nvSpPr>
            <p:cNvPr id="339" name="Rounded Rectangle 338">
              <a:extLst>
                <a:ext uri="{FF2B5EF4-FFF2-40B4-BE49-F238E27FC236}">
                  <a16:creationId xmlns:a16="http://schemas.microsoft.com/office/drawing/2014/main" id="{FE6AD55B-25A9-F94F-9B6A-C30EC3B4EEB5}"/>
                </a:ext>
              </a:extLst>
            </p:cNvPr>
            <p:cNvSpPr/>
            <p:nvPr/>
          </p:nvSpPr>
          <p:spPr>
            <a:xfrm>
              <a:off x="3871942" y="4477317"/>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Comic Sans MS" panose="030F0902030302020204" pitchFamily="66" charset="0"/>
                <a:ea typeface="Nanum Pen Script" panose="03040600000000000000" pitchFamily="66" charset="-127"/>
              </a:endParaRPr>
            </a:p>
          </p:txBody>
        </p:sp>
        <p:sp>
          <p:nvSpPr>
            <p:cNvPr id="340" name="Rounded Rectangle 339">
              <a:extLst>
                <a:ext uri="{FF2B5EF4-FFF2-40B4-BE49-F238E27FC236}">
                  <a16:creationId xmlns:a16="http://schemas.microsoft.com/office/drawing/2014/main" id="{D6408CAC-4D73-EF4A-A762-A47230D047B2}"/>
                </a:ext>
              </a:extLst>
            </p:cNvPr>
            <p:cNvSpPr/>
            <p:nvPr/>
          </p:nvSpPr>
          <p:spPr>
            <a:xfrm>
              <a:off x="4066105" y="4474759"/>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Comic Sans MS" panose="030F0902030302020204" pitchFamily="66" charset="0"/>
                <a:ea typeface="Nanum Pen Script" panose="03040600000000000000" pitchFamily="66" charset="-127"/>
              </a:endParaRPr>
            </a:p>
          </p:txBody>
        </p:sp>
        <p:sp>
          <p:nvSpPr>
            <p:cNvPr id="344" name="Rounded Rectangle 343">
              <a:extLst>
                <a:ext uri="{FF2B5EF4-FFF2-40B4-BE49-F238E27FC236}">
                  <a16:creationId xmlns:a16="http://schemas.microsoft.com/office/drawing/2014/main" id="{755FFB3B-92A6-424D-B272-8E76726B59E3}"/>
                </a:ext>
              </a:extLst>
            </p:cNvPr>
            <p:cNvSpPr/>
            <p:nvPr/>
          </p:nvSpPr>
          <p:spPr>
            <a:xfrm>
              <a:off x="4248682" y="4477595"/>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Comic Sans MS" panose="030F0902030302020204" pitchFamily="66" charset="0"/>
                <a:ea typeface="Nanum Pen Script" panose="03040600000000000000" pitchFamily="66" charset="-127"/>
              </a:endParaRPr>
            </a:p>
          </p:txBody>
        </p:sp>
        <p:sp>
          <p:nvSpPr>
            <p:cNvPr id="345" name="Rounded Rectangle 344">
              <a:extLst>
                <a:ext uri="{FF2B5EF4-FFF2-40B4-BE49-F238E27FC236}">
                  <a16:creationId xmlns:a16="http://schemas.microsoft.com/office/drawing/2014/main" id="{C1F04C5C-839B-274A-A3F8-2A11B3849902}"/>
                </a:ext>
              </a:extLst>
            </p:cNvPr>
            <p:cNvSpPr/>
            <p:nvPr/>
          </p:nvSpPr>
          <p:spPr>
            <a:xfrm>
              <a:off x="4438974" y="4480989"/>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Comic Sans MS" panose="030F0902030302020204" pitchFamily="66" charset="0"/>
                <a:ea typeface="Nanum Pen Script" panose="03040600000000000000" pitchFamily="66" charset="-127"/>
              </a:endParaRPr>
            </a:p>
          </p:txBody>
        </p:sp>
        <p:sp>
          <p:nvSpPr>
            <p:cNvPr id="346" name="Rounded Rectangle 345">
              <a:extLst>
                <a:ext uri="{FF2B5EF4-FFF2-40B4-BE49-F238E27FC236}">
                  <a16:creationId xmlns:a16="http://schemas.microsoft.com/office/drawing/2014/main" id="{31E89E59-8087-1547-B60A-63079BB09A14}"/>
                </a:ext>
              </a:extLst>
            </p:cNvPr>
            <p:cNvSpPr/>
            <p:nvPr/>
          </p:nvSpPr>
          <p:spPr>
            <a:xfrm>
              <a:off x="4623305" y="4480988"/>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Comic Sans MS" panose="030F0902030302020204" pitchFamily="66" charset="0"/>
                <a:ea typeface="Nanum Pen Script" panose="03040600000000000000" pitchFamily="66" charset="-127"/>
              </a:endParaRPr>
            </a:p>
          </p:txBody>
        </p:sp>
        <p:sp>
          <p:nvSpPr>
            <p:cNvPr id="347" name="Rounded Rectangle 346">
              <a:extLst>
                <a:ext uri="{FF2B5EF4-FFF2-40B4-BE49-F238E27FC236}">
                  <a16:creationId xmlns:a16="http://schemas.microsoft.com/office/drawing/2014/main" id="{4777FA6D-0904-874B-A26D-93B17B565CDC}"/>
                </a:ext>
              </a:extLst>
            </p:cNvPr>
            <p:cNvSpPr/>
            <p:nvPr/>
          </p:nvSpPr>
          <p:spPr>
            <a:xfrm>
              <a:off x="4817468" y="4478430"/>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Comic Sans MS" panose="030F0902030302020204" pitchFamily="66" charset="0"/>
                <a:ea typeface="Nanum Pen Script" panose="03040600000000000000" pitchFamily="66" charset="-127"/>
              </a:endParaRPr>
            </a:p>
          </p:txBody>
        </p:sp>
        <p:sp>
          <p:nvSpPr>
            <p:cNvPr id="348" name="Rounded Rectangle 347">
              <a:extLst>
                <a:ext uri="{FF2B5EF4-FFF2-40B4-BE49-F238E27FC236}">
                  <a16:creationId xmlns:a16="http://schemas.microsoft.com/office/drawing/2014/main" id="{976B6EA3-66E2-7C41-9827-A4777307EB2E}"/>
                </a:ext>
              </a:extLst>
            </p:cNvPr>
            <p:cNvSpPr/>
            <p:nvPr/>
          </p:nvSpPr>
          <p:spPr>
            <a:xfrm>
              <a:off x="5009877" y="4481266"/>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Comic Sans MS" panose="030F0902030302020204" pitchFamily="66" charset="0"/>
                <a:ea typeface="Nanum Pen Script" panose="03040600000000000000" pitchFamily="66" charset="-127"/>
              </a:endParaRPr>
            </a:p>
          </p:txBody>
        </p:sp>
        <p:sp>
          <p:nvSpPr>
            <p:cNvPr id="349" name="TextBox 348">
              <a:extLst>
                <a:ext uri="{FF2B5EF4-FFF2-40B4-BE49-F238E27FC236}">
                  <a16:creationId xmlns:a16="http://schemas.microsoft.com/office/drawing/2014/main" id="{0A29E841-C4B8-D242-8DA2-81C4727C7B50}"/>
                </a:ext>
              </a:extLst>
            </p:cNvPr>
            <p:cNvSpPr txBox="1"/>
            <p:nvPr/>
          </p:nvSpPr>
          <p:spPr>
            <a:xfrm>
              <a:off x="3524705" y="4585601"/>
              <a:ext cx="1173718" cy="304868"/>
            </a:xfrm>
            <a:prstGeom prst="rect">
              <a:avLst/>
            </a:prstGeom>
            <a:noFill/>
          </p:spPr>
          <p:txBody>
            <a:bodyPr wrap="none" tIns="90000" bIns="90000" rtlCol="0" anchor="t">
              <a:spAutoFit/>
            </a:bodyPr>
            <a:lstStyle/>
            <a:p>
              <a:pPr algn="ctr" defTabSz="457200"/>
              <a:r>
                <a:rPr lang="en-US" sz="8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Name Events (Topic)</a:t>
              </a:r>
            </a:p>
          </p:txBody>
        </p:sp>
        <p:sp>
          <p:nvSpPr>
            <p:cNvPr id="350" name="Rounded Rectangle 349">
              <a:extLst>
                <a:ext uri="{FF2B5EF4-FFF2-40B4-BE49-F238E27FC236}">
                  <a16:creationId xmlns:a16="http://schemas.microsoft.com/office/drawing/2014/main" id="{34EA7A19-B742-5546-8A2F-BFCA6CD0BFE0}"/>
                </a:ext>
              </a:extLst>
            </p:cNvPr>
            <p:cNvSpPr/>
            <p:nvPr/>
          </p:nvSpPr>
          <p:spPr>
            <a:xfrm>
              <a:off x="3672907" y="4944981"/>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Comic Sans MS" panose="030F0902030302020204" pitchFamily="66" charset="0"/>
                <a:ea typeface="Nanum Pen Script" panose="03040600000000000000" pitchFamily="66" charset="-127"/>
              </a:endParaRPr>
            </a:p>
          </p:txBody>
        </p:sp>
        <p:sp>
          <p:nvSpPr>
            <p:cNvPr id="351" name="Rounded Rectangle 350">
              <a:extLst>
                <a:ext uri="{FF2B5EF4-FFF2-40B4-BE49-F238E27FC236}">
                  <a16:creationId xmlns:a16="http://schemas.microsoft.com/office/drawing/2014/main" id="{E1B897D7-2DC4-F846-99CA-8DACA9488505}"/>
                </a:ext>
              </a:extLst>
            </p:cNvPr>
            <p:cNvSpPr/>
            <p:nvPr/>
          </p:nvSpPr>
          <p:spPr>
            <a:xfrm>
              <a:off x="3867070" y="4944980"/>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Comic Sans MS" panose="030F0902030302020204" pitchFamily="66" charset="0"/>
                <a:ea typeface="Nanum Pen Script" panose="03040600000000000000" pitchFamily="66" charset="-127"/>
              </a:endParaRPr>
            </a:p>
          </p:txBody>
        </p:sp>
        <p:sp>
          <p:nvSpPr>
            <p:cNvPr id="352" name="Rounded Rectangle 351">
              <a:extLst>
                <a:ext uri="{FF2B5EF4-FFF2-40B4-BE49-F238E27FC236}">
                  <a16:creationId xmlns:a16="http://schemas.microsoft.com/office/drawing/2014/main" id="{0566F65E-EA42-9C45-AE4E-16F1D5FEFF16}"/>
                </a:ext>
              </a:extLst>
            </p:cNvPr>
            <p:cNvSpPr/>
            <p:nvPr/>
          </p:nvSpPr>
          <p:spPr>
            <a:xfrm>
              <a:off x="4061233" y="4944980"/>
              <a:ext cx="180437"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Comic Sans MS" panose="030F0902030302020204" pitchFamily="66" charset="0"/>
                <a:ea typeface="Nanum Pen Script" panose="03040600000000000000" pitchFamily="66" charset="-127"/>
              </a:endParaRPr>
            </a:p>
          </p:txBody>
        </p:sp>
        <p:sp>
          <p:nvSpPr>
            <p:cNvPr id="353" name="Rounded Rectangle 352">
              <a:extLst>
                <a:ext uri="{FF2B5EF4-FFF2-40B4-BE49-F238E27FC236}">
                  <a16:creationId xmlns:a16="http://schemas.microsoft.com/office/drawing/2014/main" id="{D07A0456-3463-8543-93E6-8F7B6940B442}"/>
                </a:ext>
              </a:extLst>
            </p:cNvPr>
            <p:cNvSpPr/>
            <p:nvPr/>
          </p:nvSpPr>
          <p:spPr>
            <a:xfrm>
              <a:off x="4253642" y="4945258"/>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Comic Sans MS" panose="030F0902030302020204" pitchFamily="66" charset="0"/>
                <a:ea typeface="Nanum Pen Script" panose="03040600000000000000" pitchFamily="66" charset="-127"/>
              </a:endParaRPr>
            </a:p>
          </p:txBody>
        </p:sp>
        <p:sp>
          <p:nvSpPr>
            <p:cNvPr id="354" name="Rounded Rectangle 353">
              <a:extLst>
                <a:ext uri="{FF2B5EF4-FFF2-40B4-BE49-F238E27FC236}">
                  <a16:creationId xmlns:a16="http://schemas.microsoft.com/office/drawing/2014/main" id="{820457A8-4C30-FA46-ACC0-35D921E9B52F}"/>
                </a:ext>
              </a:extLst>
            </p:cNvPr>
            <p:cNvSpPr/>
            <p:nvPr/>
          </p:nvSpPr>
          <p:spPr>
            <a:xfrm>
              <a:off x="4434102" y="4948652"/>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Comic Sans MS" panose="030F0902030302020204" pitchFamily="66" charset="0"/>
                <a:ea typeface="Nanum Pen Script" panose="03040600000000000000" pitchFamily="66" charset="-127"/>
              </a:endParaRPr>
            </a:p>
          </p:txBody>
        </p:sp>
        <p:sp>
          <p:nvSpPr>
            <p:cNvPr id="355" name="Rounded Rectangle 354">
              <a:extLst>
                <a:ext uri="{FF2B5EF4-FFF2-40B4-BE49-F238E27FC236}">
                  <a16:creationId xmlns:a16="http://schemas.microsoft.com/office/drawing/2014/main" id="{5EF796A1-F732-D24A-B2B9-F395E7AE24BB}"/>
                </a:ext>
              </a:extLst>
            </p:cNvPr>
            <p:cNvSpPr/>
            <p:nvPr/>
          </p:nvSpPr>
          <p:spPr>
            <a:xfrm>
              <a:off x="4628265" y="4948651"/>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Comic Sans MS" panose="030F0902030302020204" pitchFamily="66" charset="0"/>
                <a:ea typeface="Nanum Pen Script" panose="03040600000000000000" pitchFamily="66" charset="-127"/>
              </a:endParaRPr>
            </a:p>
          </p:txBody>
        </p:sp>
        <p:sp>
          <p:nvSpPr>
            <p:cNvPr id="356" name="Rounded Rectangle 355">
              <a:extLst>
                <a:ext uri="{FF2B5EF4-FFF2-40B4-BE49-F238E27FC236}">
                  <a16:creationId xmlns:a16="http://schemas.microsoft.com/office/drawing/2014/main" id="{A7893016-92DA-7C4D-821C-9870A290D488}"/>
                </a:ext>
              </a:extLst>
            </p:cNvPr>
            <p:cNvSpPr/>
            <p:nvPr/>
          </p:nvSpPr>
          <p:spPr>
            <a:xfrm>
              <a:off x="4822428" y="4946093"/>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Comic Sans MS" panose="030F0902030302020204" pitchFamily="66" charset="0"/>
                <a:ea typeface="Nanum Pen Script" panose="03040600000000000000" pitchFamily="66" charset="-127"/>
              </a:endParaRPr>
            </a:p>
          </p:txBody>
        </p:sp>
        <p:sp>
          <p:nvSpPr>
            <p:cNvPr id="357" name="Rounded Rectangle 356">
              <a:extLst>
                <a:ext uri="{FF2B5EF4-FFF2-40B4-BE49-F238E27FC236}">
                  <a16:creationId xmlns:a16="http://schemas.microsoft.com/office/drawing/2014/main" id="{3421ACAA-5D53-AB49-87B7-729DEA20B8E6}"/>
                </a:ext>
              </a:extLst>
            </p:cNvPr>
            <p:cNvSpPr/>
            <p:nvPr/>
          </p:nvSpPr>
          <p:spPr>
            <a:xfrm>
              <a:off x="5014837" y="4948929"/>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Comic Sans MS" panose="030F0902030302020204" pitchFamily="66" charset="0"/>
                <a:ea typeface="Nanum Pen Script" panose="03040600000000000000" pitchFamily="66" charset="-127"/>
              </a:endParaRPr>
            </a:p>
          </p:txBody>
        </p:sp>
        <p:sp>
          <p:nvSpPr>
            <p:cNvPr id="358" name="TextBox 357">
              <a:extLst>
                <a:ext uri="{FF2B5EF4-FFF2-40B4-BE49-F238E27FC236}">
                  <a16:creationId xmlns:a16="http://schemas.microsoft.com/office/drawing/2014/main" id="{56AD845C-0D48-8F4C-A026-1E4D3BDAF348}"/>
                </a:ext>
              </a:extLst>
            </p:cNvPr>
            <p:cNvSpPr txBox="1"/>
            <p:nvPr/>
          </p:nvSpPr>
          <p:spPr>
            <a:xfrm>
              <a:off x="3519833" y="5053264"/>
              <a:ext cx="1173718" cy="304868"/>
            </a:xfrm>
            <a:prstGeom prst="rect">
              <a:avLst/>
            </a:prstGeom>
            <a:noFill/>
          </p:spPr>
          <p:txBody>
            <a:bodyPr wrap="none" tIns="90000" bIns="90000" rtlCol="0" anchor="t">
              <a:spAutoFit/>
            </a:bodyPr>
            <a:lstStyle/>
            <a:p>
              <a:pPr algn="ctr" defTabSz="457200"/>
              <a:r>
                <a:rPr lang="en-US" sz="8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Name Events (Topic)</a:t>
              </a:r>
            </a:p>
          </p:txBody>
        </p:sp>
        <p:sp>
          <p:nvSpPr>
            <p:cNvPr id="359" name="Rounded Rectangle 358">
              <a:extLst>
                <a:ext uri="{FF2B5EF4-FFF2-40B4-BE49-F238E27FC236}">
                  <a16:creationId xmlns:a16="http://schemas.microsoft.com/office/drawing/2014/main" id="{188575FB-B604-2842-81B1-844C47C23457}"/>
                </a:ext>
              </a:extLst>
            </p:cNvPr>
            <p:cNvSpPr/>
            <p:nvPr/>
          </p:nvSpPr>
          <p:spPr>
            <a:xfrm>
              <a:off x="5211585" y="4948651"/>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Comic Sans MS" panose="030F0902030302020204" pitchFamily="66" charset="0"/>
                <a:ea typeface="Nanum Pen Script" panose="03040600000000000000" pitchFamily="66" charset="-127"/>
              </a:endParaRPr>
            </a:p>
          </p:txBody>
        </p:sp>
        <p:sp>
          <p:nvSpPr>
            <p:cNvPr id="360" name="Rounded Rectangle 359">
              <a:extLst>
                <a:ext uri="{FF2B5EF4-FFF2-40B4-BE49-F238E27FC236}">
                  <a16:creationId xmlns:a16="http://schemas.microsoft.com/office/drawing/2014/main" id="{850ED95D-E2F4-3744-9D90-40156B79754C}"/>
                </a:ext>
              </a:extLst>
            </p:cNvPr>
            <p:cNvSpPr/>
            <p:nvPr/>
          </p:nvSpPr>
          <p:spPr>
            <a:xfrm>
              <a:off x="5407074" y="4944980"/>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Comic Sans MS" panose="030F0902030302020204" pitchFamily="66" charset="0"/>
                <a:ea typeface="Nanum Pen Script" panose="03040600000000000000" pitchFamily="66" charset="-127"/>
              </a:endParaRPr>
            </a:p>
          </p:txBody>
        </p:sp>
        <p:sp>
          <p:nvSpPr>
            <p:cNvPr id="361" name="Rounded Rectangle 360">
              <a:extLst>
                <a:ext uri="{FF2B5EF4-FFF2-40B4-BE49-F238E27FC236}">
                  <a16:creationId xmlns:a16="http://schemas.microsoft.com/office/drawing/2014/main" id="{3B21F1B4-3F47-804F-8BE7-307EBB3E2790}"/>
                </a:ext>
              </a:extLst>
            </p:cNvPr>
            <p:cNvSpPr/>
            <p:nvPr/>
          </p:nvSpPr>
          <p:spPr>
            <a:xfrm>
              <a:off x="3696595" y="5380600"/>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Comic Sans MS" panose="030F0902030302020204" pitchFamily="66" charset="0"/>
                <a:ea typeface="Nanum Pen Script" panose="03040600000000000000" pitchFamily="66" charset="-127"/>
              </a:endParaRPr>
            </a:p>
          </p:txBody>
        </p:sp>
        <p:sp>
          <p:nvSpPr>
            <p:cNvPr id="362" name="Rounded Rectangle 361">
              <a:extLst>
                <a:ext uri="{FF2B5EF4-FFF2-40B4-BE49-F238E27FC236}">
                  <a16:creationId xmlns:a16="http://schemas.microsoft.com/office/drawing/2014/main" id="{1FD3EF56-5957-3C4B-A312-E5FAD93F21D2}"/>
                </a:ext>
              </a:extLst>
            </p:cNvPr>
            <p:cNvSpPr/>
            <p:nvPr/>
          </p:nvSpPr>
          <p:spPr>
            <a:xfrm>
              <a:off x="3890758" y="5380599"/>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Comic Sans MS" panose="030F0902030302020204" pitchFamily="66" charset="0"/>
                <a:ea typeface="Nanum Pen Script" panose="03040600000000000000" pitchFamily="66" charset="-127"/>
              </a:endParaRPr>
            </a:p>
          </p:txBody>
        </p:sp>
        <p:sp>
          <p:nvSpPr>
            <p:cNvPr id="363" name="Rounded Rectangle 362">
              <a:extLst>
                <a:ext uri="{FF2B5EF4-FFF2-40B4-BE49-F238E27FC236}">
                  <a16:creationId xmlns:a16="http://schemas.microsoft.com/office/drawing/2014/main" id="{FA3B30AB-D376-AB42-ABD0-109302EA04D1}"/>
                </a:ext>
              </a:extLst>
            </p:cNvPr>
            <p:cNvSpPr/>
            <p:nvPr/>
          </p:nvSpPr>
          <p:spPr>
            <a:xfrm>
              <a:off x="4084921" y="5380599"/>
              <a:ext cx="180437"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Comic Sans MS" panose="030F0902030302020204" pitchFamily="66" charset="0"/>
                <a:ea typeface="Nanum Pen Script" panose="03040600000000000000" pitchFamily="66" charset="-127"/>
              </a:endParaRPr>
            </a:p>
          </p:txBody>
        </p:sp>
        <p:sp>
          <p:nvSpPr>
            <p:cNvPr id="364" name="Rounded Rectangle 363">
              <a:extLst>
                <a:ext uri="{FF2B5EF4-FFF2-40B4-BE49-F238E27FC236}">
                  <a16:creationId xmlns:a16="http://schemas.microsoft.com/office/drawing/2014/main" id="{C102947E-98CD-4846-BFA4-A29FC1E9B8F3}"/>
                </a:ext>
              </a:extLst>
            </p:cNvPr>
            <p:cNvSpPr/>
            <p:nvPr/>
          </p:nvSpPr>
          <p:spPr>
            <a:xfrm>
              <a:off x="4277330" y="5380877"/>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Comic Sans MS" panose="030F0902030302020204" pitchFamily="66" charset="0"/>
                <a:ea typeface="Nanum Pen Script" panose="03040600000000000000" pitchFamily="66" charset="-127"/>
              </a:endParaRPr>
            </a:p>
          </p:txBody>
        </p:sp>
        <p:sp>
          <p:nvSpPr>
            <p:cNvPr id="365" name="Rounded Rectangle 364">
              <a:extLst>
                <a:ext uri="{FF2B5EF4-FFF2-40B4-BE49-F238E27FC236}">
                  <a16:creationId xmlns:a16="http://schemas.microsoft.com/office/drawing/2014/main" id="{A34C7FF4-B7EC-A94B-A956-3F140DE10069}"/>
                </a:ext>
              </a:extLst>
            </p:cNvPr>
            <p:cNvSpPr/>
            <p:nvPr/>
          </p:nvSpPr>
          <p:spPr>
            <a:xfrm>
              <a:off x="4457790" y="5384271"/>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Comic Sans MS" panose="030F0902030302020204" pitchFamily="66" charset="0"/>
                <a:ea typeface="Nanum Pen Script" panose="03040600000000000000" pitchFamily="66" charset="-127"/>
              </a:endParaRPr>
            </a:p>
          </p:txBody>
        </p:sp>
        <p:sp>
          <p:nvSpPr>
            <p:cNvPr id="366" name="Rounded Rectangle 365">
              <a:extLst>
                <a:ext uri="{FF2B5EF4-FFF2-40B4-BE49-F238E27FC236}">
                  <a16:creationId xmlns:a16="http://schemas.microsoft.com/office/drawing/2014/main" id="{4363D1CA-0B6A-B345-BFC1-FEFF652896C7}"/>
                </a:ext>
              </a:extLst>
            </p:cNvPr>
            <p:cNvSpPr/>
            <p:nvPr/>
          </p:nvSpPr>
          <p:spPr>
            <a:xfrm>
              <a:off x="4651953" y="5384270"/>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Comic Sans MS" panose="030F0902030302020204" pitchFamily="66" charset="0"/>
                <a:ea typeface="Nanum Pen Script" panose="03040600000000000000" pitchFamily="66" charset="-127"/>
              </a:endParaRPr>
            </a:p>
          </p:txBody>
        </p:sp>
        <p:sp>
          <p:nvSpPr>
            <p:cNvPr id="369" name="Rounded Rectangle 368">
              <a:extLst>
                <a:ext uri="{FF2B5EF4-FFF2-40B4-BE49-F238E27FC236}">
                  <a16:creationId xmlns:a16="http://schemas.microsoft.com/office/drawing/2014/main" id="{E5C46377-7CE6-6349-B25D-AC3B788B6C9F}"/>
                </a:ext>
              </a:extLst>
            </p:cNvPr>
            <p:cNvSpPr/>
            <p:nvPr/>
          </p:nvSpPr>
          <p:spPr>
            <a:xfrm>
              <a:off x="4846116" y="5381712"/>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Comic Sans MS" panose="030F0902030302020204" pitchFamily="66" charset="0"/>
                <a:ea typeface="Nanum Pen Script" panose="03040600000000000000" pitchFamily="66" charset="-127"/>
              </a:endParaRPr>
            </a:p>
          </p:txBody>
        </p:sp>
        <p:sp>
          <p:nvSpPr>
            <p:cNvPr id="370" name="Rounded Rectangle 369">
              <a:extLst>
                <a:ext uri="{FF2B5EF4-FFF2-40B4-BE49-F238E27FC236}">
                  <a16:creationId xmlns:a16="http://schemas.microsoft.com/office/drawing/2014/main" id="{3EBD5F3B-326A-7948-9E98-0D8F96A60469}"/>
                </a:ext>
              </a:extLst>
            </p:cNvPr>
            <p:cNvSpPr/>
            <p:nvPr/>
          </p:nvSpPr>
          <p:spPr>
            <a:xfrm>
              <a:off x="5038525" y="5384548"/>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Comic Sans MS" panose="030F0902030302020204" pitchFamily="66" charset="0"/>
                <a:ea typeface="Nanum Pen Script" panose="03040600000000000000" pitchFamily="66" charset="-127"/>
              </a:endParaRPr>
            </a:p>
          </p:txBody>
        </p:sp>
        <p:sp>
          <p:nvSpPr>
            <p:cNvPr id="373" name="TextBox 372">
              <a:extLst>
                <a:ext uri="{FF2B5EF4-FFF2-40B4-BE49-F238E27FC236}">
                  <a16:creationId xmlns:a16="http://schemas.microsoft.com/office/drawing/2014/main" id="{783FAD65-412F-2A42-B1DD-F52EAF0D48B7}"/>
                </a:ext>
              </a:extLst>
            </p:cNvPr>
            <p:cNvSpPr txBox="1"/>
            <p:nvPr/>
          </p:nvSpPr>
          <p:spPr>
            <a:xfrm>
              <a:off x="3543521" y="5488883"/>
              <a:ext cx="1173718" cy="304868"/>
            </a:xfrm>
            <a:prstGeom prst="rect">
              <a:avLst/>
            </a:prstGeom>
            <a:noFill/>
          </p:spPr>
          <p:txBody>
            <a:bodyPr wrap="none" tIns="90000" bIns="90000" rtlCol="0" anchor="t">
              <a:spAutoFit/>
            </a:bodyPr>
            <a:lstStyle/>
            <a:p>
              <a:pPr algn="ctr" defTabSz="457200"/>
              <a:r>
                <a:rPr lang="en-US" sz="8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Name Events (Topic)</a:t>
              </a:r>
            </a:p>
          </p:txBody>
        </p:sp>
        <p:sp>
          <p:nvSpPr>
            <p:cNvPr id="374" name="Rounded Rectangle 373">
              <a:extLst>
                <a:ext uri="{FF2B5EF4-FFF2-40B4-BE49-F238E27FC236}">
                  <a16:creationId xmlns:a16="http://schemas.microsoft.com/office/drawing/2014/main" id="{A9AB885B-BFD4-C443-9BA0-4B315116C922}"/>
                </a:ext>
              </a:extLst>
            </p:cNvPr>
            <p:cNvSpPr/>
            <p:nvPr/>
          </p:nvSpPr>
          <p:spPr>
            <a:xfrm>
              <a:off x="5235273" y="5384270"/>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Comic Sans MS" panose="030F0902030302020204" pitchFamily="66" charset="0"/>
                <a:ea typeface="Nanum Pen Script" panose="03040600000000000000" pitchFamily="66" charset="-127"/>
              </a:endParaRPr>
            </a:p>
          </p:txBody>
        </p:sp>
        <p:sp>
          <p:nvSpPr>
            <p:cNvPr id="375" name="Rounded Rectangle 374">
              <a:extLst>
                <a:ext uri="{FF2B5EF4-FFF2-40B4-BE49-F238E27FC236}">
                  <a16:creationId xmlns:a16="http://schemas.microsoft.com/office/drawing/2014/main" id="{D513A84C-6CE8-A64E-BC4F-BB9F61F630C4}"/>
                </a:ext>
              </a:extLst>
            </p:cNvPr>
            <p:cNvSpPr/>
            <p:nvPr/>
          </p:nvSpPr>
          <p:spPr>
            <a:xfrm>
              <a:off x="3331098" y="2544962"/>
              <a:ext cx="2453796" cy="3779481"/>
            </a:xfrm>
            <a:prstGeom prst="roundRect">
              <a:avLst/>
            </a:prstGeom>
            <a:solidFill>
              <a:schemeClr val="bg1">
                <a:lumMod val="85000"/>
              </a:schemeClr>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800" b="1" dirty="0">
                  <a:solidFill>
                    <a:schemeClr val="bg1">
                      <a:lumMod val="50000"/>
                    </a:schemeClr>
                  </a:solidFill>
                  <a:latin typeface="Comic Sans MS" panose="030F0902030302020204" pitchFamily="66" charset="0"/>
                  <a:ea typeface="Nanum Pen Script" panose="03040600000000000000" pitchFamily="66" charset="-127"/>
                </a:rPr>
                <a:t>Kafka Cluster (Brokers, Zookeeper)</a:t>
              </a:r>
            </a:p>
            <a:p>
              <a:pPr algn="ctr"/>
              <a:endParaRPr lang="en-US" sz="800" b="1" dirty="0">
                <a:solidFill>
                  <a:schemeClr val="bg1">
                    <a:lumMod val="50000"/>
                  </a:schemeClr>
                </a:solidFill>
                <a:latin typeface="Comic Sans MS" panose="030F0902030302020204" pitchFamily="66" charset="0"/>
                <a:ea typeface="Nanum Pen Script" panose="03040600000000000000" pitchFamily="66" charset="-127"/>
              </a:endParaRPr>
            </a:p>
            <a:p>
              <a:pPr algn="ctr"/>
              <a:endParaRPr lang="en-US" sz="800" b="1" dirty="0">
                <a:solidFill>
                  <a:schemeClr val="bg1">
                    <a:lumMod val="50000"/>
                  </a:schemeClr>
                </a:solidFill>
                <a:latin typeface="Comic Sans MS" panose="030F0902030302020204" pitchFamily="66" charset="0"/>
                <a:ea typeface="Nanum Pen Script" panose="03040600000000000000" pitchFamily="66" charset="-127"/>
              </a:endParaRPr>
            </a:p>
            <a:p>
              <a:pPr algn="ctr"/>
              <a:endParaRPr lang="en-US" sz="800" b="1" dirty="0">
                <a:solidFill>
                  <a:schemeClr val="bg1">
                    <a:lumMod val="50000"/>
                  </a:schemeClr>
                </a:solidFill>
                <a:latin typeface="Comic Sans MS" panose="030F0902030302020204" pitchFamily="66" charset="0"/>
                <a:ea typeface="Nanum Pen Script" panose="03040600000000000000" pitchFamily="66" charset="-127"/>
              </a:endParaRPr>
            </a:p>
            <a:p>
              <a:pPr algn="ctr"/>
              <a:endParaRPr lang="en-US" sz="700" b="1" dirty="0">
                <a:solidFill>
                  <a:schemeClr val="bg1">
                    <a:lumMod val="50000"/>
                  </a:schemeClr>
                </a:solidFill>
                <a:latin typeface="Comic Sans MS" panose="030F0902030302020204" pitchFamily="66" charset="0"/>
                <a:ea typeface="Nanum Pen Script" panose="03040600000000000000" pitchFamily="66" charset="-127"/>
              </a:endParaRPr>
            </a:p>
            <a:p>
              <a:pPr algn="ctr"/>
              <a:endParaRPr lang="en-US" sz="700" b="1" dirty="0">
                <a:solidFill>
                  <a:schemeClr val="bg1">
                    <a:lumMod val="50000"/>
                  </a:schemeClr>
                </a:solidFill>
                <a:latin typeface="Comic Sans MS" panose="030F0902030302020204" pitchFamily="66" charset="0"/>
                <a:ea typeface="Nanum Pen Script" panose="03040600000000000000" pitchFamily="66" charset="-127"/>
              </a:endParaRPr>
            </a:p>
            <a:p>
              <a:pPr algn="ctr"/>
              <a:endParaRPr lang="en-US" sz="700" b="1" dirty="0">
                <a:solidFill>
                  <a:schemeClr val="bg1">
                    <a:lumMod val="50000"/>
                  </a:schemeClr>
                </a:solidFill>
                <a:latin typeface="Comic Sans MS" panose="030F0902030302020204" pitchFamily="66" charset="0"/>
                <a:ea typeface="Nanum Pen Script" panose="03040600000000000000" pitchFamily="66" charset="-127"/>
              </a:endParaRPr>
            </a:p>
            <a:p>
              <a:pPr algn="ctr"/>
              <a:endParaRPr lang="en-US" sz="700" b="1" dirty="0">
                <a:solidFill>
                  <a:schemeClr val="bg1">
                    <a:lumMod val="50000"/>
                  </a:schemeClr>
                </a:solidFill>
                <a:latin typeface="Comic Sans MS" panose="030F0902030302020204" pitchFamily="66" charset="0"/>
                <a:ea typeface="Nanum Pen Script" panose="03040600000000000000" pitchFamily="66" charset="-127"/>
              </a:endParaRPr>
            </a:p>
            <a:p>
              <a:pPr algn="ctr"/>
              <a:endParaRPr lang="en-US" sz="1600" dirty="0">
                <a:solidFill>
                  <a:schemeClr val="tx1"/>
                </a:solidFill>
                <a:latin typeface="Comic Sans MS" panose="030F0902030302020204" pitchFamily="66" charset="0"/>
                <a:ea typeface="Nanum Pen Script" panose="03040600000000000000" pitchFamily="66" charset="-127"/>
              </a:endParaRPr>
            </a:p>
            <a:p>
              <a:pPr algn="ctr"/>
              <a:endParaRPr lang="en-US" sz="1600" dirty="0">
                <a:solidFill>
                  <a:schemeClr val="tx1"/>
                </a:solidFill>
                <a:latin typeface="Comic Sans MS" panose="030F0902030302020204" pitchFamily="66" charset="0"/>
                <a:ea typeface="Nanum Pen Script" panose="03040600000000000000" pitchFamily="66" charset="-127"/>
              </a:endParaRPr>
            </a:p>
          </p:txBody>
        </p:sp>
        <p:sp>
          <p:nvSpPr>
            <p:cNvPr id="388" name="Rounded Rectangle 387">
              <a:extLst>
                <a:ext uri="{FF2B5EF4-FFF2-40B4-BE49-F238E27FC236}">
                  <a16:creationId xmlns:a16="http://schemas.microsoft.com/office/drawing/2014/main" id="{60C91F84-CE93-4942-BF2C-D4DBD77D15D6}"/>
                </a:ext>
              </a:extLst>
            </p:cNvPr>
            <p:cNvSpPr/>
            <p:nvPr/>
          </p:nvSpPr>
          <p:spPr>
            <a:xfrm>
              <a:off x="3625200" y="2978555"/>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Comic Sans MS" panose="030F0902030302020204" pitchFamily="66" charset="0"/>
                <a:ea typeface="Nanum Pen Script" panose="03040600000000000000" pitchFamily="66" charset="-127"/>
              </a:endParaRPr>
            </a:p>
          </p:txBody>
        </p:sp>
        <p:sp>
          <p:nvSpPr>
            <p:cNvPr id="391" name="Rounded Rectangle 390">
              <a:extLst>
                <a:ext uri="{FF2B5EF4-FFF2-40B4-BE49-F238E27FC236}">
                  <a16:creationId xmlns:a16="http://schemas.microsoft.com/office/drawing/2014/main" id="{7EE274BC-F0D9-0A47-8893-20E4A5D47B05}"/>
                </a:ext>
              </a:extLst>
            </p:cNvPr>
            <p:cNvSpPr/>
            <p:nvPr/>
          </p:nvSpPr>
          <p:spPr>
            <a:xfrm>
              <a:off x="3819363" y="2978554"/>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Comic Sans MS" panose="030F0902030302020204" pitchFamily="66" charset="0"/>
                <a:ea typeface="Nanum Pen Script" panose="03040600000000000000" pitchFamily="66" charset="-127"/>
              </a:endParaRPr>
            </a:p>
          </p:txBody>
        </p:sp>
        <p:sp>
          <p:nvSpPr>
            <p:cNvPr id="392" name="Rounded Rectangle 391">
              <a:extLst>
                <a:ext uri="{FF2B5EF4-FFF2-40B4-BE49-F238E27FC236}">
                  <a16:creationId xmlns:a16="http://schemas.microsoft.com/office/drawing/2014/main" id="{BA7A8FE7-3852-6344-9D6D-ACEF0E61D5C5}"/>
                </a:ext>
              </a:extLst>
            </p:cNvPr>
            <p:cNvSpPr/>
            <p:nvPr/>
          </p:nvSpPr>
          <p:spPr>
            <a:xfrm>
              <a:off x="4013526" y="2975996"/>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Comic Sans MS" panose="030F0902030302020204" pitchFamily="66" charset="0"/>
                <a:ea typeface="Nanum Pen Script" panose="03040600000000000000" pitchFamily="66" charset="-127"/>
              </a:endParaRPr>
            </a:p>
          </p:txBody>
        </p:sp>
        <p:sp>
          <p:nvSpPr>
            <p:cNvPr id="393" name="Rounded Rectangle 392">
              <a:extLst>
                <a:ext uri="{FF2B5EF4-FFF2-40B4-BE49-F238E27FC236}">
                  <a16:creationId xmlns:a16="http://schemas.microsoft.com/office/drawing/2014/main" id="{4B221F65-2991-5F4E-90CB-2E521EB321AB}"/>
                </a:ext>
              </a:extLst>
            </p:cNvPr>
            <p:cNvSpPr/>
            <p:nvPr/>
          </p:nvSpPr>
          <p:spPr>
            <a:xfrm>
              <a:off x="4205935" y="2978832"/>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Comic Sans MS" panose="030F0902030302020204" pitchFamily="66" charset="0"/>
                <a:ea typeface="Nanum Pen Script" panose="03040600000000000000" pitchFamily="66" charset="-127"/>
              </a:endParaRPr>
            </a:p>
          </p:txBody>
        </p:sp>
        <p:sp>
          <p:nvSpPr>
            <p:cNvPr id="394" name="Rounded Rectangle 393">
              <a:extLst>
                <a:ext uri="{FF2B5EF4-FFF2-40B4-BE49-F238E27FC236}">
                  <a16:creationId xmlns:a16="http://schemas.microsoft.com/office/drawing/2014/main" id="{2C3AFC40-AAB7-4C4D-AF54-76301F35E04F}"/>
                </a:ext>
              </a:extLst>
            </p:cNvPr>
            <p:cNvSpPr/>
            <p:nvPr/>
          </p:nvSpPr>
          <p:spPr>
            <a:xfrm>
              <a:off x="4396669" y="2982668"/>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Comic Sans MS" panose="030F0902030302020204" pitchFamily="66" charset="0"/>
                <a:ea typeface="Nanum Pen Script" panose="03040600000000000000" pitchFamily="66" charset="-127"/>
              </a:endParaRPr>
            </a:p>
          </p:txBody>
        </p:sp>
        <p:sp>
          <p:nvSpPr>
            <p:cNvPr id="395" name="Rounded Rectangle 394">
              <a:extLst>
                <a:ext uri="{FF2B5EF4-FFF2-40B4-BE49-F238E27FC236}">
                  <a16:creationId xmlns:a16="http://schemas.microsoft.com/office/drawing/2014/main" id="{703F1DD4-D10A-C943-B83B-2B26E355D860}"/>
                </a:ext>
              </a:extLst>
            </p:cNvPr>
            <p:cNvSpPr/>
            <p:nvPr/>
          </p:nvSpPr>
          <p:spPr>
            <a:xfrm>
              <a:off x="4580558" y="2972393"/>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Comic Sans MS" panose="030F0902030302020204" pitchFamily="66" charset="0"/>
                <a:ea typeface="Nanum Pen Script" panose="03040600000000000000" pitchFamily="66" charset="-127"/>
              </a:endParaRPr>
            </a:p>
          </p:txBody>
        </p:sp>
        <p:sp>
          <p:nvSpPr>
            <p:cNvPr id="396" name="Rounded Rectangle 395">
              <a:extLst>
                <a:ext uri="{FF2B5EF4-FFF2-40B4-BE49-F238E27FC236}">
                  <a16:creationId xmlns:a16="http://schemas.microsoft.com/office/drawing/2014/main" id="{80390852-954C-2345-BA27-ABE7A1A84562}"/>
                </a:ext>
              </a:extLst>
            </p:cNvPr>
            <p:cNvSpPr/>
            <p:nvPr/>
          </p:nvSpPr>
          <p:spPr>
            <a:xfrm>
              <a:off x="4774721" y="2979667"/>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Comic Sans MS" panose="030F0902030302020204" pitchFamily="66" charset="0"/>
                <a:ea typeface="Nanum Pen Script" panose="03040600000000000000" pitchFamily="66" charset="-127"/>
              </a:endParaRPr>
            </a:p>
          </p:txBody>
        </p:sp>
        <p:sp>
          <p:nvSpPr>
            <p:cNvPr id="397" name="Rounded Rectangle 396">
              <a:extLst>
                <a:ext uri="{FF2B5EF4-FFF2-40B4-BE49-F238E27FC236}">
                  <a16:creationId xmlns:a16="http://schemas.microsoft.com/office/drawing/2014/main" id="{31BD73B1-D71F-0B4A-B0EE-264B15AA54FD}"/>
                </a:ext>
              </a:extLst>
            </p:cNvPr>
            <p:cNvSpPr/>
            <p:nvPr/>
          </p:nvSpPr>
          <p:spPr>
            <a:xfrm>
              <a:off x="4967130" y="2972671"/>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Comic Sans MS" panose="030F0902030302020204" pitchFamily="66" charset="0"/>
                <a:ea typeface="Nanum Pen Script" panose="03040600000000000000" pitchFamily="66" charset="-127"/>
              </a:endParaRPr>
            </a:p>
          </p:txBody>
        </p:sp>
        <p:sp>
          <p:nvSpPr>
            <p:cNvPr id="398" name="TextBox 397">
              <a:extLst>
                <a:ext uri="{FF2B5EF4-FFF2-40B4-BE49-F238E27FC236}">
                  <a16:creationId xmlns:a16="http://schemas.microsoft.com/office/drawing/2014/main" id="{1114C1D3-293D-9C4C-A574-8A8A8A1F5D18}"/>
                </a:ext>
              </a:extLst>
            </p:cNvPr>
            <p:cNvSpPr txBox="1"/>
            <p:nvPr/>
          </p:nvSpPr>
          <p:spPr>
            <a:xfrm>
              <a:off x="3472126" y="3086838"/>
              <a:ext cx="1173718" cy="304868"/>
            </a:xfrm>
            <a:prstGeom prst="rect">
              <a:avLst/>
            </a:prstGeom>
            <a:noFill/>
          </p:spPr>
          <p:txBody>
            <a:bodyPr wrap="none" tIns="90000" bIns="90000" rtlCol="0" anchor="t">
              <a:spAutoFit/>
            </a:bodyPr>
            <a:lstStyle/>
            <a:p>
              <a:pPr algn="ctr" defTabSz="457200"/>
              <a:r>
                <a:rPr lang="en-US" sz="8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Name Events (Topic)</a:t>
              </a:r>
            </a:p>
          </p:txBody>
        </p:sp>
        <p:sp>
          <p:nvSpPr>
            <p:cNvPr id="399" name="Rounded Rectangle 398">
              <a:extLst>
                <a:ext uri="{FF2B5EF4-FFF2-40B4-BE49-F238E27FC236}">
                  <a16:creationId xmlns:a16="http://schemas.microsoft.com/office/drawing/2014/main" id="{C0120853-5136-E248-B5AA-178EF6E67951}"/>
                </a:ext>
              </a:extLst>
            </p:cNvPr>
            <p:cNvSpPr/>
            <p:nvPr/>
          </p:nvSpPr>
          <p:spPr>
            <a:xfrm>
              <a:off x="3614472" y="3464977"/>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Comic Sans MS" panose="030F0902030302020204" pitchFamily="66" charset="0"/>
                <a:ea typeface="Nanum Pen Script" panose="03040600000000000000" pitchFamily="66" charset="-127"/>
              </a:endParaRPr>
            </a:p>
          </p:txBody>
        </p:sp>
        <p:sp>
          <p:nvSpPr>
            <p:cNvPr id="400" name="Rounded Rectangle 399">
              <a:extLst>
                <a:ext uri="{FF2B5EF4-FFF2-40B4-BE49-F238E27FC236}">
                  <a16:creationId xmlns:a16="http://schemas.microsoft.com/office/drawing/2014/main" id="{6A8F3F2C-685A-2441-ACCE-91F1805E8177}"/>
                </a:ext>
              </a:extLst>
            </p:cNvPr>
            <p:cNvSpPr/>
            <p:nvPr/>
          </p:nvSpPr>
          <p:spPr>
            <a:xfrm>
              <a:off x="3808635" y="3464976"/>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Comic Sans MS" panose="030F0902030302020204" pitchFamily="66" charset="0"/>
                <a:ea typeface="Nanum Pen Script" panose="03040600000000000000" pitchFamily="66" charset="-127"/>
              </a:endParaRPr>
            </a:p>
          </p:txBody>
        </p:sp>
        <p:sp>
          <p:nvSpPr>
            <p:cNvPr id="402" name="Rounded Rectangle 401">
              <a:extLst>
                <a:ext uri="{FF2B5EF4-FFF2-40B4-BE49-F238E27FC236}">
                  <a16:creationId xmlns:a16="http://schemas.microsoft.com/office/drawing/2014/main" id="{C5B3EF5A-CC6D-B142-8C45-C34E52F4A46F}"/>
                </a:ext>
              </a:extLst>
            </p:cNvPr>
            <p:cNvSpPr/>
            <p:nvPr/>
          </p:nvSpPr>
          <p:spPr>
            <a:xfrm>
              <a:off x="4002798" y="3464976"/>
              <a:ext cx="180437"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Comic Sans MS" panose="030F0902030302020204" pitchFamily="66" charset="0"/>
                <a:ea typeface="Nanum Pen Script" panose="03040600000000000000" pitchFamily="66" charset="-127"/>
              </a:endParaRPr>
            </a:p>
          </p:txBody>
        </p:sp>
        <p:sp>
          <p:nvSpPr>
            <p:cNvPr id="403" name="Rounded Rectangle 402">
              <a:extLst>
                <a:ext uri="{FF2B5EF4-FFF2-40B4-BE49-F238E27FC236}">
                  <a16:creationId xmlns:a16="http://schemas.microsoft.com/office/drawing/2014/main" id="{6BD24E61-C2AC-164B-BBBD-C8DE95959E26}"/>
                </a:ext>
              </a:extLst>
            </p:cNvPr>
            <p:cNvSpPr/>
            <p:nvPr/>
          </p:nvSpPr>
          <p:spPr>
            <a:xfrm>
              <a:off x="4195207" y="3465254"/>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Comic Sans MS" panose="030F0902030302020204" pitchFamily="66" charset="0"/>
                <a:ea typeface="Nanum Pen Script" panose="03040600000000000000" pitchFamily="66" charset="-127"/>
              </a:endParaRPr>
            </a:p>
          </p:txBody>
        </p:sp>
        <p:sp>
          <p:nvSpPr>
            <p:cNvPr id="404" name="Rounded Rectangle 403">
              <a:extLst>
                <a:ext uri="{FF2B5EF4-FFF2-40B4-BE49-F238E27FC236}">
                  <a16:creationId xmlns:a16="http://schemas.microsoft.com/office/drawing/2014/main" id="{AE5B24CA-17C7-3A42-AF1A-9708909E9852}"/>
                </a:ext>
              </a:extLst>
            </p:cNvPr>
            <p:cNvSpPr/>
            <p:nvPr/>
          </p:nvSpPr>
          <p:spPr>
            <a:xfrm>
              <a:off x="4375667" y="3468648"/>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Comic Sans MS" panose="030F0902030302020204" pitchFamily="66" charset="0"/>
                <a:ea typeface="Nanum Pen Script" panose="03040600000000000000" pitchFamily="66" charset="-127"/>
              </a:endParaRPr>
            </a:p>
          </p:txBody>
        </p:sp>
        <p:sp>
          <p:nvSpPr>
            <p:cNvPr id="405" name="Rounded Rectangle 404">
              <a:extLst>
                <a:ext uri="{FF2B5EF4-FFF2-40B4-BE49-F238E27FC236}">
                  <a16:creationId xmlns:a16="http://schemas.microsoft.com/office/drawing/2014/main" id="{7652A64D-AEF2-9E43-BA62-D7AA3C9DB148}"/>
                </a:ext>
              </a:extLst>
            </p:cNvPr>
            <p:cNvSpPr/>
            <p:nvPr/>
          </p:nvSpPr>
          <p:spPr>
            <a:xfrm>
              <a:off x="4569830" y="3468647"/>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Comic Sans MS" panose="030F0902030302020204" pitchFamily="66" charset="0"/>
                <a:ea typeface="Nanum Pen Script" panose="03040600000000000000" pitchFamily="66" charset="-127"/>
              </a:endParaRPr>
            </a:p>
          </p:txBody>
        </p:sp>
        <p:sp>
          <p:nvSpPr>
            <p:cNvPr id="406" name="Rounded Rectangle 405">
              <a:extLst>
                <a:ext uri="{FF2B5EF4-FFF2-40B4-BE49-F238E27FC236}">
                  <a16:creationId xmlns:a16="http://schemas.microsoft.com/office/drawing/2014/main" id="{68DA1085-6EE5-3B48-A892-05BE6DA1CA42}"/>
                </a:ext>
              </a:extLst>
            </p:cNvPr>
            <p:cNvSpPr/>
            <p:nvPr/>
          </p:nvSpPr>
          <p:spPr>
            <a:xfrm>
              <a:off x="4763993" y="3466089"/>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Comic Sans MS" panose="030F0902030302020204" pitchFamily="66" charset="0"/>
                <a:ea typeface="Nanum Pen Script" panose="03040600000000000000" pitchFamily="66" charset="-127"/>
              </a:endParaRPr>
            </a:p>
          </p:txBody>
        </p:sp>
        <p:sp>
          <p:nvSpPr>
            <p:cNvPr id="407" name="Rounded Rectangle 406">
              <a:extLst>
                <a:ext uri="{FF2B5EF4-FFF2-40B4-BE49-F238E27FC236}">
                  <a16:creationId xmlns:a16="http://schemas.microsoft.com/office/drawing/2014/main" id="{DE7BA95C-5687-A649-B3C0-F6C79AB228AC}"/>
                </a:ext>
              </a:extLst>
            </p:cNvPr>
            <p:cNvSpPr/>
            <p:nvPr/>
          </p:nvSpPr>
          <p:spPr>
            <a:xfrm>
              <a:off x="4956402" y="3468925"/>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Comic Sans MS" panose="030F0902030302020204" pitchFamily="66" charset="0"/>
                <a:ea typeface="Nanum Pen Script" panose="03040600000000000000" pitchFamily="66" charset="-127"/>
              </a:endParaRPr>
            </a:p>
          </p:txBody>
        </p:sp>
        <p:sp>
          <p:nvSpPr>
            <p:cNvPr id="408" name="TextBox 407">
              <a:extLst>
                <a:ext uri="{FF2B5EF4-FFF2-40B4-BE49-F238E27FC236}">
                  <a16:creationId xmlns:a16="http://schemas.microsoft.com/office/drawing/2014/main" id="{AB25C2BD-322A-B64C-8CC7-F9737E3162B8}"/>
                </a:ext>
              </a:extLst>
            </p:cNvPr>
            <p:cNvSpPr txBox="1"/>
            <p:nvPr/>
          </p:nvSpPr>
          <p:spPr>
            <a:xfrm>
              <a:off x="3461398" y="3573260"/>
              <a:ext cx="1173718" cy="304868"/>
            </a:xfrm>
            <a:prstGeom prst="rect">
              <a:avLst/>
            </a:prstGeom>
            <a:noFill/>
          </p:spPr>
          <p:txBody>
            <a:bodyPr wrap="none" tIns="90000" bIns="90000" rtlCol="0" anchor="t">
              <a:spAutoFit/>
            </a:bodyPr>
            <a:lstStyle/>
            <a:p>
              <a:pPr algn="ctr" defTabSz="457200"/>
              <a:r>
                <a:rPr lang="en-US" sz="8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Name Events (Topic)</a:t>
              </a:r>
            </a:p>
          </p:txBody>
        </p:sp>
        <p:sp>
          <p:nvSpPr>
            <p:cNvPr id="412" name="Rounded Rectangle 411">
              <a:extLst>
                <a:ext uri="{FF2B5EF4-FFF2-40B4-BE49-F238E27FC236}">
                  <a16:creationId xmlns:a16="http://schemas.microsoft.com/office/drawing/2014/main" id="{4D43B55E-A37A-BF4B-B999-8A03B57003CC}"/>
                </a:ext>
              </a:extLst>
            </p:cNvPr>
            <p:cNvSpPr/>
            <p:nvPr/>
          </p:nvSpPr>
          <p:spPr>
            <a:xfrm>
              <a:off x="3559943" y="3941572"/>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Comic Sans MS" panose="030F0902030302020204" pitchFamily="66" charset="0"/>
                <a:ea typeface="Nanum Pen Script" panose="03040600000000000000" pitchFamily="66" charset="-127"/>
              </a:endParaRPr>
            </a:p>
          </p:txBody>
        </p:sp>
        <p:sp>
          <p:nvSpPr>
            <p:cNvPr id="414" name="Rounded Rectangle 413">
              <a:extLst>
                <a:ext uri="{FF2B5EF4-FFF2-40B4-BE49-F238E27FC236}">
                  <a16:creationId xmlns:a16="http://schemas.microsoft.com/office/drawing/2014/main" id="{AD6890FE-1264-9A42-8E36-38A3D5F46A51}"/>
                </a:ext>
              </a:extLst>
            </p:cNvPr>
            <p:cNvSpPr/>
            <p:nvPr/>
          </p:nvSpPr>
          <p:spPr>
            <a:xfrm>
              <a:off x="3754106" y="3941571"/>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Comic Sans MS" panose="030F0902030302020204" pitchFamily="66" charset="0"/>
                <a:ea typeface="Nanum Pen Script" panose="03040600000000000000" pitchFamily="66" charset="-127"/>
              </a:endParaRPr>
            </a:p>
          </p:txBody>
        </p:sp>
        <p:sp>
          <p:nvSpPr>
            <p:cNvPr id="415" name="Rounded Rectangle 414">
              <a:extLst>
                <a:ext uri="{FF2B5EF4-FFF2-40B4-BE49-F238E27FC236}">
                  <a16:creationId xmlns:a16="http://schemas.microsoft.com/office/drawing/2014/main" id="{8A877E90-57A0-0E47-9544-D7F83DDD41BE}"/>
                </a:ext>
              </a:extLst>
            </p:cNvPr>
            <p:cNvSpPr/>
            <p:nvPr/>
          </p:nvSpPr>
          <p:spPr>
            <a:xfrm>
              <a:off x="3948269" y="3941571"/>
              <a:ext cx="180437"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Comic Sans MS" panose="030F0902030302020204" pitchFamily="66" charset="0"/>
                <a:ea typeface="Nanum Pen Script" panose="03040600000000000000" pitchFamily="66" charset="-127"/>
              </a:endParaRPr>
            </a:p>
          </p:txBody>
        </p:sp>
        <p:sp>
          <p:nvSpPr>
            <p:cNvPr id="416" name="Rounded Rectangle 415">
              <a:extLst>
                <a:ext uri="{FF2B5EF4-FFF2-40B4-BE49-F238E27FC236}">
                  <a16:creationId xmlns:a16="http://schemas.microsoft.com/office/drawing/2014/main" id="{CAA2FD3C-44AD-CB4D-83D2-B7A55831FA14}"/>
                </a:ext>
              </a:extLst>
            </p:cNvPr>
            <p:cNvSpPr/>
            <p:nvPr/>
          </p:nvSpPr>
          <p:spPr>
            <a:xfrm>
              <a:off x="4140678" y="3941849"/>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Comic Sans MS" panose="030F0902030302020204" pitchFamily="66" charset="0"/>
                <a:ea typeface="Nanum Pen Script" panose="03040600000000000000" pitchFamily="66" charset="-127"/>
              </a:endParaRPr>
            </a:p>
          </p:txBody>
        </p:sp>
        <p:sp>
          <p:nvSpPr>
            <p:cNvPr id="417" name="Rounded Rectangle 416">
              <a:extLst>
                <a:ext uri="{FF2B5EF4-FFF2-40B4-BE49-F238E27FC236}">
                  <a16:creationId xmlns:a16="http://schemas.microsoft.com/office/drawing/2014/main" id="{A514E334-2F25-EF41-A644-1FA36F211B8A}"/>
                </a:ext>
              </a:extLst>
            </p:cNvPr>
            <p:cNvSpPr/>
            <p:nvPr/>
          </p:nvSpPr>
          <p:spPr>
            <a:xfrm>
              <a:off x="4321138" y="3935411"/>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Comic Sans MS" panose="030F0902030302020204" pitchFamily="66" charset="0"/>
                <a:ea typeface="Nanum Pen Script" panose="03040600000000000000" pitchFamily="66" charset="-127"/>
              </a:endParaRPr>
            </a:p>
          </p:txBody>
        </p:sp>
        <p:sp>
          <p:nvSpPr>
            <p:cNvPr id="418" name="Rounded Rectangle 417">
              <a:extLst>
                <a:ext uri="{FF2B5EF4-FFF2-40B4-BE49-F238E27FC236}">
                  <a16:creationId xmlns:a16="http://schemas.microsoft.com/office/drawing/2014/main" id="{CE2E029F-BA70-574E-AB8B-8F8363A25E52}"/>
                </a:ext>
              </a:extLst>
            </p:cNvPr>
            <p:cNvSpPr/>
            <p:nvPr/>
          </p:nvSpPr>
          <p:spPr>
            <a:xfrm>
              <a:off x="4515301" y="3935410"/>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Comic Sans MS" panose="030F0902030302020204" pitchFamily="66" charset="0"/>
                <a:ea typeface="Nanum Pen Script" panose="03040600000000000000" pitchFamily="66" charset="-127"/>
              </a:endParaRPr>
            </a:p>
          </p:txBody>
        </p:sp>
        <p:sp>
          <p:nvSpPr>
            <p:cNvPr id="419" name="Rounded Rectangle 418">
              <a:extLst>
                <a:ext uri="{FF2B5EF4-FFF2-40B4-BE49-F238E27FC236}">
                  <a16:creationId xmlns:a16="http://schemas.microsoft.com/office/drawing/2014/main" id="{1BFFA2A0-E17C-C341-9255-C332FE94E606}"/>
                </a:ext>
              </a:extLst>
            </p:cNvPr>
            <p:cNvSpPr/>
            <p:nvPr/>
          </p:nvSpPr>
          <p:spPr>
            <a:xfrm>
              <a:off x="4709464" y="3942684"/>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Comic Sans MS" panose="030F0902030302020204" pitchFamily="66" charset="0"/>
                <a:ea typeface="Nanum Pen Script" panose="03040600000000000000" pitchFamily="66" charset="-127"/>
              </a:endParaRPr>
            </a:p>
          </p:txBody>
        </p:sp>
        <p:sp>
          <p:nvSpPr>
            <p:cNvPr id="420" name="TextBox 419">
              <a:extLst>
                <a:ext uri="{FF2B5EF4-FFF2-40B4-BE49-F238E27FC236}">
                  <a16:creationId xmlns:a16="http://schemas.microsoft.com/office/drawing/2014/main" id="{7FAA4B72-888F-0348-9E3F-14441C230884}"/>
                </a:ext>
              </a:extLst>
            </p:cNvPr>
            <p:cNvSpPr txBox="1"/>
            <p:nvPr/>
          </p:nvSpPr>
          <p:spPr>
            <a:xfrm>
              <a:off x="3406869" y="4049855"/>
              <a:ext cx="1173718" cy="304868"/>
            </a:xfrm>
            <a:prstGeom prst="rect">
              <a:avLst/>
            </a:prstGeom>
            <a:noFill/>
          </p:spPr>
          <p:txBody>
            <a:bodyPr wrap="none" tIns="90000" bIns="90000" rtlCol="0" anchor="t">
              <a:spAutoFit/>
            </a:bodyPr>
            <a:lstStyle/>
            <a:p>
              <a:pPr algn="ctr" defTabSz="457200"/>
              <a:r>
                <a:rPr lang="en-US" sz="8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Name Events (Topic)</a:t>
              </a:r>
            </a:p>
          </p:txBody>
        </p:sp>
        <p:sp>
          <p:nvSpPr>
            <p:cNvPr id="421" name="Rounded Rectangle 420">
              <a:extLst>
                <a:ext uri="{FF2B5EF4-FFF2-40B4-BE49-F238E27FC236}">
                  <a16:creationId xmlns:a16="http://schemas.microsoft.com/office/drawing/2014/main" id="{EF7B5285-0916-CA40-889A-3CF9A79A749D}"/>
                </a:ext>
              </a:extLst>
            </p:cNvPr>
            <p:cNvSpPr/>
            <p:nvPr/>
          </p:nvSpPr>
          <p:spPr>
            <a:xfrm>
              <a:off x="5153150" y="3468647"/>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Comic Sans MS" panose="030F0902030302020204" pitchFamily="66" charset="0"/>
                <a:ea typeface="Nanum Pen Script" panose="03040600000000000000" pitchFamily="66" charset="-127"/>
              </a:endParaRPr>
            </a:p>
          </p:txBody>
        </p:sp>
        <p:sp>
          <p:nvSpPr>
            <p:cNvPr id="423" name="Rounded Rectangle 422">
              <a:extLst>
                <a:ext uri="{FF2B5EF4-FFF2-40B4-BE49-F238E27FC236}">
                  <a16:creationId xmlns:a16="http://schemas.microsoft.com/office/drawing/2014/main" id="{E17532DC-E307-8C4D-A1F8-8E0E11C379CB}"/>
                </a:ext>
              </a:extLst>
            </p:cNvPr>
            <p:cNvSpPr/>
            <p:nvPr/>
          </p:nvSpPr>
          <p:spPr>
            <a:xfrm>
              <a:off x="5348639" y="3464976"/>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Comic Sans MS" panose="030F0902030302020204" pitchFamily="66" charset="0"/>
                <a:ea typeface="Nanum Pen Script" panose="03040600000000000000" pitchFamily="66" charset="-127"/>
              </a:endParaRPr>
            </a:p>
          </p:txBody>
        </p:sp>
        <p:sp>
          <p:nvSpPr>
            <p:cNvPr id="431" name="Rounded Rectangle 430">
              <a:extLst>
                <a:ext uri="{FF2B5EF4-FFF2-40B4-BE49-F238E27FC236}">
                  <a16:creationId xmlns:a16="http://schemas.microsoft.com/office/drawing/2014/main" id="{25E6EB2A-01A7-0E4C-AD2E-3F4DCD83FC33}"/>
                </a:ext>
              </a:extLst>
            </p:cNvPr>
            <p:cNvSpPr/>
            <p:nvPr/>
          </p:nvSpPr>
          <p:spPr>
            <a:xfrm>
              <a:off x="3575693" y="4426881"/>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Comic Sans MS" panose="030F0902030302020204" pitchFamily="66" charset="0"/>
                <a:ea typeface="Nanum Pen Script" panose="03040600000000000000" pitchFamily="66" charset="-127"/>
              </a:endParaRPr>
            </a:p>
          </p:txBody>
        </p:sp>
        <p:sp>
          <p:nvSpPr>
            <p:cNvPr id="432" name="Rounded Rectangle 431">
              <a:extLst>
                <a:ext uri="{FF2B5EF4-FFF2-40B4-BE49-F238E27FC236}">
                  <a16:creationId xmlns:a16="http://schemas.microsoft.com/office/drawing/2014/main" id="{1AC65903-CBA3-6742-83D0-D15AC8C79760}"/>
                </a:ext>
              </a:extLst>
            </p:cNvPr>
            <p:cNvSpPr/>
            <p:nvPr/>
          </p:nvSpPr>
          <p:spPr>
            <a:xfrm>
              <a:off x="3769856" y="4426880"/>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Comic Sans MS" panose="030F0902030302020204" pitchFamily="66" charset="0"/>
                <a:ea typeface="Nanum Pen Script" panose="03040600000000000000" pitchFamily="66" charset="-127"/>
              </a:endParaRPr>
            </a:p>
          </p:txBody>
        </p:sp>
        <p:sp>
          <p:nvSpPr>
            <p:cNvPr id="433" name="Rounded Rectangle 432">
              <a:extLst>
                <a:ext uri="{FF2B5EF4-FFF2-40B4-BE49-F238E27FC236}">
                  <a16:creationId xmlns:a16="http://schemas.microsoft.com/office/drawing/2014/main" id="{4F5ED56E-3FED-1A46-BD22-34FA8FA8CE6A}"/>
                </a:ext>
              </a:extLst>
            </p:cNvPr>
            <p:cNvSpPr/>
            <p:nvPr/>
          </p:nvSpPr>
          <p:spPr>
            <a:xfrm>
              <a:off x="3964019" y="4426880"/>
              <a:ext cx="180437"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Comic Sans MS" panose="030F0902030302020204" pitchFamily="66" charset="0"/>
                <a:ea typeface="Nanum Pen Script" panose="03040600000000000000" pitchFamily="66" charset="-127"/>
              </a:endParaRPr>
            </a:p>
          </p:txBody>
        </p:sp>
        <p:sp>
          <p:nvSpPr>
            <p:cNvPr id="434" name="Rounded Rectangle 433">
              <a:extLst>
                <a:ext uri="{FF2B5EF4-FFF2-40B4-BE49-F238E27FC236}">
                  <a16:creationId xmlns:a16="http://schemas.microsoft.com/office/drawing/2014/main" id="{E04C22C9-0C06-3849-9180-5C715916700B}"/>
                </a:ext>
              </a:extLst>
            </p:cNvPr>
            <p:cNvSpPr/>
            <p:nvPr/>
          </p:nvSpPr>
          <p:spPr>
            <a:xfrm>
              <a:off x="4156428" y="4427158"/>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Comic Sans MS" panose="030F0902030302020204" pitchFamily="66" charset="0"/>
                <a:ea typeface="Nanum Pen Script" panose="03040600000000000000" pitchFamily="66" charset="-127"/>
              </a:endParaRPr>
            </a:p>
          </p:txBody>
        </p:sp>
        <p:sp>
          <p:nvSpPr>
            <p:cNvPr id="435" name="Rounded Rectangle 434">
              <a:extLst>
                <a:ext uri="{FF2B5EF4-FFF2-40B4-BE49-F238E27FC236}">
                  <a16:creationId xmlns:a16="http://schemas.microsoft.com/office/drawing/2014/main" id="{B870A162-8116-C64D-A652-C5A2ECC2AF92}"/>
                </a:ext>
              </a:extLst>
            </p:cNvPr>
            <p:cNvSpPr/>
            <p:nvPr/>
          </p:nvSpPr>
          <p:spPr>
            <a:xfrm>
              <a:off x="4336888" y="4430552"/>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Comic Sans MS" panose="030F0902030302020204" pitchFamily="66" charset="0"/>
                <a:ea typeface="Nanum Pen Script" panose="03040600000000000000" pitchFamily="66" charset="-127"/>
              </a:endParaRPr>
            </a:p>
          </p:txBody>
        </p:sp>
        <p:sp>
          <p:nvSpPr>
            <p:cNvPr id="436" name="Rounded Rectangle 435">
              <a:extLst>
                <a:ext uri="{FF2B5EF4-FFF2-40B4-BE49-F238E27FC236}">
                  <a16:creationId xmlns:a16="http://schemas.microsoft.com/office/drawing/2014/main" id="{EAA9F15E-125A-5049-805A-F35BC96B9C7C}"/>
                </a:ext>
              </a:extLst>
            </p:cNvPr>
            <p:cNvSpPr/>
            <p:nvPr/>
          </p:nvSpPr>
          <p:spPr>
            <a:xfrm>
              <a:off x="4531051" y="4430551"/>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Comic Sans MS" panose="030F0902030302020204" pitchFamily="66" charset="0"/>
                <a:ea typeface="Nanum Pen Script" panose="03040600000000000000" pitchFamily="66" charset="-127"/>
              </a:endParaRPr>
            </a:p>
          </p:txBody>
        </p:sp>
        <p:sp>
          <p:nvSpPr>
            <p:cNvPr id="438" name="Rounded Rectangle 437">
              <a:extLst>
                <a:ext uri="{FF2B5EF4-FFF2-40B4-BE49-F238E27FC236}">
                  <a16:creationId xmlns:a16="http://schemas.microsoft.com/office/drawing/2014/main" id="{F9BC2707-4F22-B04F-8243-21CF1D53F8A6}"/>
                </a:ext>
              </a:extLst>
            </p:cNvPr>
            <p:cNvSpPr/>
            <p:nvPr/>
          </p:nvSpPr>
          <p:spPr>
            <a:xfrm>
              <a:off x="4725214" y="4427993"/>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Comic Sans MS" panose="030F0902030302020204" pitchFamily="66" charset="0"/>
                <a:ea typeface="Nanum Pen Script" panose="03040600000000000000" pitchFamily="66" charset="-127"/>
              </a:endParaRPr>
            </a:p>
          </p:txBody>
        </p:sp>
        <p:sp>
          <p:nvSpPr>
            <p:cNvPr id="439" name="TextBox 438">
              <a:extLst>
                <a:ext uri="{FF2B5EF4-FFF2-40B4-BE49-F238E27FC236}">
                  <a16:creationId xmlns:a16="http://schemas.microsoft.com/office/drawing/2014/main" id="{F1BAD852-4BA5-8B4B-91E4-0A3383E3A693}"/>
                </a:ext>
              </a:extLst>
            </p:cNvPr>
            <p:cNvSpPr txBox="1"/>
            <p:nvPr/>
          </p:nvSpPr>
          <p:spPr>
            <a:xfrm>
              <a:off x="3422619" y="4535164"/>
              <a:ext cx="1173718" cy="304868"/>
            </a:xfrm>
            <a:prstGeom prst="rect">
              <a:avLst/>
            </a:prstGeom>
            <a:noFill/>
          </p:spPr>
          <p:txBody>
            <a:bodyPr wrap="none" tIns="90000" bIns="90000" rtlCol="0" anchor="t">
              <a:spAutoFit/>
            </a:bodyPr>
            <a:lstStyle/>
            <a:p>
              <a:pPr algn="ctr" defTabSz="457200"/>
              <a:r>
                <a:rPr lang="en-US" sz="8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Name Events (Topic)</a:t>
              </a:r>
            </a:p>
          </p:txBody>
        </p:sp>
        <p:sp>
          <p:nvSpPr>
            <p:cNvPr id="440" name="Rounded Rectangle 439">
              <a:extLst>
                <a:ext uri="{FF2B5EF4-FFF2-40B4-BE49-F238E27FC236}">
                  <a16:creationId xmlns:a16="http://schemas.microsoft.com/office/drawing/2014/main" id="{00DE8F47-2B37-124B-8031-D7C49883FD0F}"/>
                </a:ext>
              </a:extLst>
            </p:cNvPr>
            <p:cNvSpPr/>
            <p:nvPr/>
          </p:nvSpPr>
          <p:spPr>
            <a:xfrm>
              <a:off x="3586229" y="4863696"/>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Comic Sans MS" panose="030F0902030302020204" pitchFamily="66" charset="0"/>
                <a:ea typeface="Nanum Pen Script" panose="03040600000000000000" pitchFamily="66" charset="-127"/>
              </a:endParaRPr>
            </a:p>
          </p:txBody>
        </p:sp>
        <p:sp>
          <p:nvSpPr>
            <p:cNvPr id="443" name="Rounded Rectangle 442">
              <a:extLst>
                <a:ext uri="{FF2B5EF4-FFF2-40B4-BE49-F238E27FC236}">
                  <a16:creationId xmlns:a16="http://schemas.microsoft.com/office/drawing/2014/main" id="{2B58809E-AD4B-1641-BEC0-629F0D396B25}"/>
                </a:ext>
              </a:extLst>
            </p:cNvPr>
            <p:cNvSpPr/>
            <p:nvPr/>
          </p:nvSpPr>
          <p:spPr>
            <a:xfrm>
              <a:off x="3780392" y="4863695"/>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Comic Sans MS" panose="030F0902030302020204" pitchFamily="66" charset="0"/>
                <a:ea typeface="Nanum Pen Script" panose="03040600000000000000" pitchFamily="66" charset="-127"/>
              </a:endParaRPr>
            </a:p>
          </p:txBody>
        </p:sp>
        <p:sp>
          <p:nvSpPr>
            <p:cNvPr id="444" name="Rounded Rectangle 443">
              <a:extLst>
                <a:ext uri="{FF2B5EF4-FFF2-40B4-BE49-F238E27FC236}">
                  <a16:creationId xmlns:a16="http://schemas.microsoft.com/office/drawing/2014/main" id="{76B9421A-69BA-234E-BDB5-7E6B7805D924}"/>
                </a:ext>
              </a:extLst>
            </p:cNvPr>
            <p:cNvSpPr/>
            <p:nvPr/>
          </p:nvSpPr>
          <p:spPr>
            <a:xfrm>
              <a:off x="3974555" y="4861137"/>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Comic Sans MS" panose="030F0902030302020204" pitchFamily="66" charset="0"/>
                <a:ea typeface="Nanum Pen Script" panose="03040600000000000000" pitchFamily="66" charset="-127"/>
              </a:endParaRPr>
            </a:p>
          </p:txBody>
        </p:sp>
        <p:sp>
          <p:nvSpPr>
            <p:cNvPr id="445" name="Rounded Rectangle 444">
              <a:extLst>
                <a:ext uri="{FF2B5EF4-FFF2-40B4-BE49-F238E27FC236}">
                  <a16:creationId xmlns:a16="http://schemas.microsoft.com/office/drawing/2014/main" id="{A7389412-91C8-7F4C-8B9A-56D2D320322F}"/>
                </a:ext>
              </a:extLst>
            </p:cNvPr>
            <p:cNvSpPr/>
            <p:nvPr/>
          </p:nvSpPr>
          <p:spPr>
            <a:xfrm>
              <a:off x="4157132" y="4863973"/>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Comic Sans MS" panose="030F0902030302020204" pitchFamily="66" charset="0"/>
                <a:ea typeface="Nanum Pen Script" panose="03040600000000000000" pitchFamily="66" charset="-127"/>
              </a:endParaRPr>
            </a:p>
          </p:txBody>
        </p:sp>
        <p:sp>
          <p:nvSpPr>
            <p:cNvPr id="446" name="Rounded Rectangle 445">
              <a:extLst>
                <a:ext uri="{FF2B5EF4-FFF2-40B4-BE49-F238E27FC236}">
                  <a16:creationId xmlns:a16="http://schemas.microsoft.com/office/drawing/2014/main" id="{595AA6B1-2D9C-134D-968B-DF4136A952F7}"/>
                </a:ext>
              </a:extLst>
            </p:cNvPr>
            <p:cNvSpPr/>
            <p:nvPr/>
          </p:nvSpPr>
          <p:spPr>
            <a:xfrm>
              <a:off x="4347424" y="4867367"/>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Comic Sans MS" panose="030F0902030302020204" pitchFamily="66" charset="0"/>
                <a:ea typeface="Nanum Pen Script" panose="03040600000000000000" pitchFamily="66" charset="-127"/>
              </a:endParaRPr>
            </a:p>
          </p:txBody>
        </p:sp>
        <p:sp>
          <p:nvSpPr>
            <p:cNvPr id="447" name="Rounded Rectangle 446">
              <a:extLst>
                <a:ext uri="{FF2B5EF4-FFF2-40B4-BE49-F238E27FC236}">
                  <a16:creationId xmlns:a16="http://schemas.microsoft.com/office/drawing/2014/main" id="{E3660548-1001-6245-91EE-027DF45D27C0}"/>
                </a:ext>
              </a:extLst>
            </p:cNvPr>
            <p:cNvSpPr/>
            <p:nvPr/>
          </p:nvSpPr>
          <p:spPr>
            <a:xfrm>
              <a:off x="4531755" y="4867366"/>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Comic Sans MS" panose="030F0902030302020204" pitchFamily="66" charset="0"/>
                <a:ea typeface="Nanum Pen Script" panose="03040600000000000000" pitchFamily="66" charset="-127"/>
              </a:endParaRPr>
            </a:p>
          </p:txBody>
        </p:sp>
        <p:sp>
          <p:nvSpPr>
            <p:cNvPr id="448" name="Rounded Rectangle 447">
              <a:extLst>
                <a:ext uri="{FF2B5EF4-FFF2-40B4-BE49-F238E27FC236}">
                  <a16:creationId xmlns:a16="http://schemas.microsoft.com/office/drawing/2014/main" id="{6C481C0E-C869-7143-9A2D-D34395D9C165}"/>
                </a:ext>
              </a:extLst>
            </p:cNvPr>
            <p:cNvSpPr/>
            <p:nvPr/>
          </p:nvSpPr>
          <p:spPr>
            <a:xfrm>
              <a:off x="4725918" y="4864808"/>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Comic Sans MS" panose="030F0902030302020204" pitchFamily="66" charset="0"/>
                <a:ea typeface="Nanum Pen Script" panose="03040600000000000000" pitchFamily="66" charset="-127"/>
              </a:endParaRPr>
            </a:p>
          </p:txBody>
        </p:sp>
        <p:sp>
          <p:nvSpPr>
            <p:cNvPr id="449" name="Rounded Rectangle 448">
              <a:extLst>
                <a:ext uri="{FF2B5EF4-FFF2-40B4-BE49-F238E27FC236}">
                  <a16:creationId xmlns:a16="http://schemas.microsoft.com/office/drawing/2014/main" id="{279D1A22-B0E6-6D44-AB1B-2DB13E6AC83F}"/>
                </a:ext>
              </a:extLst>
            </p:cNvPr>
            <p:cNvSpPr/>
            <p:nvPr/>
          </p:nvSpPr>
          <p:spPr>
            <a:xfrm>
              <a:off x="4918327" y="4867644"/>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Comic Sans MS" panose="030F0902030302020204" pitchFamily="66" charset="0"/>
                <a:ea typeface="Nanum Pen Script" panose="03040600000000000000" pitchFamily="66" charset="-127"/>
              </a:endParaRPr>
            </a:p>
          </p:txBody>
        </p:sp>
        <p:sp>
          <p:nvSpPr>
            <p:cNvPr id="451" name="TextBox 450">
              <a:extLst>
                <a:ext uri="{FF2B5EF4-FFF2-40B4-BE49-F238E27FC236}">
                  <a16:creationId xmlns:a16="http://schemas.microsoft.com/office/drawing/2014/main" id="{F98D0AA5-2677-A94C-B837-0ABA15D070F9}"/>
                </a:ext>
              </a:extLst>
            </p:cNvPr>
            <p:cNvSpPr txBox="1"/>
            <p:nvPr/>
          </p:nvSpPr>
          <p:spPr>
            <a:xfrm>
              <a:off x="3433155" y="4971979"/>
              <a:ext cx="1173718" cy="304868"/>
            </a:xfrm>
            <a:prstGeom prst="rect">
              <a:avLst/>
            </a:prstGeom>
            <a:noFill/>
          </p:spPr>
          <p:txBody>
            <a:bodyPr wrap="none" tIns="90000" bIns="90000" rtlCol="0" anchor="t">
              <a:spAutoFit/>
            </a:bodyPr>
            <a:lstStyle/>
            <a:p>
              <a:pPr algn="ctr" defTabSz="457200"/>
              <a:r>
                <a:rPr lang="en-US" sz="8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Name Events (Topic)</a:t>
              </a:r>
            </a:p>
          </p:txBody>
        </p:sp>
        <p:sp>
          <p:nvSpPr>
            <p:cNvPr id="453" name="Rounded Rectangle 452">
              <a:extLst>
                <a:ext uri="{FF2B5EF4-FFF2-40B4-BE49-F238E27FC236}">
                  <a16:creationId xmlns:a16="http://schemas.microsoft.com/office/drawing/2014/main" id="{251A46A9-EB22-7B45-86C4-9A9ADD74FEB7}"/>
                </a:ext>
              </a:extLst>
            </p:cNvPr>
            <p:cNvSpPr/>
            <p:nvPr/>
          </p:nvSpPr>
          <p:spPr>
            <a:xfrm>
              <a:off x="3581357" y="5331359"/>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Comic Sans MS" panose="030F0902030302020204" pitchFamily="66" charset="0"/>
                <a:ea typeface="Nanum Pen Script" panose="03040600000000000000" pitchFamily="66" charset="-127"/>
              </a:endParaRPr>
            </a:p>
          </p:txBody>
        </p:sp>
        <p:sp>
          <p:nvSpPr>
            <p:cNvPr id="454" name="Rounded Rectangle 453">
              <a:extLst>
                <a:ext uri="{FF2B5EF4-FFF2-40B4-BE49-F238E27FC236}">
                  <a16:creationId xmlns:a16="http://schemas.microsoft.com/office/drawing/2014/main" id="{E9599216-099C-2F43-84D1-2E8E982F22C0}"/>
                </a:ext>
              </a:extLst>
            </p:cNvPr>
            <p:cNvSpPr/>
            <p:nvPr/>
          </p:nvSpPr>
          <p:spPr>
            <a:xfrm>
              <a:off x="3775520" y="5331358"/>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Comic Sans MS" panose="030F0902030302020204" pitchFamily="66" charset="0"/>
                <a:ea typeface="Nanum Pen Script" panose="03040600000000000000" pitchFamily="66" charset="-127"/>
              </a:endParaRPr>
            </a:p>
          </p:txBody>
        </p:sp>
        <p:sp>
          <p:nvSpPr>
            <p:cNvPr id="456" name="Rounded Rectangle 455">
              <a:extLst>
                <a:ext uri="{FF2B5EF4-FFF2-40B4-BE49-F238E27FC236}">
                  <a16:creationId xmlns:a16="http://schemas.microsoft.com/office/drawing/2014/main" id="{8F55DF45-2401-D646-BB8B-A73D7B04BB65}"/>
                </a:ext>
              </a:extLst>
            </p:cNvPr>
            <p:cNvSpPr/>
            <p:nvPr/>
          </p:nvSpPr>
          <p:spPr>
            <a:xfrm>
              <a:off x="3969683" y="5331358"/>
              <a:ext cx="180437"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Comic Sans MS" panose="030F0902030302020204" pitchFamily="66" charset="0"/>
                <a:ea typeface="Nanum Pen Script" panose="03040600000000000000" pitchFamily="66" charset="-127"/>
              </a:endParaRPr>
            </a:p>
          </p:txBody>
        </p:sp>
        <p:sp>
          <p:nvSpPr>
            <p:cNvPr id="457" name="Rounded Rectangle 456">
              <a:extLst>
                <a:ext uri="{FF2B5EF4-FFF2-40B4-BE49-F238E27FC236}">
                  <a16:creationId xmlns:a16="http://schemas.microsoft.com/office/drawing/2014/main" id="{08B4411D-8E3C-434C-B6EC-EB04983526EB}"/>
                </a:ext>
              </a:extLst>
            </p:cNvPr>
            <p:cNvSpPr/>
            <p:nvPr/>
          </p:nvSpPr>
          <p:spPr>
            <a:xfrm>
              <a:off x="4162092" y="5331636"/>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Comic Sans MS" panose="030F0902030302020204" pitchFamily="66" charset="0"/>
                <a:ea typeface="Nanum Pen Script" panose="03040600000000000000" pitchFamily="66" charset="-127"/>
              </a:endParaRPr>
            </a:p>
          </p:txBody>
        </p:sp>
        <p:sp>
          <p:nvSpPr>
            <p:cNvPr id="458" name="Rounded Rectangle 457">
              <a:extLst>
                <a:ext uri="{FF2B5EF4-FFF2-40B4-BE49-F238E27FC236}">
                  <a16:creationId xmlns:a16="http://schemas.microsoft.com/office/drawing/2014/main" id="{E6D00DDB-AB43-FA4A-8D18-9FF14E9148BE}"/>
                </a:ext>
              </a:extLst>
            </p:cNvPr>
            <p:cNvSpPr/>
            <p:nvPr/>
          </p:nvSpPr>
          <p:spPr>
            <a:xfrm>
              <a:off x="4342552" y="5335030"/>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Comic Sans MS" panose="030F0902030302020204" pitchFamily="66" charset="0"/>
                <a:ea typeface="Nanum Pen Script" panose="03040600000000000000" pitchFamily="66" charset="-127"/>
              </a:endParaRPr>
            </a:p>
          </p:txBody>
        </p:sp>
        <p:sp>
          <p:nvSpPr>
            <p:cNvPr id="460" name="Rounded Rectangle 459">
              <a:extLst>
                <a:ext uri="{FF2B5EF4-FFF2-40B4-BE49-F238E27FC236}">
                  <a16:creationId xmlns:a16="http://schemas.microsoft.com/office/drawing/2014/main" id="{2A87882E-4F74-AE47-AD03-5325FC655826}"/>
                </a:ext>
              </a:extLst>
            </p:cNvPr>
            <p:cNvSpPr/>
            <p:nvPr/>
          </p:nvSpPr>
          <p:spPr>
            <a:xfrm>
              <a:off x="4536715" y="5335029"/>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Comic Sans MS" panose="030F0902030302020204" pitchFamily="66" charset="0"/>
                <a:ea typeface="Nanum Pen Script" panose="03040600000000000000" pitchFamily="66" charset="-127"/>
              </a:endParaRPr>
            </a:p>
          </p:txBody>
        </p:sp>
        <p:sp>
          <p:nvSpPr>
            <p:cNvPr id="461" name="Rounded Rectangle 460">
              <a:extLst>
                <a:ext uri="{FF2B5EF4-FFF2-40B4-BE49-F238E27FC236}">
                  <a16:creationId xmlns:a16="http://schemas.microsoft.com/office/drawing/2014/main" id="{9085B50C-DB17-E54A-9CD9-557E954BEAA1}"/>
                </a:ext>
              </a:extLst>
            </p:cNvPr>
            <p:cNvSpPr/>
            <p:nvPr/>
          </p:nvSpPr>
          <p:spPr>
            <a:xfrm>
              <a:off x="4730878" y="5332471"/>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Comic Sans MS" panose="030F0902030302020204" pitchFamily="66" charset="0"/>
                <a:ea typeface="Nanum Pen Script" panose="03040600000000000000" pitchFamily="66" charset="-127"/>
              </a:endParaRPr>
            </a:p>
          </p:txBody>
        </p:sp>
        <p:sp>
          <p:nvSpPr>
            <p:cNvPr id="462" name="Rounded Rectangle 461">
              <a:extLst>
                <a:ext uri="{FF2B5EF4-FFF2-40B4-BE49-F238E27FC236}">
                  <a16:creationId xmlns:a16="http://schemas.microsoft.com/office/drawing/2014/main" id="{E3EDD80D-FFA2-CD45-BAC3-B5B7BB7DEC2D}"/>
                </a:ext>
              </a:extLst>
            </p:cNvPr>
            <p:cNvSpPr/>
            <p:nvPr/>
          </p:nvSpPr>
          <p:spPr>
            <a:xfrm>
              <a:off x="4923287" y="5335307"/>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Comic Sans MS" panose="030F0902030302020204" pitchFamily="66" charset="0"/>
                <a:ea typeface="Nanum Pen Script" panose="03040600000000000000" pitchFamily="66" charset="-127"/>
              </a:endParaRPr>
            </a:p>
          </p:txBody>
        </p:sp>
        <p:sp>
          <p:nvSpPr>
            <p:cNvPr id="463" name="TextBox 462">
              <a:extLst>
                <a:ext uri="{FF2B5EF4-FFF2-40B4-BE49-F238E27FC236}">
                  <a16:creationId xmlns:a16="http://schemas.microsoft.com/office/drawing/2014/main" id="{F59F8518-1423-7347-A76E-910AD026D4F0}"/>
                </a:ext>
              </a:extLst>
            </p:cNvPr>
            <p:cNvSpPr txBox="1"/>
            <p:nvPr/>
          </p:nvSpPr>
          <p:spPr>
            <a:xfrm>
              <a:off x="3428283" y="5439642"/>
              <a:ext cx="1173718" cy="304868"/>
            </a:xfrm>
            <a:prstGeom prst="rect">
              <a:avLst/>
            </a:prstGeom>
            <a:noFill/>
          </p:spPr>
          <p:txBody>
            <a:bodyPr wrap="none" tIns="90000" bIns="90000" rtlCol="0" anchor="t">
              <a:spAutoFit/>
            </a:bodyPr>
            <a:lstStyle/>
            <a:p>
              <a:pPr algn="ctr" defTabSz="457200"/>
              <a:r>
                <a:rPr lang="en-US" sz="8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Name Events (Topic)</a:t>
              </a:r>
            </a:p>
          </p:txBody>
        </p:sp>
        <p:sp>
          <p:nvSpPr>
            <p:cNvPr id="465" name="Rounded Rectangle 464">
              <a:extLst>
                <a:ext uri="{FF2B5EF4-FFF2-40B4-BE49-F238E27FC236}">
                  <a16:creationId xmlns:a16="http://schemas.microsoft.com/office/drawing/2014/main" id="{3E1B6517-974A-2444-AFBA-31F0611D4893}"/>
                </a:ext>
              </a:extLst>
            </p:cNvPr>
            <p:cNvSpPr/>
            <p:nvPr/>
          </p:nvSpPr>
          <p:spPr>
            <a:xfrm>
              <a:off x="5120035" y="5335029"/>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Comic Sans MS" panose="030F0902030302020204" pitchFamily="66" charset="0"/>
                <a:ea typeface="Nanum Pen Script" panose="03040600000000000000" pitchFamily="66" charset="-127"/>
              </a:endParaRPr>
            </a:p>
          </p:txBody>
        </p:sp>
        <p:sp>
          <p:nvSpPr>
            <p:cNvPr id="466" name="Rounded Rectangle 465">
              <a:extLst>
                <a:ext uri="{FF2B5EF4-FFF2-40B4-BE49-F238E27FC236}">
                  <a16:creationId xmlns:a16="http://schemas.microsoft.com/office/drawing/2014/main" id="{D9411C07-DF13-E143-B2BA-50971AF9C82F}"/>
                </a:ext>
              </a:extLst>
            </p:cNvPr>
            <p:cNvSpPr/>
            <p:nvPr/>
          </p:nvSpPr>
          <p:spPr>
            <a:xfrm>
              <a:off x="5315524" y="5331358"/>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Comic Sans MS" panose="030F0902030302020204" pitchFamily="66" charset="0"/>
                <a:ea typeface="Nanum Pen Script" panose="03040600000000000000" pitchFamily="66" charset="-127"/>
              </a:endParaRPr>
            </a:p>
          </p:txBody>
        </p:sp>
        <p:sp>
          <p:nvSpPr>
            <p:cNvPr id="469" name="Rounded Rectangle 468">
              <a:extLst>
                <a:ext uri="{FF2B5EF4-FFF2-40B4-BE49-F238E27FC236}">
                  <a16:creationId xmlns:a16="http://schemas.microsoft.com/office/drawing/2014/main" id="{99DF04A8-26D5-2341-97E0-0C0E7C068445}"/>
                </a:ext>
              </a:extLst>
            </p:cNvPr>
            <p:cNvSpPr/>
            <p:nvPr/>
          </p:nvSpPr>
          <p:spPr>
            <a:xfrm>
              <a:off x="3605045" y="5766978"/>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Comic Sans MS" panose="030F0902030302020204" pitchFamily="66" charset="0"/>
                <a:ea typeface="Nanum Pen Script" panose="03040600000000000000" pitchFamily="66" charset="-127"/>
              </a:endParaRPr>
            </a:p>
          </p:txBody>
        </p:sp>
        <p:sp>
          <p:nvSpPr>
            <p:cNvPr id="470" name="Rounded Rectangle 469">
              <a:extLst>
                <a:ext uri="{FF2B5EF4-FFF2-40B4-BE49-F238E27FC236}">
                  <a16:creationId xmlns:a16="http://schemas.microsoft.com/office/drawing/2014/main" id="{C51CA9A9-4CE8-5B46-A8EC-6446B507FC54}"/>
                </a:ext>
              </a:extLst>
            </p:cNvPr>
            <p:cNvSpPr/>
            <p:nvPr/>
          </p:nvSpPr>
          <p:spPr>
            <a:xfrm>
              <a:off x="3799208" y="5766977"/>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Comic Sans MS" panose="030F0902030302020204" pitchFamily="66" charset="0"/>
                <a:ea typeface="Nanum Pen Script" panose="03040600000000000000" pitchFamily="66" charset="-127"/>
              </a:endParaRPr>
            </a:p>
          </p:txBody>
        </p:sp>
        <p:sp>
          <p:nvSpPr>
            <p:cNvPr id="471" name="Rounded Rectangle 470">
              <a:extLst>
                <a:ext uri="{FF2B5EF4-FFF2-40B4-BE49-F238E27FC236}">
                  <a16:creationId xmlns:a16="http://schemas.microsoft.com/office/drawing/2014/main" id="{7A31D510-597A-C244-AFFC-652DB6F33A3E}"/>
                </a:ext>
              </a:extLst>
            </p:cNvPr>
            <p:cNvSpPr/>
            <p:nvPr/>
          </p:nvSpPr>
          <p:spPr>
            <a:xfrm>
              <a:off x="3993371" y="5766977"/>
              <a:ext cx="180437"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Comic Sans MS" panose="030F0902030302020204" pitchFamily="66" charset="0"/>
                <a:ea typeface="Nanum Pen Script" panose="03040600000000000000" pitchFamily="66" charset="-127"/>
              </a:endParaRPr>
            </a:p>
          </p:txBody>
        </p:sp>
        <p:sp>
          <p:nvSpPr>
            <p:cNvPr id="472" name="Rounded Rectangle 471">
              <a:extLst>
                <a:ext uri="{FF2B5EF4-FFF2-40B4-BE49-F238E27FC236}">
                  <a16:creationId xmlns:a16="http://schemas.microsoft.com/office/drawing/2014/main" id="{ED4DDFDD-6B81-5848-A2F7-B55C1D9D9C31}"/>
                </a:ext>
              </a:extLst>
            </p:cNvPr>
            <p:cNvSpPr/>
            <p:nvPr/>
          </p:nvSpPr>
          <p:spPr>
            <a:xfrm>
              <a:off x="4185780" y="5767255"/>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Comic Sans MS" panose="030F0902030302020204" pitchFamily="66" charset="0"/>
                <a:ea typeface="Nanum Pen Script" panose="03040600000000000000" pitchFamily="66" charset="-127"/>
              </a:endParaRPr>
            </a:p>
          </p:txBody>
        </p:sp>
        <p:sp>
          <p:nvSpPr>
            <p:cNvPr id="473" name="Rounded Rectangle 472">
              <a:extLst>
                <a:ext uri="{FF2B5EF4-FFF2-40B4-BE49-F238E27FC236}">
                  <a16:creationId xmlns:a16="http://schemas.microsoft.com/office/drawing/2014/main" id="{459A49CE-10B8-8442-A284-03343CBA321C}"/>
                </a:ext>
              </a:extLst>
            </p:cNvPr>
            <p:cNvSpPr/>
            <p:nvPr/>
          </p:nvSpPr>
          <p:spPr>
            <a:xfrm>
              <a:off x="4366240" y="5770649"/>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Comic Sans MS" panose="030F0902030302020204" pitchFamily="66" charset="0"/>
                <a:ea typeface="Nanum Pen Script" panose="03040600000000000000" pitchFamily="66" charset="-127"/>
              </a:endParaRPr>
            </a:p>
          </p:txBody>
        </p:sp>
        <p:sp>
          <p:nvSpPr>
            <p:cNvPr id="474" name="Rounded Rectangle 473">
              <a:extLst>
                <a:ext uri="{FF2B5EF4-FFF2-40B4-BE49-F238E27FC236}">
                  <a16:creationId xmlns:a16="http://schemas.microsoft.com/office/drawing/2014/main" id="{05FAF23B-8515-A440-A3AA-0B7F144615B5}"/>
                </a:ext>
              </a:extLst>
            </p:cNvPr>
            <p:cNvSpPr/>
            <p:nvPr/>
          </p:nvSpPr>
          <p:spPr>
            <a:xfrm>
              <a:off x="4560403" y="5770648"/>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Comic Sans MS" panose="030F0902030302020204" pitchFamily="66" charset="0"/>
                <a:ea typeface="Nanum Pen Script" panose="03040600000000000000" pitchFamily="66" charset="-127"/>
              </a:endParaRPr>
            </a:p>
          </p:txBody>
        </p:sp>
        <p:sp>
          <p:nvSpPr>
            <p:cNvPr id="475" name="Rounded Rectangle 474">
              <a:extLst>
                <a:ext uri="{FF2B5EF4-FFF2-40B4-BE49-F238E27FC236}">
                  <a16:creationId xmlns:a16="http://schemas.microsoft.com/office/drawing/2014/main" id="{5F85B435-01A0-E640-9A03-D237CB0357BD}"/>
                </a:ext>
              </a:extLst>
            </p:cNvPr>
            <p:cNvSpPr/>
            <p:nvPr/>
          </p:nvSpPr>
          <p:spPr>
            <a:xfrm>
              <a:off x="4754566" y="5768090"/>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Comic Sans MS" panose="030F0902030302020204" pitchFamily="66" charset="0"/>
                <a:ea typeface="Nanum Pen Script" panose="03040600000000000000" pitchFamily="66" charset="-127"/>
              </a:endParaRPr>
            </a:p>
          </p:txBody>
        </p:sp>
        <p:sp>
          <p:nvSpPr>
            <p:cNvPr id="476" name="Rounded Rectangle 475">
              <a:extLst>
                <a:ext uri="{FF2B5EF4-FFF2-40B4-BE49-F238E27FC236}">
                  <a16:creationId xmlns:a16="http://schemas.microsoft.com/office/drawing/2014/main" id="{3CF4075D-7410-794E-8911-010F2326BF69}"/>
                </a:ext>
              </a:extLst>
            </p:cNvPr>
            <p:cNvSpPr/>
            <p:nvPr/>
          </p:nvSpPr>
          <p:spPr>
            <a:xfrm>
              <a:off x="4946975" y="5770926"/>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Comic Sans MS" panose="030F0902030302020204" pitchFamily="66" charset="0"/>
                <a:ea typeface="Nanum Pen Script" panose="03040600000000000000" pitchFamily="66" charset="-127"/>
              </a:endParaRPr>
            </a:p>
          </p:txBody>
        </p:sp>
        <p:sp>
          <p:nvSpPr>
            <p:cNvPr id="477" name="TextBox 476">
              <a:extLst>
                <a:ext uri="{FF2B5EF4-FFF2-40B4-BE49-F238E27FC236}">
                  <a16:creationId xmlns:a16="http://schemas.microsoft.com/office/drawing/2014/main" id="{94BE3C0E-9960-0B40-B4A6-684361DA59BA}"/>
                </a:ext>
              </a:extLst>
            </p:cNvPr>
            <p:cNvSpPr txBox="1"/>
            <p:nvPr/>
          </p:nvSpPr>
          <p:spPr>
            <a:xfrm>
              <a:off x="3451971" y="5875261"/>
              <a:ext cx="1173718" cy="304868"/>
            </a:xfrm>
            <a:prstGeom prst="rect">
              <a:avLst/>
            </a:prstGeom>
            <a:noFill/>
          </p:spPr>
          <p:txBody>
            <a:bodyPr wrap="none" tIns="90000" bIns="90000" rtlCol="0" anchor="t">
              <a:spAutoFit/>
            </a:bodyPr>
            <a:lstStyle/>
            <a:p>
              <a:pPr algn="ctr" defTabSz="457200"/>
              <a:r>
                <a:rPr lang="en-US" sz="8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Name Events (Topic)</a:t>
              </a:r>
            </a:p>
          </p:txBody>
        </p:sp>
        <p:sp>
          <p:nvSpPr>
            <p:cNvPr id="478" name="Rounded Rectangle 477">
              <a:extLst>
                <a:ext uri="{FF2B5EF4-FFF2-40B4-BE49-F238E27FC236}">
                  <a16:creationId xmlns:a16="http://schemas.microsoft.com/office/drawing/2014/main" id="{87906E72-3516-8F47-A813-4E5C3434EF9D}"/>
                </a:ext>
              </a:extLst>
            </p:cNvPr>
            <p:cNvSpPr/>
            <p:nvPr/>
          </p:nvSpPr>
          <p:spPr>
            <a:xfrm>
              <a:off x="5143723" y="5770648"/>
              <a:ext cx="186062" cy="167874"/>
            </a:xfrm>
            <a:prstGeom prst="roundRect">
              <a:avLst/>
            </a:prstGeom>
            <a:solidFill>
              <a:schemeClr val="bg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Comic Sans MS" panose="030F0902030302020204" pitchFamily="66" charset="0"/>
                <a:ea typeface="Nanum Pen Script" panose="03040600000000000000" pitchFamily="66" charset="-127"/>
              </a:endParaRPr>
            </a:p>
          </p:txBody>
        </p:sp>
      </p:grpSp>
      <p:cxnSp>
        <p:nvCxnSpPr>
          <p:cNvPr id="330" name="Elbow Connector 329">
            <a:extLst>
              <a:ext uri="{FF2B5EF4-FFF2-40B4-BE49-F238E27FC236}">
                <a16:creationId xmlns:a16="http://schemas.microsoft.com/office/drawing/2014/main" id="{E9F02459-1D64-2041-994B-7DA82F7F2018}"/>
              </a:ext>
            </a:extLst>
          </p:cNvPr>
          <p:cNvCxnSpPr>
            <a:cxnSpLocks/>
            <a:stCxn id="329" idx="3"/>
            <a:endCxn id="420" idx="1"/>
          </p:cNvCxnSpPr>
          <p:nvPr/>
        </p:nvCxnSpPr>
        <p:spPr>
          <a:xfrm>
            <a:off x="1737524" y="1826811"/>
            <a:ext cx="2080306" cy="2190546"/>
          </a:xfrm>
          <a:prstGeom prst="bentConnector3">
            <a:avLst>
              <a:gd name="adj1" fmla="val 85604"/>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91" name="Elbow Connector 90">
            <a:extLst>
              <a:ext uri="{FF2B5EF4-FFF2-40B4-BE49-F238E27FC236}">
                <a16:creationId xmlns:a16="http://schemas.microsoft.com/office/drawing/2014/main" id="{001D885A-BBCC-0649-93D3-8E7ED5643D99}"/>
              </a:ext>
            </a:extLst>
          </p:cNvPr>
          <p:cNvCxnSpPr>
            <a:cxnSpLocks/>
            <a:stCxn id="58" idx="3"/>
            <a:endCxn id="420" idx="1"/>
          </p:cNvCxnSpPr>
          <p:nvPr/>
        </p:nvCxnSpPr>
        <p:spPr>
          <a:xfrm>
            <a:off x="3222503" y="3543338"/>
            <a:ext cx="595327" cy="474019"/>
          </a:xfrm>
          <a:prstGeom prst="bentConnector3">
            <a:avLst>
              <a:gd name="adj1" fmla="val 50000"/>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481" name="Straight Connector 480">
            <a:extLst>
              <a:ext uri="{FF2B5EF4-FFF2-40B4-BE49-F238E27FC236}">
                <a16:creationId xmlns:a16="http://schemas.microsoft.com/office/drawing/2014/main" id="{C3D61F6C-F72C-E04A-97F4-DB394BA9EB2F}"/>
              </a:ext>
            </a:extLst>
          </p:cNvPr>
          <p:cNvCxnSpPr>
            <a:cxnSpLocks/>
            <a:endCxn id="483" idx="2"/>
          </p:cNvCxnSpPr>
          <p:nvPr/>
        </p:nvCxnSpPr>
        <p:spPr>
          <a:xfrm flipH="1" flipV="1">
            <a:off x="3486499" y="1524260"/>
            <a:ext cx="526788" cy="749065"/>
          </a:xfrm>
          <a:prstGeom prst="line">
            <a:avLst/>
          </a:prstGeom>
          <a:ln w="12700">
            <a:solidFill>
              <a:srgbClr val="FF0000">
                <a:alpha val="50000"/>
              </a:srgbClr>
            </a:solidFill>
            <a:headEnd type="oval"/>
          </a:ln>
        </p:spPr>
        <p:style>
          <a:lnRef idx="1">
            <a:schemeClr val="accent1"/>
          </a:lnRef>
          <a:fillRef idx="0">
            <a:schemeClr val="accent1"/>
          </a:fillRef>
          <a:effectRef idx="0">
            <a:schemeClr val="accent1"/>
          </a:effectRef>
          <a:fontRef idx="minor">
            <a:schemeClr val="tx1"/>
          </a:fontRef>
        </p:style>
      </p:cxnSp>
      <p:cxnSp>
        <p:nvCxnSpPr>
          <p:cNvPr id="482" name="Straight Connector 481">
            <a:extLst>
              <a:ext uri="{FF2B5EF4-FFF2-40B4-BE49-F238E27FC236}">
                <a16:creationId xmlns:a16="http://schemas.microsoft.com/office/drawing/2014/main" id="{65CCE8A8-E5BC-594A-B43E-CFD44DF9ECC7}"/>
              </a:ext>
            </a:extLst>
          </p:cNvPr>
          <p:cNvCxnSpPr>
            <a:cxnSpLocks/>
            <a:endCxn id="483" idx="2"/>
          </p:cNvCxnSpPr>
          <p:nvPr/>
        </p:nvCxnSpPr>
        <p:spPr>
          <a:xfrm flipH="1" flipV="1">
            <a:off x="3486499" y="1524260"/>
            <a:ext cx="369994" cy="1160817"/>
          </a:xfrm>
          <a:prstGeom prst="line">
            <a:avLst/>
          </a:prstGeom>
          <a:ln w="12700">
            <a:solidFill>
              <a:srgbClr val="FF0000">
                <a:alpha val="50000"/>
              </a:srgbClr>
            </a:solidFill>
            <a:headEnd type="oval"/>
          </a:ln>
        </p:spPr>
        <p:style>
          <a:lnRef idx="1">
            <a:schemeClr val="accent1"/>
          </a:lnRef>
          <a:fillRef idx="0">
            <a:schemeClr val="accent1"/>
          </a:fillRef>
          <a:effectRef idx="0">
            <a:schemeClr val="accent1"/>
          </a:effectRef>
          <a:fontRef idx="minor">
            <a:schemeClr val="tx1"/>
          </a:fontRef>
        </p:style>
      </p:cxnSp>
      <p:sp>
        <p:nvSpPr>
          <p:cNvPr id="483" name="TextBox 482">
            <a:extLst>
              <a:ext uri="{FF2B5EF4-FFF2-40B4-BE49-F238E27FC236}">
                <a16:creationId xmlns:a16="http://schemas.microsoft.com/office/drawing/2014/main" id="{AA91E11E-B511-044B-B806-324C3D7A6016}"/>
              </a:ext>
            </a:extLst>
          </p:cNvPr>
          <p:cNvSpPr txBox="1"/>
          <p:nvPr/>
        </p:nvSpPr>
        <p:spPr>
          <a:xfrm>
            <a:off x="3180499" y="1219392"/>
            <a:ext cx="612000" cy="304868"/>
          </a:xfrm>
          <a:prstGeom prst="rect">
            <a:avLst/>
          </a:prstGeom>
          <a:noFill/>
        </p:spPr>
        <p:txBody>
          <a:bodyPr wrap="square" tIns="90000" bIns="90000" rtlCol="0" anchor="t">
            <a:spAutoFit/>
          </a:bodyPr>
          <a:lstStyle/>
          <a:p>
            <a:pPr algn="just"/>
            <a:r>
              <a:rPr lang="en-US" sz="800" dirty="0">
                <a:solidFill>
                  <a:schemeClr val="tx1">
                    <a:lumMod val="50000"/>
                  </a:schemeClr>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Brokers</a:t>
            </a:r>
          </a:p>
        </p:txBody>
      </p:sp>
      <p:sp>
        <p:nvSpPr>
          <p:cNvPr id="484" name="Rounded Rectangle 483">
            <a:extLst>
              <a:ext uri="{FF2B5EF4-FFF2-40B4-BE49-F238E27FC236}">
                <a16:creationId xmlns:a16="http://schemas.microsoft.com/office/drawing/2014/main" id="{3B4EC51A-7DAC-3A45-B7F9-96E3ADCC4A93}"/>
              </a:ext>
            </a:extLst>
          </p:cNvPr>
          <p:cNvSpPr/>
          <p:nvPr/>
        </p:nvSpPr>
        <p:spPr>
          <a:xfrm>
            <a:off x="2214364" y="5232534"/>
            <a:ext cx="1013416" cy="609750"/>
          </a:xfrm>
          <a:prstGeom prst="roundRect">
            <a:avLst/>
          </a:prstGeom>
          <a:solidFill>
            <a:schemeClr val="bg1">
              <a:lumMod val="85000"/>
            </a:schemeClr>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b="1" dirty="0">
              <a:solidFill>
                <a:schemeClr val="bg1">
                  <a:lumMod val="50000"/>
                </a:schemeClr>
              </a:solidFill>
              <a:latin typeface="Comic Sans MS" panose="030F0902030302020204" pitchFamily="66" charset="0"/>
              <a:ea typeface="Nanum Pen Script" panose="03040600000000000000" pitchFamily="66" charset="-127"/>
            </a:endParaRPr>
          </a:p>
          <a:p>
            <a:pPr algn="ctr"/>
            <a:endParaRPr lang="en-US" sz="800" b="1" dirty="0">
              <a:solidFill>
                <a:schemeClr val="bg1">
                  <a:lumMod val="50000"/>
                </a:schemeClr>
              </a:solidFill>
              <a:latin typeface="Comic Sans MS" panose="030F0902030302020204" pitchFamily="66" charset="0"/>
              <a:ea typeface="Nanum Pen Script" panose="03040600000000000000" pitchFamily="66" charset="-127"/>
            </a:endParaRPr>
          </a:p>
          <a:p>
            <a:pPr algn="ctr"/>
            <a:endParaRPr lang="en-US" sz="800" b="1" dirty="0">
              <a:solidFill>
                <a:schemeClr val="bg1">
                  <a:lumMod val="50000"/>
                </a:schemeClr>
              </a:solidFill>
              <a:latin typeface="Comic Sans MS" panose="030F0902030302020204" pitchFamily="66" charset="0"/>
              <a:ea typeface="Nanum Pen Script" panose="03040600000000000000" pitchFamily="66" charset="-127"/>
            </a:endParaRPr>
          </a:p>
          <a:p>
            <a:pPr algn="ctr"/>
            <a:endParaRPr lang="en-US" sz="800" b="1" dirty="0">
              <a:solidFill>
                <a:schemeClr val="bg1">
                  <a:lumMod val="50000"/>
                </a:schemeClr>
              </a:solidFill>
              <a:latin typeface="Comic Sans MS" panose="030F0902030302020204" pitchFamily="66" charset="0"/>
              <a:ea typeface="Nanum Pen Script" panose="03040600000000000000" pitchFamily="66" charset="-127"/>
            </a:endParaRPr>
          </a:p>
          <a:p>
            <a:pPr algn="ctr"/>
            <a:endParaRPr lang="en-US" sz="700" b="1" dirty="0">
              <a:solidFill>
                <a:schemeClr val="bg1">
                  <a:lumMod val="50000"/>
                </a:schemeClr>
              </a:solidFill>
              <a:latin typeface="Comic Sans MS" panose="030F0902030302020204" pitchFamily="66" charset="0"/>
              <a:ea typeface="Nanum Pen Script" panose="03040600000000000000" pitchFamily="66" charset="-127"/>
            </a:endParaRPr>
          </a:p>
          <a:p>
            <a:pPr algn="ctr"/>
            <a:r>
              <a:rPr lang="en-US" sz="900" b="1" dirty="0">
                <a:solidFill>
                  <a:schemeClr val="bg1">
                    <a:lumMod val="50000"/>
                  </a:schemeClr>
                </a:solidFill>
                <a:latin typeface="Comic Sans MS" panose="030F0902030302020204" pitchFamily="66" charset="0"/>
                <a:ea typeface="Nanum Pen Script" panose="03040600000000000000" pitchFamily="66" charset="-127"/>
              </a:rPr>
              <a:t>Data Capture</a:t>
            </a:r>
          </a:p>
          <a:p>
            <a:pPr algn="ctr"/>
            <a:endParaRPr lang="en-US" sz="1600" dirty="0">
              <a:solidFill>
                <a:schemeClr val="tx1"/>
              </a:solidFill>
              <a:latin typeface="Comic Sans MS" panose="030F0902030302020204" pitchFamily="66" charset="0"/>
              <a:ea typeface="Nanum Pen Script" panose="03040600000000000000" pitchFamily="66" charset="-127"/>
            </a:endParaRPr>
          </a:p>
          <a:p>
            <a:pPr algn="ctr"/>
            <a:endParaRPr lang="en-US" sz="1600" dirty="0">
              <a:solidFill>
                <a:schemeClr val="tx1"/>
              </a:solidFill>
              <a:latin typeface="Comic Sans MS" panose="030F0902030302020204" pitchFamily="66" charset="0"/>
              <a:ea typeface="Nanum Pen Script" panose="03040600000000000000" pitchFamily="66" charset="-127"/>
            </a:endParaRPr>
          </a:p>
        </p:txBody>
      </p:sp>
      <p:sp>
        <p:nvSpPr>
          <p:cNvPr id="504" name="Rounded Rectangle 503">
            <a:extLst>
              <a:ext uri="{FF2B5EF4-FFF2-40B4-BE49-F238E27FC236}">
                <a16:creationId xmlns:a16="http://schemas.microsoft.com/office/drawing/2014/main" id="{3EBE1364-0979-154A-8636-EBB1597553F0}"/>
              </a:ext>
            </a:extLst>
          </p:cNvPr>
          <p:cNvSpPr/>
          <p:nvPr/>
        </p:nvSpPr>
        <p:spPr>
          <a:xfrm>
            <a:off x="570773" y="5630098"/>
            <a:ext cx="1182630" cy="420294"/>
          </a:xfrm>
          <a:prstGeom prst="roundRect">
            <a:avLst/>
          </a:prstGeom>
          <a:solidFill>
            <a:schemeClr val="bg1">
              <a:lumMod val="85000"/>
            </a:schemeClr>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b="1" dirty="0">
              <a:solidFill>
                <a:schemeClr val="bg1">
                  <a:lumMod val="50000"/>
                </a:schemeClr>
              </a:solidFill>
              <a:latin typeface="Comic Sans MS" panose="030F0902030302020204" pitchFamily="66" charset="0"/>
              <a:ea typeface="Nanum Pen Script" panose="03040600000000000000" pitchFamily="66" charset="-127"/>
            </a:endParaRPr>
          </a:p>
          <a:p>
            <a:pPr algn="ctr"/>
            <a:endParaRPr lang="en-US" sz="800" b="1" dirty="0">
              <a:solidFill>
                <a:schemeClr val="bg1">
                  <a:lumMod val="50000"/>
                </a:schemeClr>
              </a:solidFill>
              <a:latin typeface="Comic Sans MS" panose="030F0902030302020204" pitchFamily="66" charset="0"/>
              <a:ea typeface="Nanum Pen Script" panose="03040600000000000000" pitchFamily="66" charset="-127"/>
            </a:endParaRPr>
          </a:p>
          <a:p>
            <a:pPr algn="ctr"/>
            <a:endParaRPr lang="en-US" sz="800" b="1" dirty="0">
              <a:solidFill>
                <a:schemeClr val="bg1">
                  <a:lumMod val="50000"/>
                </a:schemeClr>
              </a:solidFill>
              <a:latin typeface="Comic Sans MS" panose="030F0902030302020204" pitchFamily="66" charset="0"/>
              <a:ea typeface="Nanum Pen Script" panose="03040600000000000000" pitchFamily="66" charset="-127"/>
            </a:endParaRPr>
          </a:p>
          <a:p>
            <a:pPr algn="ctr"/>
            <a:endParaRPr lang="en-US" sz="800" b="1" dirty="0">
              <a:solidFill>
                <a:schemeClr val="bg1">
                  <a:lumMod val="50000"/>
                </a:schemeClr>
              </a:solidFill>
              <a:latin typeface="Comic Sans MS" panose="030F0902030302020204" pitchFamily="66" charset="0"/>
              <a:ea typeface="Nanum Pen Script" panose="03040600000000000000" pitchFamily="66" charset="-127"/>
            </a:endParaRPr>
          </a:p>
          <a:p>
            <a:pPr algn="ctr"/>
            <a:endParaRPr lang="en-US" sz="700" b="1" dirty="0">
              <a:solidFill>
                <a:schemeClr val="bg1">
                  <a:lumMod val="50000"/>
                </a:schemeClr>
              </a:solidFill>
              <a:latin typeface="Comic Sans MS" panose="030F0902030302020204" pitchFamily="66" charset="0"/>
              <a:ea typeface="Nanum Pen Script" panose="03040600000000000000" pitchFamily="66" charset="-127"/>
            </a:endParaRPr>
          </a:p>
          <a:p>
            <a:pPr algn="ctr">
              <a:spcBef>
                <a:spcPts val="0"/>
              </a:spcBef>
            </a:pPr>
            <a:endParaRPr lang="en-US" sz="700" b="1" dirty="0">
              <a:solidFill>
                <a:schemeClr val="bg1">
                  <a:lumMod val="50000"/>
                </a:schemeClr>
              </a:solidFill>
              <a:latin typeface="Comic Sans MS" panose="030F0902030302020204" pitchFamily="66" charset="0"/>
              <a:ea typeface="Nanum Pen Script" panose="03040600000000000000" pitchFamily="66" charset="-127"/>
            </a:endParaRPr>
          </a:p>
          <a:p>
            <a:pPr algn="ctr">
              <a:spcBef>
                <a:spcPts val="0"/>
              </a:spcBef>
            </a:pPr>
            <a:r>
              <a:rPr lang="en-US" sz="700" b="1"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Oracle, DB2, Tandem</a:t>
            </a:r>
            <a:endParaRPr lang="en-US" sz="7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endParaRPr>
          </a:p>
          <a:p>
            <a:pPr algn="ctr">
              <a:spcBef>
                <a:spcPts val="0"/>
              </a:spcBef>
            </a:pPr>
            <a:endParaRPr lang="en-US" sz="1600" dirty="0">
              <a:solidFill>
                <a:schemeClr val="tx1"/>
              </a:solidFill>
              <a:latin typeface="Comic Sans MS" panose="030F0902030302020204" pitchFamily="66" charset="0"/>
              <a:ea typeface="Nanum Pen Script" panose="03040600000000000000" pitchFamily="66" charset="-127"/>
            </a:endParaRPr>
          </a:p>
          <a:p>
            <a:pPr algn="ctr"/>
            <a:endParaRPr lang="en-US" sz="1600" dirty="0">
              <a:solidFill>
                <a:schemeClr val="tx1"/>
              </a:solidFill>
              <a:latin typeface="Comic Sans MS" panose="030F0902030302020204" pitchFamily="66" charset="0"/>
              <a:ea typeface="Nanum Pen Script" panose="03040600000000000000" pitchFamily="66" charset="-127"/>
            </a:endParaRPr>
          </a:p>
        </p:txBody>
      </p:sp>
      <p:grpSp>
        <p:nvGrpSpPr>
          <p:cNvPr id="505" name="Group 504">
            <a:extLst>
              <a:ext uri="{FF2B5EF4-FFF2-40B4-BE49-F238E27FC236}">
                <a16:creationId xmlns:a16="http://schemas.microsoft.com/office/drawing/2014/main" id="{299FE4D1-53F3-EA4D-ADE4-36FCC4EBA903}"/>
              </a:ext>
            </a:extLst>
          </p:cNvPr>
          <p:cNvGrpSpPr/>
          <p:nvPr/>
        </p:nvGrpSpPr>
        <p:grpSpPr>
          <a:xfrm rot="21011211">
            <a:off x="541939" y="5663057"/>
            <a:ext cx="463310" cy="222926"/>
            <a:chOff x="682633" y="1203599"/>
            <a:chExt cx="477191" cy="290724"/>
          </a:xfrm>
        </p:grpSpPr>
        <p:sp>
          <p:nvSpPr>
            <p:cNvPr id="506" name="Google Shape;431;p39">
              <a:extLst>
                <a:ext uri="{FF2B5EF4-FFF2-40B4-BE49-F238E27FC236}">
                  <a16:creationId xmlns:a16="http://schemas.microsoft.com/office/drawing/2014/main" id="{CD0142E2-801A-C94F-9EE9-F62FAE99CCE9}"/>
                </a:ext>
              </a:extLst>
            </p:cNvPr>
            <p:cNvSpPr/>
            <p:nvPr/>
          </p:nvSpPr>
          <p:spPr>
            <a:xfrm>
              <a:off x="736556" y="1203599"/>
              <a:ext cx="219241" cy="290724"/>
            </a:xfrm>
            <a:custGeom>
              <a:avLst/>
              <a:gdLst/>
              <a:ahLst/>
              <a:cxnLst/>
              <a:rect l="0" t="0" r="0" b="0"/>
              <a:pathLst>
                <a:path w="67641" h="69056" extrusionOk="0">
                  <a:moveTo>
                    <a:pt x="49622" y="2736"/>
                  </a:moveTo>
                  <a:lnTo>
                    <a:pt x="49622" y="2736"/>
                  </a:lnTo>
                  <a:lnTo>
                    <a:pt x="49622" y="2736"/>
                  </a:lnTo>
                  <a:close/>
                  <a:moveTo>
                    <a:pt x="59622" y="55565"/>
                  </a:moveTo>
                  <a:lnTo>
                    <a:pt x="59622" y="55565"/>
                  </a:lnTo>
                  <a:lnTo>
                    <a:pt x="59622" y="55565"/>
                  </a:lnTo>
                  <a:close/>
                  <a:moveTo>
                    <a:pt x="35471" y="0"/>
                  </a:moveTo>
                  <a:lnTo>
                    <a:pt x="34433" y="95"/>
                  </a:lnTo>
                  <a:lnTo>
                    <a:pt x="33584" y="189"/>
                  </a:lnTo>
                  <a:lnTo>
                    <a:pt x="32735" y="378"/>
                  </a:lnTo>
                  <a:lnTo>
                    <a:pt x="32169" y="566"/>
                  </a:lnTo>
                  <a:lnTo>
                    <a:pt x="31509" y="472"/>
                  </a:lnTo>
                  <a:lnTo>
                    <a:pt x="30754" y="472"/>
                  </a:lnTo>
                  <a:lnTo>
                    <a:pt x="29339" y="566"/>
                  </a:lnTo>
                  <a:lnTo>
                    <a:pt x="27830" y="849"/>
                  </a:lnTo>
                  <a:lnTo>
                    <a:pt x="26320" y="1321"/>
                  </a:lnTo>
                  <a:lnTo>
                    <a:pt x="24811" y="1981"/>
                  </a:lnTo>
                  <a:lnTo>
                    <a:pt x="23207" y="2736"/>
                  </a:lnTo>
                  <a:lnTo>
                    <a:pt x="21698" y="3585"/>
                  </a:lnTo>
                  <a:lnTo>
                    <a:pt x="20188" y="4623"/>
                  </a:lnTo>
                  <a:lnTo>
                    <a:pt x="18679" y="5661"/>
                  </a:lnTo>
                  <a:lnTo>
                    <a:pt x="17170" y="6793"/>
                  </a:lnTo>
                  <a:lnTo>
                    <a:pt x="15754" y="8019"/>
                  </a:lnTo>
                  <a:lnTo>
                    <a:pt x="14434" y="9151"/>
                  </a:lnTo>
                  <a:lnTo>
                    <a:pt x="11981" y="11510"/>
                  </a:lnTo>
                  <a:lnTo>
                    <a:pt x="10000" y="13774"/>
                  </a:lnTo>
                  <a:lnTo>
                    <a:pt x="7736" y="16981"/>
                  </a:lnTo>
                  <a:lnTo>
                    <a:pt x="8019" y="16321"/>
                  </a:lnTo>
                  <a:lnTo>
                    <a:pt x="8302" y="15660"/>
                  </a:lnTo>
                  <a:lnTo>
                    <a:pt x="7736" y="16604"/>
                  </a:lnTo>
                  <a:lnTo>
                    <a:pt x="7075" y="17642"/>
                  </a:lnTo>
                  <a:lnTo>
                    <a:pt x="7170" y="17830"/>
                  </a:lnTo>
                  <a:lnTo>
                    <a:pt x="6509" y="18868"/>
                  </a:lnTo>
                  <a:lnTo>
                    <a:pt x="7075" y="17359"/>
                  </a:lnTo>
                  <a:lnTo>
                    <a:pt x="6132" y="19057"/>
                  </a:lnTo>
                  <a:lnTo>
                    <a:pt x="5189" y="20849"/>
                  </a:lnTo>
                  <a:lnTo>
                    <a:pt x="4434" y="22736"/>
                  </a:lnTo>
                  <a:lnTo>
                    <a:pt x="3679" y="24622"/>
                  </a:lnTo>
                  <a:lnTo>
                    <a:pt x="2453" y="28490"/>
                  </a:lnTo>
                  <a:lnTo>
                    <a:pt x="1321" y="32169"/>
                  </a:lnTo>
                  <a:lnTo>
                    <a:pt x="1509" y="32264"/>
                  </a:lnTo>
                  <a:lnTo>
                    <a:pt x="1604" y="32453"/>
                  </a:lnTo>
                  <a:lnTo>
                    <a:pt x="1604" y="32641"/>
                  </a:lnTo>
                  <a:lnTo>
                    <a:pt x="1509" y="32924"/>
                  </a:lnTo>
                  <a:lnTo>
                    <a:pt x="1226" y="33396"/>
                  </a:lnTo>
                  <a:lnTo>
                    <a:pt x="1038" y="33585"/>
                  </a:lnTo>
                  <a:lnTo>
                    <a:pt x="1038" y="33773"/>
                  </a:lnTo>
                  <a:lnTo>
                    <a:pt x="1038" y="35000"/>
                  </a:lnTo>
                  <a:lnTo>
                    <a:pt x="849" y="36132"/>
                  </a:lnTo>
                  <a:lnTo>
                    <a:pt x="660" y="37358"/>
                  </a:lnTo>
                  <a:lnTo>
                    <a:pt x="472" y="38867"/>
                  </a:lnTo>
                  <a:lnTo>
                    <a:pt x="283" y="38301"/>
                  </a:lnTo>
                  <a:lnTo>
                    <a:pt x="94" y="39811"/>
                  </a:lnTo>
                  <a:lnTo>
                    <a:pt x="0" y="41509"/>
                  </a:lnTo>
                  <a:lnTo>
                    <a:pt x="94" y="43301"/>
                  </a:lnTo>
                  <a:lnTo>
                    <a:pt x="283" y="44056"/>
                  </a:lnTo>
                  <a:lnTo>
                    <a:pt x="472" y="44622"/>
                  </a:lnTo>
                  <a:lnTo>
                    <a:pt x="566" y="45660"/>
                  </a:lnTo>
                  <a:lnTo>
                    <a:pt x="755" y="46792"/>
                  </a:lnTo>
                  <a:lnTo>
                    <a:pt x="1226" y="48962"/>
                  </a:lnTo>
                  <a:lnTo>
                    <a:pt x="1981" y="51037"/>
                  </a:lnTo>
                  <a:lnTo>
                    <a:pt x="2924" y="53112"/>
                  </a:lnTo>
                  <a:lnTo>
                    <a:pt x="4057" y="55094"/>
                  </a:lnTo>
                  <a:lnTo>
                    <a:pt x="5283" y="56980"/>
                  </a:lnTo>
                  <a:lnTo>
                    <a:pt x="6698" y="58678"/>
                  </a:lnTo>
                  <a:lnTo>
                    <a:pt x="8113" y="60282"/>
                  </a:lnTo>
                  <a:lnTo>
                    <a:pt x="9056" y="61131"/>
                  </a:lnTo>
                  <a:lnTo>
                    <a:pt x="10000" y="61980"/>
                  </a:lnTo>
                  <a:lnTo>
                    <a:pt x="11038" y="62829"/>
                  </a:lnTo>
                  <a:lnTo>
                    <a:pt x="12075" y="63584"/>
                  </a:lnTo>
                  <a:lnTo>
                    <a:pt x="14339" y="64905"/>
                  </a:lnTo>
                  <a:lnTo>
                    <a:pt x="16604" y="66131"/>
                  </a:lnTo>
                  <a:lnTo>
                    <a:pt x="19056" y="67169"/>
                  </a:lnTo>
                  <a:lnTo>
                    <a:pt x="21509" y="67923"/>
                  </a:lnTo>
                  <a:lnTo>
                    <a:pt x="24056" y="68584"/>
                  </a:lnTo>
                  <a:lnTo>
                    <a:pt x="26603" y="69055"/>
                  </a:lnTo>
                  <a:lnTo>
                    <a:pt x="27830" y="69055"/>
                  </a:lnTo>
                  <a:lnTo>
                    <a:pt x="30188" y="68867"/>
                  </a:lnTo>
                  <a:lnTo>
                    <a:pt x="33113" y="68678"/>
                  </a:lnTo>
                  <a:lnTo>
                    <a:pt x="36509" y="68301"/>
                  </a:lnTo>
                  <a:lnTo>
                    <a:pt x="39811" y="67923"/>
                  </a:lnTo>
                  <a:lnTo>
                    <a:pt x="42735" y="67452"/>
                  </a:lnTo>
                  <a:lnTo>
                    <a:pt x="44905" y="66980"/>
                  </a:lnTo>
                  <a:lnTo>
                    <a:pt x="45565" y="66791"/>
                  </a:lnTo>
                  <a:lnTo>
                    <a:pt x="45943" y="66508"/>
                  </a:lnTo>
                  <a:lnTo>
                    <a:pt x="47358" y="65942"/>
                  </a:lnTo>
                  <a:lnTo>
                    <a:pt x="48018" y="65565"/>
                  </a:lnTo>
                  <a:lnTo>
                    <a:pt x="48678" y="65188"/>
                  </a:lnTo>
                  <a:lnTo>
                    <a:pt x="47924" y="65471"/>
                  </a:lnTo>
                  <a:lnTo>
                    <a:pt x="51509" y="62924"/>
                  </a:lnTo>
                  <a:lnTo>
                    <a:pt x="53301" y="61508"/>
                  </a:lnTo>
                  <a:lnTo>
                    <a:pt x="55093" y="59905"/>
                  </a:lnTo>
                  <a:lnTo>
                    <a:pt x="55093" y="59905"/>
                  </a:lnTo>
                  <a:lnTo>
                    <a:pt x="54810" y="60376"/>
                  </a:lnTo>
                  <a:lnTo>
                    <a:pt x="54339" y="60754"/>
                  </a:lnTo>
                  <a:lnTo>
                    <a:pt x="55376" y="59999"/>
                  </a:lnTo>
                  <a:lnTo>
                    <a:pt x="56320" y="59056"/>
                  </a:lnTo>
                  <a:lnTo>
                    <a:pt x="57075" y="58395"/>
                  </a:lnTo>
                  <a:lnTo>
                    <a:pt x="57169" y="58207"/>
                  </a:lnTo>
                  <a:lnTo>
                    <a:pt x="57075" y="58207"/>
                  </a:lnTo>
                  <a:lnTo>
                    <a:pt x="57924" y="57546"/>
                  </a:lnTo>
                  <a:lnTo>
                    <a:pt x="58678" y="56697"/>
                  </a:lnTo>
                  <a:lnTo>
                    <a:pt x="59339" y="55754"/>
                  </a:lnTo>
                  <a:lnTo>
                    <a:pt x="59905" y="54905"/>
                  </a:lnTo>
                  <a:lnTo>
                    <a:pt x="59716" y="54999"/>
                  </a:lnTo>
                  <a:lnTo>
                    <a:pt x="59622" y="54999"/>
                  </a:lnTo>
                  <a:lnTo>
                    <a:pt x="59810" y="54622"/>
                  </a:lnTo>
                  <a:lnTo>
                    <a:pt x="59150" y="55565"/>
                  </a:lnTo>
                  <a:lnTo>
                    <a:pt x="59527" y="55094"/>
                  </a:lnTo>
                  <a:lnTo>
                    <a:pt x="59433" y="55377"/>
                  </a:lnTo>
                  <a:lnTo>
                    <a:pt x="58867" y="56037"/>
                  </a:lnTo>
                  <a:lnTo>
                    <a:pt x="59056" y="55660"/>
                  </a:lnTo>
                  <a:lnTo>
                    <a:pt x="59056" y="55660"/>
                  </a:lnTo>
                  <a:lnTo>
                    <a:pt x="58678" y="56037"/>
                  </a:lnTo>
                  <a:lnTo>
                    <a:pt x="59810" y="54339"/>
                  </a:lnTo>
                  <a:lnTo>
                    <a:pt x="60282" y="53490"/>
                  </a:lnTo>
                  <a:lnTo>
                    <a:pt x="60282" y="53301"/>
                  </a:lnTo>
                  <a:lnTo>
                    <a:pt x="60188" y="53395"/>
                  </a:lnTo>
                  <a:lnTo>
                    <a:pt x="60188" y="53395"/>
                  </a:lnTo>
                  <a:lnTo>
                    <a:pt x="60565" y="52924"/>
                  </a:lnTo>
                  <a:lnTo>
                    <a:pt x="61037" y="52452"/>
                  </a:lnTo>
                  <a:lnTo>
                    <a:pt x="61886" y="51509"/>
                  </a:lnTo>
                  <a:lnTo>
                    <a:pt x="61508" y="52452"/>
                  </a:lnTo>
                  <a:lnTo>
                    <a:pt x="60848" y="53584"/>
                  </a:lnTo>
                  <a:lnTo>
                    <a:pt x="59622" y="55565"/>
                  </a:lnTo>
                  <a:lnTo>
                    <a:pt x="60376" y="54528"/>
                  </a:lnTo>
                  <a:lnTo>
                    <a:pt x="60942" y="53678"/>
                  </a:lnTo>
                  <a:lnTo>
                    <a:pt x="61980" y="51792"/>
                  </a:lnTo>
                  <a:lnTo>
                    <a:pt x="61886" y="51886"/>
                  </a:lnTo>
                  <a:lnTo>
                    <a:pt x="61886" y="51697"/>
                  </a:lnTo>
                  <a:lnTo>
                    <a:pt x="62169" y="51037"/>
                  </a:lnTo>
                  <a:lnTo>
                    <a:pt x="62735" y="49999"/>
                  </a:lnTo>
                  <a:lnTo>
                    <a:pt x="61508" y="51603"/>
                  </a:lnTo>
                  <a:lnTo>
                    <a:pt x="61603" y="51037"/>
                  </a:lnTo>
                  <a:lnTo>
                    <a:pt x="61697" y="50377"/>
                  </a:lnTo>
                  <a:lnTo>
                    <a:pt x="62169" y="48962"/>
                  </a:lnTo>
                  <a:lnTo>
                    <a:pt x="62829" y="47358"/>
                  </a:lnTo>
                  <a:lnTo>
                    <a:pt x="63678" y="45565"/>
                  </a:lnTo>
                  <a:lnTo>
                    <a:pt x="65376" y="42169"/>
                  </a:lnTo>
                  <a:lnTo>
                    <a:pt x="66131" y="40660"/>
                  </a:lnTo>
                  <a:lnTo>
                    <a:pt x="66697" y="39339"/>
                  </a:lnTo>
                  <a:lnTo>
                    <a:pt x="66603" y="39528"/>
                  </a:lnTo>
                  <a:lnTo>
                    <a:pt x="66697" y="39056"/>
                  </a:lnTo>
                  <a:lnTo>
                    <a:pt x="66791" y="38962"/>
                  </a:lnTo>
                  <a:lnTo>
                    <a:pt x="66791" y="39056"/>
                  </a:lnTo>
                  <a:lnTo>
                    <a:pt x="66886" y="38584"/>
                  </a:lnTo>
                  <a:lnTo>
                    <a:pt x="66791" y="38867"/>
                  </a:lnTo>
                  <a:lnTo>
                    <a:pt x="66980" y="38207"/>
                  </a:lnTo>
                  <a:lnTo>
                    <a:pt x="67169" y="37264"/>
                  </a:lnTo>
                  <a:lnTo>
                    <a:pt x="67263" y="36415"/>
                  </a:lnTo>
                  <a:lnTo>
                    <a:pt x="67357" y="36509"/>
                  </a:lnTo>
                  <a:lnTo>
                    <a:pt x="67452" y="36509"/>
                  </a:lnTo>
                  <a:lnTo>
                    <a:pt x="67546" y="35943"/>
                  </a:lnTo>
                  <a:lnTo>
                    <a:pt x="67546" y="34811"/>
                  </a:lnTo>
                  <a:lnTo>
                    <a:pt x="67640" y="31037"/>
                  </a:lnTo>
                  <a:lnTo>
                    <a:pt x="67640" y="28490"/>
                  </a:lnTo>
                  <a:lnTo>
                    <a:pt x="67546" y="27736"/>
                  </a:lnTo>
                  <a:lnTo>
                    <a:pt x="67546" y="27547"/>
                  </a:lnTo>
                  <a:lnTo>
                    <a:pt x="67452" y="27547"/>
                  </a:lnTo>
                  <a:lnTo>
                    <a:pt x="67074" y="26792"/>
                  </a:lnTo>
                  <a:lnTo>
                    <a:pt x="66791" y="25660"/>
                  </a:lnTo>
                  <a:lnTo>
                    <a:pt x="66508" y="24528"/>
                  </a:lnTo>
                  <a:lnTo>
                    <a:pt x="66414" y="23585"/>
                  </a:lnTo>
                  <a:lnTo>
                    <a:pt x="66320" y="23679"/>
                  </a:lnTo>
                  <a:lnTo>
                    <a:pt x="66320" y="23490"/>
                  </a:lnTo>
                  <a:lnTo>
                    <a:pt x="65942" y="22924"/>
                  </a:lnTo>
                  <a:lnTo>
                    <a:pt x="65565" y="22358"/>
                  </a:lnTo>
                  <a:lnTo>
                    <a:pt x="64527" y="21132"/>
                  </a:lnTo>
                  <a:lnTo>
                    <a:pt x="63584" y="19906"/>
                  </a:lnTo>
                  <a:lnTo>
                    <a:pt x="63207" y="19340"/>
                  </a:lnTo>
                  <a:lnTo>
                    <a:pt x="63018" y="18774"/>
                  </a:lnTo>
                  <a:lnTo>
                    <a:pt x="63112" y="18962"/>
                  </a:lnTo>
                  <a:lnTo>
                    <a:pt x="63301" y="19057"/>
                  </a:lnTo>
                  <a:lnTo>
                    <a:pt x="63301" y="19057"/>
                  </a:lnTo>
                  <a:lnTo>
                    <a:pt x="63207" y="18868"/>
                  </a:lnTo>
                  <a:lnTo>
                    <a:pt x="62923" y="18491"/>
                  </a:lnTo>
                  <a:lnTo>
                    <a:pt x="61980" y="17453"/>
                  </a:lnTo>
                  <a:lnTo>
                    <a:pt x="61037" y="16509"/>
                  </a:lnTo>
                  <a:lnTo>
                    <a:pt x="61037" y="16698"/>
                  </a:lnTo>
                  <a:lnTo>
                    <a:pt x="61037" y="16887"/>
                  </a:lnTo>
                  <a:lnTo>
                    <a:pt x="60093" y="15943"/>
                  </a:lnTo>
                  <a:lnTo>
                    <a:pt x="60376" y="16321"/>
                  </a:lnTo>
                  <a:lnTo>
                    <a:pt x="59527" y="15377"/>
                  </a:lnTo>
                  <a:lnTo>
                    <a:pt x="59056" y="14906"/>
                  </a:lnTo>
                  <a:lnTo>
                    <a:pt x="59244" y="14906"/>
                  </a:lnTo>
                  <a:lnTo>
                    <a:pt x="59905" y="15472"/>
                  </a:lnTo>
                  <a:lnTo>
                    <a:pt x="59905" y="15472"/>
                  </a:lnTo>
                  <a:lnTo>
                    <a:pt x="57641" y="13396"/>
                  </a:lnTo>
                  <a:lnTo>
                    <a:pt x="58112" y="13868"/>
                  </a:lnTo>
                  <a:lnTo>
                    <a:pt x="56886" y="13019"/>
                  </a:lnTo>
                  <a:lnTo>
                    <a:pt x="55754" y="12453"/>
                  </a:lnTo>
                  <a:lnTo>
                    <a:pt x="56603" y="13113"/>
                  </a:lnTo>
                  <a:lnTo>
                    <a:pt x="57452" y="13774"/>
                  </a:lnTo>
                  <a:lnTo>
                    <a:pt x="58961" y="15283"/>
                  </a:lnTo>
                  <a:lnTo>
                    <a:pt x="60376" y="16604"/>
                  </a:lnTo>
                  <a:lnTo>
                    <a:pt x="61225" y="17264"/>
                  </a:lnTo>
                  <a:lnTo>
                    <a:pt x="62074" y="17925"/>
                  </a:lnTo>
                  <a:lnTo>
                    <a:pt x="62074" y="17925"/>
                  </a:lnTo>
                  <a:lnTo>
                    <a:pt x="61414" y="17547"/>
                  </a:lnTo>
                  <a:lnTo>
                    <a:pt x="60659" y="16981"/>
                  </a:lnTo>
                  <a:lnTo>
                    <a:pt x="60754" y="17264"/>
                  </a:lnTo>
                  <a:lnTo>
                    <a:pt x="60942" y="17642"/>
                  </a:lnTo>
                  <a:lnTo>
                    <a:pt x="61980" y="19151"/>
                  </a:lnTo>
                  <a:lnTo>
                    <a:pt x="63301" y="20943"/>
                  </a:lnTo>
                  <a:lnTo>
                    <a:pt x="63207" y="20943"/>
                  </a:lnTo>
                  <a:lnTo>
                    <a:pt x="63395" y="21038"/>
                  </a:lnTo>
                  <a:lnTo>
                    <a:pt x="63490" y="21321"/>
                  </a:lnTo>
                  <a:lnTo>
                    <a:pt x="63678" y="21604"/>
                  </a:lnTo>
                  <a:lnTo>
                    <a:pt x="63773" y="21698"/>
                  </a:lnTo>
                  <a:lnTo>
                    <a:pt x="63584" y="21321"/>
                  </a:lnTo>
                  <a:lnTo>
                    <a:pt x="63584" y="21321"/>
                  </a:lnTo>
                  <a:lnTo>
                    <a:pt x="64244" y="22170"/>
                  </a:lnTo>
                  <a:lnTo>
                    <a:pt x="64716" y="22641"/>
                  </a:lnTo>
                  <a:lnTo>
                    <a:pt x="64905" y="22830"/>
                  </a:lnTo>
                  <a:lnTo>
                    <a:pt x="64999" y="22830"/>
                  </a:lnTo>
                  <a:lnTo>
                    <a:pt x="64999" y="22641"/>
                  </a:lnTo>
                  <a:lnTo>
                    <a:pt x="64905" y="22358"/>
                  </a:lnTo>
                  <a:lnTo>
                    <a:pt x="65282" y="23207"/>
                  </a:lnTo>
                  <a:lnTo>
                    <a:pt x="65565" y="24056"/>
                  </a:lnTo>
                  <a:lnTo>
                    <a:pt x="66225" y="25943"/>
                  </a:lnTo>
                  <a:lnTo>
                    <a:pt x="66697" y="27830"/>
                  </a:lnTo>
                  <a:lnTo>
                    <a:pt x="66886" y="28490"/>
                  </a:lnTo>
                  <a:lnTo>
                    <a:pt x="66980" y="28868"/>
                  </a:lnTo>
                  <a:lnTo>
                    <a:pt x="66886" y="28962"/>
                  </a:lnTo>
                  <a:lnTo>
                    <a:pt x="66697" y="28679"/>
                  </a:lnTo>
                  <a:lnTo>
                    <a:pt x="66697" y="29245"/>
                  </a:lnTo>
                  <a:lnTo>
                    <a:pt x="66791" y="29905"/>
                  </a:lnTo>
                  <a:lnTo>
                    <a:pt x="66886" y="29905"/>
                  </a:lnTo>
                  <a:lnTo>
                    <a:pt x="66886" y="30094"/>
                  </a:lnTo>
                  <a:lnTo>
                    <a:pt x="66886" y="30566"/>
                  </a:lnTo>
                  <a:lnTo>
                    <a:pt x="66697" y="30377"/>
                  </a:lnTo>
                  <a:lnTo>
                    <a:pt x="66603" y="30188"/>
                  </a:lnTo>
                  <a:lnTo>
                    <a:pt x="66603" y="30094"/>
                  </a:lnTo>
                  <a:lnTo>
                    <a:pt x="66697" y="29905"/>
                  </a:lnTo>
                  <a:lnTo>
                    <a:pt x="66508" y="28679"/>
                  </a:lnTo>
                  <a:lnTo>
                    <a:pt x="66225" y="27358"/>
                  </a:lnTo>
                  <a:lnTo>
                    <a:pt x="66603" y="30283"/>
                  </a:lnTo>
                  <a:lnTo>
                    <a:pt x="66697" y="31792"/>
                  </a:lnTo>
                  <a:lnTo>
                    <a:pt x="66697" y="33302"/>
                  </a:lnTo>
                  <a:lnTo>
                    <a:pt x="66603" y="34717"/>
                  </a:lnTo>
                  <a:lnTo>
                    <a:pt x="66414" y="36226"/>
                  </a:lnTo>
                  <a:lnTo>
                    <a:pt x="66131" y="37547"/>
                  </a:lnTo>
                  <a:lnTo>
                    <a:pt x="65659" y="38962"/>
                  </a:lnTo>
                  <a:lnTo>
                    <a:pt x="65848" y="38584"/>
                  </a:lnTo>
                  <a:lnTo>
                    <a:pt x="65942" y="38584"/>
                  </a:lnTo>
                  <a:lnTo>
                    <a:pt x="65848" y="39245"/>
                  </a:lnTo>
                  <a:lnTo>
                    <a:pt x="65565" y="40188"/>
                  </a:lnTo>
                  <a:lnTo>
                    <a:pt x="65471" y="40471"/>
                  </a:lnTo>
                  <a:lnTo>
                    <a:pt x="65282" y="40660"/>
                  </a:lnTo>
                  <a:lnTo>
                    <a:pt x="65282" y="40566"/>
                  </a:lnTo>
                  <a:lnTo>
                    <a:pt x="65093" y="41132"/>
                  </a:lnTo>
                  <a:lnTo>
                    <a:pt x="64433" y="43018"/>
                  </a:lnTo>
                  <a:lnTo>
                    <a:pt x="63678" y="45282"/>
                  </a:lnTo>
                  <a:lnTo>
                    <a:pt x="62735" y="47264"/>
                  </a:lnTo>
                  <a:lnTo>
                    <a:pt x="61697" y="49056"/>
                  </a:lnTo>
                  <a:lnTo>
                    <a:pt x="60659" y="50943"/>
                  </a:lnTo>
                  <a:lnTo>
                    <a:pt x="59433" y="52735"/>
                  </a:lnTo>
                  <a:lnTo>
                    <a:pt x="58207" y="54433"/>
                  </a:lnTo>
                  <a:lnTo>
                    <a:pt x="56886" y="56037"/>
                  </a:lnTo>
                  <a:lnTo>
                    <a:pt x="55376" y="57641"/>
                  </a:lnTo>
                  <a:lnTo>
                    <a:pt x="53867" y="59150"/>
                  </a:lnTo>
                  <a:lnTo>
                    <a:pt x="52169" y="60376"/>
                  </a:lnTo>
                  <a:lnTo>
                    <a:pt x="48961" y="62452"/>
                  </a:lnTo>
                  <a:lnTo>
                    <a:pt x="44528" y="65282"/>
                  </a:lnTo>
                  <a:lnTo>
                    <a:pt x="44622" y="65188"/>
                  </a:lnTo>
                  <a:lnTo>
                    <a:pt x="44716" y="65093"/>
                  </a:lnTo>
                  <a:lnTo>
                    <a:pt x="45094" y="64810"/>
                  </a:lnTo>
                  <a:lnTo>
                    <a:pt x="45660" y="64527"/>
                  </a:lnTo>
                  <a:lnTo>
                    <a:pt x="43867" y="65376"/>
                  </a:lnTo>
                  <a:lnTo>
                    <a:pt x="43113" y="65754"/>
                  </a:lnTo>
                  <a:lnTo>
                    <a:pt x="42924" y="65754"/>
                  </a:lnTo>
                  <a:lnTo>
                    <a:pt x="43113" y="65659"/>
                  </a:lnTo>
                  <a:lnTo>
                    <a:pt x="41603" y="66037"/>
                  </a:lnTo>
                  <a:lnTo>
                    <a:pt x="39999" y="66320"/>
                  </a:lnTo>
                  <a:lnTo>
                    <a:pt x="38396" y="66508"/>
                  </a:lnTo>
                  <a:lnTo>
                    <a:pt x="36792" y="66697"/>
                  </a:lnTo>
                  <a:lnTo>
                    <a:pt x="33584" y="66980"/>
                  </a:lnTo>
                  <a:lnTo>
                    <a:pt x="32169" y="67169"/>
                  </a:lnTo>
                  <a:lnTo>
                    <a:pt x="30754" y="67357"/>
                  </a:lnTo>
                  <a:lnTo>
                    <a:pt x="30094" y="67357"/>
                  </a:lnTo>
                  <a:lnTo>
                    <a:pt x="29339" y="67263"/>
                  </a:lnTo>
                  <a:lnTo>
                    <a:pt x="27830" y="66886"/>
                  </a:lnTo>
                  <a:lnTo>
                    <a:pt x="26415" y="66508"/>
                  </a:lnTo>
                  <a:lnTo>
                    <a:pt x="25754" y="66414"/>
                  </a:lnTo>
                  <a:lnTo>
                    <a:pt x="25094" y="66414"/>
                  </a:lnTo>
                  <a:lnTo>
                    <a:pt x="25566" y="66980"/>
                  </a:lnTo>
                  <a:lnTo>
                    <a:pt x="25471" y="67074"/>
                  </a:lnTo>
                  <a:lnTo>
                    <a:pt x="25188" y="66980"/>
                  </a:lnTo>
                  <a:lnTo>
                    <a:pt x="24339" y="66791"/>
                  </a:lnTo>
                  <a:lnTo>
                    <a:pt x="23773" y="66508"/>
                  </a:lnTo>
                  <a:lnTo>
                    <a:pt x="24245" y="66414"/>
                  </a:lnTo>
                  <a:lnTo>
                    <a:pt x="24717" y="66603"/>
                  </a:lnTo>
                  <a:lnTo>
                    <a:pt x="24811" y="66414"/>
                  </a:lnTo>
                  <a:lnTo>
                    <a:pt x="24811" y="66320"/>
                  </a:lnTo>
                  <a:lnTo>
                    <a:pt x="24717" y="66225"/>
                  </a:lnTo>
                  <a:lnTo>
                    <a:pt x="24528" y="66131"/>
                  </a:lnTo>
                  <a:lnTo>
                    <a:pt x="24151" y="66225"/>
                  </a:lnTo>
                  <a:lnTo>
                    <a:pt x="23679" y="66320"/>
                  </a:lnTo>
                  <a:lnTo>
                    <a:pt x="23018" y="66414"/>
                  </a:lnTo>
                  <a:lnTo>
                    <a:pt x="23490" y="66225"/>
                  </a:lnTo>
                  <a:lnTo>
                    <a:pt x="22075" y="65942"/>
                  </a:lnTo>
                  <a:lnTo>
                    <a:pt x="20943" y="65659"/>
                  </a:lnTo>
                  <a:lnTo>
                    <a:pt x="20000" y="65282"/>
                  </a:lnTo>
                  <a:lnTo>
                    <a:pt x="19056" y="64810"/>
                  </a:lnTo>
                  <a:lnTo>
                    <a:pt x="19056" y="64810"/>
                  </a:lnTo>
                  <a:lnTo>
                    <a:pt x="19717" y="64999"/>
                  </a:lnTo>
                  <a:lnTo>
                    <a:pt x="19151" y="64716"/>
                  </a:lnTo>
                  <a:lnTo>
                    <a:pt x="18962" y="64810"/>
                  </a:lnTo>
                  <a:lnTo>
                    <a:pt x="19151" y="64905"/>
                  </a:lnTo>
                  <a:lnTo>
                    <a:pt x="18490" y="64905"/>
                  </a:lnTo>
                  <a:lnTo>
                    <a:pt x="17830" y="64716"/>
                  </a:lnTo>
                  <a:lnTo>
                    <a:pt x="17264" y="64527"/>
                  </a:lnTo>
                  <a:lnTo>
                    <a:pt x="16698" y="64150"/>
                  </a:lnTo>
                  <a:lnTo>
                    <a:pt x="16981" y="64056"/>
                  </a:lnTo>
                  <a:lnTo>
                    <a:pt x="17264" y="64150"/>
                  </a:lnTo>
                  <a:lnTo>
                    <a:pt x="17264" y="64150"/>
                  </a:lnTo>
                  <a:lnTo>
                    <a:pt x="15188" y="63207"/>
                  </a:lnTo>
                  <a:lnTo>
                    <a:pt x="14622" y="62829"/>
                  </a:lnTo>
                  <a:lnTo>
                    <a:pt x="14717" y="62924"/>
                  </a:lnTo>
                  <a:lnTo>
                    <a:pt x="13773" y="62546"/>
                  </a:lnTo>
                  <a:lnTo>
                    <a:pt x="12924" y="62075"/>
                  </a:lnTo>
                  <a:lnTo>
                    <a:pt x="12358" y="61697"/>
                  </a:lnTo>
                  <a:lnTo>
                    <a:pt x="12264" y="61508"/>
                  </a:lnTo>
                  <a:lnTo>
                    <a:pt x="12170" y="61320"/>
                  </a:lnTo>
                  <a:lnTo>
                    <a:pt x="11698" y="60942"/>
                  </a:lnTo>
                  <a:lnTo>
                    <a:pt x="11132" y="60471"/>
                  </a:lnTo>
                  <a:lnTo>
                    <a:pt x="9906" y="59244"/>
                  </a:lnTo>
                  <a:lnTo>
                    <a:pt x="9906" y="59244"/>
                  </a:lnTo>
                  <a:lnTo>
                    <a:pt x="10566" y="59527"/>
                  </a:lnTo>
                  <a:lnTo>
                    <a:pt x="9434" y="58584"/>
                  </a:lnTo>
                  <a:lnTo>
                    <a:pt x="8207" y="57546"/>
                  </a:lnTo>
                  <a:lnTo>
                    <a:pt x="7547" y="56886"/>
                  </a:lnTo>
                  <a:lnTo>
                    <a:pt x="6981" y="56131"/>
                  </a:lnTo>
                  <a:lnTo>
                    <a:pt x="6226" y="55094"/>
                  </a:lnTo>
                  <a:lnTo>
                    <a:pt x="6415" y="55377"/>
                  </a:lnTo>
                  <a:lnTo>
                    <a:pt x="6038" y="54905"/>
                  </a:lnTo>
                  <a:lnTo>
                    <a:pt x="5472" y="54244"/>
                  </a:lnTo>
                  <a:lnTo>
                    <a:pt x="5283" y="53961"/>
                  </a:lnTo>
                  <a:lnTo>
                    <a:pt x="5094" y="53867"/>
                  </a:lnTo>
                  <a:lnTo>
                    <a:pt x="5377" y="54622"/>
                  </a:lnTo>
                  <a:lnTo>
                    <a:pt x="5849" y="55282"/>
                  </a:lnTo>
                  <a:lnTo>
                    <a:pt x="6321" y="55943"/>
                  </a:lnTo>
                  <a:lnTo>
                    <a:pt x="6698" y="56603"/>
                  </a:lnTo>
                  <a:lnTo>
                    <a:pt x="6226" y="56226"/>
                  </a:lnTo>
                  <a:lnTo>
                    <a:pt x="5943" y="55848"/>
                  </a:lnTo>
                  <a:lnTo>
                    <a:pt x="6038" y="56037"/>
                  </a:lnTo>
                  <a:lnTo>
                    <a:pt x="5943" y="55943"/>
                  </a:lnTo>
                  <a:lnTo>
                    <a:pt x="5377" y="55188"/>
                  </a:lnTo>
                  <a:lnTo>
                    <a:pt x="5000" y="54716"/>
                  </a:lnTo>
                  <a:lnTo>
                    <a:pt x="4717" y="54150"/>
                  </a:lnTo>
                  <a:lnTo>
                    <a:pt x="4528" y="53678"/>
                  </a:lnTo>
                  <a:lnTo>
                    <a:pt x="4528" y="53584"/>
                  </a:lnTo>
                  <a:lnTo>
                    <a:pt x="4623" y="53395"/>
                  </a:lnTo>
                  <a:lnTo>
                    <a:pt x="5094" y="54244"/>
                  </a:lnTo>
                  <a:lnTo>
                    <a:pt x="4717" y="53301"/>
                  </a:lnTo>
                  <a:lnTo>
                    <a:pt x="4528" y="53018"/>
                  </a:lnTo>
                  <a:lnTo>
                    <a:pt x="4151" y="52263"/>
                  </a:lnTo>
                  <a:lnTo>
                    <a:pt x="4151" y="52169"/>
                  </a:lnTo>
                  <a:lnTo>
                    <a:pt x="3774" y="51509"/>
                  </a:lnTo>
                  <a:lnTo>
                    <a:pt x="3396" y="50660"/>
                  </a:lnTo>
                  <a:lnTo>
                    <a:pt x="3585" y="51603"/>
                  </a:lnTo>
                  <a:lnTo>
                    <a:pt x="3396" y="51226"/>
                  </a:lnTo>
                  <a:lnTo>
                    <a:pt x="3208" y="50848"/>
                  </a:lnTo>
                  <a:lnTo>
                    <a:pt x="3208" y="50471"/>
                  </a:lnTo>
                  <a:lnTo>
                    <a:pt x="3208" y="50094"/>
                  </a:lnTo>
                  <a:lnTo>
                    <a:pt x="3585" y="50754"/>
                  </a:lnTo>
                  <a:lnTo>
                    <a:pt x="3868" y="51509"/>
                  </a:lnTo>
                  <a:lnTo>
                    <a:pt x="3868" y="51509"/>
                  </a:lnTo>
                  <a:lnTo>
                    <a:pt x="3208" y="49528"/>
                  </a:lnTo>
                  <a:lnTo>
                    <a:pt x="3208" y="49528"/>
                  </a:lnTo>
                  <a:lnTo>
                    <a:pt x="3868" y="50754"/>
                  </a:lnTo>
                  <a:lnTo>
                    <a:pt x="3208" y="48962"/>
                  </a:lnTo>
                  <a:lnTo>
                    <a:pt x="3585" y="49339"/>
                  </a:lnTo>
                  <a:lnTo>
                    <a:pt x="3774" y="49433"/>
                  </a:lnTo>
                  <a:lnTo>
                    <a:pt x="3962" y="49528"/>
                  </a:lnTo>
                  <a:lnTo>
                    <a:pt x="4057" y="49905"/>
                  </a:lnTo>
                  <a:lnTo>
                    <a:pt x="3868" y="48962"/>
                  </a:lnTo>
                  <a:lnTo>
                    <a:pt x="3491" y="47924"/>
                  </a:lnTo>
                  <a:lnTo>
                    <a:pt x="2641" y="45565"/>
                  </a:lnTo>
                  <a:lnTo>
                    <a:pt x="2170" y="43867"/>
                  </a:lnTo>
                  <a:lnTo>
                    <a:pt x="1698" y="41886"/>
                  </a:lnTo>
                  <a:lnTo>
                    <a:pt x="1698" y="41886"/>
                  </a:lnTo>
                  <a:lnTo>
                    <a:pt x="1887" y="42075"/>
                  </a:lnTo>
                  <a:lnTo>
                    <a:pt x="1981" y="41981"/>
                  </a:lnTo>
                  <a:lnTo>
                    <a:pt x="2075" y="42075"/>
                  </a:lnTo>
                  <a:lnTo>
                    <a:pt x="2264" y="42169"/>
                  </a:lnTo>
                  <a:lnTo>
                    <a:pt x="2170" y="40283"/>
                  </a:lnTo>
                  <a:lnTo>
                    <a:pt x="2075" y="38301"/>
                  </a:lnTo>
                  <a:lnTo>
                    <a:pt x="2170" y="36415"/>
                  </a:lnTo>
                  <a:lnTo>
                    <a:pt x="2358" y="35566"/>
                  </a:lnTo>
                  <a:lnTo>
                    <a:pt x="2453" y="34811"/>
                  </a:lnTo>
                  <a:lnTo>
                    <a:pt x="2830" y="32830"/>
                  </a:lnTo>
                  <a:lnTo>
                    <a:pt x="2830" y="33207"/>
                  </a:lnTo>
                  <a:lnTo>
                    <a:pt x="2924" y="33490"/>
                  </a:lnTo>
                  <a:lnTo>
                    <a:pt x="2924" y="32453"/>
                  </a:lnTo>
                  <a:lnTo>
                    <a:pt x="3019" y="31415"/>
                  </a:lnTo>
                  <a:lnTo>
                    <a:pt x="3396" y="29245"/>
                  </a:lnTo>
                  <a:lnTo>
                    <a:pt x="3868" y="27075"/>
                  </a:lnTo>
                  <a:lnTo>
                    <a:pt x="4623" y="25000"/>
                  </a:lnTo>
                  <a:lnTo>
                    <a:pt x="5566" y="22830"/>
                  </a:lnTo>
                  <a:lnTo>
                    <a:pt x="6604" y="20849"/>
                  </a:lnTo>
                  <a:lnTo>
                    <a:pt x="7830" y="18868"/>
                  </a:lnTo>
                  <a:lnTo>
                    <a:pt x="9151" y="16887"/>
                  </a:lnTo>
                  <a:lnTo>
                    <a:pt x="10566" y="15094"/>
                  </a:lnTo>
                  <a:lnTo>
                    <a:pt x="12075" y="13302"/>
                  </a:lnTo>
                  <a:lnTo>
                    <a:pt x="13773" y="11698"/>
                  </a:lnTo>
                  <a:lnTo>
                    <a:pt x="15377" y="10095"/>
                  </a:lnTo>
                  <a:lnTo>
                    <a:pt x="17170" y="8679"/>
                  </a:lnTo>
                  <a:lnTo>
                    <a:pt x="18962" y="7453"/>
                  </a:lnTo>
                  <a:lnTo>
                    <a:pt x="20754" y="6321"/>
                  </a:lnTo>
                  <a:lnTo>
                    <a:pt x="22547" y="5378"/>
                  </a:lnTo>
                  <a:lnTo>
                    <a:pt x="21603" y="6227"/>
                  </a:lnTo>
                  <a:lnTo>
                    <a:pt x="22641" y="5472"/>
                  </a:lnTo>
                  <a:lnTo>
                    <a:pt x="23302" y="5095"/>
                  </a:lnTo>
                  <a:lnTo>
                    <a:pt x="25377" y="4151"/>
                  </a:lnTo>
                  <a:lnTo>
                    <a:pt x="24811" y="4151"/>
                  </a:lnTo>
                  <a:lnTo>
                    <a:pt x="25660" y="3774"/>
                  </a:lnTo>
                  <a:lnTo>
                    <a:pt x="26886" y="3208"/>
                  </a:lnTo>
                  <a:lnTo>
                    <a:pt x="26603" y="3585"/>
                  </a:lnTo>
                  <a:lnTo>
                    <a:pt x="26886" y="3585"/>
                  </a:lnTo>
                  <a:lnTo>
                    <a:pt x="26886" y="3680"/>
                  </a:lnTo>
                  <a:lnTo>
                    <a:pt x="26792" y="3774"/>
                  </a:lnTo>
                  <a:lnTo>
                    <a:pt x="28301" y="3302"/>
                  </a:lnTo>
                  <a:lnTo>
                    <a:pt x="29622" y="2736"/>
                  </a:lnTo>
                  <a:lnTo>
                    <a:pt x="31037" y="2264"/>
                  </a:lnTo>
                  <a:lnTo>
                    <a:pt x="31792" y="2076"/>
                  </a:lnTo>
                  <a:lnTo>
                    <a:pt x="32641" y="1981"/>
                  </a:lnTo>
                  <a:lnTo>
                    <a:pt x="32547" y="2076"/>
                  </a:lnTo>
                  <a:lnTo>
                    <a:pt x="32924" y="1981"/>
                  </a:lnTo>
                  <a:lnTo>
                    <a:pt x="34245" y="1793"/>
                  </a:lnTo>
                  <a:lnTo>
                    <a:pt x="35848" y="1415"/>
                  </a:lnTo>
                  <a:lnTo>
                    <a:pt x="36981" y="1132"/>
                  </a:lnTo>
                  <a:lnTo>
                    <a:pt x="36981" y="1415"/>
                  </a:lnTo>
                  <a:lnTo>
                    <a:pt x="40943" y="1227"/>
                  </a:lnTo>
                  <a:lnTo>
                    <a:pt x="41509" y="1038"/>
                  </a:lnTo>
                  <a:lnTo>
                    <a:pt x="41697" y="1132"/>
                  </a:lnTo>
                  <a:lnTo>
                    <a:pt x="41509" y="1227"/>
                  </a:lnTo>
                  <a:lnTo>
                    <a:pt x="41320" y="1321"/>
                  </a:lnTo>
                  <a:lnTo>
                    <a:pt x="42263" y="1321"/>
                  </a:lnTo>
                  <a:lnTo>
                    <a:pt x="43113" y="1227"/>
                  </a:lnTo>
                  <a:lnTo>
                    <a:pt x="43396" y="1415"/>
                  </a:lnTo>
                  <a:lnTo>
                    <a:pt x="44056" y="1604"/>
                  </a:lnTo>
                  <a:lnTo>
                    <a:pt x="45943" y="2076"/>
                  </a:lnTo>
                  <a:lnTo>
                    <a:pt x="48018" y="2359"/>
                  </a:lnTo>
                  <a:lnTo>
                    <a:pt x="49622" y="2736"/>
                  </a:lnTo>
                  <a:lnTo>
                    <a:pt x="47641" y="1981"/>
                  </a:lnTo>
                  <a:lnTo>
                    <a:pt x="45282" y="1321"/>
                  </a:lnTo>
                  <a:lnTo>
                    <a:pt x="42735" y="755"/>
                  </a:lnTo>
                  <a:lnTo>
                    <a:pt x="40188" y="283"/>
                  </a:lnTo>
                  <a:lnTo>
                    <a:pt x="37735" y="95"/>
                  </a:lnTo>
                  <a:lnTo>
                    <a:pt x="35471" y="0"/>
                  </a:lnTo>
                  <a:close/>
                </a:path>
              </a:pathLst>
            </a:custGeom>
            <a:solidFill>
              <a:srgbClr val="FF0000"/>
            </a:solidFill>
            <a:ln>
              <a:noFill/>
            </a:ln>
          </p:spPr>
          <p:txBody>
            <a:bodyPr spcFirstLastPara="1" wrap="square" lIns="91425" tIns="91425" rIns="91425" bIns="91425" anchor="ctr" anchorCtr="0">
              <a:noAutofit/>
            </a:bodyPr>
            <a:lstStyle/>
            <a:p>
              <a:pPr marL="0" lvl="0" indent="0">
                <a:spcBef>
                  <a:spcPts val="0"/>
                </a:spcBef>
                <a:spcAft>
                  <a:spcPts val="0"/>
                </a:spcAft>
                <a:buNone/>
              </a:pPr>
              <a:endParaRPr sz="800">
                <a:latin typeface="Comic Sans MS" panose="030F0902030302020204" pitchFamily="66" charset="0"/>
              </a:endParaRPr>
            </a:p>
          </p:txBody>
        </p:sp>
        <p:sp>
          <p:nvSpPr>
            <p:cNvPr id="507" name="TextBox 506">
              <a:extLst>
                <a:ext uri="{FF2B5EF4-FFF2-40B4-BE49-F238E27FC236}">
                  <a16:creationId xmlns:a16="http://schemas.microsoft.com/office/drawing/2014/main" id="{7CF0D292-BCA8-3040-B2AB-8764CFD8EBCD}"/>
                </a:ext>
              </a:extLst>
            </p:cNvPr>
            <p:cNvSpPr txBox="1"/>
            <p:nvPr/>
          </p:nvSpPr>
          <p:spPr>
            <a:xfrm>
              <a:off x="682633" y="1248826"/>
              <a:ext cx="477191" cy="160552"/>
            </a:xfrm>
            <a:prstGeom prst="rect">
              <a:avLst/>
            </a:prstGeom>
            <a:noFill/>
          </p:spPr>
          <p:txBody>
            <a:bodyPr wrap="square" rtlCol="0">
              <a:spAutoFit/>
            </a:bodyPr>
            <a:lstStyle/>
            <a:p>
              <a:r>
                <a:rPr lang="en-US" sz="200" dirty="0">
                  <a:solidFill>
                    <a:srgbClr val="FF0000"/>
                  </a:solidFill>
                  <a:latin typeface="Comic Sans MS" panose="030F0902030302020204" pitchFamily="66" charset="0"/>
                </a:rPr>
                <a:t>n…</a:t>
              </a:r>
            </a:p>
          </p:txBody>
        </p:sp>
      </p:grpSp>
      <p:grpSp>
        <p:nvGrpSpPr>
          <p:cNvPr id="508" name="Group 507">
            <a:extLst>
              <a:ext uri="{FF2B5EF4-FFF2-40B4-BE49-F238E27FC236}">
                <a16:creationId xmlns:a16="http://schemas.microsoft.com/office/drawing/2014/main" id="{D09FEC70-D3A2-934E-B986-8DB4E888A941}"/>
              </a:ext>
            </a:extLst>
          </p:cNvPr>
          <p:cNvGrpSpPr/>
          <p:nvPr/>
        </p:nvGrpSpPr>
        <p:grpSpPr>
          <a:xfrm rot="21011211">
            <a:off x="564269" y="5139875"/>
            <a:ext cx="292910" cy="222927"/>
            <a:chOff x="702590" y="1203599"/>
            <a:chExt cx="301686" cy="290724"/>
          </a:xfrm>
        </p:grpSpPr>
        <p:sp>
          <p:nvSpPr>
            <p:cNvPr id="509" name="Google Shape;431;p39">
              <a:extLst>
                <a:ext uri="{FF2B5EF4-FFF2-40B4-BE49-F238E27FC236}">
                  <a16:creationId xmlns:a16="http://schemas.microsoft.com/office/drawing/2014/main" id="{B1DADD5B-7DEB-8A4A-871C-11A901FC94D9}"/>
                </a:ext>
              </a:extLst>
            </p:cNvPr>
            <p:cNvSpPr/>
            <p:nvPr/>
          </p:nvSpPr>
          <p:spPr>
            <a:xfrm>
              <a:off x="736556" y="1203599"/>
              <a:ext cx="219241" cy="290724"/>
            </a:xfrm>
            <a:custGeom>
              <a:avLst/>
              <a:gdLst/>
              <a:ahLst/>
              <a:cxnLst/>
              <a:rect l="0" t="0" r="0" b="0"/>
              <a:pathLst>
                <a:path w="67641" h="69056" extrusionOk="0">
                  <a:moveTo>
                    <a:pt x="49622" y="2736"/>
                  </a:moveTo>
                  <a:lnTo>
                    <a:pt x="49622" y="2736"/>
                  </a:lnTo>
                  <a:lnTo>
                    <a:pt x="49622" y="2736"/>
                  </a:lnTo>
                  <a:close/>
                  <a:moveTo>
                    <a:pt x="59622" y="55565"/>
                  </a:moveTo>
                  <a:lnTo>
                    <a:pt x="59622" y="55565"/>
                  </a:lnTo>
                  <a:lnTo>
                    <a:pt x="59622" y="55565"/>
                  </a:lnTo>
                  <a:close/>
                  <a:moveTo>
                    <a:pt x="35471" y="0"/>
                  </a:moveTo>
                  <a:lnTo>
                    <a:pt x="34433" y="95"/>
                  </a:lnTo>
                  <a:lnTo>
                    <a:pt x="33584" y="189"/>
                  </a:lnTo>
                  <a:lnTo>
                    <a:pt x="32735" y="378"/>
                  </a:lnTo>
                  <a:lnTo>
                    <a:pt x="32169" y="566"/>
                  </a:lnTo>
                  <a:lnTo>
                    <a:pt x="31509" y="472"/>
                  </a:lnTo>
                  <a:lnTo>
                    <a:pt x="30754" y="472"/>
                  </a:lnTo>
                  <a:lnTo>
                    <a:pt x="29339" y="566"/>
                  </a:lnTo>
                  <a:lnTo>
                    <a:pt x="27830" y="849"/>
                  </a:lnTo>
                  <a:lnTo>
                    <a:pt x="26320" y="1321"/>
                  </a:lnTo>
                  <a:lnTo>
                    <a:pt x="24811" y="1981"/>
                  </a:lnTo>
                  <a:lnTo>
                    <a:pt x="23207" y="2736"/>
                  </a:lnTo>
                  <a:lnTo>
                    <a:pt x="21698" y="3585"/>
                  </a:lnTo>
                  <a:lnTo>
                    <a:pt x="20188" y="4623"/>
                  </a:lnTo>
                  <a:lnTo>
                    <a:pt x="18679" y="5661"/>
                  </a:lnTo>
                  <a:lnTo>
                    <a:pt x="17170" y="6793"/>
                  </a:lnTo>
                  <a:lnTo>
                    <a:pt x="15754" y="8019"/>
                  </a:lnTo>
                  <a:lnTo>
                    <a:pt x="14434" y="9151"/>
                  </a:lnTo>
                  <a:lnTo>
                    <a:pt x="11981" y="11510"/>
                  </a:lnTo>
                  <a:lnTo>
                    <a:pt x="10000" y="13774"/>
                  </a:lnTo>
                  <a:lnTo>
                    <a:pt x="7736" y="16981"/>
                  </a:lnTo>
                  <a:lnTo>
                    <a:pt x="8019" y="16321"/>
                  </a:lnTo>
                  <a:lnTo>
                    <a:pt x="8302" y="15660"/>
                  </a:lnTo>
                  <a:lnTo>
                    <a:pt x="7736" y="16604"/>
                  </a:lnTo>
                  <a:lnTo>
                    <a:pt x="7075" y="17642"/>
                  </a:lnTo>
                  <a:lnTo>
                    <a:pt x="7170" y="17830"/>
                  </a:lnTo>
                  <a:lnTo>
                    <a:pt x="6509" y="18868"/>
                  </a:lnTo>
                  <a:lnTo>
                    <a:pt x="7075" y="17359"/>
                  </a:lnTo>
                  <a:lnTo>
                    <a:pt x="6132" y="19057"/>
                  </a:lnTo>
                  <a:lnTo>
                    <a:pt x="5189" y="20849"/>
                  </a:lnTo>
                  <a:lnTo>
                    <a:pt x="4434" y="22736"/>
                  </a:lnTo>
                  <a:lnTo>
                    <a:pt x="3679" y="24622"/>
                  </a:lnTo>
                  <a:lnTo>
                    <a:pt x="2453" y="28490"/>
                  </a:lnTo>
                  <a:lnTo>
                    <a:pt x="1321" y="32169"/>
                  </a:lnTo>
                  <a:lnTo>
                    <a:pt x="1509" y="32264"/>
                  </a:lnTo>
                  <a:lnTo>
                    <a:pt x="1604" y="32453"/>
                  </a:lnTo>
                  <a:lnTo>
                    <a:pt x="1604" y="32641"/>
                  </a:lnTo>
                  <a:lnTo>
                    <a:pt x="1509" y="32924"/>
                  </a:lnTo>
                  <a:lnTo>
                    <a:pt x="1226" y="33396"/>
                  </a:lnTo>
                  <a:lnTo>
                    <a:pt x="1038" y="33585"/>
                  </a:lnTo>
                  <a:lnTo>
                    <a:pt x="1038" y="33773"/>
                  </a:lnTo>
                  <a:lnTo>
                    <a:pt x="1038" y="35000"/>
                  </a:lnTo>
                  <a:lnTo>
                    <a:pt x="849" y="36132"/>
                  </a:lnTo>
                  <a:lnTo>
                    <a:pt x="660" y="37358"/>
                  </a:lnTo>
                  <a:lnTo>
                    <a:pt x="472" y="38867"/>
                  </a:lnTo>
                  <a:lnTo>
                    <a:pt x="283" y="38301"/>
                  </a:lnTo>
                  <a:lnTo>
                    <a:pt x="94" y="39811"/>
                  </a:lnTo>
                  <a:lnTo>
                    <a:pt x="0" y="41509"/>
                  </a:lnTo>
                  <a:lnTo>
                    <a:pt x="94" y="43301"/>
                  </a:lnTo>
                  <a:lnTo>
                    <a:pt x="283" y="44056"/>
                  </a:lnTo>
                  <a:lnTo>
                    <a:pt x="472" y="44622"/>
                  </a:lnTo>
                  <a:lnTo>
                    <a:pt x="566" y="45660"/>
                  </a:lnTo>
                  <a:lnTo>
                    <a:pt x="755" y="46792"/>
                  </a:lnTo>
                  <a:lnTo>
                    <a:pt x="1226" y="48962"/>
                  </a:lnTo>
                  <a:lnTo>
                    <a:pt x="1981" y="51037"/>
                  </a:lnTo>
                  <a:lnTo>
                    <a:pt x="2924" y="53112"/>
                  </a:lnTo>
                  <a:lnTo>
                    <a:pt x="4057" y="55094"/>
                  </a:lnTo>
                  <a:lnTo>
                    <a:pt x="5283" y="56980"/>
                  </a:lnTo>
                  <a:lnTo>
                    <a:pt x="6698" y="58678"/>
                  </a:lnTo>
                  <a:lnTo>
                    <a:pt x="8113" y="60282"/>
                  </a:lnTo>
                  <a:lnTo>
                    <a:pt x="9056" y="61131"/>
                  </a:lnTo>
                  <a:lnTo>
                    <a:pt x="10000" y="61980"/>
                  </a:lnTo>
                  <a:lnTo>
                    <a:pt x="11038" y="62829"/>
                  </a:lnTo>
                  <a:lnTo>
                    <a:pt x="12075" y="63584"/>
                  </a:lnTo>
                  <a:lnTo>
                    <a:pt x="14339" y="64905"/>
                  </a:lnTo>
                  <a:lnTo>
                    <a:pt x="16604" y="66131"/>
                  </a:lnTo>
                  <a:lnTo>
                    <a:pt x="19056" y="67169"/>
                  </a:lnTo>
                  <a:lnTo>
                    <a:pt x="21509" y="67923"/>
                  </a:lnTo>
                  <a:lnTo>
                    <a:pt x="24056" y="68584"/>
                  </a:lnTo>
                  <a:lnTo>
                    <a:pt x="26603" y="69055"/>
                  </a:lnTo>
                  <a:lnTo>
                    <a:pt x="27830" y="69055"/>
                  </a:lnTo>
                  <a:lnTo>
                    <a:pt x="30188" y="68867"/>
                  </a:lnTo>
                  <a:lnTo>
                    <a:pt x="33113" y="68678"/>
                  </a:lnTo>
                  <a:lnTo>
                    <a:pt x="36509" y="68301"/>
                  </a:lnTo>
                  <a:lnTo>
                    <a:pt x="39811" y="67923"/>
                  </a:lnTo>
                  <a:lnTo>
                    <a:pt x="42735" y="67452"/>
                  </a:lnTo>
                  <a:lnTo>
                    <a:pt x="44905" y="66980"/>
                  </a:lnTo>
                  <a:lnTo>
                    <a:pt x="45565" y="66791"/>
                  </a:lnTo>
                  <a:lnTo>
                    <a:pt x="45943" y="66508"/>
                  </a:lnTo>
                  <a:lnTo>
                    <a:pt x="47358" y="65942"/>
                  </a:lnTo>
                  <a:lnTo>
                    <a:pt x="48018" y="65565"/>
                  </a:lnTo>
                  <a:lnTo>
                    <a:pt x="48678" y="65188"/>
                  </a:lnTo>
                  <a:lnTo>
                    <a:pt x="47924" y="65471"/>
                  </a:lnTo>
                  <a:lnTo>
                    <a:pt x="51509" y="62924"/>
                  </a:lnTo>
                  <a:lnTo>
                    <a:pt x="53301" y="61508"/>
                  </a:lnTo>
                  <a:lnTo>
                    <a:pt x="55093" y="59905"/>
                  </a:lnTo>
                  <a:lnTo>
                    <a:pt x="55093" y="59905"/>
                  </a:lnTo>
                  <a:lnTo>
                    <a:pt x="54810" y="60376"/>
                  </a:lnTo>
                  <a:lnTo>
                    <a:pt x="54339" y="60754"/>
                  </a:lnTo>
                  <a:lnTo>
                    <a:pt x="55376" y="59999"/>
                  </a:lnTo>
                  <a:lnTo>
                    <a:pt x="56320" y="59056"/>
                  </a:lnTo>
                  <a:lnTo>
                    <a:pt x="57075" y="58395"/>
                  </a:lnTo>
                  <a:lnTo>
                    <a:pt x="57169" y="58207"/>
                  </a:lnTo>
                  <a:lnTo>
                    <a:pt x="57075" y="58207"/>
                  </a:lnTo>
                  <a:lnTo>
                    <a:pt x="57924" y="57546"/>
                  </a:lnTo>
                  <a:lnTo>
                    <a:pt x="58678" y="56697"/>
                  </a:lnTo>
                  <a:lnTo>
                    <a:pt x="59339" y="55754"/>
                  </a:lnTo>
                  <a:lnTo>
                    <a:pt x="59905" y="54905"/>
                  </a:lnTo>
                  <a:lnTo>
                    <a:pt x="59716" y="54999"/>
                  </a:lnTo>
                  <a:lnTo>
                    <a:pt x="59622" y="54999"/>
                  </a:lnTo>
                  <a:lnTo>
                    <a:pt x="59810" y="54622"/>
                  </a:lnTo>
                  <a:lnTo>
                    <a:pt x="59150" y="55565"/>
                  </a:lnTo>
                  <a:lnTo>
                    <a:pt x="59527" y="55094"/>
                  </a:lnTo>
                  <a:lnTo>
                    <a:pt x="59433" y="55377"/>
                  </a:lnTo>
                  <a:lnTo>
                    <a:pt x="58867" y="56037"/>
                  </a:lnTo>
                  <a:lnTo>
                    <a:pt x="59056" y="55660"/>
                  </a:lnTo>
                  <a:lnTo>
                    <a:pt x="59056" y="55660"/>
                  </a:lnTo>
                  <a:lnTo>
                    <a:pt x="58678" y="56037"/>
                  </a:lnTo>
                  <a:lnTo>
                    <a:pt x="59810" y="54339"/>
                  </a:lnTo>
                  <a:lnTo>
                    <a:pt x="60282" y="53490"/>
                  </a:lnTo>
                  <a:lnTo>
                    <a:pt x="60282" y="53301"/>
                  </a:lnTo>
                  <a:lnTo>
                    <a:pt x="60188" y="53395"/>
                  </a:lnTo>
                  <a:lnTo>
                    <a:pt x="60188" y="53395"/>
                  </a:lnTo>
                  <a:lnTo>
                    <a:pt x="60565" y="52924"/>
                  </a:lnTo>
                  <a:lnTo>
                    <a:pt x="61037" y="52452"/>
                  </a:lnTo>
                  <a:lnTo>
                    <a:pt x="61886" y="51509"/>
                  </a:lnTo>
                  <a:lnTo>
                    <a:pt x="61508" y="52452"/>
                  </a:lnTo>
                  <a:lnTo>
                    <a:pt x="60848" y="53584"/>
                  </a:lnTo>
                  <a:lnTo>
                    <a:pt x="59622" y="55565"/>
                  </a:lnTo>
                  <a:lnTo>
                    <a:pt x="60376" y="54528"/>
                  </a:lnTo>
                  <a:lnTo>
                    <a:pt x="60942" y="53678"/>
                  </a:lnTo>
                  <a:lnTo>
                    <a:pt x="61980" y="51792"/>
                  </a:lnTo>
                  <a:lnTo>
                    <a:pt x="61886" y="51886"/>
                  </a:lnTo>
                  <a:lnTo>
                    <a:pt x="61886" y="51697"/>
                  </a:lnTo>
                  <a:lnTo>
                    <a:pt x="62169" y="51037"/>
                  </a:lnTo>
                  <a:lnTo>
                    <a:pt x="62735" y="49999"/>
                  </a:lnTo>
                  <a:lnTo>
                    <a:pt x="61508" y="51603"/>
                  </a:lnTo>
                  <a:lnTo>
                    <a:pt x="61603" y="51037"/>
                  </a:lnTo>
                  <a:lnTo>
                    <a:pt x="61697" y="50377"/>
                  </a:lnTo>
                  <a:lnTo>
                    <a:pt x="62169" y="48962"/>
                  </a:lnTo>
                  <a:lnTo>
                    <a:pt x="62829" y="47358"/>
                  </a:lnTo>
                  <a:lnTo>
                    <a:pt x="63678" y="45565"/>
                  </a:lnTo>
                  <a:lnTo>
                    <a:pt x="65376" y="42169"/>
                  </a:lnTo>
                  <a:lnTo>
                    <a:pt x="66131" y="40660"/>
                  </a:lnTo>
                  <a:lnTo>
                    <a:pt x="66697" y="39339"/>
                  </a:lnTo>
                  <a:lnTo>
                    <a:pt x="66603" y="39528"/>
                  </a:lnTo>
                  <a:lnTo>
                    <a:pt x="66697" y="39056"/>
                  </a:lnTo>
                  <a:lnTo>
                    <a:pt x="66791" y="38962"/>
                  </a:lnTo>
                  <a:lnTo>
                    <a:pt x="66791" y="39056"/>
                  </a:lnTo>
                  <a:lnTo>
                    <a:pt x="66886" y="38584"/>
                  </a:lnTo>
                  <a:lnTo>
                    <a:pt x="66791" y="38867"/>
                  </a:lnTo>
                  <a:lnTo>
                    <a:pt x="66980" y="38207"/>
                  </a:lnTo>
                  <a:lnTo>
                    <a:pt x="67169" y="37264"/>
                  </a:lnTo>
                  <a:lnTo>
                    <a:pt x="67263" y="36415"/>
                  </a:lnTo>
                  <a:lnTo>
                    <a:pt x="67357" y="36509"/>
                  </a:lnTo>
                  <a:lnTo>
                    <a:pt x="67452" y="36509"/>
                  </a:lnTo>
                  <a:lnTo>
                    <a:pt x="67546" y="35943"/>
                  </a:lnTo>
                  <a:lnTo>
                    <a:pt x="67546" y="34811"/>
                  </a:lnTo>
                  <a:lnTo>
                    <a:pt x="67640" y="31037"/>
                  </a:lnTo>
                  <a:lnTo>
                    <a:pt x="67640" y="28490"/>
                  </a:lnTo>
                  <a:lnTo>
                    <a:pt x="67546" y="27736"/>
                  </a:lnTo>
                  <a:lnTo>
                    <a:pt x="67546" y="27547"/>
                  </a:lnTo>
                  <a:lnTo>
                    <a:pt x="67452" y="27547"/>
                  </a:lnTo>
                  <a:lnTo>
                    <a:pt x="67074" y="26792"/>
                  </a:lnTo>
                  <a:lnTo>
                    <a:pt x="66791" y="25660"/>
                  </a:lnTo>
                  <a:lnTo>
                    <a:pt x="66508" y="24528"/>
                  </a:lnTo>
                  <a:lnTo>
                    <a:pt x="66414" y="23585"/>
                  </a:lnTo>
                  <a:lnTo>
                    <a:pt x="66320" y="23679"/>
                  </a:lnTo>
                  <a:lnTo>
                    <a:pt x="66320" y="23490"/>
                  </a:lnTo>
                  <a:lnTo>
                    <a:pt x="65942" y="22924"/>
                  </a:lnTo>
                  <a:lnTo>
                    <a:pt x="65565" y="22358"/>
                  </a:lnTo>
                  <a:lnTo>
                    <a:pt x="64527" y="21132"/>
                  </a:lnTo>
                  <a:lnTo>
                    <a:pt x="63584" y="19906"/>
                  </a:lnTo>
                  <a:lnTo>
                    <a:pt x="63207" y="19340"/>
                  </a:lnTo>
                  <a:lnTo>
                    <a:pt x="63018" y="18774"/>
                  </a:lnTo>
                  <a:lnTo>
                    <a:pt x="63112" y="18962"/>
                  </a:lnTo>
                  <a:lnTo>
                    <a:pt x="63301" y="19057"/>
                  </a:lnTo>
                  <a:lnTo>
                    <a:pt x="63301" y="19057"/>
                  </a:lnTo>
                  <a:lnTo>
                    <a:pt x="63207" y="18868"/>
                  </a:lnTo>
                  <a:lnTo>
                    <a:pt x="62923" y="18491"/>
                  </a:lnTo>
                  <a:lnTo>
                    <a:pt x="61980" y="17453"/>
                  </a:lnTo>
                  <a:lnTo>
                    <a:pt x="61037" y="16509"/>
                  </a:lnTo>
                  <a:lnTo>
                    <a:pt x="61037" y="16698"/>
                  </a:lnTo>
                  <a:lnTo>
                    <a:pt x="61037" y="16887"/>
                  </a:lnTo>
                  <a:lnTo>
                    <a:pt x="60093" y="15943"/>
                  </a:lnTo>
                  <a:lnTo>
                    <a:pt x="60376" y="16321"/>
                  </a:lnTo>
                  <a:lnTo>
                    <a:pt x="59527" y="15377"/>
                  </a:lnTo>
                  <a:lnTo>
                    <a:pt x="59056" y="14906"/>
                  </a:lnTo>
                  <a:lnTo>
                    <a:pt x="59244" y="14906"/>
                  </a:lnTo>
                  <a:lnTo>
                    <a:pt x="59905" y="15472"/>
                  </a:lnTo>
                  <a:lnTo>
                    <a:pt x="59905" y="15472"/>
                  </a:lnTo>
                  <a:lnTo>
                    <a:pt x="57641" y="13396"/>
                  </a:lnTo>
                  <a:lnTo>
                    <a:pt x="58112" y="13868"/>
                  </a:lnTo>
                  <a:lnTo>
                    <a:pt x="56886" y="13019"/>
                  </a:lnTo>
                  <a:lnTo>
                    <a:pt x="55754" y="12453"/>
                  </a:lnTo>
                  <a:lnTo>
                    <a:pt x="56603" y="13113"/>
                  </a:lnTo>
                  <a:lnTo>
                    <a:pt x="57452" y="13774"/>
                  </a:lnTo>
                  <a:lnTo>
                    <a:pt x="58961" y="15283"/>
                  </a:lnTo>
                  <a:lnTo>
                    <a:pt x="60376" y="16604"/>
                  </a:lnTo>
                  <a:lnTo>
                    <a:pt x="61225" y="17264"/>
                  </a:lnTo>
                  <a:lnTo>
                    <a:pt x="62074" y="17925"/>
                  </a:lnTo>
                  <a:lnTo>
                    <a:pt x="62074" y="17925"/>
                  </a:lnTo>
                  <a:lnTo>
                    <a:pt x="61414" y="17547"/>
                  </a:lnTo>
                  <a:lnTo>
                    <a:pt x="60659" y="16981"/>
                  </a:lnTo>
                  <a:lnTo>
                    <a:pt x="60754" y="17264"/>
                  </a:lnTo>
                  <a:lnTo>
                    <a:pt x="60942" y="17642"/>
                  </a:lnTo>
                  <a:lnTo>
                    <a:pt x="61980" y="19151"/>
                  </a:lnTo>
                  <a:lnTo>
                    <a:pt x="63301" y="20943"/>
                  </a:lnTo>
                  <a:lnTo>
                    <a:pt x="63207" y="20943"/>
                  </a:lnTo>
                  <a:lnTo>
                    <a:pt x="63395" y="21038"/>
                  </a:lnTo>
                  <a:lnTo>
                    <a:pt x="63490" y="21321"/>
                  </a:lnTo>
                  <a:lnTo>
                    <a:pt x="63678" y="21604"/>
                  </a:lnTo>
                  <a:lnTo>
                    <a:pt x="63773" y="21698"/>
                  </a:lnTo>
                  <a:lnTo>
                    <a:pt x="63584" y="21321"/>
                  </a:lnTo>
                  <a:lnTo>
                    <a:pt x="63584" y="21321"/>
                  </a:lnTo>
                  <a:lnTo>
                    <a:pt x="64244" y="22170"/>
                  </a:lnTo>
                  <a:lnTo>
                    <a:pt x="64716" y="22641"/>
                  </a:lnTo>
                  <a:lnTo>
                    <a:pt x="64905" y="22830"/>
                  </a:lnTo>
                  <a:lnTo>
                    <a:pt x="64999" y="22830"/>
                  </a:lnTo>
                  <a:lnTo>
                    <a:pt x="64999" y="22641"/>
                  </a:lnTo>
                  <a:lnTo>
                    <a:pt x="64905" y="22358"/>
                  </a:lnTo>
                  <a:lnTo>
                    <a:pt x="65282" y="23207"/>
                  </a:lnTo>
                  <a:lnTo>
                    <a:pt x="65565" y="24056"/>
                  </a:lnTo>
                  <a:lnTo>
                    <a:pt x="66225" y="25943"/>
                  </a:lnTo>
                  <a:lnTo>
                    <a:pt x="66697" y="27830"/>
                  </a:lnTo>
                  <a:lnTo>
                    <a:pt x="66886" y="28490"/>
                  </a:lnTo>
                  <a:lnTo>
                    <a:pt x="66980" y="28868"/>
                  </a:lnTo>
                  <a:lnTo>
                    <a:pt x="66886" y="28962"/>
                  </a:lnTo>
                  <a:lnTo>
                    <a:pt x="66697" y="28679"/>
                  </a:lnTo>
                  <a:lnTo>
                    <a:pt x="66697" y="29245"/>
                  </a:lnTo>
                  <a:lnTo>
                    <a:pt x="66791" y="29905"/>
                  </a:lnTo>
                  <a:lnTo>
                    <a:pt x="66886" y="29905"/>
                  </a:lnTo>
                  <a:lnTo>
                    <a:pt x="66886" y="30094"/>
                  </a:lnTo>
                  <a:lnTo>
                    <a:pt x="66886" y="30566"/>
                  </a:lnTo>
                  <a:lnTo>
                    <a:pt x="66697" y="30377"/>
                  </a:lnTo>
                  <a:lnTo>
                    <a:pt x="66603" y="30188"/>
                  </a:lnTo>
                  <a:lnTo>
                    <a:pt x="66603" y="30094"/>
                  </a:lnTo>
                  <a:lnTo>
                    <a:pt x="66697" y="29905"/>
                  </a:lnTo>
                  <a:lnTo>
                    <a:pt x="66508" y="28679"/>
                  </a:lnTo>
                  <a:lnTo>
                    <a:pt x="66225" y="27358"/>
                  </a:lnTo>
                  <a:lnTo>
                    <a:pt x="66603" y="30283"/>
                  </a:lnTo>
                  <a:lnTo>
                    <a:pt x="66697" y="31792"/>
                  </a:lnTo>
                  <a:lnTo>
                    <a:pt x="66697" y="33302"/>
                  </a:lnTo>
                  <a:lnTo>
                    <a:pt x="66603" y="34717"/>
                  </a:lnTo>
                  <a:lnTo>
                    <a:pt x="66414" y="36226"/>
                  </a:lnTo>
                  <a:lnTo>
                    <a:pt x="66131" y="37547"/>
                  </a:lnTo>
                  <a:lnTo>
                    <a:pt x="65659" y="38962"/>
                  </a:lnTo>
                  <a:lnTo>
                    <a:pt x="65848" y="38584"/>
                  </a:lnTo>
                  <a:lnTo>
                    <a:pt x="65942" y="38584"/>
                  </a:lnTo>
                  <a:lnTo>
                    <a:pt x="65848" y="39245"/>
                  </a:lnTo>
                  <a:lnTo>
                    <a:pt x="65565" y="40188"/>
                  </a:lnTo>
                  <a:lnTo>
                    <a:pt x="65471" y="40471"/>
                  </a:lnTo>
                  <a:lnTo>
                    <a:pt x="65282" y="40660"/>
                  </a:lnTo>
                  <a:lnTo>
                    <a:pt x="65282" y="40566"/>
                  </a:lnTo>
                  <a:lnTo>
                    <a:pt x="65093" y="41132"/>
                  </a:lnTo>
                  <a:lnTo>
                    <a:pt x="64433" y="43018"/>
                  </a:lnTo>
                  <a:lnTo>
                    <a:pt x="63678" y="45282"/>
                  </a:lnTo>
                  <a:lnTo>
                    <a:pt x="62735" y="47264"/>
                  </a:lnTo>
                  <a:lnTo>
                    <a:pt x="61697" y="49056"/>
                  </a:lnTo>
                  <a:lnTo>
                    <a:pt x="60659" y="50943"/>
                  </a:lnTo>
                  <a:lnTo>
                    <a:pt x="59433" y="52735"/>
                  </a:lnTo>
                  <a:lnTo>
                    <a:pt x="58207" y="54433"/>
                  </a:lnTo>
                  <a:lnTo>
                    <a:pt x="56886" y="56037"/>
                  </a:lnTo>
                  <a:lnTo>
                    <a:pt x="55376" y="57641"/>
                  </a:lnTo>
                  <a:lnTo>
                    <a:pt x="53867" y="59150"/>
                  </a:lnTo>
                  <a:lnTo>
                    <a:pt x="52169" y="60376"/>
                  </a:lnTo>
                  <a:lnTo>
                    <a:pt x="48961" y="62452"/>
                  </a:lnTo>
                  <a:lnTo>
                    <a:pt x="44528" y="65282"/>
                  </a:lnTo>
                  <a:lnTo>
                    <a:pt x="44622" y="65188"/>
                  </a:lnTo>
                  <a:lnTo>
                    <a:pt x="44716" y="65093"/>
                  </a:lnTo>
                  <a:lnTo>
                    <a:pt x="45094" y="64810"/>
                  </a:lnTo>
                  <a:lnTo>
                    <a:pt x="45660" y="64527"/>
                  </a:lnTo>
                  <a:lnTo>
                    <a:pt x="43867" y="65376"/>
                  </a:lnTo>
                  <a:lnTo>
                    <a:pt x="43113" y="65754"/>
                  </a:lnTo>
                  <a:lnTo>
                    <a:pt x="42924" y="65754"/>
                  </a:lnTo>
                  <a:lnTo>
                    <a:pt x="43113" y="65659"/>
                  </a:lnTo>
                  <a:lnTo>
                    <a:pt x="41603" y="66037"/>
                  </a:lnTo>
                  <a:lnTo>
                    <a:pt x="39999" y="66320"/>
                  </a:lnTo>
                  <a:lnTo>
                    <a:pt x="38396" y="66508"/>
                  </a:lnTo>
                  <a:lnTo>
                    <a:pt x="36792" y="66697"/>
                  </a:lnTo>
                  <a:lnTo>
                    <a:pt x="33584" y="66980"/>
                  </a:lnTo>
                  <a:lnTo>
                    <a:pt x="32169" y="67169"/>
                  </a:lnTo>
                  <a:lnTo>
                    <a:pt x="30754" y="67357"/>
                  </a:lnTo>
                  <a:lnTo>
                    <a:pt x="30094" y="67357"/>
                  </a:lnTo>
                  <a:lnTo>
                    <a:pt x="29339" y="67263"/>
                  </a:lnTo>
                  <a:lnTo>
                    <a:pt x="27830" y="66886"/>
                  </a:lnTo>
                  <a:lnTo>
                    <a:pt x="26415" y="66508"/>
                  </a:lnTo>
                  <a:lnTo>
                    <a:pt x="25754" y="66414"/>
                  </a:lnTo>
                  <a:lnTo>
                    <a:pt x="25094" y="66414"/>
                  </a:lnTo>
                  <a:lnTo>
                    <a:pt x="25566" y="66980"/>
                  </a:lnTo>
                  <a:lnTo>
                    <a:pt x="25471" y="67074"/>
                  </a:lnTo>
                  <a:lnTo>
                    <a:pt x="25188" y="66980"/>
                  </a:lnTo>
                  <a:lnTo>
                    <a:pt x="24339" y="66791"/>
                  </a:lnTo>
                  <a:lnTo>
                    <a:pt x="23773" y="66508"/>
                  </a:lnTo>
                  <a:lnTo>
                    <a:pt x="24245" y="66414"/>
                  </a:lnTo>
                  <a:lnTo>
                    <a:pt x="24717" y="66603"/>
                  </a:lnTo>
                  <a:lnTo>
                    <a:pt x="24811" y="66414"/>
                  </a:lnTo>
                  <a:lnTo>
                    <a:pt x="24811" y="66320"/>
                  </a:lnTo>
                  <a:lnTo>
                    <a:pt x="24717" y="66225"/>
                  </a:lnTo>
                  <a:lnTo>
                    <a:pt x="24528" y="66131"/>
                  </a:lnTo>
                  <a:lnTo>
                    <a:pt x="24151" y="66225"/>
                  </a:lnTo>
                  <a:lnTo>
                    <a:pt x="23679" y="66320"/>
                  </a:lnTo>
                  <a:lnTo>
                    <a:pt x="23018" y="66414"/>
                  </a:lnTo>
                  <a:lnTo>
                    <a:pt x="23490" y="66225"/>
                  </a:lnTo>
                  <a:lnTo>
                    <a:pt x="22075" y="65942"/>
                  </a:lnTo>
                  <a:lnTo>
                    <a:pt x="20943" y="65659"/>
                  </a:lnTo>
                  <a:lnTo>
                    <a:pt x="20000" y="65282"/>
                  </a:lnTo>
                  <a:lnTo>
                    <a:pt x="19056" y="64810"/>
                  </a:lnTo>
                  <a:lnTo>
                    <a:pt x="19056" y="64810"/>
                  </a:lnTo>
                  <a:lnTo>
                    <a:pt x="19717" y="64999"/>
                  </a:lnTo>
                  <a:lnTo>
                    <a:pt x="19151" y="64716"/>
                  </a:lnTo>
                  <a:lnTo>
                    <a:pt x="18962" y="64810"/>
                  </a:lnTo>
                  <a:lnTo>
                    <a:pt x="19151" y="64905"/>
                  </a:lnTo>
                  <a:lnTo>
                    <a:pt x="18490" y="64905"/>
                  </a:lnTo>
                  <a:lnTo>
                    <a:pt x="17830" y="64716"/>
                  </a:lnTo>
                  <a:lnTo>
                    <a:pt x="17264" y="64527"/>
                  </a:lnTo>
                  <a:lnTo>
                    <a:pt x="16698" y="64150"/>
                  </a:lnTo>
                  <a:lnTo>
                    <a:pt x="16981" y="64056"/>
                  </a:lnTo>
                  <a:lnTo>
                    <a:pt x="17264" y="64150"/>
                  </a:lnTo>
                  <a:lnTo>
                    <a:pt x="17264" y="64150"/>
                  </a:lnTo>
                  <a:lnTo>
                    <a:pt x="15188" y="63207"/>
                  </a:lnTo>
                  <a:lnTo>
                    <a:pt x="14622" y="62829"/>
                  </a:lnTo>
                  <a:lnTo>
                    <a:pt x="14717" y="62924"/>
                  </a:lnTo>
                  <a:lnTo>
                    <a:pt x="13773" y="62546"/>
                  </a:lnTo>
                  <a:lnTo>
                    <a:pt x="12924" y="62075"/>
                  </a:lnTo>
                  <a:lnTo>
                    <a:pt x="12358" y="61697"/>
                  </a:lnTo>
                  <a:lnTo>
                    <a:pt x="12264" y="61508"/>
                  </a:lnTo>
                  <a:lnTo>
                    <a:pt x="12170" y="61320"/>
                  </a:lnTo>
                  <a:lnTo>
                    <a:pt x="11698" y="60942"/>
                  </a:lnTo>
                  <a:lnTo>
                    <a:pt x="11132" y="60471"/>
                  </a:lnTo>
                  <a:lnTo>
                    <a:pt x="9906" y="59244"/>
                  </a:lnTo>
                  <a:lnTo>
                    <a:pt x="9906" y="59244"/>
                  </a:lnTo>
                  <a:lnTo>
                    <a:pt x="10566" y="59527"/>
                  </a:lnTo>
                  <a:lnTo>
                    <a:pt x="9434" y="58584"/>
                  </a:lnTo>
                  <a:lnTo>
                    <a:pt x="8207" y="57546"/>
                  </a:lnTo>
                  <a:lnTo>
                    <a:pt x="7547" y="56886"/>
                  </a:lnTo>
                  <a:lnTo>
                    <a:pt x="6981" y="56131"/>
                  </a:lnTo>
                  <a:lnTo>
                    <a:pt x="6226" y="55094"/>
                  </a:lnTo>
                  <a:lnTo>
                    <a:pt x="6415" y="55377"/>
                  </a:lnTo>
                  <a:lnTo>
                    <a:pt x="6038" y="54905"/>
                  </a:lnTo>
                  <a:lnTo>
                    <a:pt x="5472" y="54244"/>
                  </a:lnTo>
                  <a:lnTo>
                    <a:pt x="5283" y="53961"/>
                  </a:lnTo>
                  <a:lnTo>
                    <a:pt x="5094" y="53867"/>
                  </a:lnTo>
                  <a:lnTo>
                    <a:pt x="5377" y="54622"/>
                  </a:lnTo>
                  <a:lnTo>
                    <a:pt x="5849" y="55282"/>
                  </a:lnTo>
                  <a:lnTo>
                    <a:pt x="6321" y="55943"/>
                  </a:lnTo>
                  <a:lnTo>
                    <a:pt x="6698" y="56603"/>
                  </a:lnTo>
                  <a:lnTo>
                    <a:pt x="6226" y="56226"/>
                  </a:lnTo>
                  <a:lnTo>
                    <a:pt x="5943" y="55848"/>
                  </a:lnTo>
                  <a:lnTo>
                    <a:pt x="6038" y="56037"/>
                  </a:lnTo>
                  <a:lnTo>
                    <a:pt x="5943" y="55943"/>
                  </a:lnTo>
                  <a:lnTo>
                    <a:pt x="5377" y="55188"/>
                  </a:lnTo>
                  <a:lnTo>
                    <a:pt x="5000" y="54716"/>
                  </a:lnTo>
                  <a:lnTo>
                    <a:pt x="4717" y="54150"/>
                  </a:lnTo>
                  <a:lnTo>
                    <a:pt x="4528" y="53678"/>
                  </a:lnTo>
                  <a:lnTo>
                    <a:pt x="4528" y="53584"/>
                  </a:lnTo>
                  <a:lnTo>
                    <a:pt x="4623" y="53395"/>
                  </a:lnTo>
                  <a:lnTo>
                    <a:pt x="5094" y="54244"/>
                  </a:lnTo>
                  <a:lnTo>
                    <a:pt x="4717" y="53301"/>
                  </a:lnTo>
                  <a:lnTo>
                    <a:pt x="4528" y="53018"/>
                  </a:lnTo>
                  <a:lnTo>
                    <a:pt x="4151" y="52263"/>
                  </a:lnTo>
                  <a:lnTo>
                    <a:pt x="4151" y="52169"/>
                  </a:lnTo>
                  <a:lnTo>
                    <a:pt x="3774" y="51509"/>
                  </a:lnTo>
                  <a:lnTo>
                    <a:pt x="3396" y="50660"/>
                  </a:lnTo>
                  <a:lnTo>
                    <a:pt x="3585" y="51603"/>
                  </a:lnTo>
                  <a:lnTo>
                    <a:pt x="3396" y="51226"/>
                  </a:lnTo>
                  <a:lnTo>
                    <a:pt x="3208" y="50848"/>
                  </a:lnTo>
                  <a:lnTo>
                    <a:pt x="3208" y="50471"/>
                  </a:lnTo>
                  <a:lnTo>
                    <a:pt x="3208" y="50094"/>
                  </a:lnTo>
                  <a:lnTo>
                    <a:pt x="3585" y="50754"/>
                  </a:lnTo>
                  <a:lnTo>
                    <a:pt x="3868" y="51509"/>
                  </a:lnTo>
                  <a:lnTo>
                    <a:pt x="3868" y="51509"/>
                  </a:lnTo>
                  <a:lnTo>
                    <a:pt x="3208" y="49528"/>
                  </a:lnTo>
                  <a:lnTo>
                    <a:pt x="3208" y="49528"/>
                  </a:lnTo>
                  <a:lnTo>
                    <a:pt x="3868" y="50754"/>
                  </a:lnTo>
                  <a:lnTo>
                    <a:pt x="3208" y="48962"/>
                  </a:lnTo>
                  <a:lnTo>
                    <a:pt x="3585" y="49339"/>
                  </a:lnTo>
                  <a:lnTo>
                    <a:pt x="3774" y="49433"/>
                  </a:lnTo>
                  <a:lnTo>
                    <a:pt x="3962" y="49528"/>
                  </a:lnTo>
                  <a:lnTo>
                    <a:pt x="4057" y="49905"/>
                  </a:lnTo>
                  <a:lnTo>
                    <a:pt x="3868" y="48962"/>
                  </a:lnTo>
                  <a:lnTo>
                    <a:pt x="3491" y="47924"/>
                  </a:lnTo>
                  <a:lnTo>
                    <a:pt x="2641" y="45565"/>
                  </a:lnTo>
                  <a:lnTo>
                    <a:pt x="2170" y="43867"/>
                  </a:lnTo>
                  <a:lnTo>
                    <a:pt x="1698" y="41886"/>
                  </a:lnTo>
                  <a:lnTo>
                    <a:pt x="1698" y="41886"/>
                  </a:lnTo>
                  <a:lnTo>
                    <a:pt x="1887" y="42075"/>
                  </a:lnTo>
                  <a:lnTo>
                    <a:pt x="1981" y="41981"/>
                  </a:lnTo>
                  <a:lnTo>
                    <a:pt x="2075" y="42075"/>
                  </a:lnTo>
                  <a:lnTo>
                    <a:pt x="2264" y="42169"/>
                  </a:lnTo>
                  <a:lnTo>
                    <a:pt x="2170" y="40283"/>
                  </a:lnTo>
                  <a:lnTo>
                    <a:pt x="2075" y="38301"/>
                  </a:lnTo>
                  <a:lnTo>
                    <a:pt x="2170" y="36415"/>
                  </a:lnTo>
                  <a:lnTo>
                    <a:pt x="2358" y="35566"/>
                  </a:lnTo>
                  <a:lnTo>
                    <a:pt x="2453" y="34811"/>
                  </a:lnTo>
                  <a:lnTo>
                    <a:pt x="2830" y="32830"/>
                  </a:lnTo>
                  <a:lnTo>
                    <a:pt x="2830" y="33207"/>
                  </a:lnTo>
                  <a:lnTo>
                    <a:pt x="2924" y="33490"/>
                  </a:lnTo>
                  <a:lnTo>
                    <a:pt x="2924" y="32453"/>
                  </a:lnTo>
                  <a:lnTo>
                    <a:pt x="3019" y="31415"/>
                  </a:lnTo>
                  <a:lnTo>
                    <a:pt x="3396" y="29245"/>
                  </a:lnTo>
                  <a:lnTo>
                    <a:pt x="3868" y="27075"/>
                  </a:lnTo>
                  <a:lnTo>
                    <a:pt x="4623" y="25000"/>
                  </a:lnTo>
                  <a:lnTo>
                    <a:pt x="5566" y="22830"/>
                  </a:lnTo>
                  <a:lnTo>
                    <a:pt x="6604" y="20849"/>
                  </a:lnTo>
                  <a:lnTo>
                    <a:pt x="7830" y="18868"/>
                  </a:lnTo>
                  <a:lnTo>
                    <a:pt x="9151" y="16887"/>
                  </a:lnTo>
                  <a:lnTo>
                    <a:pt x="10566" y="15094"/>
                  </a:lnTo>
                  <a:lnTo>
                    <a:pt x="12075" y="13302"/>
                  </a:lnTo>
                  <a:lnTo>
                    <a:pt x="13773" y="11698"/>
                  </a:lnTo>
                  <a:lnTo>
                    <a:pt x="15377" y="10095"/>
                  </a:lnTo>
                  <a:lnTo>
                    <a:pt x="17170" y="8679"/>
                  </a:lnTo>
                  <a:lnTo>
                    <a:pt x="18962" y="7453"/>
                  </a:lnTo>
                  <a:lnTo>
                    <a:pt x="20754" y="6321"/>
                  </a:lnTo>
                  <a:lnTo>
                    <a:pt x="22547" y="5378"/>
                  </a:lnTo>
                  <a:lnTo>
                    <a:pt x="21603" y="6227"/>
                  </a:lnTo>
                  <a:lnTo>
                    <a:pt x="22641" y="5472"/>
                  </a:lnTo>
                  <a:lnTo>
                    <a:pt x="23302" y="5095"/>
                  </a:lnTo>
                  <a:lnTo>
                    <a:pt x="25377" y="4151"/>
                  </a:lnTo>
                  <a:lnTo>
                    <a:pt x="24811" y="4151"/>
                  </a:lnTo>
                  <a:lnTo>
                    <a:pt x="25660" y="3774"/>
                  </a:lnTo>
                  <a:lnTo>
                    <a:pt x="26886" y="3208"/>
                  </a:lnTo>
                  <a:lnTo>
                    <a:pt x="26603" y="3585"/>
                  </a:lnTo>
                  <a:lnTo>
                    <a:pt x="26886" y="3585"/>
                  </a:lnTo>
                  <a:lnTo>
                    <a:pt x="26886" y="3680"/>
                  </a:lnTo>
                  <a:lnTo>
                    <a:pt x="26792" y="3774"/>
                  </a:lnTo>
                  <a:lnTo>
                    <a:pt x="28301" y="3302"/>
                  </a:lnTo>
                  <a:lnTo>
                    <a:pt x="29622" y="2736"/>
                  </a:lnTo>
                  <a:lnTo>
                    <a:pt x="31037" y="2264"/>
                  </a:lnTo>
                  <a:lnTo>
                    <a:pt x="31792" y="2076"/>
                  </a:lnTo>
                  <a:lnTo>
                    <a:pt x="32641" y="1981"/>
                  </a:lnTo>
                  <a:lnTo>
                    <a:pt x="32547" y="2076"/>
                  </a:lnTo>
                  <a:lnTo>
                    <a:pt x="32924" y="1981"/>
                  </a:lnTo>
                  <a:lnTo>
                    <a:pt x="34245" y="1793"/>
                  </a:lnTo>
                  <a:lnTo>
                    <a:pt x="35848" y="1415"/>
                  </a:lnTo>
                  <a:lnTo>
                    <a:pt x="36981" y="1132"/>
                  </a:lnTo>
                  <a:lnTo>
                    <a:pt x="36981" y="1415"/>
                  </a:lnTo>
                  <a:lnTo>
                    <a:pt x="40943" y="1227"/>
                  </a:lnTo>
                  <a:lnTo>
                    <a:pt x="41509" y="1038"/>
                  </a:lnTo>
                  <a:lnTo>
                    <a:pt x="41697" y="1132"/>
                  </a:lnTo>
                  <a:lnTo>
                    <a:pt x="41509" y="1227"/>
                  </a:lnTo>
                  <a:lnTo>
                    <a:pt x="41320" y="1321"/>
                  </a:lnTo>
                  <a:lnTo>
                    <a:pt x="42263" y="1321"/>
                  </a:lnTo>
                  <a:lnTo>
                    <a:pt x="43113" y="1227"/>
                  </a:lnTo>
                  <a:lnTo>
                    <a:pt x="43396" y="1415"/>
                  </a:lnTo>
                  <a:lnTo>
                    <a:pt x="44056" y="1604"/>
                  </a:lnTo>
                  <a:lnTo>
                    <a:pt x="45943" y="2076"/>
                  </a:lnTo>
                  <a:lnTo>
                    <a:pt x="48018" y="2359"/>
                  </a:lnTo>
                  <a:lnTo>
                    <a:pt x="49622" y="2736"/>
                  </a:lnTo>
                  <a:lnTo>
                    <a:pt x="47641" y="1981"/>
                  </a:lnTo>
                  <a:lnTo>
                    <a:pt x="45282" y="1321"/>
                  </a:lnTo>
                  <a:lnTo>
                    <a:pt x="42735" y="755"/>
                  </a:lnTo>
                  <a:lnTo>
                    <a:pt x="40188" y="283"/>
                  </a:lnTo>
                  <a:lnTo>
                    <a:pt x="37735" y="95"/>
                  </a:lnTo>
                  <a:lnTo>
                    <a:pt x="35471" y="0"/>
                  </a:lnTo>
                  <a:close/>
                </a:path>
              </a:pathLst>
            </a:custGeom>
            <a:solidFill>
              <a:srgbClr val="FF0000"/>
            </a:solidFill>
            <a:ln>
              <a:noFill/>
            </a:ln>
          </p:spPr>
          <p:txBody>
            <a:bodyPr spcFirstLastPara="1" wrap="square" lIns="91425" tIns="91425" rIns="91425" bIns="91425" anchor="ctr" anchorCtr="0">
              <a:noAutofit/>
            </a:bodyPr>
            <a:lstStyle/>
            <a:p>
              <a:pPr marL="0" lvl="0" indent="0">
                <a:spcBef>
                  <a:spcPts val="0"/>
                </a:spcBef>
                <a:spcAft>
                  <a:spcPts val="0"/>
                </a:spcAft>
                <a:buNone/>
              </a:pPr>
              <a:endParaRPr sz="800">
                <a:latin typeface="Comic Sans MS" panose="030F0902030302020204" pitchFamily="66" charset="0"/>
              </a:endParaRPr>
            </a:p>
          </p:txBody>
        </p:sp>
        <p:sp>
          <p:nvSpPr>
            <p:cNvPr id="510" name="TextBox 509">
              <a:extLst>
                <a:ext uri="{FF2B5EF4-FFF2-40B4-BE49-F238E27FC236}">
                  <a16:creationId xmlns:a16="http://schemas.microsoft.com/office/drawing/2014/main" id="{1D1FF00C-D049-4540-BD03-0ADFED2EC68C}"/>
                </a:ext>
              </a:extLst>
            </p:cNvPr>
            <p:cNvSpPr txBox="1"/>
            <p:nvPr/>
          </p:nvSpPr>
          <p:spPr>
            <a:xfrm>
              <a:off x="702590" y="1244892"/>
              <a:ext cx="301686" cy="180620"/>
            </a:xfrm>
            <a:prstGeom prst="rect">
              <a:avLst/>
            </a:prstGeom>
            <a:noFill/>
          </p:spPr>
          <p:txBody>
            <a:bodyPr wrap="square" rtlCol="0">
              <a:spAutoFit/>
            </a:bodyPr>
            <a:lstStyle/>
            <a:p>
              <a:r>
                <a:rPr lang="en-US" sz="300" dirty="0">
                  <a:solidFill>
                    <a:srgbClr val="FF0000"/>
                  </a:solidFill>
                  <a:latin typeface="Comic Sans MS" panose="030F0902030302020204" pitchFamily="66" charset="0"/>
                </a:rPr>
                <a:t>8.</a:t>
              </a:r>
            </a:p>
          </p:txBody>
        </p:sp>
      </p:grpSp>
      <p:cxnSp>
        <p:nvCxnSpPr>
          <p:cNvPr id="455" name="Straight Connector 454">
            <a:extLst>
              <a:ext uri="{FF2B5EF4-FFF2-40B4-BE49-F238E27FC236}">
                <a16:creationId xmlns:a16="http://schemas.microsoft.com/office/drawing/2014/main" id="{302975F7-1393-294D-ADBC-4419734218DD}"/>
              </a:ext>
            </a:extLst>
          </p:cNvPr>
          <p:cNvCxnSpPr>
            <a:cxnSpLocks/>
            <a:endCxn id="413" idx="1"/>
          </p:cNvCxnSpPr>
          <p:nvPr/>
        </p:nvCxnSpPr>
        <p:spPr>
          <a:xfrm flipV="1">
            <a:off x="1610979" y="4499451"/>
            <a:ext cx="650385" cy="1238251"/>
          </a:xfrm>
          <a:prstGeom prst="line">
            <a:avLst/>
          </a:prstGeom>
          <a:ln w="12700">
            <a:solidFill>
              <a:srgbClr val="FF0000">
                <a:alpha val="50000"/>
              </a:srgbClr>
            </a:solidFill>
            <a:headEnd type="oval"/>
          </a:ln>
        </p:spPr>
        <p:style>
          <a:lnRef idx="1">
            <a:schemeClr val="accent1"/>
          </a:lnRef>
          <a:fillRef idx="0">
            <a:schemeClr val="accent1"/>
          </a:fillRef>
          <a:effectRef idx="0">
            <a:schemeClr val="accent1"/>
          </a:effectRef>
          <a:fontRef idx="minor">
            <a:schemeClr val="tx1"/>
          </a:fontRef>
        </p:style>
      </p:cxnSp>
      <p:cxnSp>
        <p:nvCxnSpPr>
          <p:cNvPr id="512" name="Elbow Connector 511">
            <a:extLst>
              <a:ext uri="{FF2B5EF4-FFF2-40B4-BE49-F238E27FC236}">
                <a16:creationId xmlns:a16="http://schemas.microsoft.com/office/drawing/2014/main" id="{FC79F792-F24C-CB4D-A466-C2C0504FC9EA}"/>
              </a:ext>
            </a:extLst>
          </p:cNvPr>
          <p:cNvCxnSpPr>
            <a:cxnSpLocks/>
            <a:stCxn id="504" idx="3"/>
            <a:endCxn id="484" idx="1"/>
          </p:cNvCxnSpPr>
          <p:nvPr/>
        </p:nvCxnSpPr>
        <p:spPr>
          <a:xfrm flipV="1">
            <a:off x="1753403" y="5537409"/>
            <a:ext cx="460961" cy="302836"/>
          </a:xfrm>
          <a:prstGeom prst="bentConnector3">
            <a:avLst>
              <a:gd name="adj1" fmla="val 50001"/>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513" name="Elbow Connector 512">
            <a:extLst>
              <a:ext uri="{FF2B5EF4-FFF2-40B4-BE49-F238E27FC236}">
                <a16:creationId xmlns:a16="http://schemas.microsoft.com/office/drawing/2014/main" id="{0630464A-8222-7E42-B0D3-9E2AC4D82F66}"/>
              </a:ext>
            </a:extLst>
          </p:cNvPr>
          <p:cNvCxnSpPr>
            <a:cxnSpLocks/>
            <a:stCxn id="484" idx="3"/>
            <a:endCxn id="420" idx="1"/>
          </p:cNvCxnSpPr>
          <p:nvPr/>
        </p:nvCxnSpPr>
        <p:spPr>
          <a:xfrm flipV="1">
            <a:off x="3227780" y="4017357"/>
            <a:ext cx="590050" cy="1520052"/>
          </a:xfrm>
          <a:prstGeom prst="bentConnector3">
            <a:avLst>
              <a:gd name="adj1" fmla="val 50000"/>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89620887"/>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tangle 3">
            <a:extLst>
              <a:ext uri="{FF2B5EF4-FFF2-40B4-BE49-F238E27FC236}">
                <a16:creationId xmlns:a16="http://schemas.microsoft.com/office/drawing/2014/main" id="{A27FD23C-A522-0E4F-B70C-CC83BC4542BA}"/>
              </a:ext>
            </a:extLst>
          </p:cNvPr>
          <p:cNvSpPr txBox="1"/>
          <p:nvPr/>
        </p:nvSpPr>
        <p:spPr>
          <a:xfrm>
            <a:off x="404808" y="237462"/>
            <a:ext cx="7585857" cy="400105"/>
          </a:xfrm>
          <a:prstGeom prst="rect">
            <a:avLst/>
          </a:prstGeom>
          <a:ln w="12700">
            <a:miter lim="400000"/>
          </a:ln>
          <a:extLst>
            <a:ext uri="{C572A759-6A51-4108-AA02-DFA0A04FC94B}">
              <ma14:wrappingTextBoxFlag xmlns:ma14="http://schemas.microsoft.com/office/mac/drawingml/2011/main" xmlns="" val="1"/>
            </a:ext>
          </a:extLst>
        </p:spPr>
        <p:txBody>
          <a:bodyPr wrap="square" lIns="45718" tIns="45718" rIns="45718" bIns="45718">
            <a:spAutoFit/>
          </a:bodyPr>
          <a:lstStyle>
            <a:lvl1pPr algn="l" defTabSz="914400">
              <a:defRPr sz="2200" b="1">
                <a:solidFill>
                  <a:srgbClr val="FFFFFF"/>
                </a:solidFill>
                <a:latin typeface="Arial"/>
                <a:ea typeface="Arial"/>
                <a:cs typeface="Arial"/>
                <a:sym typeface="Arial"/>
              </a:defRPr>
            </a:lvl1pPr>
          </a:lstStyle>
          <a:p>
            <a:r>
              <a:rPr lang="en-US" sz="2000" dirty="0">
                <a:solidFill>
                  <a:srgbClr val="016AA2"/>
                </a:solidFill>
              </a:rPr>
              <a:t>Infrastructure and Connectivity (I)</a:t>
            </a:r>
          </a:p>
        </p:txBody>
      </p:sp>
      <p:sp>
        <p:nvSpPr>
          <p:cNvPr id="65" name="Rectangle 3"/>
          <p:cNvSpPr txBox="1"/>
          <p:nvPr/>
        </p:nvSpPr>
        <p:spPr>
          <a:xfrm>
            <a:off x="404807" y="610135"/>
            <a:ext cx="5337625" cy="369328"/>
          </a:xfrm>
          <a:prstGeom prst="rect">
            <a:avLst/>
          </a:prstGeom>
          <a:ln w="12700">
            <a:miter lim="400000"/>
          </a:ln>
          <a:extLst>
            <a:ext uri="{C572A759-6A51-4108-AA02-DFA0A04FC94B}">
              <ma14:wrappingTextBoxFlag xmlns="" xmlns:ma14="http://schemas.microsoft.com/office/mac/drawingml/2011/main" val="1"/>
            </a:ext>
          </a:extLst>
        </p:spPr>
        <p:txBody>
          <a:bodyPr wrap="square" lIns="45718" tIns="45718" rIns="45718" bIns="45718">
            <a:spAutoFit/>
          </a:bodyPr>
          <a:lstStyle>
            <a:lvl1pPr algn="l" defTabSz="914400">
              <a:defRPr sz="2000">
                <a:solidFill>
                  <a:srgbClr val="104D6A"/>
                </a:solidFill>
                <a:latin typeface="Arial"/>
                <a:ea typeface="Arial"/>
                <a:cs typeface="Arial"/>
                <a:sym typeface="Arial"/>
              </a:defRPr>
            </a:lvl1pPr>
          </a:lstStyle>
          <a:p>
            <a:pPr>
              <a:defRPr/>
            </a:pPr>
            <a:r>
              <a:rPr lang="es-ES_tradnl" sz="1800" b="1" dirty="0">
                <a:solidFill>
                  <a:srgbClr val="73C4EF"/>
                </a:solidFill>
              </a:rPr>
              <a:t>Resumen de Componentes de Infraestructura</a:t>
            </a:r>
          </a:p>
        </p:txBody>
      </p:sp>
      <p:graphicFrame>
        <p:nvGraphicFramePr>
          <p:cNvPr id="4" name="Group 49">
            <a:extLst>
              <a:ext uri="{FF2B5EF4-FFF2-40B4-BE49-F238E27FC236}">
                <a16:creationId xmlns:a16="http://schemas.microsoft.com/office/drawing/2014/main" id="{37CA83C2-8912-414D-8985-9723B0759F03}"/>
              </a:ext>
            </a:extLst>
          </p:cNvPr>
          <p:cNvGraphicFramePr>
            <a:graphicFrameLocks/>
          </p:cNvGraphicFramePr>
          <p:nvPr>
            <p:extLst>
              <p:ext uri="{D42A27DB-BD31-4B8C-83A1-F6EECF244321}">
                <p14:modId xmlns:p14="http://schemas.microsoft.com/office/powerpoint/2010/main" val="1145325898"/>
              </p:ext>
            </p:extLst>
          </p:nvPr>
        </p:nvGraphicFramePr>
        <p:xfrm>
          <a:off x="532435" y="1136650"/>
          <a:ext cx="11007524" cy="4584700"/>
        </p:xfrm>
        <a:graphic>
          <a:graphicData uri="http://schemas.openxmlformats.org/drawingml/2006/table">
            <a:tbl>
              <a:tblPr/>
              <a:tblGrid>
                <a:gridCol w="1963877">
                  <a:extLst>
                    <a:ext uri="{9D8B030D-6E8A-4147-A177-3AD203B41FA5}">
                      <a16:colId xmlns:a16="http://schemas.microsoft.com/office/drawing/2014/main" val="20000"/>
                    </a:ext>
                  </a:extLst>
                </a:gridCol>
                <a:gridCol w="2615184">
                  <a:extLst>
                    <a:ext uri="{9D8B030D-6E8A-4147-A177-3AD203B41FA5}">
                      <a16:colId xmlns:a16="http://schemas.microsoft.com/office/drawing/2014/main" val="20001"/>
                    </a:ext>
                  </a:extLst>
                </a:gridCol>
                <a:gridCol w="3557016">
                  <a:extLst>
                    <a:ext uri="{9D8B030D-6E8A-4147-A177-3AD203B41FA5}">
                      <a16:colId xmlns:a16="http://schemas.microsoft.com/office/drawing/2014/main" val="20002"/>
                    </a:ext>
                  </a:extLst>
                </a:gridCol>
                <a:gridCol w="2871447">
                  <a:extLst>
                    <a:ext uri="{9D8B030D-6E8A-4147-A177-3AD203B41FA5}">
                      <a16:colId xmlns:a16="http://schemas.microsoft.com/office/drawing/2014/main" val="20003"/>
                    </a:ext>
                  </a:extLst>
                </a:gridCol>
              </a:tblGrid>
              <a:tr h="473306">
                <a:tc>
                  <a:txBody>
                    <a:bodyPr/>
                    <a:lstStyle/>
                    <a:p>
                      <a:pPr marL="0" marR="0" lvl="0" indent="0" algn="ctr" defTabSz="914400" rtl="0" eaLnBrk="1" fontAlgn="base" latinLnBrk="0" hangingPunct="1">
                        <a:lnSpc>
                          <a:spcPct val="100000"/>
                        </a:lnSpc>
                        <a:spcBef>
                          <a:spcPct val="0"/>
                        </a:spcBef>
                        <a:spcAft>
                          <a:spcPct val="0"/>
                        </a:spcAft>
                        <a:buClr>
                          <a:schemeClr val="bg1"/>
                        </a:buClr>
                        <a:buSzPct val="25000"/>
                        <a:buFont typeface="Times" pitchFamily="18" charset="0"/>
                        <a:buNone/>
                        <a:tabLst/>
                      </a:pPr>
                      <a:r>
                        <a:rPr kumimoji="0" lang="en-US" sz="1200" b="1" i="0" u="none" strike="noStrike" cap="none" normalizeH="0" baseline="0" noProof="0">
                          <a:ln>
                            <a:noFill/>
                          </a:ln>
                          <a:solidFill>
                            <a:schemeClr val="bg1"/>
                          </a:solidFill>
                          <a:effectLst/>
                          <a:latin typeface="Arial" pitchFamily="34" charset="0"/>
                          <a:ea typeface="ＭＳ Ｐゴシック"/>
                          <a:cs typeface="ＭＳ Ｐゴシック"/>
                        </a:rPr>
                        <a:t>Infrastructure component</a:t>
                      </a:r>
                    </a:p>
                  </a:txBody>
                  <a:tcPr marL="90000" marR="90000" marT="46824" marB="46824"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0067B7"/>
                    </a:solidFill>
                  </a:tcPr>
                </a:tc>
                <a:tc>
                  <a:txBody>
                    <a:bodyPr/>
                    <a:lstStyle/>
                    <a:p>
                      <a:pPr marL="0" marR="0" lvl="0" indent="0" algn="ctr" defTabSz="914400" rtl="0" eaLnBrk="1" fontAlgn="base" latinLnBrk="0" hangingPunct="1">
                        <a:lnSpc>
                          <a:spcPct val="100000"/>
                        </a:lnSpc>
                        <a:spcBef>
                          <a:spcPct val="0"/>
                        </a:spcBef>
                        <a:spcAft>
                          <a:spcPct val="0"/>
                        </a:spcAft>
                        <a:buClr>
                          <a:schemeClr val="bg1"/>
                        </a:buClr>
                        <a:buSzPct val="25000"/>
                        <a:buFont typeface="Times" pitchFamily="18" charset="0"/>
                        <a:buNone/>
                        <a:tabLst/>
                      </a:pPr>
                      <a:r>
                        <a:rPr kumimoji="0" lang="en-US" sz="1200" b="1" i="0" u="none" strike="noStrike" cap="none" normalizeH="0" baseline="0" noProof="0">
                          <a:ln>
                            <a:noFill/>
                          </a:ln>
                          <a:solidFill>
                            <a:schemeClr val="bg1"/>
                          </a:solidFill>
                          <a:effectLst/>
                          <a:latin typeface="Arial" pitchFamily="34" charset="0"/>
                          <a:ea typeface="ＭＳ Ｐゴシック"/>
                          <a:cs typeface="ＭＳ Ｐゴシック"/>
                        </a:rPr>
                        <a:t>Description</a:t>
                      </a:r>
                    </a:p>
                  </a:txBody>
                  <a:tcPr marL="90000" marR="90000" marT="46824" marB="46824"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0067B7"/>
                    </a:solidFill>
                  </a:tcPr>
                </a:tc>
                <a:tc>
                  <a:txBody>
                    <a:bodyPr/>
                    <a:lstStyle/>
                    <a:p>
                      <a:pPr marL="0" marR="0" lvl="0" indent="0" algn="ctr" defTabSz="914400" rtl="0" eaLnBrk="1" fontAlgn="base" latinLnBrk="0" hangingPunct="1">
                        <a:lnSpc>
                          <a:spcPct val="100000"/>
                        </a:lnSpc>
                        <a:spcBef>
                          <a:spcPct val="0"/>
                        </a:spcBef>
                        <a:spcAft>
                          <a:spcPct val="0"/>
                        </a:spcAft>
                        <a:buClr>
                          <a:schemeClr val="bg1"/>
                        </a:buClr>
                        <a:buSzPct val="25000"/>
                        <a:buFont typeface="Times" pitchFamily="18" charset="0"/>
                        <a:buNone/>
                        <a:tabLst/>
                      </a:pPr>
                      <a:r>
                        <a:rPr kumimoji="0" lang="en-US" sz="1200" b="1" i="0" u="none" strike="noStrike" cap="none" normalizeH="0" baseline="0" noProof="0">
                          <a:ln>
                            <a:noFill/>
                          </a:ln>
                          <a:solidFill>
                            <a:schemeClr val="bg1"/>
                          </a:solidFill>
                          <a:effectLst/>
                          <a:latin typeface="Arial" pitchFamily="34" charset="0"/>
                          <a:ea typeface="ＭＳ Ｐゴシック"/>
                          <a:cs typeface="ＭＳ Ｐゴシック"/>
                        </a:rPr>
                        <a:t>Applicability (New, Modified, Unmodified)</a:t>
                      </a:r>
                    </a:p>
                  </a:txBody>
                  <a:tcPr marL="90000" marR="90000" marT="46824" marB="46824"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0067B7"/>
                    </a:solidFill>
                  </a:tcPr>
                </a:tc>
                <a:tc>
                  <a:txBody>
                    <a:bodyPr/>
                    <a:lstStyle/>
                    <a:p>
                      <a:pPr marL="0" marR="0" lvl="0" indent="0" algn="ctr" defTabSz="914400" rtl="0" eaLnBrk="1" fontAlgn="base" latinLnBrk="0" hangingPunct="1">
                        <a:lnSpc>
                          <a:spcPct val="100000"/>
                        </a:lnSpc>
                        <a:spcBef>
                          <a:spcPct val="0"/>
                        </a:spcBef>
                        <a:spcAft>
                          <a:spcPct val="0"/>
                        </a:spcAft>
                        <a:buClr>
                          <a:schemeClr val="bg1"/>
                        </a:buClr>
                        <a:buSzPct val="25000"/>
                        <a:buFont typeface="Times" pitchFamily="18" charset="0"/>
                        <a:buNone/>
                        <a:tabLst/>
                      </a:pPr>
                      <a:r>
                        <a:rPr kumimoji="0" lang="en-US" sz="1200" b="1" i="0" u="none" strike="noStrike" cap="none" normalizeH="0" baseline="0" noProof="0" dirty="0">
                          <a:ln>
                            <a:noFill/>
                          </a:ln>
                          <a:solidFill>
                            <a:schemeClr val="bg1"/>
                          </a:solidFill>
                          <a:effectLst/>
                          <a:latin typeface="Arial" pitchFamily="34" charset="0"/>
                          <a:ea typeface="ＭＳ Ｐゴシック"/>
                          <a:cs typeface="ＭＳ Ｐゴシック"/>
                        </a:rPr>
                        <a:t>Application in which the component is located</a:t>
                      </a:r>
                    </a:p>
                  </a:txBody>
                  <a:tcPr marL="90000" marR="90000" marT="46824" marB="46824"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0067B7"/>
                    </a:solidFill>
                  </a:tcPr>
                </a:tc>
                <a:extLst>
                  <a:ext uri="{0D108BD9-81ED-4DB2-BD59-A6C34878D82A}">
                    <a16:rowId xmlns:a16="http://schemas.microsoft.com/office/drawing/2014/main" val="10000"/>
                  </a:ext>
                </a:extLst>
              </a:tr>
              <a:tr h="596764">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pPr>
                      <a:r>
                        <a:rPr kumimoji="0" lang="es-MX" sz="1100" b="0" i="0" u="none" strike="noStrike" kern="1200" cap="none" normalizeH="0" baseline="0" noProof="0" dirty="0">
                          <a:ln>
                            <a:noFill/>
                          </a:ln>
                          <a:solidFill>
                            <a:schemeClr val="bg1">
                              <a:lumMod val="50000"/>
                            </a:schemeClr>
                          </a:solidFill>
                          <a:effectLst/>
                          <a:latin typeface="Arial" pitchFamily="34" charset="0"/>
                          <a:ea typeface="ＭＳ Ｐゴシック"/>
                          <a:cs typeface="ＭＳ Ｐゴシック"/>
                        </a:rPr>
                        <a:t>Pendiente</a:t>
                      </a:r>
                    </a:p>
                  </a:txBody>
                  <a:tcPr marL="90000" marR="90000" marT="46839" marB="46839"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defRPr/>
                      </a:pPr>
                      <a:r>
                        <a:rPr kumimoji="0" lang="es-MX" sz="1100" b="0" i="0" u="none" strike="noStrike" kern="1200" cap="none" normalizeH="0" baseline="0" noProof="0" dirty="0">
                          <a:ln>
                            <a:noFill/>
                          </a:ln>
                          <a:solidFill>
                            <a:schemeClr val="bg1">
                              <a:lumMod val="50000"/>
                            </a:schemeClr>
                          </a:solidFill>
                          <a:effectLst/>
                          <a:latin typeface="Arial" pitchFamily="34" charset="0"/>
                          <a:ea typeface="ＭＳ Ｐゴシック"/>
                          <a:cs typeface="ＭＳ Ｐゴシック"/>
                        </a:rPr>
                        <a:t>Pendiente</a:t>
                      </a:r>
                    </a:p>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defRPr/>
                      </a:pPr>
                      <a:endParaRPr kumimoji="0" lang="es-MX" sz="1100" b="0" i="0" u="none" strike="noStrike" kern="1200" cap="none" normalizeH="0" baseline="0" noProof="0" dirty="0">
                        <a:ln>
                          <a:noFill/>
                        </a:ln>
                        <a:solidFill>
                          <a:srgbClr val="0079D1"/>
                        </a:solidFill>
                        <a:effectLst/>
                        <a:latin typeface="Arial" pitchFamily="34" charset="0"/>
                        <a:ea typeface="ＭＳ Ｐゴシック"/>
                        <a:cs typeface="ＭＳ Ｐゴシック"/>
                      </a:endParaRPr>
                    </a:p>
                  </a:txBody>
                  <a:tcPr marL="90000" marR="90000" marT="46839" marB="46839"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defRPr/>
                      </a:pPr>
                      <a:r>
                        <a:rPr kumimoji="0" lang="es-MX" sz="1100" b="0" i="0" u="none" strike="noStrike" kern="1200" cap="none" normalizeH="0" baseline="0" noProof="0" dirty="0">
                          <a:ln>
                            <a:noFill/>
                          </a:ln>
                          <a:solidFill>
                            <a:schemeClr val="bg1">
                              <a:lumMod val="50000"/>
                            </a:schemeClr>
                          </a:solidFill>
                          <a:effectLst/>
                          <a:latin typeface="Arial" pitchFamily="34" charset="0"/>
                          <a:ea typeface="ＭＳ Ｐゴシック"/>
                          <a:cs typeface="ＭＳ Ｐゴシック"/>
                        </a:rPr>
                        <a:t>Pendiente</a:t>
                      </a:r>
                    </a:p>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pPr>
                      <a:endParaRPr kumimoji="0" lang="es-MX" sz="1100" b="0" i="0" u="none" strike="noStrike" kern="1200" cap="none" normalizeH="0" baseline="0" noProof="0" dirty="0">
                        <a:ln>
                          <a:noFill/>
                        </a:ln>
                        <a:solidFill>
                          <a:srgbClr val="0079D1"/>
                        </a:solidFill>
                        <a:effectLst/>
                        <a:latin typeface="Arial" pitchFamily="34" charset="0"/>
                        <a:ea typeface="ＭＳ Ｐゴシック"/>
                        <a:cs typeface="ＭＳ Ｐゴシック"/>
                      </a:endParaRPr>
                    </a:p>
                  </a:txBody>
                  <a:tcPr marL="90000" marR="90000" marT="46839" marB="46839"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defRPr/>
                      </a:pPr>
                      <a:r>
                        <a:rPr kumimoji="0" lang="es-MX" sz="1100" b="0" i="0" u="none" strike="noStrike" kern="1200" cap="none" normalizeH="0" baseline="0" noProof="0" dirty="0">
                          <a:ln>
                            <a:noFill/>
                          </a:ln>
                          <a:solidFill>
                            <a:schemeClr val="bg1">
                              <a:lumMod val="50000"/>
                            </a:schemeClr>
                          </a:solidFill>
                          <a:effectLst/>
                          <a:latin typeface="Arial" pitchFamily="34" charset="0"/>
                          <a:ea typeface="ＭＳ Ｐゴシック"/>
                          <a:cs typeface="ＭＳ Ｐゴシック"/>
                        </a:rPr>
                        <a:t>Pendiente</a:t>
                      </a:r>
                    </a:p>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pPr>
                      <a:endParaRPr kumimoji="0" lang="es-MX" sz="1100" b="0" i="0" u="none" strike="noStrike" kern="1200" cap="none" normalizeH="0" baseline="0" noProof="0" dirty="0">
                        <a:ln>
                          <a:noFill/>
                        </a:ln>
                        <a:solidFill>
                          <a:srgbClr val="0079D1"/>
                        </a:solidFill>
                        <a:effectLst/>
                        <a:latin typeface="Arial" pitchFamily="34" charset="0"/>
                        <a:ea typeface="ＭＳ Ｐゴシック"/>
                        <a:cs typeface="ＭＳ Ｐゴシック"/>
                      </a:endParaRPr>
                    </a:p>
                  </a:txBody>
                  <a:tcPr marL="90000" marR="90000" marT="46839" marB="46839"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561480">
                <a:tc>
                  <a:txBody>
                    <a:bodyPr/>
                    <a:lstStyle/>
                    <a:p>
                      <a:pPr marL="0" marR="0" lvl="0" indent="0" algn="l" defTabSz="914400" rtl="0" eaLnBrk="1" fontAlgn="base" latinLnBrk="0" hangingPunct="1">
                        <a:lnSpc>
                          <a:spcPct val="93000"/>
                        </a:lnSpc>
                        <a:spcBef>
                          <a:spcPts val="300"/>
                        </a:spcBef>
                        <a:spcAft>
                          <a:spcPct val="0"/>
                        </a:spcAft>
                        <a:buClrTx/>
                        <a:buSzPct val="25000"/>
                        <a:buFontTx/>
                        <a:buNone/>
                        <a:tabLst/>
                      </a:pPr>
                      <a:endParaRPr kumimoji="0" lang="es-ES" sz="1100" b="0" i="0" u="none" strike="noStrike" cap="none" normalizeH="0" baseline="0" noProof="0" dirty="0">
                        <a:ln>
                          <a:noFill/>
                        </a:ln>
                        <a:solidFill>
                          <a:srgbClr val="0079D1"/>
                        </a:solidFill>
                        <a:effectLst/>
                        <a:latin typeface="Arial" pitchFamily="34" charset="0"/>
                        <a:ea typeface="ＭＳ Ｐゴシック"/>
                        <a:cs typeface="ＭＳ Ｐゴシック"/>
                      </a:endParaRPr>
                    </a:p>
                  </a:txBody>
                  <a:tcPr marL="90000" marR="90000" marT="46824" marB="46824"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93000"/>
                        </a:lnSpc>
                        <a:spcBef>
                          <a:spcPts val="300"/>
                        </a:spcBef>
                        <a:spcAft>
                          <a:spcPct val="0"/>
                        </a:spcAft>
                        <a:buClrTx/>
                        <a:buSzPct val="25000"/>
                        <a:buFontTx/>
                        <a:buNone/>
                        <a:tabLst/>
                        <a:defRPr/>
                      </a:pPr>
                      <a:endParaRPr kumimoji="0" lang="es-MX" sz="1100" b="0" i="0" u="none" strike="noStrike" kern="1200" cap="none" normalizeH="0" baseline="0" noProof="0" dirty="0">
                        <a:ln>
                          <a:noFill/>
                        </a:ln>
                        <a:solidFill>
                          <a:srgbClr val="0079D1"/>
                        </a:solidFill>
                        <a:effectLst/>
                        <a:latin typeface="Arial" pitchFamily="34" charset="0"/>
                        <a:ea typeface="ＭＳ Ｐゴシック"/>
                        <a:cs typeface="ＭＳ Ｐゴシック"/>
                      </a:endParaRPr>
                    </a:p>
                  </a:txBody>
                  <a:tcPr marL="90000" marR="90000" marT="46824" marB="46824"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93000"/>
                        </a:lnSpc>
                        <a:spcBef>
                          <a:spcPts val="300"/>
                        </a:spcBef>
                        <a:spcAft>
                          <a:spcPct val="0"/>
                        </a:spcAft>
                        <a:buClrTx/>
                        <a:buSzPct val="25000"/>
                        <a:buFontTx/>
                        <a:buNone/>
                        <a:tabLst/>
                      </a:pPr>
                      <a:endParaRPr kumimoji="0" lang="en-GB" sz="1100" b="0" i="0" u="none" strike="noStrike" cap="none" normalizeH="0" baseline="0" dirty="0">
                        <a:ln>
                          <a:noFill/>
                        </a:ln>
                        <a:solidFill>
                          <a:srgbClr val="0079D1"/>
                        </a:solidFill>
                        <a:effectLst/>
                        <a:latin typeface="Arial" pitchFamily="34" charset="0"/>
                        <a:ea typeface="ＭＳ Ｐゴシック"/>
                        <a:cs typeface="ＭＳ Ｐゴシック"/>
                      </a:endParaRPr>
                    </a:p>
                  </a:txBody>
                  <a:tcPr marL="90000" marR="90000" marT="46824" marB="46824"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pPr>
                      <a:endParaRPr kumimoji="0" lang="es-MX" sz="1100" b="0" i="0" u="none" strike="noStrike" kern="1200" cap="none" normalizeH="0" baseline="0" noProof="0" dirty="0">
                        <a:ln>
                          <a:noFill/>
                        </a:ln>
                        <a:solidFill>
                          <a:srgbClr val="0079D1"/>
                        </a:solidFill>
                        <a:effectLst/>
                        <a:latin typeface="Arial" pitchFamily="34" charset="0"/>
                        <a:ea typeface="ＭＳ Ｐゴシック"/>
                        <a:cs typeface="ＭＳ Ｐゴシック"/>
                      </a:endParaRPr>
                    </a:p>
                  </a:txBody>
                  <a:tcPr marL="90000" marR="90000" marT="46824" marB="46824"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561426">
                <a:tc>
                  <a:txBody>
                    <a:bodyPr/>
                    <a:lstStyle/>
                    <a:p>
                      <a:pPr marL="0" marR="0" lvl="0" indent="0" algn="l" defTabSz="914400" rtl="0" eaLnBrk="1" fontAlgn="base" latinLnBrk="0" hangingPunct="1">
                        <a:lnSpc>
                          <a:spcPct val="93000"/>
                        </a:lnSpc>
                        <a:spcBef>
                          <a:spcPts val="300"/>
                        </a:spcBef>
                        <a:spcAft>
                          <a:spcPct val="0"/>
                        </a:spcAft>
                        <a:buClrTx/>
                        <a:buSzPct val="25000"/>
                        <a:buFontTx/>
                        <a:buNone/>
                        <a:tabLst/>
                        <a:defRPr/>
                      </a:pPr>
                      <a:endParaRPr kumimoji="0" lang="es-MX" sz="1100" b="0" i="0" u="none" strike="noStrike" kern="1200" cap="none" normalizeH="0" baseline="0" noProof="0" dirty="0">
                        <a:ln>
                          <a:noFill/>
                        </a:ln>
                        <a:solidFill>
                          <a:srgbClr val="0079D1"/>
                        </a:solidFill>
                        <a:effectLst/>
                        <a:latin typeface="Arial" pitchFamily="34" charset="0"/>
                        <a:ea typeface="ＭＳ Ｐゴシック"/>
                        <a:cs typeface="ＭＳ Ｐゴシック"/>
                      </a:endParaRPr>
                    </a:p>
                  </a:txBody>
                  <a:tcPr marL="90000" marR="90000" marT="46824" marB="46824"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93000"/>
                        </a:lnSpc>
                        <a:spcBef>
                          <a:spcPts val="300"/>
                        </a:spcBef>
                        <a:spcAft>
                          <a:spcPct val="0"/>
                        </a:spcAft>
                        <a:buClrTx/>
                        <a:buSzPct val="25000"/>
                        <a:buFontTx/>
                        <a:buNone/>
                        <a:tabLst/>
                        <a:defRPr/>
                      </a:pPr>
                      <a:endParaRPr kumimoji="0" lang="es-MX" sz="1100" b="0" i="0" u="none" strike="noStrike" kern="1200" cap="none" normalizeH="0" baseline="0" noProof="0" dirty="0">
                        <a:ln>
                          <a:noFill/>
                        </a:ln>
                        <a:solidFill>
                          <a:srgbClr val="0079D1"/>
                        </a:solidFill>
                        <a:effectLst/>
                        <a:latin typeface="Arial" pitchFamily="34" charset="0"/>
                        <a:ea typeface="ＭＳ Ｐゴシック"/>
                        <a:cs typeface="ＭＳ Ｐゴシック"/>
                      </a:endParaRPr>
                    </a:p>
                  </a:txBody>
                  <a:tcPr marL="90000" marR="90000" marT="46824" marB="46824"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93000"/>
                        </a:lnSpc>
                        <a:spcBef>
                          <a:spcPts val="300"/>
                        </a:spcBef>
                        <a:spcAft>
                          <a:spcPct val="0"/>
                        </a:spcAft>
                        <a:buClrTx/>
                        <a:buSzPct val="25000"/>
                        <a:buFontTx/>
                        <a:buNone/>
                        <a:tabLst/>
                      </a:pPr>
                      <a:endParaRPr kumimoji="0" lang="en-GB" sz="1100" b="0" i="0" u="none" strike="noStrike" cap="none" normalizeH="0" baseline="0" dirty="0">
                        <a:ln>
                          <a:noFill/>
                        </a:ln>
                        <a:solidFill>
                          <a:srgbClr val="0079D1"/>
                        </a:solidFill>
                        <a:effectLst/>
                        <a:latin typeface="Arial" pitchFamily="34" charset="0"/>
                        <a:ea typeface="ＭＳ Ｐゴシック"/>
                        <a:cs typeface="ＭＳ Ｐゴシック"/>
                      </a:endParaRPr>
                    </a:p>
                  </a:txBody>
                  <a:tcPr marL="90000" marR="90000" marT="46824" marB="46824"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pPr>
                      <a:endParaRPr kumimoji="0" lang="es-MX" sz="1100" b="0" i="0" u="none" strike="noStrike" kern="1200" cap="none" normalizeH="0" baseline="0" noProof="0" dirty="0">
                        <a:ln>
                          <a:noFill/>
                        </a:ln>
                        <a:solidFill>
                          <a:srgbClr val="0079D1"/>
                        </a:solidFill>
                        <a:effectLst/>
                        <a:latin typeface="Arial" pitchFamily="34" charset="0"/>
                        <a:ea typeface="ＭＳ Ｐゴシック"/>
                        <a:cs typeface="ＭＳ Ｐゴシック"/>
                      </a:endParaRPr>
                    </a:p>
                  </a:txBody>
                  <a:tcPr marL="90000" marR="90000" marT="46824" marB="46824"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r h="443648">
                <a:tc>
                  <a:txBody>
                    <a:bodyPr/>
                    <a:lstStyle/>
                    <a:p>
                      <a:pPr marL="0" marR="0" lvl="0" indent="0" algn="l" defTabSz="914400" rtl="0" eaLnBrk="1" fontAlgn="base" latinLnBrk="0" hangingPunct="1">
                        <a:lnSpc>
                          <a:spcPct val="93000"/>
                        </a:lnSpc>
                        <a:spcBef>
                          <a:spcPts val="300"/>
                        </a:spcBef>
                        <a:spcAft>
                          <a:spcPct val="0"/>
                        </a:spcAft>
                        <a:buClrTx/>
                        <a:buSzPct val="25000"/>
                        <a:buFontTx/>
                        <a:buNone/>
                        <a:tabLst/>
                      </a:pPr>
                      <a:endParaRPr kumimoji="0" lang="es-ES" sz="1100" b="0" i="0" u="none" strike="noStrike" cap="none" normalizeH="0" baseline="0" noProof="0" dirty="0">
                        <a:ln>
                          <a:noFill/>
                        </a:ln>
                        <a:solidFill>
                          <a:srgbClr val="0079D1"/>
                        </a:solidFill>
                        <a:effectLst/>
                        <a:latin typeface="Arial" pitchFamily="34" charset="0"/>
                        <a:ea typeface="ＭＳ Ｐゴシック"/>
                        <a:cs typeface="ＭＳ Ｐゴシック"/>
                      </a:endParaRPr>
                    </a:p>
                  </a:txBody>
                  <a:tcPr marL="90000" marR="90000" marT="46824" marB="46824"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93000"/>
                        </a:lnSpc>
                        <a:spcBef>
                          <a:spcPts val="300"/>
                        </a:spcBef>
                        <a:spcAft>
                          <a:spcPct val="0"/>
                        </a:spcAft>
                        <a:buClrTx/>
                        <a:buSzPct val="25000"/>
                        <a:buFontTx/>
                        <a:buNone/>
                        <a:tabLst/>
                        <a:defRPr/>
                      </a:pPr>
                      <a:endParaRPr kumimoji="0" lang="es-MX" sz="1100" b="0" i="0" u="none" strike="noStrike" kern="1200" cap="none" normalizeH="0" baseline="0" noProof="0" dirty="0">
                        <a:ln>
                          <a:noFill/>
                        </a:ln>
                        <a:solidFill>
                          <a:srgbClr val="0079D1"/>
                        </a:solidFill>
                        <a:effectLst/>
                        <a:latin typeface="Arial" pitchFamily="34" charset="0"/>
                        <a:ea typeface="ＭＳ Ｐゴシック"/>
                        <a:cs typeface="ＭＳ Ｐゴシック"/>
                      </a:endParaRPr>
                    </a:p>
                  </a:txBody>
                  <a:tcPr marL="90000" marR="90000" marT="46824" marB="46824"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93000"/>
                        </a:lnSpc>
                        <a:spcBef>
                          <a:spcPts val="300"/>
                        </a:spcBef>
                        <a:spcAft>
                          <a:spcPct val="0"/>
                        </a:spcAft>
                        <a:buClrTx/>
                        <a:buSzPct val="25000"/>
                        <a:buFontTx/>
                        <a:buNone/>
                        <a:tabLst/>
                      </a:pPr>
                      <a:endParaRPr kumimoji="0" lang="en-GB" sz="1100" b="0" i="0" u="none" strike="noStrike" cap="none" normalizeH="0" baseline="0" dirty="0">
                        <a:ln>
                          <a:noFill/>
                        </a:ln>
                        <a:solidFill>
                          <a:srgbClr val="0079D1"/>
                        </a:solidFill>
                        <a:effectLst/>
                        <a:latin typeface="Arial" pitchFamily="34" charset="0"/>
                        <a:ea typeface="ＭＳ Ｐゴシック"/>
                        <a:cs typeface="ＭＳ Ｐゴシック"/>
                      </a:endParaRPr>
                    </a:p>
                  </a:txBody>
                  <a:tcPr marL="90000" marR="90000" marT="46824" marB="46824"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pPr>
                      <a:endParaRPr kumimoji="0" lang="es-MX" sz="1100" b="0" i="0" u="none" strike="noStrike" kern="1200" cap="none" normalizeH="0" baseline="0" noProof="0" dirty="0">
                        <a:ln>
                          <a:noFill/>
                        </a:ln>
                        <a:solidFill>
                          <a:srgbClr val="0079D1"/>
                        </a:solidFill>
                        <a:effectLst/>
                        <a:latin typeface="Arial" pitchFamily="34" charset="0"/>
                        <a:ea typeface="ＭＳ Ｐゴシック"/>
                        <a:cs typeface="ＭＳ Ｐゴシック"/>
                      </a:endParaRPr>
                    </a:p>
                  </a:txBody>
                  <a:tcPr marL="90000" marR="90000" marT="46824" marB="46824"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4"/>
                  </a:ext>
                </a:extLst>
              </a:tr>
              <a:tr h="458069">
                <a:tc>
                  <a:txBody>
                    <a:bodyPr/>
                    <a:lstStyle/>
                    <a:p>
                      <a:pPr marL="0" marR="0" lvl="0" indent="0" algn="l" defTabSz="914400" rtl="0" eaLnBrk="1" fontAlgn="base" latinLnBrk="0" hangingPunct="1">
                        <a:lnSpc>
                          <a:spcPct val="93000"/>
                        </a:lnSpc>
                        <a:spcBef>
                          <a:spcPts val="300"/>
                        </a:spcBef>
                        <a:spcAft>
                          <a:spcPct val="0"/>
                        </a:spcAft>
                        <a:buClrTx/>
                        <a:buSzPct val="25000"/>
                        <a:buFontTx/>
                        <a:buNone/>
                        <a:tabLst/>
                      </a:pPr>
                      <a:endParaRPr kumimoji="0" lang="es-MX" sz="1100" b="0" i="0" u="none" strike="noStrike" cap="none" normalizeH="0" baseline="0" noProof="0" dirty="0">
                        <a:ln>
                          <a:noFill/>
                        </a:ln>
                        <a:solidFill>
                          <a:srgbClr val="0079D1"/>
                        </a:solidFill>
                        <a:effectLst/>
                        <a:latin typeface="Arial" pitchFamily="34" charset="0"/>
                        <a:ea typeface="ＭＳ Ｐゴシック"/>
                        <a:cs typeface="ＭＳ Ｐゴシック"/>
                      </a:endParaRPr>
                    </a:p>
                  </a:txBody>
                  <a:tcPr marL="90000" marR="90000" marT="46824" marB="46824"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93000"/>
                        </a:lnSpc>
                        <a:spcBef>
                          <a:spcPts val="300"/>
                        </a:spcBef>
                        <a:spcAft>
                          <a:spcPct val="0"/>
                        </a:spcAft>
                        <a:buClrTx/>
                        <a:buSzPct val="25000"/>
                        <a:buFontTx/>
                        <a:buNone/>
                        <a:tabLst/>
                      </a:pPr>
                      <a:endParaRPr kumimoji="0" lang="es-MX" sz="1100" b="0" i="0" u="none" strike="noStrike" cap="none" normalizeH="0" baseline="0" noProof="0" dirty="0">
                        <a:ln>
                          <a:noFill/>
                        </a:ln>
                        <a:solidFill>
                          <a:srgbClr val="0079D1"/>
                        </a:solidFill>
                        <a:effectLst/>
                        <a:latin typeface="Arial" pitchFamily="34" charset="0"/>
                        <a:ea typeface="ＭＳ Ｐゴシック"/>
                        <a:cs typeface="ＭＳ Ｐゴシック"/>
                      </a:endParaRPr>
                    </a:p>
                  </a:txBody>
                  <a:tcPr marL="90000" marR="90000" marT="46824" marB="46824"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93000"/>
                        </a:lnSpc>
                        <a:spcBef>
                          <a:spcPts val="300"/>
                        </a:spcBef>
                        <a:spcAft>
                          <a:spcPct val="0"/>
                        </a:spcAft>
                        <a:buClrTx/>
                        <a:buSzPct val="25000"/>
                        <a:buFontTx/>
                        <a:buNone/>
                        <a:tabLst/>
                      </a:pPr>
                      <a:endParaRPr kumimoji="0" lang="en-GB" sz="1100" b="0" i="0" u="none" strike="noStrike" cap="none" normalizeH="0" baseline="0" dirty="0">
                        <a:ln>
                          <a:noFill/>
                        </a:ln>
                        <a:solidFill>
                          <a:srgbClr val="0079D1"/>
                        </a:solidFill>
                        <a:effectLst/>
                        <a:latin typeface="Arial" pitchFamily="34" charset="0"/>
                        <a:ea typeface="ＭＳ Ｐゴシック"/>
                        <a:cs typeface="ＭＳ Ｐゴシック"/>
                      </a:endParaRPr>
                    </a:p>
                  </a:txBody>
                  <a:tcPr marL="90000" marR="90000" marT="46824" marB="46824"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pPr>
                      <a:endParaRPr kumimoji="0" lang="es-MX" sz="1100" b="0" i="0" u="none" strike="noStrike" kern="1200" cap="none" normalizeH="0" baseline="0" noProof="0" dirty="0">
                        <a:ln>
                          <a:noFill/>
                        </a:ln>
                        <a:solidFill>
                          <a:srgbClr val="0079D1"/>
                        </a:solidFill>
                        <a:effectLst/>
                        <a:latin typeface="Arial" pitchFamily="34" charset="0"/>
                        <a:ea typeface="ＭＳ Ｐゴシック"/>
                        <a:cs typeface="ＭＳ Ｐゴシック"/>
                      </a:endParaRPr>
                    </a:p>
                  </a:txBody>
                  <a:tcPr marL="90000" marR="90000" marT="46824" marB="46824"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5"/>
                  </a:ext>
                </a:extLst>
              </a:tr>
              <a:tr h="478662">
                <a:tc>
                  <a:txBody>
                    <a:bodyPr/>
                    <a:lstStyle/>
                    <a:p>
                      <a:pPr marL="0" marR="0" lvl="0" indent="0" algn="l" defTabSz="914400" rtl="0" eaLnBrk="1" fontAlgn="base" latinLnBrk="0" hangingPunct="1">
                        <a:lnSpc>
                          <a:spcPct val="93000"/>
                        </a:lnSpc>
                        <a:spcBef>
                          <a:spcPts val="300"/>
                        </a:spcBef>
                        <a:spcAft>
                          <a:spcPct val="0"/>
                        </a:spcAft>
                        <a:buClrTx/>
                        <a:buSzPct val="25000"/>
                        <a:buFontTx/>
                        <a:buNone/>
                        <a:tabLst/>
                      </a:pPr>
                      <a:endParaRPr kumimoji="0" lang="es-MX" sz="1100" b="0" i="0" u="none" strike="noStrike" cap="none" normalizeH="0" baseline="0" noProof="0" dirty="0">
                        <a:ln>
                          <a:noFill/>
                        </a:ln>
                        <a:solidFill>
                          <a:srgbClr val="0079D1"/>
                        </a:solidFill>
                        <a:effectLst/>
                        <a:latin typeface="Arial" pitchFamily="34" charset="0"/>
                        <a:ea typeface="ＭＳ Ｐゴシック"/>
                        <a:cs typeface="ＭＳ Ｐゴシック"/>
                      </a:endParaRPr>
                    </a:p>
                  </a:txBody>
                  <a:tcPr marL="90000" marR="90000" marT="46824" marB="46824"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93000"/>
                        </a:lnSpc>
                        <a:spcBef>
                          <a:spcPts val="300"/>
                        </a:spcBef>
                        <a:spcAft>
                          <a:spcPct val="0"/>
                        </a:spcAft>
                        <a:buClrTx/>
                        <a:buSzPct val="25000"/>
                        <a:buFontTx/>
                        <a:buNone/>
                        <a:tabLst/>
                      </a:pPr>
                      <a:endParaRPr kumimoji="0" lang="es-MX" sz="1100" b="0" i="0" u="none" strike="noStrike" cap="none" normalizeH="0" baseline="0" noProof="0" dirty="0">
                        <a:ln>
                          <a:noFill/>
                        </a:ln>
                        <a:solidFill>
                          <a:srgbClr val="0079D1"/>
                        </a:solidFill>
                        <a:effectLst/>
                        <a:latin typeface="Arial" pitchFamily="34" charset="0"/>
                        <a:ea typeface="ＭＳ Ｐゴシック"/>
                        <a:cs typeface="ＭＳ Ｐゴシック"/>
                      </a:endParaRPr>
                    </a:p>
                  </a:txBody>
                  <a:tcPr marL="90000" marR="90000" marT="46824" marB="46824"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93000"/>
                        </a:lnSpc>
                        <a:spcBef>
                          <a:spcPts val="300"/>
                        </a:spcBef>
                        <a:spcAft>
                          <a:spcPct val="0"/>
                        </a:spcAft>
                        <a:buClrTx/>
                        <a:buSzPct val="25000"/>
                        <a:buFontTx/>
                        <a:buNone/>
                        <a:tabLst/>
                      </a:pPr>
                      <a:endParaRPr kumimoji="0" lang="es-ES" sz="1100" b="0" i="0" u="none" strike="noStrike" cap="none" normalizeH="0" baseline="0" noProof="0" dirty="0">
                        <a:ln>
                          <a:noFill/>
                        </a:ln>
                        <a:solidFill>
                          <a:srgbClr val="0079D1"/>
                        </a:solidFill>
                        <a:effectLst/>
                        <a:latin typeface="Arial" pitchFamily="34" charset="0"/>
                        <a:ea typeface="ＭＳ Ｐゴシック"/>
                        <a:cs typeface="ＭＳ Ｐゴシック"/>
                      </a:endParaRPr>
                    </a:p>
                  </a:txBody>
                  <a:tcPr marL="90000" marR="90000" marT="46824" marB="46824"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pPr>
                      <a:endParaRPr kumimoji="0" lang="es-MX" sz="1100" b="0" i="0" u="none" strike="noStrike" kern="1200" cap="none" normalizeH="0" baseline="0" noProof="0" dirty="0">
                        <a:ln>
                          <a:noFill/>
                        </a:ln>
                        <a:solidFill>
                          <a:srgbClr val="0079D1"/>
                        </a:solidFill>
                        <a:effectLst/>
                        <a:latin typeface="Arial" pitchFamily="34" charset="0"/>
                        <a:ea typeface="ＭＳ Ｐゴシック"/>
                        <a:cs typeface="ＭＳ Ｐゴシック"/>
                      </a:endParaRPr>
                    </a:p>
                  </a:txBody>
                  <a:tcPr marL="90000" marR="90000" marT="46824" marB="46824"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6"/>
                  </a:ext>
                </a:extLst>
              </a:tr>
              <a:tr h="449984">
                <a:tc>
                  <a:txBody>
                    <a:bodyPr/>
                    <a:lstStyle/>
                    <a:p>
                      <a:pPr marL="0" marR="0" lvl="0" indent="0" algn="l" defTabSz="914400" rtl="0" eaLnBrk="1" fontAlgn="base" latinLnBrk="0" hangingPunct="1">
                        <a:lnSpc>
                          <a:spcPct val="93000"/>
                        </a:lnSpc>
                        <a:spcBef>
                          <a:spcPts val="300"/>
                        </a:spcBef>
                        <a:spcAft>
                          <a:spcPct val="0"/>
                        </a:spcAft>
                        <a:buClrTx/>
                        <a:buSzPct val="25000"/>
                        <a:buFontTx/>
                        <a:buNone/>
                        <a:tabLst/>
                        <a:defRPr/>
                      </a:pPr>
                      <a:endParaRPr kumimoji="0" lang="es-MX" sz="1100" b="0" i="0" u="none" strike="noStrike" kern="1200" cap="none" normalizeH="0" baseline="0" noProof="0" dirty="0">
                        <a:ln>
                          <a:noFill/>
                        </a:ln>
                        <a:solidFill>
                          <a:srgbClr val="0079D1"/>
                        </a:solidFill>
                        <a:effectLst/>
                        <a:latin typeface="Arial" pitchFamily="34" charset="0"/>
                        <a:ea typeface="ＭＳ Ｐゴシック"/>
                        <a:cs typeface="ＭＳ Ｐゴシック"/>
                      </a:endParaRPr>
                    </a:p>
                  </a:txBody>
                  <a:tcPr marL="90000" marR="90000" marT="46824" marB="46824"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93000"/>
                        </a:lnSpc>
                        <a:spcBef>
                          <a:spcPts val="300"/>
                        </a:spcBef>
                        <a:spcAft>
                          <a:spcPct val="0"/>
                        </a:spcAft>
                        <a:buClrTx/>
                        <a:buSzPct val="25000"/>
                        <a:buFontTx/>
                        <a:buNone/>
                        <a:tabLst/>
                      </a:pPr>
                      <a:endParaRPr kumimoji="0" lang="es-MX" sz="1100" b="0" i="0" u="none" strike="noStrike" cap="none" normalizeH="0" baseline="0" noProof="0" dirty="0">
                        <a:ln>
                          <a:noFill/>
                        </a:ln>
                        <a:solidFill>
                          <a:srgbClr val="0079D1"/>
                        </a:solidFill>
                        <a:effectLst/>
                        <a:latin typeface="Arial" pitchFamily="34" charset="0"/>
                        <a:ea typeface="ＭＳ Ｐゴシック"/>
                        <a:cs typeface="ＭＳ Ｐゴシック"/>
                      </a:endParaRPr>
                    </a:p>
                  </a:txBody>
                  <a:tcPr marL="90000" marR="90000" marT="46824" marB="46824"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93000"/>
                        </a:lnSpc>
                        <a:spcBef>
                          <a:spcPts val="300"/>
                        </a:spcBef>
                        <a:spcAft>
                          <a:spcPct val="0"/>
                        </a:spcAft>
                        <a:buClrTx/>
                        <a:buSzPct val="25000"/>
                        <a:buFontTx/>
                        <a:buNone/>
                        <a:tabLst/>
                      </a:pPr>
                      <a:endParaRPr kumimoji="0" lang="en-GB" sz="1100" b="0" i="0" u="none" strike="noStrike" cap="none" normalizeH="0" baseline="0" dirty="0">
                        <a:ln>
                          <a:noFill/>
                        </a:ln>
                        <a:solidFill>
                          <a:srgbClr val="0079D1"/>
                        </a:solidFill>
                        <a:effectLst/>
                        <a:latin typeface="Arial" pitchFamily="34" charset="0"/>
                        <a:ea typeface="ＭＳ Ｐゴシック"/>
                        <a:cs typeface="ＭＳ Ｐゴシック"/>
                      </a:endParaRPr>
                    </a:p>
                  </a:txBody>
                  <a:tcPr marL="90000" marR="90000" marT="46824" marB="46824"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pPr>
                      <a:endParaRPr kumimoji="0" lang="es-MX" sz="1100" b="0" i="0" u="none" strike="noStrike" kern="1200" cap="none" normalizeH="0" baseline="0" noProof="0" dirty="0">
                        <a:ln>
                          <a:noFill/>
                        </a:ln>
                        <a:solidFill>
                          <a:srgbClr val="0079D1"/>
                        </a:solidFill>
                        <a:effectLst/>
                        <a:latin typeface="Arial" pitchFamily="34" charset="0"/>
                        <a:ea typeface="ＭＳ Ｐゴシック"/>
                        <a:cs typeface="ＭＳ Ｐゴシック"/>
                      </a:endParaRPr>
                    </a:p>
                  </a:txBody>
                  <a:tcPr marL="90000" marR="90000" marT="46824" marB="46824"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7"/>
                  </a:ext>
                </a:extLst>
              </a:tr>
              <a:tr h="561361">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pPr>
                      <a:endParaRPr kumimoji="0" lang="es-MX" sz="1100" b="0" i="0" u="none" strike="noStrike" kern="1200" cap="none" normalizeH="0" baseline="0" noProof="0" dirty="0">
                        <a:ln>
                          <a:noFill/>
                        </a:ln>
                        <a:solidFill>
                          <a:srgbClr val="0079D1"/>
                        </a:solidFill>
                        <a:effectLst/>
                        <a:latin typeface="Arial" pitchFamily="34" charset="0"/>
                        <a:ea typeface="ＭＳ Ｐゴシック"/>
                        <a:cs typeface="ＭＳ Ｐゴシック"/>
                      </a:endParaRPr>
                    </a:p>
                  </a:txBody>
                  <a:tcPr marL="90000" marR="90000" marT="46828" marB="46828"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defRPr/>
                      </a:pPr>
                      <a:endParaRPr kumimoji="0" lang="es-MX" sz="1100" b="0" i="0" u="none" strike="noStrike" kern="1200" cap="none" normalizeH="0" baseline="0" noProof="0" dirty="0">
                        <a:ln>
                          <a:noFill/>
                        </a:ln>
                        <a:solidFill>
                          <a:srgbClr val="0079D1"/>
                        </a:solidFill>
                        <a:effectLst/>
                        <a:latin typeface="Arial" pitchFamily="34" charset="0"/>
                        <a:ea typeface="ＭＳ Ｐゴシック"/>
                        <a:cs typeface="ＭＳ Ｐゴシック"/>
                      </a:endParaRPr>
                    </a:p>
                  </a:txBody>
                  <a:tcPr marL="90000" marR="90000" marT="46828" marB="4682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pPr>
                      <a:endParaRPr kumimoji="0" lang="es-MX" sz="1100" b="0" i="0" u="none" strike="noStrike" kern="1200" cap="none" normalizeH="0" baseline="0" noProof="0" dirty="0">
                        <a:ln>
                          <a:noFill/>
                        </a:ln>
                        <a:solidFill>
                          <a:srgbClr val="0079D1"/>
                        </a:solidFill>
                        <a:effectLst/>
                        <a:latin typeface="Arial" pitchFamily="34" charset="0"/>
                        <a:ea typeface="ＭＳ Ｐゴシック"/>
                        <a:cs typeface="ＭＳ Ｐゴシック"/>
                      </a:endParaRPr>
                    </a:p>
                  </a:txBody>
                  <a:tcPr marL="90000" marR="90000" marT="46828" marB="4682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pPr>
                      <a:endParaRPr kumimoji="0" lang="es-MX" sz="1100" b="0" i="0" u="none" strike="noStrike" kern="1200" cap="none" normalizeH="0" baseline="0" noProof="0" dirty="0">
                        <a:ln>
                          <a:noFill/>
                        </a:ln>
                        <a:solidFill>
                          <a:srgbClr val="0079D1"/>
                        </a:solidFill>
                        <a:effectLst/>
                        <a:latin typeface="Arial" pitchFamily="34" charset="0"/>
                        <a:ea typeface="ＭＳ Ｐゴシック"/>
                        <a:cs typeface="ＭＳ Ｐゴシック"/>
                      </a:endParaRPr>
                    </a:p>
                  </a:txBody>
                  <a:tcPr marL="90000" marR="90000" marT="46828" marB="46828"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8"/>
                  </a:ext>
                </a:extLst>
              </a:tr>
            </a:tbl>
          </a:graphicData>
        </a:graphic>
      </p:graphicFrame>
    </p:spTree>
    <p:extLst>
      <p:ext uri="{BB962C8B-B14F-4D97-AF65-F5344CB8AC3E}">
        <p14:creationId xmlns:p14="http://schemas.microsoft.com/office/powerpoint/2010/main" val="1827037329"/>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tangle 3">
            <a:extLst>
              <a:ext uri="{FF2B5EF4-FFF2-40B4-BE49-F238E27FC236}">
                <a16:creationId xmlns:a16="http://schemas.microsoft.com/office/drawing/2014/main" id="{A27FD23C-A522-0E4F-B70C-CC83BC4542BA}"/>
              </a:ext>
            </a:extLst>
          </p:cNvPr>
          <p:cNvSpPr txBox="1"/>
          <p:nvPr/>
        </p:nvSpPr>
        <p:spPr>
          <a:xfrm>
            <a:off x="404808" y="237462"/>
            <a:ext cx="7585857" cy="400105"/>
          </a:xfrm>
          <a:prstGeom prst="rect">
            <a:avLst/>
          </a:prstGeom>
          <a:ln w="12700">
            <a:miter lim="400000"/>
          </a:ln>
          <a:extLst>
            <a:ext uri="{C572A759-6A51-4108-AA02-DFA0A04FC94B}">
              <ma14:wrappingTextBoxFlag xmlns:ma14="http://schemas.microsoft.com/office/mac/drawingml/2011/main" xmlns="" val="1"/>
            </a:ext>
          </a:extLst>
        </p:spPr>
        <p:txBody>
          <a:bodyPr wrap="square" lIns="45718" tIns="45718" rIns="45718" bIns="45718">
            <a:spAutoFit/>
          </a:bodyPr>
          <a:lstStyle>
            <a:lvl1pPr algn="l" defTabSz="914400">
              <a:defRPr sz="2200" b="1">
                <a:solidFill>
                  <a:srgbClr val="FFFFFF"/>
                </a:solidFill>
                <a:latin typeface="Arial"/>
                <a:ea typeface="Arial"/>
                <a:cs typeface="Arial"/>
                <a:sym typeface="Arial"/>
              </a:defRPr>
            </a:lvl1pPr>
          </a:lstStyle>
          <a:p>
            <a:r>
              <a:rPr lang="es-ES" sz="2000" dirty="0">
                <a:solidFill>
                  <a:srgbClr val="016AA2"/>
                </a:solidFill>
              </a:rPr>
              <a:t>Volumetría (I) </a:t>
            </a:r>
            <a:endParaRPr lang="en-US" sz="2000" dirty="0">
              <a:solidFill>
                <a:srgbClr val="016AA2"/>
              </a:solidFill>
            </a:endParaRPr>
          </a:p>
        </p:txBody>
      </p:sp>
      <p:sp>
        <p:nvSpPr>
          <p:cNvPr id="65" name="Rectangle 3"/>
          <p:cNvSpPr txBox="1"/>
          <p:nvPr/>
        </p:nvSpPr>
        <p:spPr>
          <a:xfrm>
            <a:off x="404807" y="610135"/>
            <a:ext cx="5337625" cy="369328"/>
          </a:xfrm>
          <a:prstGeom prst="rect">
            <a:avLst/>
          </a:prstGeom>
          <a:ln w="12700">
            <a:miter lim="400000"/>
          </a:ln>
          <a:extLst>
            <a:ext uri="{C572A759-6A51-4108-AA02-DFA0A04FC94B}">
              <ma14:wrappingTextBoxFlag xmlns="" xmlns:ma14="http://schemas.microsoft.com/office/mac/drawingml/2011/main" val="1"/>
            </a:ext>
          </a:extLst>
        </p:spPr>
        <p:txBody>
          <a:bodyPr wrap="square" lIns="45718" tIns="45718" rIns="45718" bIns="45718">
            <a:spAutoFit/>
          </a:bodyPr>
          <a:lstStyle>
            <a:lvl1pPr algn="l" defTabSz="914400">
              <a:defRPr sz="2000">
                <a:solidFill>
                  <a:srgbClr val="104D6A"/>
                </a:solidFill>
                <a:latin typeface="Arial"/>
                <a:ea typeface="Arial"/>
                <a:cs typeface="Arial"/>
                <a:sym typeface="Arial"/>
              </a:defRPr>
            </a:lvl1pPr>
          </a:lstStyle>
          <a:p>
            <a:pPr>
              <a:defRPr/>
            </a:pPr>
            <a:r>
              <a:rPr lang="es-ES_tradnl" sz="1800" b="1" dirty="0">
                <a:solidFill>
                  <a:srgbClr val="73C4EF"/>
                </a:solidFill>
              </a:rPr>
              <a:t>Case of use - </a:t>
            </a:r>
          </a:p>
        </p:txBody>
      </p:sp>
      <p:graphicFrame>
        <p:nvGraphicFramePr>
          <p:cNvPr id="5" name="Group 28">
            <a:extLst>
              <a:ext uri="{FF2B5EF4-FFF2-40B4-BE49-F238E27FC236}">
                <a16:creationId xmlns:a16="http://schemas.microsoft.com/office/drawing/2014/main" id="{41C7C916-EB14-8347-93E0-B941EF96314E}"/>
              </a:ext>
            </a:extLst>
          </p:cNvPr>
          <p:cNvGraphicFramePr>
            <a:graphicFrameLocks/>
          </p:cNvGraphicFramePr>
          <p:nvPr>
            <p:extLst>
              <p:ext uri="{D42A27DB-BD31-4B8C-83A1-F6EECF244321}">
                <p14:modId xmlns:p14="http://schemas.microsoft.com/office/powerpoint/2010/main" val="3391519560"/>
              </p:ext>
            </p:extLst>
          </p:nvPr>
        </p:nvGraphicFramePr>
        <p:xfrm>
          <a:off x="1710139" y="1539433"/>
          <a:ext cx="8533455" cy="2152260"/>
        </p:xfrm>
        <a:graphic>
          <a:graphicData uri="http://schemas.openxmlformats.org/drawingml/2006/table">
            <a:tbl>
              <a:tblPr/>
              <a:tblGrid>
                <a:gridCol w="5845830">
                  <a:extLst>
                    <a:ext uri="{9D8B030D-6E8A-4147-A177-3AD203B41FA5}">
                      <a16:colId xmlns:a16="http://schemas.microsoft.com/office/drawing/2014/main" val="20000"/>
                    </a:ext>
                  </a:extLst>
                </a:gridCol>
                <a:gridCol w="2687625">
                  <a:extLst>
                    <a:ext uri="{9D8B030D-6E8A-4147-A177-3AD203B41FA5}">
                      <a16:colId xmlns:a16="http://schemas.microsoft.com/office/drawing/2014/main" val="20001"/>
                    </a:ext>
                  </a:extLst>
                </a:gridCol>
              </a:tblGrid>
              <a:tr h="337218">
                <a:tc>
                  <a:txBody>
                    <a:bodyPr/>
                    <a:lstStyle/>
                    <a:p>
                      <a:pPr marL="0" marR="0" lvl="0" indent="0" algn="ctr" defTabSz="914400" rtl="0" eaLnBrk="1" fontAlgn="base" latinLnBrk="0" hangingPunct="1">
                        <a:lnSpc>
                          <a:spcPct val="100000"/>
                        </a:lnSpc>
                        <a:spcBef>
                          <a:spcPct val="20000"/>
                        </a:spcBef>
                        <a:spcAft>
                          <a:spcPct val="0"/>
                        </a:spcAft>
                        <a:buClrTx/>
                        <a:buSzPct val="25000"/>
                        <a:buFont typeface="Times" pitchFamily="18" charset="0"/>
                        <a:buNone/>
                        <a:tabLst>
                          <a:tab pos="450850" algn="l"/>
                          <a:tab pos="900113" algn="l"/>
                          <a:tab pos="1349375" algn="l"/>
                          <a:tab pos="2251075" algn="l"/>
                        </a:tabLst>
                      </a:pPr>
                      <a:r>
                        <a:rPr kumimoji="0" lang="es-MX" sz="1100" b="1" i="0" u="none" strike="noStrike" cap="none" normalizeH="0" baseline="0" noProof="0" dirty="0">
                          <a:ln>
                            <a:noFill/>
                          </a:ln>
                          <a:solidFill>
                            <a:schemeClr val="bg1"/>
                          </a:solidFill>
                          <a:effectLst/>
                          <a:latin typeface="Arial" charset="0"/>
                        </a:rPr>
                        <a:t>Characteristic</a:t>
                      </a:r>
                    </a:p>
                  </a:txBody>
                  <a:tcPr marL="0" marR="0" marT="0" marB="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67B7"/>
                    </a:solidFill>
                  </a:tcPr>
                </a:tc>
                <a:tc>
                  <a:txBody>
                    <a:bodyPr/>
                    <a:lstStyle/>
                    <a:p>
                      <a:pPr marL="0" marR="0" lvl="0" indent="0" algn="ctr" defTabSz="914400" rtl="0" eaLnBrk="1" fontAlgn="base" latinLnBrk="0" hangingPunct="1">
                        <a:lnSpc>
                          <a:spcPct val="100000"/>
                        </a:lnSpc>
                        <a:spcBef>
                          <a:spcPct val="20000"/>
                        </a:spcBef>
                        <a:spcAft>
                          <a:spcPct val="0"/>
                        </a:spcAft>
                        <a:buClrTx/>
                        <a:buSzPct val="25000"/>
                        <a:buFont typeface="Times" pitchFamily="18" charset="0"/>
                        <a:buNone/>
                        <a:tabLst>
                          <a:tab pos="450850" algn="l"/>
                          <a:tab pos="900113" algn="l"/>
                          <a:tab pos="1349375" algn="l"/>
                          <a:tab pos="2251075" algn="l"/>
                        </a:tabLst>
                      </a:pPr>
                      <a:r>
                        <a:rPr kumimoji="0" lang="es-MX" sz="1100" b="1" i="0" u="none" strike="noStrike" cap="none" normalizeH="0" baseline="0" noProof="0" dirty="0">
                          <a:ln>
                            <a:noFill/>
                          </a:ln>
                          <a:solidFill>
                            <a:schemeClr val="bg1"/>
                          </a:solidFill>
                          <a:effectLst/>
                          <a:latin typeface="Arial" charset="0"/>
                        </a:rPr>
                        <a:t>Detalle</a:t>
                      </a:r>
                      <a:endParaRPr kumimoji="0" lang="es-MX" sz="1100" b="1" i="0" u="none" strike="noStrike" cap="none" normalizeH="0" baseline="0" noProof="0" dirty="0">
                        <a:ln>
                          <a:noFill/>
                        </a:ln>
                        <a:solidFill>
                          <a:schemeClr val="bg1"/>
                        </a:solidFill>
                        <a:effectLst/>
                        <a:latin typeface="Times New Roman" pitchFamily="18" charset="0"/>
                      </a:endParaRPr>
                    </a:p>
                  </a:txBody>
                  <a:tcPr marL="0" marR="0" marT="0" marB="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67B7"/>
                    </a:solidFill>
                  </a:tcPr>
                </a:tc>
                <a:extLst>
                  <a:ext uri="{0D108BD9-81ED-4DB2-BD59-A6C34878D82A}">
                    <a16:rowId xmlns:a16="http://schemas.microsoft.com/office/drawing/2014/main" val="10000"/>
                  </a:ext>
                </a:extLst>
              </a:tr>
              <a:tr h="260707">
                <a:tc>
                  <a:txBody>
                    <a:bodyPr/>
                    <a:lstStyle/>
                    <a:p>
                      <a:pPr marL="0" indent="90000" algn="l" defTabSz="914400" rtl="0" eaLnBrk="1" latinLnBrk="0" hangingPunct="1">
                        <a:lnSpc>
                          <a:spcPct val="100000"/>
                        </a:lnSpc>
                        <a:spcBef>
                          <a:spcPts val="100"/>
                        </a:spcBef>
                        <a:spcAft>
                          <a:spcPts val="0"/>
                        </a:spcAft>
                      </a:pPr>
                      <a:endParaRPr lang="es-MX" sz="1100" kern="1200" dirty="0">
                        <a:solidFill>
                          <a:schemeClr val="bg2"/>
                        </a:solidFill>
                        <a:effectLst/>
                        <a:latin typeface="Arial"/>
                        <a:ea typeface="Times New Roman"/>
                        <a:cs typeface="Times New Roman"/>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indent="90000" algn="l" defTabSz="914400" rtl="0" eaLnBrk="1" latinLnBrk="0" hangingPunct="1">
                        <a:lnSpc>
                          <a:spcPct val="100000"/>
                        </a:lnSpc>
                        <a:spcBef>
                          <a:spcPts val="100"/>
                        </a:spcBef>
                        <a:spcAft>
                          <a:spcPts val="0"/>
                        </a:spcAft>
                      </a:pPr>
                      <a:endParaRPr lang="es-MX" sz="1100" kern="1200" dirty="0">
                        <a:solidFill>
                          <a:schemeClr val="bg2"/>
                        </a:solidFill>
                        <a:effectLst/>
                        <a:latin typeface="+mn-lt"/>
                        <a:ea typeface="Times New Roman"/>
                        <a:cs typeface="Times New Roman"/>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257632">
                <a:tc>
                  <a:txBody>
                    <a:bodyPr/>
                    <a:lstStyle/>
                    <a:p>
                      <a:pPr marL="0" indent="90000" algn="l" defTabSz="914400" rtl="0" eaLnBrk="1" latinLnBrk="0" hangingPunct="1">
                        <a:lnSpc>
                          <a:spcPct val="100000"/>
                        </a:lnSpc>
                        <a:spcBef>
                          <a:spcPts val="100"/>
                        </a:spcBef>
                        <a:spcAft>
                          <a:spcPts val="0"/>
                        </a:spcAft>
                      </a:pPr>
                      <a:endParaRPr lang="es-MX" sz="1100" kern="1200" dirty="0">
                        <a:solidFill>
                          <a:schemeClr val="bg2"/>
                        </a:solidFill>
                        <a:effectLst/>
                        <a:latin typeface="Arial"/>
                        <a:ea typeface="Times New Roman"/>
                        <a:cs typeface="Times New Roman"/>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indent="90000" algn="l" defTabSz="914400" rtl="0" eaLnBrk="1" latinLnBrk="0" hangingPunct="1">
                        <a:lnSpc>
                          <a:spcPct val="100000"/>
                        </a:lnSpc>
                        <a:spcBef>
                          <a:spcPts val="100"/>
                        </a:spcBef>
                        <a:spcAft>
                          <a:spcPts val="0"/>
                        </a:spcAft>
                      </a:pPr>
                      <a:endParaRPr lang="es-MX" sz="1100" kern="1200" dirty="0">
                        <a:solidFill>
                          <a:schemeClr val="bg2"/>
                        </a:solidFill>
                        <a:effectLst/>
                        <a:latin typeface="+mn-lt"/>
                        <a:ea typeface="Times New Roman"/>
                        <a:cs typeface="Times New Roman"/>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257632">
                <a:tc>
                  <a:txBody>
                    <a:bodyPr/>
                    <a:lstStyle/>
                    <a:p>
                      <a:pPr marL="0" indent="90000" algn="l" defTabSz="914400" rtl="0" eaLnBrk="1" latinLnBrk="0" hangingPunct="1">
                        <a:lnSpc>
                          <a:spcPct val="100000"/>
                        </a:lnSpc>
                        <a:spcBef>
                          <a:spcPts val="100"/>
                        </a:spcBef>
                        <a:spcAft>
                          <a:spcPts val="0"/>
                        </a:spcAft>
                      </a:pPr>
                      <a:endParaRPr lang="es-MX" sz="1100" kern="1200" dirty="0">
                        <a:solidFill>
                          <a:schemeClr val="bg2"/>
                        </a:solidFill>
                        <a:effectLst/>
                        <a:latin typeface="Arial"/>
                        <a:ea typeface="Times New Roman"/>
                        <a:cs typeface="Times New Roman"/>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indent="90000" algn="l" defTabSz="914400" rtl="0" eaLnBrk="1" latinLnBrk="0" hangingPunct="1">
                        <a:lnSpc>
                          <a:spcPct val="100000"/>
                        </a:lnSpc>
                        <a:spcBef>
                          <a:spcPts val="100"/>
                        </a:spcBef>
                        <a:spcAft>
                          <a:spcPts val="0"/>
                        </a:spcAft>
                      </a:pPr>
                      <a:endParaRPr lang="es-MX" sz="1100" kern="1200" dirty="0">
                        <a:solidFill>
                          <a:schemeClr val="bg2"/>
                        </a:solidFill>
                        <a:effectLst/>
                        <a:latin typeface="Arial"/>
                        <a:ea typeface="Times New Roman"/>
                        <a:cs typeface="Times New Roman"/>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r h="277311">
                <a:tc>
                  <a:txBody>
                    <a:bodyPr/>
                    <a:lstStyle/>
                    <a:p>
                      <a:pPr marL="0" indent="90000" algn="l" defTabSz="914400" rtl="0" eaLnBrk="1" latinLnBrk="0" hangingPunct="1">
                        <a:lnSpc>
                          <a:spcPct val="100000"/>
                        </a:lnSpc>
                        <a:spcBef>
                          <a:spcPts val="100"/>
                        </a:spcBef>
                        <a:spcAft>
                          <a:spcPts val="0"/>
                        </a:spcAft>
                      </a:pPr>
                      <a:endParaRPr lang="es-MX" sz="1100" kern="1200" dirty="0">
                        <a:solidFill>
                          <a:schemeClr val="bg2"/>
                        </a:solidFill>
                        <a:effectLst/>
                        <a:latin typeface="Arial"/>
                        <a:ea typeface="Times New Roman"/>
                        <a:cs typeface="Times New Roman"/>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28600" indent="-228600" algn="l" defTabSz="914400" rtl="0" eaLnBrk="1" latinLnBrk="0" hangingPunct="1">
                        <a:lnSpc>
                          <a:spcPct val="100000"/>
                        </a:lnSpc>
                        <a:spcBef>
                          <a:spcPts val="100"/>
                        </a:spcBef>
                        <a:spcAft>
                          <a:spcPts val="0"/>
                        </a:spcAft>
                        <a:buFont typeface="+mj-lt"/>
                        <a:buAutoNum type="arabicPeriod"/>
                      </a:pPr>
                      <a:endParaRPr lang="es-MX" sz="1100" kern="1200" dirty="0">
                        <a:solidFill>
                          <a:schemeClr val="bg2"/>
                        </a:solidFill>
                        <a:effectLst/>
                        <a:latin typeface="Arial"/>
                        <a:ea typeface="Times New Roman"/>
                        <a:cs typeface="Times New Roman"/>
                      </a:endParaRPr>
                    </a:p>
                    <a:p>
                      <a:pPr marL="228600" indent="-228600" algn="l" defTabSz="914400" rtl="0" eaLnBrk="1" latinLnBrk="0" hangingPunct="1">
                        <a:lnSpc>
                          <a:spcPct val="100000"/>
                        </a:lnSpc>
                        <a:spcBef>
                          <a:spcPts val="100"/>
                        </a:spcBef>
                        <a:spcAft>
                          <a:spcPts val="0"/>
                        </a:spcAft>
                        <a:buFont typeface="+mj-lt"/>
                        <a:buAutoNum type="arabicPeriod"/>
                      </a:pPr>
                      <a:endParaRPr lang="es-MX" sz="1100" kern="1200" dirty="0">
                        <a:solidFill>
                          <a:schemeClr val="bg2"/>
                        </a:solidFill>
                        <a:effectLst/>
                        <a:latin typeface="Arial"/>
                        <a:ea typeface="Times New Roman"/>
                        <a:cs typeface="Times New Roman"/>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4"/>
                  </a:ext>
                </a:extLst>
              </a:tr>
              <a:tr h="691091">
                <a:tc>
                  <a:txBody>
                    <a:bodyPr/>
                    <a:lstStyle/>
                    <a:p>
                      <a:pPr marL="0" marR="0" indent="90000" algn="l" defTabSz="914400" rtl="0" eaLnBrk="1" fontAlgn="auto" latinLnBrk="0" hangingPunct="1">
                        <a:lnSpc>
                          <a:spcPct val="100000"/>
                        </a:lnSpc>
                        <a:spcBef>
                          <a:spcPts val="100"/>
                        </a:spcBef>
                        <a:spcAft>
                          <a:spcPts val="0"/>
                        </a:spcAft>
                        <a:buClrTx/>
                        <a:buSzTx/>
                        <a:buFontTx/>
                        <a:buNone/>
                        <a:tabLst/>
                        <a:defRPr/>
                      </a:pPr>
                      <a:endParaRPr lang="es-MX" sz="1100" kern="1200" dirty="0">
                        <a:solidFill>
                          <a:schemeClr val="bg2"/>
                        </a:solidFill>
                        <a:effectLst/>
                        <a:latin typeface="+mn-lt"/>
                        <a:ea typeface="Times New Roman"/>
                        <a:cs typeface="Times New Roman"/>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28600" indent="-50800" algn="l" defTabSz="914400" rtl="0" eaLnBrk="1" latinLnBrk="0" hangingPunct="1">
                        <a:lnSpc>
                          <a:spcPct val="100000"/>
                        </a:lnSpc>
                        <a:spcBef>
                          <a:spcPts val="100"/>
                        </a:spcBef>
                        <a:spcAft>
                          <a:spcPts val="0"/>
                        </a:spcAft>
                        <a:buClr>
                          <a:srgbClr val="FF0000"/>
                        </a:buClr>
                        <a:buFont typeface="+mj-lt"/>
                        <a:buAutoNum type="arabicPeriod"/>
                      </a:pPr>
                      <a:endParaRPr lang="es-MX" sz="1100" kern="1200" dirty="0">
                        <a:solidFill>
                          <a:schemeClr val="bg2"/>
                        </a:solidFill>
                        <a:effectLst/>
                        <a:latin typeface="+mn-lt"/>
                        <a:ea typeface="Times New Roman"/>
                        <a:cs typeface="Times New Roman"/>
                      </a:endParaRPr>
                    </a:p>
                    <a:p>
                      <a:pPr marL="0" indent="90000" algn="l" defTabSz="914400" rtl="0" eaLnBrk="1" latinLnBrk="0" hangingPunct="1">
                        <a:lnSpc>
                          <a:spcPct val="100000"/>
                        </a:lnSpc>
                        <a:spcBef>
                          <a:spcPts val="100"/>
                        </a:spcBef>
                        <a:spcAft>
                          <a:spcPts val="0"/>
                        </a:spcAft>
                      </a:pPr>
                      <a:endParaRPr lang="es-MX" sz="1100" kern="1200" dirty="0">
                        <a:solidFill>
                          <a:schemeClr val="bg2"/>
                        </a:solidFill>
                        <a:effectLst/>
                        <a:latin typeface="Arial"/>
                        <a:ea typeface="Times New Roman"/>
                        <a:cs typeface="Times New Roman"/>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5"/>
                  </a:ext>
                </a:extLst>
              </a:tr>
            </a:tbl>
          </a:graphicData>
        </a:graphic>
      </p:graphicFrame>
    </p:spTree>
    <p:extLst>
      <p:ext uri="{BB962C8B-B14F-4D97-AF65-F5344CB8AC3E}">
        <p14:creationId xmlns:p14="http://schemas.microsoft.com/office/powerpoint/2010/main" val="2854685665"/>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tangle 3">
            <a:extLst>
              <a:ext uri="{FF2B5EF4-FFF2-40B4-BE49-F238E27FC236}">
                <a16:creationId xmlns:a16="http://schemas.microsoft.com/office/drawing/2014/main" id="{A27FD23C-A522-0E4F-B70C-CC83BC4542BA}"/>
              </a:ext>
            </a:extLst>
          </p:cNvPr>
          <p:cNvSpPr txBox="1"/>
          <p:nvPr/>
        </p:nvSpPr>
        <p:spPr>
          <a:xfrm>
            <a:off x="404808" y="237462"/>
            <a:ext cx="7585857" cy="400105"/>
          </a:xfrm>
          <a:prstGeom prst="rect">
            <a:avLst/>
          </a:prstGeom>
          <a:ln w="12700">
            <a:miter lim="400000"/>
          </a:ln>
          <a:extLst>
            <a:ext uri="{C572A759-6A51-4108-AA02-DFA0A04FC94B}">
              <ma14:wrappingTextBoxFlag xmlns:ma14="http://schemas.microsoft.com/office/mac/drawingml/2011/main" xmlns="" val="1"/>
            </a:ext>
          </a:extLst>
        </p:spPr>
        <p:txBody>
          <a:bodyPr wrap="square" lIns="45718" tIns="45718" rIns="45718" bIns="45718">
            <a:spAutoFit/>
          </a:bodyPr>
          <a:lstStyle>
            <a:lvl1pPr algn="l" defTabSz="914400">
              <a:defRPr sz="2200" b="1">
                <a:solidFill>
                  <a:srgbClr val="FFFFFF"/>
                </a:solidFill>
                <a:latin typeface="Arial"/>
                <a:ea typeface="Arial"/>
                <a:cs typeface="Arial"/>
                <a:sym typeface="Arial"/>
              </a:defRPr>
            </a:lvl1pPr>
          </a:lstStyle>
          <a:p>
            <a:r>
              <a:rPr lang="es-ES" sz="2000" dirty="0">
                <a:solidFill>
                  <a:srgbClr val="016AA2"/>
                </a:solidFill>
              </a:rPr>
              <a:t>Servicios Generales (I) </a:t>
            </a:r>
            <a:endParaRPr lang="en-US" sz="2000" dirty="0">
              <a:solidFill>
                <a:srgbClr val="016AA2"/>
              </a:solidFill>
            </a:endParaRPr>
          </a:p>
        </p:txBody>
      </p:sp>
      <p:sp>
        <p:nvSpPr>
          <p:cNvPr id="65" name="Rectangle 3"/>
          <p:cNvSpPr txBox="1"/>
          <p:nvPr/>
        </p:nvSpPr>
        <p:spPr>
          <a:xfrm>
            <a:off x="404807" y="610135"/>
            <a:ext cx="5337625" cy="369328"/>
          </a:xfrm>
          <a:prstGeom prst="rect">
            <a:avLst/>
          </a:prstGeom>
          <a:ln w="12700">
            <a:miter lim="400000"/>
          </a:ln>
          <a:extLst>
            <a:ext uri="{C572A759-6A51-4108-AA02-DFA0A04FC94B}">
              <ma14:wrappingTextBoxFlag xmlns="" xmlns:ma14="http://schemas.microsoft.com/office/mac/drawingml/2011/main" val="1"/>
            </a:ext>
          </a:extLst>
        </p:spPr>
        <p:txBody>
          <a:bodyPr wrap="square" lIns="45718" tIns="45718" rIns="45718" bIns="45718">
            <a:spAutoFit/>
          </a:bodyPr>
          <a:lstStyle>
            <a:lvl1pPr algn="l" defTabSz="914400">
              <a:defRPr sz="2000">
                <a:solidFill>
                  <a:srgbClr val="104D6A"/>
                </a:solidFill>
                <a:latin typeface="Arial"/>
                <a:ea typeface="Arial"/>
                <a:cs typeface="Arial"/>
                <a:sym typeface="Arial"/>
              </a:defRPr>
            </a:lvl1pPr>
          </a:lstStyle>
          <a:p>
            <a:pPr>
              <a:defRPr/>
            </a:pPr>
            <a:r>
              <a:rPr lang="es-ES_tradnl" sz="1800" b="1" dirty="0">
                <a:solidFill>
                  <a:srgbClr val="73C4EF"/>
                </a:solidFill>
              </a:rPr>
              <a:t>Seguridad</a:t>
            </a:r>
          </a:p>
        </p:txBody>
      </p:sp>
      <p:sp>
        <p:nvSpPr>
          <p:cNvPr id="8" name="Rectangle 4">
            <a:extLst>
              <a:ext uri="{FF2B5EF4-FFF2-40B4-BE49-F238E27FC236}">
                <a16:creationId xmlns:a16="http://schemas.microsoft.com/office/drawing/2014/main" id="{DDBC6CC5-4171-3A4D-8F90-8D90572DD199}"/>
              </a:ext>
            </a:extLst>
          </p:cNvPr>
          <p:cNvSpPr>
            <a:spLocks noChangeArrowheads="1"/>
          </p:cNvSpPr>
          <p:nvPr/>
        </p:nvSpPr>
        <p:spPr bwMode="auto">
          <a:xfrm>
            <a:off x="684213" y="1233488"/>
            <a:ext cx="10983532" cy="4806949"/>
          </a:xfrm>
          <a:prstGeom prst="rect">
            <a:avLst/>
          </a:prstGeom>
          <a:noFill/>
          <a:ln>
            <a:noFill/>
          </a:ln>
        </p:spPr>
        <p:txBody>
          <a:bodyPr/>
          <a:lstStyle/>
          <a:p>
            <a:pPr eaLnBrk="1" hangingPunct="1">
              <a:lnSpc>
                <a:spcPct val="150000"/>
              </a:lnSpc>
              <a:spcBef>
                <a:spcPct val="40000"/>
              </a:spcBef>
              <a:buClr>
                <a:schemeClr val="accent2"/>
              </a:buClr>
              <a:buSzPct val="65000"/>
              <a:buFont typeface="Wingdings" panose="05000000000000000000" pitchFamily="2" charset="2"/>
              <a:buNone/>
              <a:defRPr/>
            </a:pPr>
            <a:r>
              <a:rPr lang="es-MX" sz="1200" dirty="0">
                <a:solidFill>
                  <a:schemeClr val="bg2"/>
                </a:solidFill>
                <a:latin typeface="Arial" charset="0"/>
              </a:rPr>
              <a:t>El detalle de los lineamientos mencionados están definidos en los documentos:</a:t>
            </a:r>
          </a:p>
          <a:p>
            <a:pPr marL="906463" lvl="3" indent="-266700">
              <a:lnSpc>
                <a:spcPct val="150000"/>
              </a:lnSpc>
              <a:spcBef>
                <a:spcPct val="40000"/>
              </a:spcBef>
              <a:buClr>
                <a:schemeClr val="accent2"/>
              </a:buClr>
              <a:buSzPct val="65000"/>
              <a:buFont typeface="Wingdings" panose="05000000000000000000" pitchFamily="2" charset="2"/>
              <a:buChar char="n"/>
              <a:defRPr/>
            </a:pPr>
            <a:r>
              <a:rPr lang="en-US" sz="1200" dirty="0">
                <a:solidFill>
                  <a:schemeClr val="bg2"/>
                </a:solidFill>
                <a:latin typeface="Arial" charset="0"/>
              </a:rPr>
              <a:t>Standards for the creation of topics, development and security</a:t>
            </a:r>
          </a:p>
          <a:p>
            <a:pPr marL="906463" lvl="3" indent="-266700">
              <a:lnSpc>
                <a:spcPct val="150000"/>
              </a:lnSpc>
              <a:spcBef>
                <a:spcPct val="40000"/>
              </a:spcBef>
              <a:buClr>
                <a:schemeClr val="accent2"/>
              </a:buClr>
              <a:buSzPct val="65000"/>
              <a:buFont typeface="Wingdings" panose="05000000000000000000" pitchFamily="2" charset="2"/>
              <a:buChar char="n"/>
              <a:defRPr/>
            </a:pPr>
            <a:endParaRPr lang="es-ES" sz="1200" dirty="0">
              <a:solidFill>
                <a:schemeClr val="bg2"/>
              </a:solidFill>
              <a:latin typeface="Arial" charset="0"/>
            </a:endParaRPr>
          </a:p>
          <a:p>
            <a:pPr eaLnBrk="1" hangingPunct="1">
              <a:spcBef>
                <a:spcPct val="40000"/>
              </a:spcBef>
              <a:buClr>
                <a:schemeClr val="bg1"/>
              </a:buClr>
              <a:buSzPct val="65000"/>
              <a:buFont typeface="Wingdings" panose="05000000000000000000" pitchFamily="2" charset="2"/>
              <a:buNone/>
              <a:defRPr/>
            </a:pPr>
            <a:r>
              <a:rPr lang="es-ES" sz="1200" dirty="0">
                <a:solidFill>
                  <a:schemeClr val="bg2"/>
                </a:solidFill>
                <a:latin typeface="Arial" charset="0"/>
              </a:rPr>
              <a:t>Confidencialidad</a:t>
            </a:r>
          </a:p>
          <a:p>
            <a:pPr eaLnBrk="1" hangingPunct="1">
              <a:spcBef>
                <a:spcPct val="40000"/>
              </a:spcBef>
              <a:buClr>
                <a:schemeClr val="bg1"/>
              </a:buClr>
              <a:buSzPct val="65000"/>
              <a:buFont typeface="Wingdings" panose="05000000000000000000" pitchFamily="2" charset="2"/>
              <a:buNone/>
              <a:defRPr/>
            </a:pPr>
            <a:endParaRPr lang="es-ES" sz="1200" dirty="0">
              <a:solidFill>
                <a:schemeClr val="bg2"/>
              </a:solidFill>
              <a:latin typeface="Arial" charset="0"/>
            </a:endParaRPr>
          </a:p>
          <a:p>
            <a:pPr marL="906463" lvl="3" indent="-266700">
              <a:spcBef>
                <a:spcPct val="40000"/>
              </a:spcBef>
              <a:buClr>
                <a:schemeClr val="accent2"/>
              </a:buClr>
              <a:buSzPct val="65000"/>
              <a:buFont typeface="Wingdings" panose="05000000000000000000" pitchFamily="2" charset="2"/>
              <a:buChar char="n"/>
              <a:defRPr/>
            </a:pPr>
            <a:r>
              <a:rPr lang="es-ES" sz="1200" dirty="0" err="1">
                <a:solidFill>
                  <a:schemeClr val="bg2"/>
                </a:solidFill>
                <a:latin typeface="Arial" charset="0"/>
              </a:rPr>
              <a:t>Communication</a:t>
            </a:r>
            <a:r>
              <a:rPr lang="es-ES" sz="1200" dirty="0">
                <a:solidFill>
                  <a:schemeClr val="bg2"/>
                </a:solidFill>
                <a:latin typeface="Arial" charset="0"/>
              </a:rPr>
              <a:t> </a:t>
            </a:r>
            <a:r>
              <a:rPr lang="es-ES" sz="1200" dirty="0" err="1">
                <a:solidFill>
                  <a:schemeClr val="bg2"/>
                </a:solidFill>
                <a:latin typeface="Arial" charset="0"/>
              </a:rPr>
              <a:t>through</a:t>
            </a:r>
            <a:r>
              <a:rPr lang="es-ES" sz="1200" dirty="0">
                <a:solidFill>
                  <a:schemeClr val="bg2"/>
                </a:solidFill>
                <a:latin typeface="Arial" charset="0"/>
              </a:rPr>
              <a:t> mutual </a:t>
            </a:r>
            <a:r>
              <a:rPr lang="es-ES" sz="1200" dirty="0" err="1">
                <a:solidFill>
                  <a:schemeClr val="bg2"/>
                </a:solidFill>
                <a:latin typeface="Arial" charset="0"/>
              </a:rPr>
              <a:t>authentication</a:t>
            </a:r>
            <a:r>
              <a:rPr lang="es-ES" sz="1200" dirty="0">
                <a:solidFill>
                  <a:schemeClr val="bg2"/>
                </a:solidFill>
                <a:latin typeface="Arial" charset="0"/>
              </a:rPr>
              <a:t> and </a:t>
            </a:r>
            <a:r>
              <a:rPr lang="es-ES" sz="1200" dirty="0" err="1">
                <a:solidFill>
                  <a:schemeClr val="bg2"/>
                </a:solidFill>
                <a:latin typeface="Arial" charset="0"/>
              </a:rPr>
              <a:t>Kerberos</a:t>
            </a:r>
            <a:r>
              <a:rPr lang="es-ES" sz="1200" dirty="0">
                <a:solidFill>
                  <a:schemeClr val="bg2"/>
                </a:solidFill>
                <a:latin typeface="Arial" charset="0"/>
              </a:rPr>
              <a:t> </a:t>
            </a:r>
            <a:r>
              <a:rPr lang="es-ES" sz="1200" dirty="0" err="1">
                <a:solidFill>
                  <a:schemeClr val="bg2"/>
                </a:solidFill>
                <a:latin typeface="Arial" charset="0"/>
              </a:rPr>
              <a:t>between</a:t>
            </a:r>
            <a:r>
              <a:rPr lang="es-ES" sz="1200" dirty="0">
                <a:solidFill>
                  <a:schemeClr val="bg2"/>
                </a:solidFill>
                <a:latin typeface="Arial" charset="0"/>
              </a:rPr>
              <a:t> Data Lake</a:t>
            </a:r>
          </a:p>
          <a:p>
            <a:pPr marL="906463" lvl="3" indent="-266700">
              <a:spcBef>
                <a:spcPct val="40000"/>
              </a:spcBef>
              <a:buClr>
                <a:schemeClr val="accent2"/>
              </a:buClr>
              <a:buSzPct val="65000"/>
              <a:buFont typeface="Wingdings" panose="05000000000000000000" pitchFamily="2" charset="2"/>
              <a:buChar char="n"/>
              <a:defRPr/>
            </a:pPr>
            <a:r>
              <a:rPr lang="es-ES" sz="1200" dirty="0" err="1">
                <a:solidFill>
                  <a:schemeClr val="bg2"/>
                </a:solidFill>
                <a:latin typeface="Arial" charset="0"/>
              </a:rPr>
              <a:t>Communication</a:t>
            </a:r>
            <a:r>
              <a:rPr lang="es-ES" sz="1200" dirty="0">
                <a:solidFill>
                  <a:schemeClr val="bg2"/>
                </a:solidFill>
                <a:latin typeface="Arial" charset="0"/>
              </a:rPr>
              <a:t> </a:t>
            </a:r>
            <a:r>
              <a:rPr lang="es-ES" sz="1200" dirty="0" err="1">
                <a:solidFill>
                  <a:schemeClr val="bg2"/>
                </a:solidFill>
                <a:latin typeface="Arial" charset="0"/>
              </a:rPr>
              <a:t>through</a:t>
            </a:r>
            <a:r>
              <a:rPr lang="es-ES" sz="1200" dirty="0">
                <a:solidFill>
                  <a:schemeClr val="bg2"/>
                </a:solidFill>
                <a:latin typeface="Arial" charset="0"/>
              </a:rPr>
              <a:t> mutual </a:t>
            </a:r>
            <a:r>
              <a:rPr lang="es-ES" sz="1200" dirty="0" err="1">
                <a:solidFill>
                  <a:schemeClr val="bg2"/>
                </a:solidFill>
                <a:latin typeface="Arial" charset="0"/>
              </a:rPr>
              <a:t>authentication</a:t>
            </a:r>
            <a:r>
              <a:rPr lang="es-ES" sz="1200" dirty="0">
                <a:solidFill>
                  <a:schemeClr val="bg2"/>
                </a:solidFill>
                <a:latin typeface="Arial" charset="0"/>
              </a:rPr>
              <a:t> </a:t>
            </a:r>
            <a:r>
              <a:rPr lang="es-ES" sz="1200" dirty="0" err="1">
                <a:solidFill>
                  <a:schemeClr val="bg2"/>
                </a:solidFill>
                <a:latin typeface="Arial" charset="0"/>
              </a:rPr>
              <a:t>between</a:t>
            </a:r>
            <a:r>
              <a:rPr lang="es-ES" sz="1200" dirty="0">
                <a:solidFill>
                  <a:schemeClr val="bg2"/>
                </a:solidFill>
                <a:latin typeface="Arial" charset="0"/>
              </a:rPr>
              <a:t> </a:t>
            </a:r>
            <a:r>
              <a:rPr lang="es-ES" sz="1200" dirty="0" err="1">
                <a:solidFill>
                  <a:schemeClr val="bg2"/>
                </a:solidFill>
                <a:latin typeface="Arial" charset="0"/>
              </a:rPr>
              <a:t>MongoDB</a:t>
            </a:r>
            <a:endParaRPr lang="es-ES" sz="1200" dirty="0">
              <a:solidFill>
                <a:schemeClr val="bg2"/>
              </a:solidFill>
              <a:latin typeface="Arial" charset="0"/>
            </a:endParaRPr>
          </a:p>
          <a:p>
            <a:pPr marL="906463" lvl="3" indent="-266700">
              <a:spcBef>
                <a:spcPct val="40000"/>
              </a:spcBef>
              <a:buClr>
                <a:schemeClr val="accent2"/>
              </a:buClr>
              <a:buSzPct val="65000"/>
              <a:buFont typeface="Wingdings" panose="05000000000000000000" pitchFamily="2" charset="2"/>
              <a:buChar char="n"/>
              <a:defRPr/>
            </a:pPr>
            <a:endParaRPr lang="es-ES" sz="1200" dirty="0">
              <a:solidFill>
                <a:schemeClr val="bg2"/>
              </a:solidFill>
              <a:latin typeface="Arial" charset="0"/>
            </a:endParaRPr>
          </a:p>
          <a:p>
            <a:pPr marL="906463" lvl="3" indent="-266700">
              <a:spcBef>
                <a:spcPct val="40000"/>
              </a:spcBef>
              <a:buClr>
                <a:schemeClr val="accent2"/>
              </a:buClr>
              <a:buSzPct val="65000"/>
              <a:buFont typeface="Wingdings" panose="05000000000000000000" pitchFamily="2" charset="2"/>
              <a:buChar char="n"/>
              <a:defRPr/>
            </a:pPr>
            <a:endParaRPr lang="es-ES" sz="1200" dirty="0">
              <a:solidFill>
                <a:schemeClr val="bg2"/>
              </a:solidFill>
              <a:latin typeface="Arial" charset="0"/>
            </a:endParaRPr>
          </a:p>
          <a:p>
            <a:pPr eaLnBrk="1" hangingPunct="1">
              <a:spcBef>
                <a:spcPct val="40000"/>
              </a:spcBef>
              <a:buClr>
                <a:schemeClr val="bg1"/>
              </a:buClr>
              <a:buSzPct val="65000"/>
              <a:buFont typeface="Wingdings" panose="05000000000000000000" pitchFamily="2" charset="2"/>
              <a:buNone/>
              <a:defRPr/>
            </a:pPr>
            <a:r>
              <a:rPr lang="es-ES" sz="1200" dirty="0">
                <a:solidFill>
                  <a:schemeClr val="bg2"/>
                </a:solidFill>
                <a:latin typeface="Arial" charset="0"/>
              </a:rPr>
              <a:t>Auditoria:</a:t>
            </a:r>
          </a:p>
          <a:p>
            <a:pPr marL="906463" lvl="3" indent="-266700">
              <a:spcBef>
                <a:spcPct val="40000"/>
              </a:spcBef>
              <a:buClr>
                <a:schemeClr val="accent2"/>
              </a:buClr>
              <a:buSzPct val="65000"/>
              <a:buFont typeface="Wingdings" panose="05000000000000000000" pitchFamily="2" charset="2"/>
              <a:buChar char="n"/>
              <a:defRPr/>
            </a:pPr>
            <a:r>
              <a:rPr lang="en-US" sz="1200" dirty="0">
                <a:solidFill>
                  <a:schemeClr val="bg2"/>
                </a:solidFill>
                <a:latin typeface="Arial" charset="0"/>
              </a:rPr>
              <a:t>Sending Logs to the Error Topic</a:t>
            </a:r>
            <a:endParaRPr lang="es-ES" sz="1200" dirty="0">
              <a:solidFill>
                <a:schemeClr val="bg2"/>
              </a:solidFill>
              <a:latin typeface="Arial" charset="0"/>
            </a:endParaRPr>
          </a:p>
        </p:txBody>
      </p:sp>
    </p:spTree>
    <p:extLst>
      <p:ext uri="{BB962C8B-B14F-4D97-AF65-F5344CB8AC3E}">
        <p14:creationId xmlns:p14="http://schemas.microsoft.com/office/powerpoint/2010/main" val="2939985313"/>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tangle 3">
            <a:extLst>
              <a:ext uri="{FF2B5EF4-FFF2-40B4-BE49-F238E27FC236}">
                <a16:creationId xmlns:a16="http://schemas.microsoft.com/office/drawing/2014/main" id="{A27FD23C-A522-0E4F-B70C-CC83BC4542BA}"/>
              </a:ext>
            </a:extLst>
          </p:cNvPr>
          <p:cNvSpPr txBox="1"/>
          <p:nvPr/>
        </p:nvSpPr>
        <p:spPr>
          <a:xfrm>
            <a:off x="404808" y="237462"/>
            <a:ext cx="7585857" cy="400105"/>
          </a:xfrm>
          <a:prstGeom prst="rect">
            <a:avLst/>
          </a:prstGeom>
          <a:ln w="12700">
            <a:miter lim="400000"/>
          </a:ln>
          <a:extLst>
            <a:ext uri="{C572A759-6A51-4108-AA02-DFA0A04FC94B}">
              <ma14:wrappingTextBoxFlag xmlns:ma14="http://schemas.microsoft.com/office/mac/drawingml/2011/main" xmlns="" val="1"/>
            </a:ext>
          </a:extLst>
        </p:spPr>
        <p:txBody>
          <a:bodyPr wrap="square" lIns="45718" tIns="45718" rIns="45718" bIns="45718">
            <a:spAutoFit/>
          </a:bodyPr>
          <a:lstStyle>
            <a:lvl1pPr algn="l" defTabSz="914400">
              <a:defRPr sz="2200" b="1">
                <a:solidFill>
                  <a:srgbClr val="FFFFFF"/>
                </a:solidFill>
                <a:latin typeface="Arial"/>
                <a:ea typeface="Arial"/>
                <a:cs typeface="Arial"/>
                <a:sym typeface="Arial"/>
              </a:defRPr>
            </a:lvl1pPr>
          </a:lstStyle>
          <a:p>
            <a:r>
              <a:rPr lang="en-US" sz="2000" dirty="0">
                <a:solidFill>
                  <a:srgbClr val="016AA2"/>
                </a:solidFill>
              </a:rPr>
              <a:t>Risks and Dependencies (I)</a:t>
            </a:r>
          </a:p>
        </p:txBody>
      </p:sp>
      <p:sp>
        <p:nvSpPr>
          <p:cNvPr id="65" name="Rectangle 3"/>
          <p:cNvSpPr txBox="1"/>
          <p:nvPr/>
        </p:nvSpPr>
        <p:spPr>
          <a:xfrm>
            <a:off x="404807" y="610135"/>
            <a:ext cx="5337625" cy="369328"/>
          </a:xfrm>
          <a:prstGeom prst="rect">
            <a:avLst/>
          </a:prstGeom>
          <a:ln w="12700">
            <a:miter lim="400000"/>
          </a:ln>
          <a:extLst>
            <a:ext uri="{C572A759-6A51-4108-AA02-DFA0A04FC94B}">
              <ma14:wrappingTextBoxFlag xmlns="" xmlns:ma14="http://schemas.microsoft.com/office/mac/drawingml/2011/main" val="1"/>
            </a:ext>
          </a:extLst>
        </p:spPr>
        <p:txBody>
          <a:bodyPr wrap="square" lIns="45718" tIns="45718" rIns="45718" bIns="45718">
            <a:spAutoFit/>
          </a:bodyPr>
          <a:lstStyle>
            <a:lvl1pPr algn="l" defTabSz="914400">
              <a:defRPr sz="2000">
                <a:solidFill>
                  <a:srgbClr val="104D6A"/>
                </a:solidFill>
                <a:latin typeface="Arial"/>
                <a:ea typeface="Arial"/>
                <a:cs typeface="Arial"/>
                <a:sym typeface="Arial"/>
              </a:defRPr>
            </a:lvl1pPr>
          </a:lstStyle>
          <a:p>
            <a:pPr>
              <a:defRPr/>
            </a:pPr>
            <a:r>
              <a:rPr lang="en-US" sz="1800" b="1" dirty="0">
                <a:solidFill>
                  <a:srgbClr val="73C4EF"/>
                </a:solidFill>
              </a:rPr>
              <a:t>Coexistence</a:t>
            </a:r>
          </a:p>
        </p:txBody>
      </p:sp>
      <p:sp>
        <p:nvSpPr>
          <p:cNvPr id="8" name="Rectangle 4">
            <a:extLst>
              <a:ext uri="{FF2B5EF4-FFF2-40B4-BE49-F238E27FC236}">
                <a16:creationId xmlns:a16="http://schemas.microsoft.com/office/drawing/2014/main" id="{DDBC6CC5-4171-3A4D-8F90-8D90572DD199}"/>
              </a:ext>
            </a:extLst>
          </p:cNvPr>
          <p:cNvSpPr>
            <a:spLocks noChangeArrowheads="1"/>
          </p:cNvSpPr>
          <p:nvPr/>
        </p:nvSpPr>
        <p:spPr bwMode="auto">
          <a:xfrm>
            <a:off x="684213" y="1233489"/>
            <a:ext cx="8382000" cy="1509712"/>
          </a:xfrm>
          <a:prstGeom prst="rect">
            <a:avLst/>
          </a:prstGeom>
          <a:noFill/>
          <a:ln>
            <a:noFill/>
          </a:ln>
        </p:spPr>
        <p:txBody>
          <a:bodyPr/>
          <a:lstStyle/>
          <a:p>
            <a:pPr>
              <a:lnSpc>
                <a:spcPct val="150000"/>
              </a:lnSpc>
              <a:spcBef>
                <a:spcPct val="40000"/>
              </a:spcBef>
              <a:buClr>
                <a:schemeClr val="accent2"/>
              </a:buClr>
              <a:buSzPct val="65000"/>
              <a:defRPr/>
            </a:pPr>
            <a:r>
              <a:rPr lang="es-MX" sz="1200" dirty="0">
                <a:solidFill>
                  <a:schemeClr val="bg2"/>
                </a:solidFill>
                <a:latin typeface="Arial" charset="0"/>
              </a:rPr>
              <a:t>The detail of the mentioned guidelines are defined </a:t>
            </a:r>
          </a:p>
          <a:p>
            <a:pPr marL="717550" indent="-285750">
              <a:lnSpc>
                <a:spcPct val="150000"/>
              </a:lnSpc>
              <a:spcBef>
                <a:spcPct val="40000"/>
              </a:spcBef>
              <a:buClr>
                <a:schemeClr val="accent2"/>
              </a:buClr>
              <a:buSzPct val="65000"/>
              <a:buFont typeface="Wingdings" panose="05000000000000000000" pitchFamily="2" charset="2"/>
              <a:buChar char="n"/>
              <a:defRPr/>
            </a:pPr>
            <a:r>
              <a:rPr lang="en-US" sz="1200" dirty="0">
                <a:solidFill>
                  <a:schemeClr val="bg2"/>
                </a:solidFill>
                <a:latin typeface="Arial" charset="0"/>
              </a:rPr>
              <a:t>Validate the integration standards with Data Lake, with Data Governance</a:t>
            </a:r>
          </a:p>
        </p:txBody>
      </p:sp>
      <p:sp>
        <p:nvSpPr>
          <p:cNvPr id="5" name="Rectangle 3">
            <a:extLst>
              <a:ext uri="{FF2B5EF4-FFF2-40B4-BE49-F238E27FC236}">
                <a16:creationId xmlns:a16="http://schemas.microsoft.com/office/drawing/2014/main" id="{4E843757-E9C3-1645-B24D-FB8CE5168DFF}"/>
              </a:ext>
            </a:extLst>
          </p:cNvPr>
          <p:cNvSpPr txBox="1"/>
          <p:nvPr/>
        </p:nvSpPr>
        <p:spPr>
          <a:xfrm>
            <a:off x="404806" y="3006095"/>
            <a:ext cx="5337625" cy="369328"/>
          </a:xfrm>
          <a:prstGeom prst="rect">
            <a:avLst/>
          </a:prstGeom>
          <a:ln w="12700">
            <a:miter lim="400000"/>
          </a:ln>
          <a:extLst>
            <a:ext uri="{C572A759-6A51-4108-AA02-DFA0A04FC94B}">
              <ma14:wrappingTextBoxFlag xmlns="" xmlns:ma14="http://schemas.microsoft.com/office/mac/drawingml/2011/main" val="1"/>
            </a:ext>
          </a:extLst>
        </p:spPr>
        <p:txBody>
          <a:bodyPr wrap="square" lIns="45718" tIns="45718" rIns="45718" bIns="45718">
            <a:spAutoFit/>
          </a:bodyPr>
          <a:lstStyle>
            <a:lvl1pPr algn="l" defTabSz="914400">
              <a:defRPr sz="2000">
                <a:solidFill>
                  <a:srgbClr val="104D6A"/>
                </a:solidFill>
                <a:latin typeface="Arial"/>
                <a:ea typeface="Arial"/>
                <a:cs typeface="Arial"/>
                <a:sym typeface="Arial"/>
              </a:defRPr>
            </a:lvl1pPr>
          </a:lstStyle>
          <a:p>
            <a:pPr>
              <a:defRPr/>
            </a:pPr>
            <a:r>
              <a:rPr lang="en-US" sz="1800" b="1" dirty="0">
                <a:solidFill>
                  <a:srgbClr val="73C4EF"/>
                </a:solidFill>
              </a:rPr>
              <a:t>Risks</a:t>
            </a:r>
          </a:p>
        </p:txBody>
      </p:sp>
      <p:sp>
        <p:nvSpPr>
          <p:cNvPr id="6" name="Rectangle 4">
            <a:extLst>
              <a:ext uri="{FF2B5EF4-FFF2-40B4-BE49-F238E27FC236}">
                <a16:creationId xmlns:a16="http://schemas.microsoft.com/office/drawing/2014/main" id="{9EC5AE73-B29D-024C-AE63-DCF4190408E2}"/>
              </a:ext>
            </a:extLst>
          </p:cNvPr>
          <p:cNvSpPr>
            <a:spLocks noChangeArrowheads="1"/>
          </p:cNvSpPr>
          <p:nvPr/>
        </p:nvSpPr>
        <p:spPr bwMode="auto">
          <a:xfrm>
            <a:off x="684213" y="3351656"/>
            <a:ext cx="8382000" cy="1509712"/>
          </a:xfrm>
          <a:prstGeom prst="rect">
            <a:avLst/>
          </a:prstGeom>
          <a:noFill/>
          <a:ln>
            <a:noFill/>
          </a:ln>
        </p:spPr>
        <p:txBody>
          <a:bodyPr/>
          <a:lstStyle/>
          <a:p>
            <a:pPr eaLnBrk="1" hangingPunct="1">
              <a:lnSpc>
                <a:spcPct val="150000"/>
              </a:lnSpc>
              <a:spcBef>
                <a:spcPct val="40000"/>
              </a:spcBef>
              <a:buClr>
                <a:schemeClr val="accent2"/>
              </a:buClr>
              <a:buSzPct val="65000"/>
              <a:buFont typeface="Wingdings" panose="05000000000000000000" pitchFamily="2" charset="2"/>
              <a:buNone/>
              <a:defRPr/>
            </a:pPr>
            <a:r>
              <a:rPr lang="es-MX" sz="1200" dirty="0">
                <a:solidFill>
                  <a:schemeClr val="bg2"/>
                </a:solidFill>
                <a:latin typeface="Arial" charset="0"/>
              </a:rPr>
              <a:t>El detalle de los lineamientos mencionados están definidos en los documentos:</a:t>
            </a:r>
          </a:p>
          <a:p>
            <a:pPr marL="717550" indent="-285750">
              <a:lnSpc>
                <a:spcPct val="150000"/>
              </a:lnSpc>
              <a:spcBef>
                <a:spcPct val="40000"/>
              </a:spcBef>
              <a:buClr>
                <a:schemeClr val="accent2"/>
              </a:buClr>
              <a:buSzPct val="65000"/>
              <a:buFont typeface="Wingdings" panose="05000000000000000000" pitchFamily="2" charset="2"/>
              <a:buChar char="n"/>
              <a:defRPr/>
            </a:pPr>
            <a:r>
              <a:rPr lang="es-ES" sz="1200" dirty="0">
                <a:solidFill>
                  <a:schemeClr val="bg2"/>
                </a:solidFill>
                <a:latin typeface="Arial" charset="0"/>
              </a:rPr>
              <a:t>Concept </a:t>
            </a:r>
            <a:r>
              <a:rPr lang="es-ES" sz="1200" dirty="0" err="1">
                <a:solidFill>
                  <a:schemeClr val="bg2"/>
                </a:solidFill>
                <a:latin typeface="Arial" charset="0"/>
              </a:rPr>
              <a:t>tests</a:t>
            </a:r>
            <a:r>
              <a:rPr lang="es-ES" sz="1200" dirty="0">
                <a:solidFill>
                  <a:schemeClr val="bg2"/>
                </a:solidFill>
                <a:latin typeface="Arial" charset="0"/>
              </a:rPr>
              <a:t> to </a:t>
            </a:r>
            <a:r>
              <a:rPr lang="es-ES" sz="1200" dirty="0" err="1">
                <a:solidFill>
                  <a:schemeClr val="bg2"/>
                </a:solidFill>
                <a:latin typeface="Arial" charset="0"/>
              </a:rPr>
              <a:t>integrate</a:t>
            </a:r>
            <a:r>
              <a:rPr lang="es-ES" sz="1200" dirty="0">
                <a:solidFill>
                  <a:schemeClr val="bg2"/>
                </a:solidFill>
                <a:latin typeface="Arial" charset="0"/>
              </a:rPr>
              <a:t> </a:t>
            </a:r>
            <a:r>
              <a:rPr lang="es-ES" sz="1200" dirty="0" err="1">
                <a:solidFill>
                  <a:schemeClr val="bg2"/>
                </a:solidFill>
                <a:latin typeface="Arial" charset="0"/>
              </a:rPr>
              <a:t>Kerberos</a:t>
            </a:r>
            <a:r>
              <a:rPr lang="es-ES" sz="1200" dirty="0">
                <a:solidFill>
                  <a:schemeClr val="bg2"/>
                </a:solidFill>
                <a:latin typeface="Arial" charset="0"/>
              </a:rPr>
              <a:t> </a:t>
            </a:r>
            <a:r>
              <a:rPr lang="es-ES" sz="1200" dirty="0" err="1">
                <a:solidFill>
                  <a:schemeClr val="bg2"/>
                </a:solidFill>
                <a:latin typeface="Arial" charset="0"/>
              </a:rPr>
              <a:t>between</a:t>
            </a:r>
            <a:r>
              <a:rPr lang="es-ES" sz="1200" dirty="0">
                <a:solidFill>
                  <a:schemeClr val="bg2"/>
                </a:solidFill>
                <a:latin typeface="Arial" charset="0"/>
              </a:rPr>
              <a:t> Kafka and Data Lake</a:t>
            </a:r>
          </a:p>
        </p:txBody>
      </p:sp>
    </p:spTree>
    <p:extLst>
      <p:ext uri="{BB962C8B-B14F-4D97-AF65-F5344CB8AC3E}">
        <p14:creationId xmlns:p14="http://schemas.microsoft.com/office/powerpoint/2010/main" val="2679115843"/>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tangle 3">
            <a:extLst>
              <a:ext uri="{FF2B5EF4-FFF2-40B4-BE49-F238E27FC236}">
                <a16:creationId xmlns:a16="http://schemas.microsoft.com/office/drawing/2014/main" id="{A27FD23C-A522-0E4F-B70C-CC83BC4542BA}"/>
              </a:ext>
            </a:extLst>
          </p:cNvPr>
          <p:cNvSpPr txBox="1"/>
          <p:nvPr/>
        </p:nvSpPr>
        <p:spPr>
          <a:xfrm>
            <a:off x="404808" y="237462"/>
            <a:ext cx="7585857" cy="400105"/>
          </a:xfrm>
          <a:prstGeom prst="rect">
            <a:avLst/>
          </a:prstGeom>
          <a:ln w="12700">
            <a:miter lim="400000"/>
          </a:ln>
          <a:extLst>
            <a:ext uri="{C572A759-6A51-4108-AA02-DFA0A04FC94B}">
              <ma14:wrappingTextBoxFlag xmlns:ma14="http://schemas.microsoft.com/office/mac/drawingml/2011/main" xmlns="" val="1"/>
            </a:ext>
          </a:extLst>
        </p:spPr>
        <p:txBody>
          <a:bodyPr wrap="square" lIns="45718" tIns="45718" rIns="45718" bIns="45718">
            <a:spAutoFit/>
          </a:bodyPr>
          <a:lstStyle>
            <a:lvl1pPr algn="l" defTabSz="914400">
              <a:defRPr sz="2200" b="1">
                <a:solidFill>
                  <a:srgbClr val="FFFFFF"/>
                </a:solidFill>
                <a:latin typeface="Arial"/>
                <a:ea typeface="Arial"/>
                <a:cs typeface="Arial"/>
                <a:sym typeface="Arial"/>
              </a:defRPr>
            </a:lvl1pPr>
          </a:lstStyle>
          <a:p>
            <a:r>
              <a:rPr lang="en-US" sz="2000" dirty="0">
                <a:solidFill>
                  <a:srgbClr val="016AA2"/>
                </a:solidFill>
              </a:rPr>
              <a:t>Risks and Dependencies (II)</a:t>
            </a:r>
          </a:p>
        </p:txBody>
      </p:sp>
      <p:sp>
        <p:nvSpPr>
          <p:cNvPr id="65" name="Rectangle 3"/>
          <p:cNvSpPr txBox="1"/>
          <p:nvPr/>
        </p:nvSpPr>
        <p:spPr>
          <a:xfrm>
            <a:off x="404807" y="725885"/>
            <a:ext cx="5337625" cy="369328"/>
          </a:xfrm>
          <a:prstGeom prst="rect">
            <a:avLst/>
          </a:prstGeom>
          <a:ln w="12700">
            <a:miter lim="400000"/>
          </a:ln>
          <a:extLst>
            <a:ext uri="{C572A759-6A51-4108-AA02-DFA0A04FC94B}">
              <ma14:wrappingTextBoxFlag xmlns="" xmlns:ma14="http://schemas.microsoft.com/office/mac/drawingml/2011/main" val="1"/>
            </a:ext>
          </a:extLst>
        </p:spPr>
        <p:txBody>
          <a:bodyPr wrap="square" lIns="45718" tIns="45718" rIns="45718" bIns="45718">
            <a:spAutoFit/>
          </a:bodyPr>
          <a:lstStyle>
            <a:lvl1pPr algn="l" defTabSz="914400">
              <a:defRPr sz="2000">
                <a:solidFill>
                  <a:srgbClr val="104D6A"/>
                </a:solidFill>
                <a:latin typeface="Arial"/>
                <a:ea typeface="Arial"/>
                <a:cs typeface="Arial"/>
                <a:sym typeface="Arial"/>
              </a:defRPr>
            </a:lvl1pPr>
          </a:lstStyle>
          <a:p>
            <a:pPr>
              <a:defRPr/>
            </a:pPr>
            <a:r>
              <a:rPr lang="es-ES_tradnl" sz="1800" b="1" dirty="0">
                <a:solidFill>
                  <a:srgbClr val="73C4EF"/>
                </a:solidFill>
              </a:rPr>
              <a:t>Dependencias</a:t>
            </a:r>
          </a:p>
        </p:txBody>
      </p:sp>
      <p:sp>
        <p:nvSpPr>
          <p:cNvPr id="8" name="Rectangle 4">
            <a:extLst>
              <a:ext uri="{FF2B5EF4-FFF2-40B4-BE49-F238E27FC236}">
                <a16:creationId xmlns:a16="http://schemas.microsoft.com/office/drawing/2014/main" id="{DDBC6CC5-4171-3A4D-8F90-8D90572DD199}"/>
              </a:ext>
            </a:extLst>
          </p:cNvPr>
          <p:cNvSpPr>
            <a:spLocks noChangeArrowheads="1"/>
          </p:cNvSpPr>
          <p:nvPr/>
        </p:nvSpPr>
        <p:spPr bwMode="auto">
          <a:xfrm>
            <a:off x="684213" y="1233489"/>
            <a:ext cx="8382000" cy="1509712"/>
          </a:xfrm>
          <a:prstGeom prst="rect">
            <a:avLst/>
          </a:prstGeom>
          <a:noFill/>
          <a:ln>
            <a:noFill/>
          </a:ln>
        </p:spPr>
        <p:txBody>
          <a:bodyPr/>
          <a:lstStyle/>
          <a:p>
            <a:pPr eaLnBrk="1" hangingPunct="1">
              <a:lnSpc>
                <a:spcPct val="150000"/>
              </a:lnSpc>
              <a:spcBef>
                <a:spcPct val="40000"/>
              </a:spcBef>
              <a:buClr>
                <a:schemeClr val="accent2"/>
              </a:buClr>
              <a:buSzPct val="65000"/>
              <a:buFont typeface="Wingdings" panose="05000000000000000000" pitchFamily="2" charset="2"/>
              <a:buNone/>
              <a:defRPr/>
            </a:pPr>
            <a:r>
              <a:rPr lang="es-MX" sz="1200" dirty="0">
                <a:solidFill>
                  <a:schemeClr val="bg2"/>
                </a:solidFill>
                <a:latin typeface="Arial" charset="0"/>
              </a:rPr>
              <a:t>El detalle de los lineamientos mencionados están definidos en los documentos:</a:t>
            </a:r>
          </a:p>
          <a:p>
            <a:pPr marL="171450" lvl="2" indent="-171450">
              <a:lnSpc>
                <a:spcPct val="150000"/>
              </a:lnSpc>
              <a:spcBef>
                <a:spcPct val="40000"/>
              </a:spcBef>
              <a:buClr>
                <a:schemeClr val="accent2"/>
              </a:buClr>
              <a:buSzPct val="100000"/>
              <a:buFont typeface="Wingdings" pitchFamily="2" charset="2"/>
              <a:buChar char="§"/>
              <a:defRPr/>
            </a:pPr>
            <a:r>
              <a:rPr lang="en-US" sz="1200" dirty="0">
                <a:solidFill>
                  <a:schemeClr val="bg2"/>
                </a:solidFill>
                <a:latin typeface="Arial" charset="0"/>
              </a:rPr>
              <a:t>Standard of Security Controls in Kafka is Kerberos, however for the APIs that are exposed as a Service, federated authentication is recommended for the front-end (API client)</a:t>
            </a:r>
            <a:endParaRPr lang="es-ES" sz="1200" dirty="0">
              <a:solidFill>
                <a:schemeClr val="bg2"/>
              </a:solidFill>
              <a:latin typeface="Arial" charset="0"/>
            </a:endParaRPr>
          </a:p>
        </p:txBody>
      </p:sp>
    </p:spTree>
    <p:extLst>
      <p:ext uri="{BB962C8B-B14F-4D97-AF65-F5344CB8AC3E}">
        <p14:creationId xmlns:p14="http://schemas.microsoft.com/office/powerpoint/2010/main" val="728509339"/>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tangle 3">
            <a:extLst>
              <a:ext uri="{FF2B5EF4-FFF2-40B4-BE49-F238E27FC236}">
                <a16:creationId xmlns:a16="http://schemas.microsoft.com/office/drawing/2014/main" id="{A27FD23C-A522-0E4F-B70C-CC83BC4542BA}"/>
              </a:ext>
            </a:extLst>
          </p:cNvPr>
          <p:cNvSpPr txBox="1"/>
          <p:nvPr/>
        </p:nvSpPr>
        <p:spPr>
          <a:xfrm>
            <a:off x="404808" y="237462"/>
            <a:ext cx="7585857" cy="400105"/>
          </a:xfrm>
          <a:prstGeom prst="rect">
            <a:avLst/>
          </a:prstGeom>
          <a:ln w="12700">
            <a:miter lim="400000"/>
          </a:ln>
          <a:extLst>
            <a:ext uri="{C572A759-6A51-4108-AA02-DFA0A04FC94B}">
              <ma14:wrappingTextBoxFlag xmlns:ma14="http://schemas.microsoft.com/office/mac/drawingml/2011/main" xmlns="" val="1"/>
            </a:ext>
          </a:extLst>
        </p:spPr>
        <p:txBody>
          <a:bodyPr wrap="square" lIns="45718" tIns="45718" rIns="45718" bIns="45718">
            <a:spAutoFit/>
          </a:bodyPr>
          <a:lstStyle>
            <a:lvl1pPr algn="l" defTabSz="914400">
              <a:defRPr sz="2200" b="1">
                <a:solidFill>
                  <a:srgbClr val="FFFFFF"/>
                </a:solidFill>
                <a:latin typeface="Arial"/>
                <a:ea typeface="Arial"/>
                <a:cs typeface="Arial"/>
                <a:sym typeface="Arial"/>
              </a:defRPr>
            </a:lvl1pPr>
          </a:lstStyle>
          <a:p>
            <a:r>
              <a:rPr lang="en-US" sz="2000" dirty="0">
                <a:solidFill>
                  <a:srgbClr val="016AA2"/>
                </a:solidFill>
              </a:rPr>
              <a:t>Standards, Patterns and Decisions of Architecture (I)</a:t>
            </a:r>
          </a:p>
        </p:txBody>
      </p:sp>
      <p:sp>
        <p:nvSpPr>
          <p:cNvPr id="65" name="Rectangle 3"/>
          <p:cNvSpPr txBox="1"/>
          <p:nvPr/>
        </p:nvSpPr>
        <p:spPr>
          <a:xfrm>
            <a:off x="404807" y="725885"/>
            <a:ext cx="7153461" cy="369328"/>
          </a:xfrm>
          <a:prstGeom prst="rect">
            <a:avLst/>
          </a:prstGeom>
          <a:ln w="12700">
            <a:miter lim="400000"/>
          </a:ln>
          <a:extLst>
            <a:ext uri="{C572A759-6A51-4108-AA02-DFA0A04FC94B}">
              <ma14:wrappingTextBoxFlag xmlns="" xmlns:ma14="http://schemas.microsoft.com/office/mac/drawingml/2011/main" val="1"/>
            </a:ext>
          </a:extLst>
        </p:spPr>
        <p:txBody>
          <a:bodyPr wrap="square" lIns="45718" tIns="45718" rIns="45718" bIns="45718">
            <a:spAutoFit/>
          </a:bodyPr>
          <a:lstStyle>
            <a:lvl1pPr algn="l" defTabSz="914400">
              <a:defRPr sz="2000">
                <a:solidFill>
                  <a:srgbClr val="104D6A"/>
                </a:solidFill>
                <a:latin typeface="Arial"/>
                <a:ea typeface="Arial"/>
                <a:cs typeface="Arial"/>
                <a:sym typeface="Arial"/>
              </a:defRPr>
            </a:lvl1pPr>
          </a:lstStyle>
          <a:p>
            <a:pPr>
              <a:defRPr/>
            </a:pPr>
            <a:r>
              <a:rPr lang="en-US" sz="1800" b="1" dirty="0">
                <a:solidFill>
                  <a:srgbClr val="73C4EF"/>
                </a:solidFill>
              </a:rPr>
              <a:t>Exceptions to Standards and Architecture Patterns</a:t>
            </a:r>
            <a:endParaRPr lang="es-ES_tradnl" sz="1800" b="1" dirty="0">
              <a:solidFill>
                <a:srgbClr val="73C4EF"/>
              </a:solidFill>
            </a:endParaRPr>
          </a:p>
        </p:txBody>
      </p:sp>
      <p:sp>
        <p:nvSpPr>
          <p:cNvPr id="8" name="Rectangle 4">
            <a:extLst>
              <a:ext uri="{FF2B5EF4-FFF2-40B4-BE49-F238E27FC236}">
                <a16:creationId xmlns:a16="http://schemas.microsoft.com/office/drawing/2014/main" id="{DDBC6CC5-4171-3A4D-8F90-8D90572DD199}"/>
              </a:ext>
            </a:extLst>
          </p:cNvPr>
          <p:cNvSpPr>
            <a:spLocks noChangeArrowheads="1"/>
          </p:cNvSpPr>
          <p:nvPr/>
        </p:nvSpPr>
        <p:spPr bwMode="auto">
          <a:xfrm>
            <a:off x="684213" y="1233489"/>
            <a:ext cx="8382000" cy="1509712"/>
          </a:xfrm>
          <a:prstGeom prst="rect">
            <a:avLst/>
          </a:prstGeom>
          <a:noFill/>
          <a:ln>
            <a:noFill/>
          </a:ln>
        </p:spPr>
        <p:txBody>
          <a:bodyPr/>
          <a:lstStyle/>
          <a:p>
            <a:pPr marL="717550" indent="-285750">
              <a:lnSpc>
                <a:spcPct val="150000"/>
              </a:lnSpc>
              <a:spcBef>
                <a:spcPct val="40000"/>
              </a:spcBef>
              <a:buClr>
                <a:schemeClr val="accent2"/>
              </a:buClr>
              <a:buSzPct val="65000"/>
              <a:buFont typeface="Wingdings" panose="05000000000000000000" pitchFamily="2" charset="2"/>
              <a:buChar char="n"/>
              <a:defRPr/>
            </a:pPr>
            <a:r>
              <a:rPr lang="en-US" sz="1200" dirty="0">
                <a:solidFill>
                  <a:schemeClr val="bg2"/>
                </a:solidFill>
                <a:latin typeface="Arial" pitchFamily="34" charset="0"/>
                <a:ea typeface="ＭＳ Ｐゴシック"/>
              </a:rPr>
              <a:t>Not apply, an architecture based on APIs is defined, incorporating good practices, attached to the quality standards in the software engineering process.</a:t>
            </a:r>
            <a:endParaRPr lang="es-MX" sz="1200" dirty="0">
              <a:solidFill>
                <a:schemeClr val="bg2"/>
              </a:solidFill>
              <a:latin typeface="Arial" pitchFamily="34" charset="0"/>
              <a:ea typeface="ＭＳ Ｐゴシック"/>
            </a:endParaRPr>
          </a:p>
        </p:txBody>
      </p:sp>
    </p:spTree>
    <p:extLst>
      <p:ext uri="{BB962C8B-B14F-4D97-AF65-F5344CB8AC3E}">
        <p14:creationId xmlns:p14="http://schemas.microsoft.com/office/powerpoint/2010/main" val="3985050912"/>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tangle 3">
            <a:extLst>
              <a:ext uri="{FF2B5EF4-FFF2-40B4-BE49-F238E27FC236}">
                <a16:creationId xmlns:a16="http://schemas.microsoft.com/office/drawing/2014/main" id="{A27FD23C-A522-0E4F-B70C-CC83BC4542BA}"/>
              </a:ext>
            </a:extLst>
          </p:cNvPr>
          <p:cNvSpPr txBox="1"/>
          <p:nvPr/>
        </p:nvSpPr>
        <p:spPr>
          <a:xfrm>
            <a:off x="404808" y="237462"/>
            <a:ext cx="7585857" cy="400105"/>
          </a:xfrm>
          <a:prstGeom prst="rect">
            <a:avLst/>
          </a:prstGeom>
          <a:ln w="12700">
            <a:miter lim="400000"/>
          </a:ln>
          <a:extLst>
            <a:ext uri="{C572A759-6A51-4108-AA02-DFA0A04FC94B}">
              <ma14:wrappingTextBoxFlag xmlns:ma14="http://schemas.microsoft.com/office/mac/drawingml/2011/main" xmlns="" val="1"/>
            </a:ext>
          </a:extLst>
        </p:spPr>
        <p:txBody>
          <a:bodyPr wrap="square" lIns="45718" tIns="45718" rIns="45718" bIns="45718">
            <a:spAutoFit/>
          </a:bodyPr>
          <a:lstStyle>
            <a:lvl1pPr algn="l" defTabSz="914400">
              <a:defRPr sz="2200" b="1">
                <a:solidFill>
                  <a:srgbClr val="FFFFFF"/>
                </a:solidFill>
                <a:latin typeface="Arial"/>
                <a:ea typeface="Arial"/>
                <a:cs typeface="Arial"/>
                <a:sym typeface="Arial"/>
              </a:defRPr>
            </a:lvl1pPr>
          </a:lstStyle>
          <a:p>
            <a:r>
              <a:rPr lang="en-US" sz="2000" dirty="0">
                <a:solidFill>
                  <a:srgbClr val="016AA2"/>
                </a:solidFill>
              </a:rPr>
              <a:t>Standards, Patterns and Decisions of Architecture (II)</a:t>
            </a:r>
          </a:p>
        </p:txBody>
      </p:sp>
      <p:sp>
        <p:nvSpPr>
          <p:cNvPr id="65" name="Rectangle 3"/>
          <p:cNvSpPr txBox="1"/>
          <p:nvPr/>
        </p:nvSpPr>
        <p:spPr>
          <a:xfrm>
            <a:off x="404807" y="680165"/>
            <a:ext cx="7153461" cy="369328"/>
          </a:xfrm>
          <a:prstGeom prst="rect">
            <a:avLst/>
          </a:prstGeom>
          <a:ln w="12700">
            <a:miter lim="400000"/>
          </a:ln>
          <a:extLst>
            <a:ext uri="{C572A759-6A51-4108-AA02-DFA0A04FC94B}">
              <ma14:wrappingTextBoxFlag xmlns="" xmlns:ma14="http://schemas.microsoft.com/office/mac/drawingml/2011/main" val="1"/>
            </a:ext>
          </a:extLst>
        </p:spPr>
        <p:txBody>
          <a:bodyPr wrap="square" lIns="45718" tIns="45718" rIns="45718" bIns="45718">
            <a:spAutoFit/>
          </a:bodyPr>
          <a:lstStyle>
            <a:lvl1pPr algn="l" defTabSz="914400">
              <a:defRPr sz="2000">
                <a:solidFill>
                  <a:srgbClr val="104D6A"/>
                </a:solidFill>
                <a:latin typeface="Arial"/>
                <a:ea typeface="Arial"/>
                <a:cs typeface="Arial"/>
                <a:sym typeface="Arial"/>
              </a:defRPr>
            </a:lvl1pPr>
          </a:lstStyle>
          <a:p>
            <a:pPr>
              <a:defRPr/>
            </a:pPr>
            <a:r>
              <a:rPr lang="en-US" sz="1800" b="1" dirty="0">
                <a:solidFill>
                  <a:srgbClr val="73C4EF"/>
                </a:solidFill>
              </a:rPr>
              <a:t>Architecture Decisions</a:t>
            </a:r>
          </a:p>
        </p:txBody>
      </p:sp>
      <p:graphicFrame>
        <p:nvGraphicFramePr>
          <p:cNvPr id="5" name="Group 4">
            <a:extLst>
              <a:ext uri="{FF2B5EF4-FFF2-40B4-BE49-F238E27FC236}">
                <a16:creationId xmlns:a16="http://schemas.microsoft.com/office/drawing/2014/main" id="{1CADC336-840A-7245-A2C2-E53A516EA300}"/>
              </a:ext>
            </a:extLst>
          </p:cNvPr>
          <p:cNvGraphicFramePr>
            <a:graphicFrameLocks/>
          </p:cNvGraphicFramePr>
          <p:nvPr>
            <p:extLst>
              <p:ext uri="{D42A27DB-BD31-4B8C-83A1-F6EECF244321}">
                <p14:modId xmlns:p14="http://schemas.microsoft.com/office/powerpoint/2010/main" val="1834869083"/>
              </p:ext>
            </p:extLst>
          </p:nvPr>
        </p:nvGraphicFramePr>
        <p:xfrm>
          <a:off x="671512" y="1141222"/>
          <a:ext cx="10636954" cy="5164609"/>
        </p:xfrm>
        <a:graphic>
          <a:graphicData uri="http://schemas.openxmlformats.org/drawingml/2006/table">
            <a:tbl>
              <a:tblPr/>
              <a:tblGrid>
                <a:gridCol w="2559937">
                  <a:extLst>
                    <a:ext uri="{9D8B030D-6E8A-4147-A177-3AD203B41FA5}">
                      <a16:colId xmlns:a16="http://schemas.microsoft.com/office/drawing/2014/main" val="20000"/>
                    </a:ext>
                  </a:extLst>
                </a:gridCol>
                <a:gridCol w="2980804">
                  <a:extLst>
                    <a:ext uri="{9D8B030D-6E8A-4147-A177-3AD203B41FA5}">
                      <a16:colId xmlns:a16="http://schemas.microsoft.com/office/drawing/2014/main" val="20001"/>
                    </a:ext>
                  </a:extLst>
                </a:gridCol>
                <a:gridCol w="5096213">
                  <a:extLst>
                    <a:ext uri="{9D8B030D-6E8A-4147-A177-3AD203B41FA5}">
                      <a16:colId xmlns:a16="http://schemas.microsoft.com/office/drawing/2014/main" val="20002"/>
                    </a:ext>
                  </a:extLst>
                </a:gridCol>
              </a:tblGrid>
              <a:tr h="428731">
                <a:tc>
                  <a:txBody>
                    <a:bodyPr/>
                    <a:lstStyle/>
                    <a:p>
                      <a:pPr marL="0" marR="0" lvl="0" indent="0" algn="ctr" defTabSz="914400" rtl="0" eaLnBrk="1" fontAlgn="base" latinLnBrk="0" hangingPunct="1">
                        <a:lnSpc>
                          <a:spcPct val="100000"/>
                        </a:lnSpc>
                        <a:spcBef>
                          <a:spcPct val="0"/>
                        </a:spcBef>
                        <a:spcAft>
                          <a:spcPct val="0"/>
                        </a:spcAft>
                        <a:buClr>
                          <a:schemeClr val="bg1"/>
                        </a:buClr>
                        <a:buSzPct val="25000"/>
                        <a:buFont typeface="Times" pitchFamily="18" charset="0"/>
                        <a:buNone/>
                        <a:tabLst/>
                      </a:pPr>
                      <a:r>
                        <a:rPr kumimoji="0" lang="es-ES" sz="1200" b="1" i="0" u="none" strike="noStrike" cap="none" normalizeH="0" baseline="0" dirty="0">
                          <a:ln>
                            <a:noFill/>
                          </a:ln>
                          <a:solidFill>
                            <a:schemeClr val="bg1"/>
                          </a:solidFill>
                          <a:effectLst/>
                          <a:latin typeface="Arial" charset="0"/>
                        </a:rPr>
                        <a:t>Decisión</a:t>
                      </a:r>
                    </a:p>
                  </a:txBody>
                  <a:tcPr marL="90000" marR="90000" marT="46798" marB="46798"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0067B7"/>
                    </a:solidFill>
                  </a:tcPr>
                </a:tc>
                <a:tc>
                  <a:txBody>
                    <a:bodyPr/>
                    <a:lstStyle/>
                    <a:p>
                      <a:pPr marL="0" marR="0" lvl="0" indent="0" algn="ctr" defTabSz="914400" rtl="0" eaLnBrk="1" fontAlgn="base" latinLnBrk="0" hangingPunct="1">
                        <a:lnSpc>
                          <a:spcPct val="100000"/>
                        </a:lnSpc>
                        <a:spcBef>
                          <a:spcPct val="0"/>
                        </a:spcBef>
                        <a:spcAft>
                          <a:spcPct val="0"/>
                        </a:spcAft>
                        <a:buClr>
                          <a:schemeClr val="bg1"/>
                        </a:buClr>
                        <a:buSzPct val="25000"/>
                        <a:buFont typeface="Times" pitchFamily="18" charset="0"/>
                        <a:buNone/>
                        <a:tabLst/>
                      </a:pPr>
                      <a:r>
                        <a:rPr kumimoji="0" lang="es-ES" sz="1200" b="1" i="0" u="none" strike="noStrike" cap="none" normalizeH="0" baseline="0" dirty="0">
                          <a:ln>
                            <a:noFill/>
                          </a:ln>
                          <a:solidFill>
                            <a:schemeClr val="bg1"/>
                          </a:solidFill>
                          <a:effectLst/>
                          <a:latin typeface="Arial" charset="0"/>
                        </a:rPr>
                        <a:t>Premisas</a:t>
                      </a:r>
                    </a:p>
                  </a:txBody>
                  <a:tcPr marL="90000" marR="90000" marT="46798" marB="46798"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0067B7"/>
                    </a:solidFill>
                  </a:tcPr>
                </a:tc>
                <a:tc>
                  <a:txBody>
                    <a:bodyPr/>
                    <a:lstStyle/>
                    <a:p>
                      <a:pPr marL="0" marR="0" lvl="0" indent="0" algn="ctr" defTabSz="914400" rtl="0" eaLnBrk="1" fontAlgn="base" latinLnBrk="0" hangingPunct="1">
                        <a:lnSpc>
                          <a:spcPct val="100000"/>
                        </a:lnSpc>
                        <a:spcBef>
                          <a:spcPct val="0"/>
                        </a:spcBef>
                        <a:spcAft>
                          <a:spcPct val="0"/>
                        </a:spcAft>
                        <a:buClr>
                          <a:schemeClr val="bg1"/>
                        </a:buClr>
                        <a:buSzPct val="25000"/>
                        <a:buFont typeface="Times" pitchFamily="18" charset="0"/>
                        <a:buNone/>
                        <a:tabLst/>
                      </a:pPr>
                      <a:r>
                        <a:rPr kumimoji="0" lang="es-ES" sz="1200" b="1" i="0" u="none" strike="noStrike" cap="none" normalizeH="0" baseline="0" dirty="0">
                          <a:ln>
                            <a:noFill/>
                          </a:ln>
                          <a:solidFill>
                            <a:schemeClr val="bg1"/>
                          </a:solidFill>
                          <a:effectLst/>
                          <a:latin typeface="Arial" charset="0"/>
                        </a:rPr>
                        <a:t>Razonamiento de la Decisión</a:t>
                      </a:r>
                    </a:p>
                  </a:txBody>
                  <a:tcPr marL="90000" marR="90000" marT="46798" marB="46798"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0067B7"/>
                    </a:solidFill>
                  </a:tcPr>
                </a:tc>
                <a:extLst>
                  <a:ext uri="{0D108BD9-81ED-4DB2-BD59-A6C34878D82A}">
                    <a16:rowId xmlns:a16="http://schemas.microsoft.com/office/drawing/2014/main" val="10000"/>
                  </a:ext>
                </a:extLst>
              </a:tr>
              <a:tr h="1029365">
                <a:tc>
                  <a:txBody>
                    <a:bodyPr/>
                    <a:lstStyle/>
                    <a:p>
                      <a:pPr marL="0" marR="0" lvl="0" indent="0" algn="l" defTabSz="914400" rtl="0" eaLnBrk="1" fontAlgn="base" latinLnBrk="0" hangingPunct="1">
                        <a:lnSpc>
                          <a:spcPct val="93000"/>
                        </a:lnSpc>
                        <a:spcBef>
                          <a:spcPts val="300"/>
                        </a:spcBef>
                        <a:spcAft>
                          <a:spcPct val="0"/>
                        </a:spcAft>
                        <a:buClrTx/>
                        <a:buSzPct val="25000"/>
                        <a:buFontTx/>
                        <a:buNone/>
                        <a:tabLst/>
                        <a:defRPr/>
                      </a:pPr>
                      <a:r>
                        <a:rPr kumimoji="0" lang="es-MX" sz="1100" b="0" i="0" u="none" strike="noStrike" kern="1200" cap="none" normalizeH="0" baseline="0" dirty="0">
                          <a:ln>
                            <a:noFill/>
                          </a:ln>
                          <a:solidFill>
                            <a:schemeClr val="bg2"/>
                          </a:solidFill>
                          <a:effectLst/>
                          <a:latin typeface="Arial" pitchFamily="34" charset="0"/>
                          <a:ea typeface="ＭＳ Ｐゴシック"/>
                          <a:cs typeface="ＭＳ Ｐゴシック"/>
                        </a:rPr>
                        <a:t>Tecnology</a:t>
                      </a:r>
                    </a:p>
                  </a:txBody>
                  <a:tcPr marL="90000" marR="90000" marT="46843" marB="46843"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93000"/>
                        </a:lnSpc>
                        <a:spcBef>
                          <a:spcPts val="300"/>
                        </a:spcBef>
                        <a:spcAft>
                          <a:spcPct val="0"/>
                        </a:spcAft>
                        <a:buClrTx/>
                        <a:buSzPct val="25000"/>
                        <a:buFontTx/>
                        <a:buNone/>
                        <a:tabLst/>
                      </a:pPr>
                      <a:r>
                        <a:rPr kumimoji="0" lang="en-US" sz="1100" b="0" i="0" u="none" strike="noStrike" kern="1200" cap="none" normalizeH="0" baseline="0" dirty="0">
                          <a:ln>
                            <a:noFill/>
                          </a:ln>
                          <a:solidFill>
                            <a:schemeClr val="bg2"/>
                          </a:solidFill>
                          <a:effectLst/>
                          <a:latin typeface="Arial" pitchFamily="34" charset="0"/>
                          <a:ea typeface="ＭＳ Ｐゴシック"/>
                          <a:cs typeface="ＭＳ Ｐゴシック"/>
                        </a:rPr>
                        <a:t>The solution proposes an application developed in Spring Boot, Spring Kafka and Java</a:t>
                      </a:r>
                      <a:endParaRPr kumimoji="0" lang="es-MX" sz="1100" b="0" i="0" u="none" strike="noStrike" kern="1200" cap="none" normalizeH="0" baseline="0" dirty="0">
                        <a:ln>
                          <a:noFill/>
                        </a:ln>
                        <a:solidFill>
                          <a:schemeClr val="bg2"/>
                        </a:solidFill>
                        <a:effectLst/>
                        <a:latin typeface="Arial" pitchFamily="34" charset="0"/>
                        <a:ea typeface="ＭＳ Ｐゴシック"/>
                        <a:cs typeface="ＭＳ Ｐゴシック"/>
                      </a:endParaRPr>
                    </a:p>
                  </a:txBody>
                  <a:tcPr marL="90000" marR="90000" marT="46843" marB="46843"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171450" marR="0" lvl="0" indent="-171450" algn="l" defTabSz="914400" rtl="0" eaLnBrk="1" fontAlgn="base" latinLnBrk="0" hangingPunct="1">
                        <a:lnSpc>
                          <a:spcPct val="93000"/>
                        </a:lnSpc>
                        <a:spcBef>
                          <a:spcPts val="300"/>
                        </a:spcBef>
                        <a:spcAft>
                          <a:spcPct val="0"/>
                        </a:spcAft>
                        <a:buClrTx/>
                        <a:buSzPct val="100000"/>
                        <a:buFont typeface="Arial" panose="020B0604020202020204" pitchFamily="34" charset="0"/>
                        <a:buChar char="•"/>
                        <a:tabLst/>
                      </a:pPr>
                      <a:r>
                        <a:rPr kumimoji="0" lang="en-US" sz="1100" b="0" i="0" u="none" strike="noStrike" kern="1200" cap="none" normalizeH="0" baseline="0" dirty="0">
                          <a:ln>
                            <a:noFill/>
                          </a:ln>
                          <a:solidFill>
                            <a:schemeClr val="bg2"/>
                          </a:solidFill>
                          <a:effectLst/>
                          <a:latin typeface="Arial" pitchFamily="34" charset="0"/>
                          <a:ea typeface="ＭＳ Ｐゴシック"/>
                        </a:rPr>
                        <a:t>Use of the different components of Kafka, which allow to cover the responsibilities of Kafka producers in addition to posting messages.</a:t>
                      </a:r>
                      <a:endParaRPr kumimoji="0" lang="es-MX" sz="1100" b="0" i="0" u="none" strike="noStrike" kern="1200" cap="none" normalizeH="0" baseline="0" dirty="0">
                        <a:ln>
                          <a:noFill/>
                        </a:ln>
                        <a:solidFill>
                          <a:schemeClr val="bg2"/>
                        </a:solidFill>
                        <a:effectLst/>
                        <a:latin typeface="Arial" pitchFamily="34" charset="0"/>
                        <a:ea typeface="ＭＳ Ｐゴシック"/>
                        <a:cs typeface="ＭＳ Ｐゴシック"/>
                      </a:endParaRPr>
                    </a:p>
                    <a:p>
                      <a:pPr marL="171450" marR="0" lvl="0" indent="-171450" algn="l" defTabSz="914400" rtl="0" eaLnBrk="1" fontAlgn="base" latinLnBrk="0" hangingPunct="1">
                        <a:lnSpc>
                          <a:spcPct val="93000"/>
                        </a:lnSpc>
                        <a:spcBef>
                          <a:spcPts val="300"/>
                        </a:spcBef>
                        <a:spcAft>
                          <a:spcPct val="0"/>
                        </a:spcAft>
                        <a:buClrTx/>
                        <a:buSzPct val="100000"/>
                        <a:buFont typeface="Arial" panose="020B0604020202020204" pitchFamily="34" charset="0"/>
                        <a:buChar char="•"/>
                        <a:tabLst/>
                      </a:pPr>
                      <a:r>
                        <a:rPr kumimoji="0" lang="es-MX" sz="1100" b="0" i="0" u="none" strike="noStrike" kern="1200" cap="none" normalizeH="0" baseline="0" dirty="0">
                          <a:ln>
                            <a:noFill/>
                          </a:ln>
                          <a:solidFill>
                            <a:schemeClr val="bg2"/>
                          </a:solidFill>
                          <a:effectLst/>
                          <a:latin typeface="Arial" pitchFamily="34" charset="0"/>
                          <a:ea typeface="ＭＳ Ｐゴシック"/>
                          <a:cs typeface="ＭＳ Ｐゴシック"/>
                        </a:rPr>
                        <a:t>Use of specific technology for Near Real Time processing.</a:t>
                      </a:r>
                    </a:p>
                    <a:p>
                      <a:pPr marL="171450" marR="0" lvl="0" indent="-171450" algn="l" defTabSz="914400" rtl="0" eaLnBrk="1" fontAlgn="base" latinLnBrk="0" hangingPunct="1">
                        <a:lnSpc>
                          <a:spcPct val="93000"/>
                        </a:lnSpc>
                        <a:spcBef>
                          <a:spcPts val="300"/>
                        </a:spcBef>
                        <a:spcAft>
                          <a:spcPct val="0"/>
                        </a:spcAft>
                        <a:buClrTx/>
                        <a:buSzPct val="100000"/>
                        <a:buFont typeface="Arial" panose="020B0604020202020204" pitchFamily="34" charset="0"/>
                        <a:buChar char="•"/>
                        <a:tabLst/>
                      </a:pPr>
                      <a:r>
                        <a:rPr kumimoji="0" lang="es-MX" sz="1100" b="0" i="0" u="none" strike="noStrike" kern="1200" cap="none" normalizeH="0" baseline="0" dirty="0">
                          <a:ln>
                            <a:noFill/>
                          </a:ln>
                          <a:solidFill>
                            <a:schemeClr val="bg2"/>
                          </a:solidFill>
                          <a:effectLst/>
                          <a:latin typeface="Arial" pitchFamily="34" charset="0"/>
                          <a:ea typeface="ＭＳ Ｐゴシック"/>
                          <a:cs typeface="ＭＳ Ｐゴシック"/>
                        </a:rPr>
                        <a:t>Spring Kafka provides a "template" as a high-level abstraction for sending messages. It also provides support for Message-driven POJOs with @KafkaListener annotations and a "listener container”</a:t>
                      </a:r>
                    </a:p>
                    <a:p>
                      <a:pPr marL="171450" marR="0" lvl="0" indent="-171450" algn="l" defTabSz="914400" rtl="0" eaLnBrk="1" fontAlgn="base" latinLnBrk="0" hangingPunct="1">
                        <a:lnSpc>
                          <a:spcPct val="93000"/>
                        </a:lnSpc>
                        <a:spcBef>
                          <a:spcPts val="300"/>
                        </a:spcBef>
                        <a:spcAft>
                          <a:spcPct val="0"/>
                        </a:spcAft>
                        <a:buClrTx/>
                        <a:buSzPct val="100000"/>
                        <a:buFont typeface="Arial" panose="020B0604020202020204" pitchFamily="34" charset="0"/>
                        <a:buChar char="•"/>
                        <a:tabLst/>
                      </a:pPr>
                      <a:r>
                        <a:rPr kumimoji="0" lang="es-ES" sz="1100" b="0" i="0" u="none" strike="noStrike" kern="1200" cap="none" normalizeH="0" baseline="0" dirty="0">
                          <a:ln>
                            <a:noFill/>
                          </a:ln>
                          <a:solidFill>
                            <a:schemeClr val="bg2"/>
                          </a:solidFill>
                          <a:effectLst/>
                          <a:latin typeface="Arial" pitchFamily="34" charset="0"/>
                          <a:ea typeface="ＭＳ Ｐゴシック"/>
                        </a:rPr>
                        <a:t>Spring </a:t>
                      </a:r>
                      <a:r>
                        <a:rPr kumimoji="0" lang="es-ES" sz="1100" b="0" i="0" u="none" strike="noStrike" kern="1200" cap="none" normalizeH="0" baseline="0" dirty="0" err="1">
                          <a:ln>
                            <a:noFill/>
                          </a:ln>
                          <a:solidFill>
                            <a:schemeClr val="bg2"/>
                          </a:solidFill>
                          <a:effectLst/>
                          <a:latin typeface="Arial" pitchFamily="34" charset="0"/>
                          <a:ea typeface="ＭＳ Ｐゴシック"/>
                        </a:rPr>
                        <a:t>for</a:t>
                      </a:r>
                      <a:r>
                        <a:rPr kumimoji="0" lang="es-ES" sz="1100" b="0" i="0" u="none" strike="noStrike" kern="1200" cap="none" normalizeH="0" baseline="0" dirty="0">
                          <a:ln>
                            <a:noFill/>
                          </a:ln>
                          <a:solidFill>
                            <a:schemeClr val="bg2"/>
                          </a:solidFill>
                          <a:effectLst/>
                          <a:latin typeface="Arial" pitchFamily="34" charset="0"/>
                          <a:ea typeface="ＭＳ Ｐゴシック"/>
                        </a:rPr>
                        <a:t> Apache Kafka proporciona un </a:t>
                      </a:r>
                      <a:r>
                        <a:rPr kumimoji="0" lang="es-ES" sz="1100" b="0" i="0" u="none" strike="noStrike" kern="1200" cap="none" normalizeH="0" baseline="0" dirty="0" err="1">
                          <a:ln>
                            <a:noFill/>
                          </a:ln>
                          <a:solidFill>
                            <a:schemeClr val="bg2"/>
                          </a:solidFill>
                          <a:effectLst/>
                          <a:latin typeface="Arial" pitchFamily="34" charset="0"/>
                          <a:ea typeface="ＭＳ Ｐゴシック"/>
                        </a:rPr>
                        <a:t>bean</a:t>
                      </a:r>
                      <a:r>
                        <a:rPr kumimoji="0" lang="es-ES" sz="1100" b="0" i="0" u="none" strike="noStrike" kern="1200" cap="none" normalizeH="0" baseline="0" dirty="0">
                          <a:ln>
                            <a:noFill/>
                          </a:ln>
                          <a:solidFill>
                            <a:schemeClr val="bg2"/>
                          </a:solidFill>
                          <a:effectLst/>
                          <a:latin typeface="Arial" pitchFamily="34" charset="0"/>
                          <a:ea typeface="ＭＳ Ｐゴシック"/>
                        </a:rPr>
                        <a:t> de fábrica para crear un objeto </a:t>
                      </a:r>
                      <a:r>
                        <a:rPr kumimoji="0" lang="es-ES" sz="1100" b="0" i="0" u="none" strike="noStrike" kern="1200" cap="none" normalizeH="0" baseline="0" dirty="0" err="1">
                          <a:ln>
                            <a:noFill/>
                          </a:ln>
                          <a:solidFill>
                            <a:schemeClr val="bg2"/>
                          </a:solidFill>
                          <a:effectLst/>
                          <a:latin typeface="Arial" pitchFamily="34" charset="0"/>
                          <a:ea typeface="ＭＳ Ｐゴシック"/>
                        </a:rPr>
                        <a:t>StreamsBuilder</a:t>
                      </a:r>
                      <a:r>
                        <a:rPr kumimoji="0" lang="es-ES" sz="1100" b="0" i="0" u="none" strike="noStrike" kern="1200" cap="none" normalizeH="0" baseline="0" dirty="0">
                          <a:ln>
                            <a:noFill/>
                          </a:ln>
                          <a:solidFill>
                            <a:schemeClr val="bg2"/>
                          </a:solidFill>
                          <a:effectLst/>
                          <a:latin typeface="Arial" pitchFamily="34" charset="0"/>
                          <a:ea typeface="ＭＳ Ｐゴシック"/>
                        </a:rPr>
                        <a:t> y administrar el ciclo de vida de sus transmisiones. Spring </a:t>
                      </a:r>
                      <a:r>
                        <a:rPr kumimoji="0" lang="es-ES" sz="1100" b="0" i="0" u="none" strike="noStrike" kern="1200" cap="none" normalizeH="0" baseline="0" dirty="0" err="1">
                          <a:ln>
                            <a:noFill/>
                          </a:ln>
                          <a:solidFill>
                            <a:schemeClr val="bg2"/>
                          </a:solidFill>
                          <a:effectLst/>
                          <a:latin typeface="Arial" pitchFamily="34" charset="0"/>
                          <a:ea typeface="ＭＳ Ｐゴシック"/>
                        </a:rPr>
                        <a:t>Boot</a:t>
                      </a:r>
                      <a:r>
                        <a:rPr kumimoji="0" lang="es-ES" sz="1100" b="0" i="0" u="none" strike="noStrike" kern="1200" cap="none" normalizeH="0" baseline="0" dirty="0">
                          <a:ln>
                            <a:noFill/>
                          </a:ln>
                          <a:solidFill>
                            <a:schemeClr val="bg2"/>
                          </a:solidFill>
                          <a:effectLst/>
                          <a:latin typeface="Arial" pitchFamily="34" charset="0"/>
                          <a:ea typeface="ＭＳ Ｐゴシック"/>
                        </a:rPr>
                        <a:t> configura automáticamente el </a:t>
                      </a:r>
                      <a:r>
                        <a:rPr kumimoji="0" lang="es-ES" sz="1100" b="0" i="0" u="none" strike="noStrike" kern="1200" cap="none" normalizeH="0" baseline="0" dirty="0" err="1">
                          <a:ln>
                            <a:noFill/>
                          </a:ln>
                          <a:solidFill>
                            <a:schemeClr val="bg2"/>
                          </a:solidFill>
                          <a:effectLst/>
                          <a:latin typeface="Arial" pitchFamily="34" charset="0"/>
                          <a:ea typeface="ＭＳ Ｐゴシック"/>
                        </a:rPr>
                        <a:t>bean</a:t>
                      </a:r>
                      <a:r>
                        <a:rPr kumimoji="0" lang="es-ES" sz="1100" b="0" i="0" u="none" strike="noStrike" kern="1200" cap="none" normalizeH="0" baseline="0" dirty="0">
                          <a:ln>
                            <a:noFill/>
                          </a:ln>
                          <a:solidFill>
                            <a:schemeClr val="bg2"/>
                          </a:solidFill>
                          <a:effectLst/>
                          <a:latin typeface="Arial" pitchFamily="34" charset="0"/>
                          <a:ea typeface="ＭＳ Ｐゴシック"/>
                        </a:rPr>
                        <a:t> </a:t>
                      </a:r>
                      <a:r>
                        <a:rPr kumimoji="0" lang="es-ES" sz="1100" b="0" i="0" u="none" strike="noStrike" kern="1200" cap="none" normalizeH="0" baseline="0" dirty="0" err="1">
                          <a:ln>
                            <a:noFill/>
                          </a:ln>
                          <a:solidFill>
                            <a:schemeClr val="bg2"/>
                          </a:solidFill>
                          <a:effectLst/>
                          <a:latin typeface="Arial" pitchFamily="34" charset="0"/>
                          <a:ea typeface="ＭＳ Ｐゴシック"/>
                        </a:rPr>
                        <a:t>KafkaStreamsConfiguration</a:t>
                      </a:r>
                      <a:r>
                        <a:rPr kumimoji="0" lang="es-ES" sz="1100" b="0" i="0" u="none" strike="noStrike" kern="1200" cap="none" normalizeH="0" baseline="0" dirty="0">
                          <a:ln>
                            <a:noFill/>
                          </a:ln>
                          <a:solidFill>
                            <a:schemeClr val="bg2"/>
                          </a:solidFill>
                          <a:effectLst/>
                          <a:latin typeface="Arial" pitchFamily="34" charset="0"/>
                          <a:ea typeface="ＭＳ Ｐゴシック"/>
                        </a:rPr>
                        <a:t> requerido siempre que </a:t>
                      </a:r>
                      <a:r>
                        <a:rPr kumimoji="0" lang="es-ES" sz="1100" b="0" i="0" u="none" strike="noStrike" kern="1200" cap="none" normalizeH="0" baseline="0" dirty="0" err="1">
                          <a:ln>
                            <a:noFill/>
                          </a:ln>
                          <a:solidFill>
                            <a:schemeClr val="bg2"/>
                          </a:solidFill>
                          <a:effectLst/>
                          <a:latin typeface="Arial" pitchFamily="34" charset="0"/>
                          <a:ea typeface="ＭＳ Ｐゴシック"/>
                        </a:rPr>
                        <a:t>kafka-streams</a:t>
                      </a:r>
                      <a:r>
                        <a:rPr kumimoji="0" lang="es-ES" sz="1100" b="0" i="0" u="none" strike="noStrike" kern="1200" cap="none" normalizeH="0" baseline="0" dirty="0">
                          <a:ln>
                            <a:noFill/>
                          </a:ln>
                          <a:solidFill>
                            <a:schemeClr val="bg2"/>
                          </a:solidFill>
                          <a:effectLst/>
                          <a:latin typeface="Arial" pitchFamily="34" charset="0"/>
                          <a:ea typeface="ＭＳ Ｐゴシック"/>
                        </a:rPr>
                        <a:t> esté en el </a:t>
                      </a:r>
                      <a:r>
                        <a:rPr kumimoji="0" lang="es-ES" sz="1100" b="0" i="0" u="none" strike="noStrike" kern="1200" cap="none" normalizeH="0" baseline="0" dirty="0" err="1">
                          <a:ln>
                            <a:noFill/>
                          </a:ln>
                          <a:solidFill>
                            <a:schemeClr val="bg2"/>
                          </a:solidFill>
                          <a:effectLst/>
                          <a:latin typeface="Arial" pitchFamily="34" charset="0"/>
                          <a:ea typeface="ＭＳ Ｐゴシック"/>
                        </a:rPr>
                        <a:t>classpath</a:t>
                      </a:r>
                      <a:r>
                        <a:rPr kumimoji="0" lang="es-ES" sz="1100" b="0" i="0" u="none" strike="noStrike" kern="1200" cap="none" normalizeH="0" baseline="0" dirty="0">
                          <a:ln>
                            <a:noFill/>
                          </a:ln>
                          <a:solidFill>
                            <a:schemeClr val="bg2"/>
                          </a:solidFill>
                          <a:effectLst/>
                          <a:latin typeface="Arial" pitchFamily="34" charset="0"/>
                          <a:ea typeface="ＭＳ Ｐゴシック"/>
                        </a:rPr>
                        <a:t> y Kafka </a:t>
                      </a:r>
                      <a:r>
                        <a:rPr kumimoji="0" lang="es-ES" sz="1100" b="0" i="0" u="none" strike="noStrike" kern="1200" cap="none" normalizeH="0" baseline="0" dirty="0" err="1">
                          <a:ln>
                            <a:noFill/>
                          </a:ln>
                          <a:solidFill>
                            <a:schemeClr val="bg2"/>
                          </a:solidFill>
                          <a:effectLst/>
                          <a:latin typeface="Arial" pitchFamily="34" charset="0"/>
                          <a:ea typeface="ＭＳ Ｐゴシック"/>
                        </a:rPr>
                        <a:t>Streams</a:t>
                      </a:r>
                      <a:r>
                        <a:rPr kumimoji="0" lang="es-ES" sz="1100" b="0" i="0" u="none" strike="noStrike" kern="1200" cap="none" normalizeH="0" baseline="0" dirty="0">
                          <a:ln>
                            <a:noFill/>
                          </a:ln>
                          <a:solidFill>
                            <a:schemeClr val="bg2"/>
                          </a:solidFill>
                          <a:effectLst/>
                          <a:latin typeface="Arial" pitchFamily="34" charset="0"/>
                          <a:ea typeface="ＭＳ Ｐゴシック"/>
                        </a:rPr>
                        <a:t> esté habilitado a través de la anotación @</a:t>
                      </a:r>
                      <a:r>
                        <a:rPr kumimoji="0" lang="es-ES" sz="1100" b="0" i="0" u="none" strike="noStrike" kern="1200" cap="none" normalizeH="0" baseline="0" dirty="0" err="1">
                          <a:ln>
                            <a:noFill/>
                          </a:ln>
                          <a:solidFill>
                            <a:schemeClr val="bg2"/>
                          </a:solidFill>
                          <a:effectLst/>
                          <a:latin typeface="Arial" pitchFamily="34" charset="0"/>
                          <a:ea typeface="ＭＳ Ｐゴシック"/>
                        </a:rPr>
                        <a:t>EnableKafkaStreams</a:t>
                      </a:r>
                      <a:r>
                        <a:rPr kumimoji="0" lang="es-ES" sz="1100" b="0" i="0" u="none" strike="noStrike" kern="1200" cap="none" normalizeH="0" baseline="0" dirty="0">
                          <a:ln>
                            <a:noFill/>
                          </a:ln>
                          <a:solidFill>
                            <a:schemeClr val="bg2"/>
                          </a:solidFill>
                          <a:effectLst/>
                          <a:latin typeface="Arial" pitchFamily="34" charset="0"/>
                          <a:ea typeface="ＭＳ Ｐゴシック"/>
                        </a:rPr>
                        <a:t>.</a:t>
                      </a:r>
                      <a:endParaRPr kumimoji="0" lang="es-MX" sz="1100" b="0" i="0" u="none" strike="noStrike" kern="1200" cap="none" normalizeH="0" baseline="0" dirty="0">
                        <a:ln>
                          <a:noFill/>
                        </a:ln>
                        <a:solidFill>
                          <a:schemeClr val="bg2"/>
                        </a:solidFill>
                        <a:effectLst/>
                        <a:latin typeface="Arial" pitchFamily="34" charset="0"/>
                        <a:ea typeface="ＭＳ Ｐゴシック"/>
                        <a:cs typeface="ＭＳ Ｐゴシック"/>
                      </a:endParaRPr>
                    </a:p>
                  </a:txBody>
                  <a:tcPr marL="90000" marR="90000" marT="46843" marB="46843"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575947">
                <a:tc>
                  <a:txBody>
                    <a:bodyPr/>
                    <a:lstStyle/>
                    <a:p>
                      <a:pPr marL="0" marR="0" lvl="0" indent="0" algn="l" defTabSz="914400" rtl="0" eaLnBrk="1" fontAlgn="base" latinLnBrk="0" hangingPunct="1">
                        <a:lnSpc>
                          <a:spcPct val="93000"/>
                        </a:lnSpc>
                        <a:spcBef>
                          <a:spcPts val="300"/>
                        </a:spcBef>
                        <a:spcAft>
                          <a:spcPct val="0"/>
                        </a:spcAft>
                        <a:buClrTx/>
                        <a:buSzPct val="25000"/>
                        <a:buFontTx/>
                        <a:buNone/>
                        <a:tabLst/>
                        <a:defRPr/>
                      </a:pPr>
                      <a:r>
                        <a:rPr kumimoji="0" lang="en-US" sz="1100" b="0" i="0" u="none" strike="noStrike" kern="1200" cap="none" normalizeH="0" baseline="0" dirty="0">
                          <a:ln>
                            <a:noFill/>
                          </a:ln>
                          <a:solidFill>
                            <a:schemeClr val="bg2"/>
                          </a:solidFill>
                          <a:effectLst/>
                          <a:latin typeface="Arial" pitchFamily="34" charset="0"/>
                          <a:ea typeface="ＭＳ Ｐゴシック"/>
                        </a:rPr>
                        <a:t>Design best practices</a:t>
                      </a:r>
                      <a:endParaRPr kumimoji="0" lang="es-MX" sz="1100" b="0" i="0" u="none" strike="noStrike" kern="1200" cap="none" normalizeH="0" baseline="0" dirty="0">
                        <a:ln>
                          <a:noFill/>
                        </a:ln>
                        <a:solidFill>
                          <a:schemeClr val="bg2"/>
                        </a:solidFill>
                        <a:effectLst/>
                        <a:latin typeface="Arial" pitchFamily="34" charset="0"/>
                        <a:ea typeface="ＭＳ Ｐゴシック"/>
                        <a:cs typeface="ＭＳ Ｐゴシック"/>
                      </a:endParaRPr>
                    </a:p>
                  </a:txBody>
                  <a:tcPr marL="90000" marR="90000" marT="46843" marB="46843"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93000"/>
                        </a:lnSpc>
                        <a:spcBef>
                          <a:spcPts val="300"/>
                        </a:spcBef>
                        <a:spcAft>
                          <a:spcPct val="0"/>
                        </a:spcAft>
                        <a:buClrTx/>
                        <a:buSzPct val="25000"/>
                        <a:buFontTx/>
                        <a:buNone/>
                        <a:tabLst/>
                        <a:defRPr/>
                      </a:pPr>
                      <a:r>
                        <a:rPr kumimoji="0" lang="en-US" sz="1100" b="0" i="0" u="none" strike="noStrike" kern="1200" cap="none" normalizeH="0" baseline="0" dirty="0">
                          <a:ln>
                            <a:noFill/>
                          </a:ln>
                          <a:solidFill>
                            <a:schemeClr val="bg2"/>
                          </a:solidFill>
                          <a:effectLst/>
                          <a:latin typeface="Arial" pitchFamily="34" charset="0"/>
                          <a:ea typeface="ＭＳ Ｐゴシック"/>
                        </a:rPr>
                        <a:t>Escalation to an architecture as a service, APIs</a:t>
                      </a:r>
                      <a:endParaRPr kumimoji="0" lang="es-MX" sz="1100" b="0" i="0" u="none" strike="noStrike" kern="1200" cap="none" normalizeH="0" baseline="0" dirty="0">
                        <a:ln>
                          <a:noFill/>
                        </a:ln>
                        <a:solidFill>
                          <a:schemeClr val="bg2"/>
                        </a:solidFill>
                        <a:effectLst/>
                        <a:latin typeface="Arial" pitchFamily="34" charset="0"/>
                        <a:ea typeface="ＭＳ Ｐゴシック"/>
                        <a:cs typeface="+mn-cs"/>
                      </a:endParaRPr>
                    </a:p>
                  </a:txBody>
                  <a:tcPr marL="90000" marR="90000" marT="46843" marB="46843"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171450" marR="0" lvl="0" indent="-171450" algn="l" defTabSz="914400" rtl="0" eaLnBrk="1" fontAlgn="base" latinLnBrk="0" hangingPunct="1">
                        <a:lnSpc>
                          <a:spcPct val="93000"/>
                        </a:lnSpc>
                        <a:spcBef>
                          <a:spcPts val="300"/>
                        </a:spcBef>
                        <a:spcAft>
                          <a:spcPct val="0"/>
                        </a:spcAft>
                        <a:buClrTx/>
                        <a:buSzPct val="100000"/>
                        <a:buFont typeface="Arial" panose="020B0604020202020204" pitchFamily="34" charset="0"/>
                        <a:buChar char="•"/>
                        <a:tabLst/>
                      </a:pPr>
                      <a:r>
                        <a:rPr kumimoji="0" lang="en-US" sz="1100" b="0" i="0" u="none" strike="noStrike" kern="1200" cap="none" normalizeH="0" baseline="0" dirty="0">
                          <a:ln>
                            <a:noFill/>
                          </a:ln>
                          <a:solidFill>
                            <a:schemeClr val="bg2"/>
                          </a:solidFill>
                          <a:effectLst/>
                          <a:latin typeface="Arial" pitchFamily="34" charset="0"/>
                          <a:ea typeface="ＭＳ Ｐゴシック"/>
                          <a:cs typeface="+mn-cs"/>
                        </a:rPr>
                        <a:t>The following guidelines that are considered in the design of the APIs for Event Hub are contemplated:</a:t>
                      </a:r>
                    </a:p>
                    <a:p>
                      <a:pPr marL="593491" marR="0" lvl="1" indent="-171450" algn="l" defTabSz="914400" rtl="0" eaLnBrk="1" fontAlgn="base" latinLnBrk="0" hangingPunct="1">
                        <a:lnSpc>
                          <a:spcPct val="93000"/>
                        </a:lnSpc>
                        <a:spcBef>
                          <a:spcPts val="300"/>
                        </a:spcBef>
                        <a:spcAft>
                          <a:spcPct val="0"/>
                        </a:spcAft>
                        <a:buClrTx/>
                        <a:buSzPct val="100000"/>
                        <a:buFont typeface="Wingdings" pitchFamily="2" charset="2"/>
                        <a:buChar char="ü"/>
                        <a:tabLst/>
                      </a:pPr>
                      <a:r>
                        <a:rPr kumimoji="0" lang="en-US" sz="1100" b="0" i="0" u="none" strike="noStrike" kern="1200" cap="none" normalizeH="0" baseline="0" dirty="0">
                          <a:ln>
                            <a:noFill/>
                          </a:ln>
                          <a:solidFill>
                            <a:schemeClr val="bg2"/>
                          </a:solidFill>
                          <a:effectLst/>
                          <a:latin typeface="Arial" pitchFamily="34" charset="0"/>
                          <a:ea typeface="ＭＳ Ｐゴシック"/>
                          <a:cs typeface="+mn-cs"/>
                        </a:rPr>
                        <a:t>Simple and easy to use API</a:t>
                      </a:r>
                    </a:p>
                    <a:p>
                      <a:pPr marL="593491" marR="0" lvl="1" indent="-171450" algn="l" defTabSz="914400" rtl="0" eaLnBrk="1" fontAlgn="base" latinLnBrk="0" hangingPunct="1">
                        <a:lnSpc>
                          <a:spcPct val="93000"/>
                        </a:lnSpc>
                        <a:spcBef>
                          <a:spcPts val="300"/>
                        </a:spcBef>
                        <a:spcAft>
                          <a:spcPct val="0"/>
                        </a:spcAft>
                        <a:buClrTx/>
                        <a:buSzPct val="100000"/>
                        <a:buFont typeface="Wingdings" pitchFamily="2" charset="2"/>
                        <a:buChar char="ü"/>
                        <a:tabLst/>
                      </a:pPr>
                      <a:r>
                        <a:rPr kumimoji="0" lang="en-US" sz="1100" b="0" i="0" u="none" strike="noStrike" kern="1200" cap="none" normalizeH="0" baseline="0" dirty="0">
                          <a:ln>
                            <a:noFill/>
                          </a:ln>
                          <a:solidFill>
                            <a:schemeClr val="bg2"/>
                          </a:solidFill>
                          <a:effectLst/>
                          <a:latin typeface="Arial" pitchFamily="34" charset="0"/>
                          <a:ea typeface="ＭＳ Ｐゴシック"/>
                          <a:cs typeface="+mn-cs"/>
                        </a:rPr>
                        <a:t>APIs are accessible</a:t>
                      </a:r>
                    </a:p>
                    <a:p>
                      <a:pPr marL="593491" marR="0" lvl="1" indent="-171450" algn="l" defTabSz="914400" rtl="0" eaLnBrk="1" fontAlgn="base" latinLnBrk="0" hangingPunct="1">
                        <a:lnSpc>
                          <a:spcPct val="93000"/>
                        </a:lnSpc>
                        <a:spcBef>
                          <a:spcPts val="300"/>
                        </a:spcBef>
                        <a:spcAft>
                          <a:spcPct val="0"/>
                        </a:spcAft>
                        <a:buClrTx/>
                        <a:buSzPct val="100000"/>
                        <a:buFont typeface="Wingdings" pitchFamily="2" charset="2"/>
                        <a:buChar char="ü"/>
                        <a:tabLst/>
                      </a:pPr>
                      <a:r>
                        <a:rPr kumimoji="0" lang="en-US" sz="1100" b="0" i="0" u="none" strike="noStrike" kern="1200" cap="none" normalizeH="0" baseline="0" dirty="0">
                          <a:ln>
                            <a:noFill/>
                          </a:ln>
                          <a:solidFill>
                            <a:schemeClr val="bg2"/>
                          </a:solidFill>
                          <a:effectLst/>
                          <a:latin typeface="Arial" pitchFamily="34" charset="0"/>
                          <a:ea typeface="ＭＳ Ｐゴシック"/>
                          <a:cs typeface="+mn-cs"/>
                        </a:rPr>
                        <a:t>Internal service elements and abstract domain models</a:t>
                      </a:r>
                    </a:p>
                    <a:p>
                      <a:pPr marL="593491" marR="0" lvl="1" indent="-171450" algn="l" defTabSz="914400" rtl="0" eaLnBrk="1" fontAlgn="base" latinLnBrk="0" hangingPunct="1">
                        <a:lnSpc>
                          <a:spcPct val="93000"/>
                        </a:lnSpc>
                        <a:spcBef>
                          <a:spcPts val="300"/>
                        </a:spcBef>
                        <a:spcAft>
                          <a:spcPct val="0"/>
                        </a:spcAft>
                        <a:buClrTx/>
                        <a:buSzPct val="100000"/>
                        <a:buFont typeface="Wingdings" pitchFamily="2" charset="2"/>
                        <a:buChar char="ü"/>
                        <a:tabLst/>
                      </a:pPr>
                      <a:r>
                        <a:rPr kumimoji="0" lang="en-US" sz="1100" b="0" i="0" u="none" strike="noStrike" kern="1200" cap="none" normalizeH="0" baseline="0" dirty="0">
                          <a:ln>
                            <a:noFill/>
                          </a:ln>
                          <a:solidFill>
                            <a:schemeClr val="bg2"/>
                          </a:solidFill>
                          <a:effectLst/>
                          <a:latin typeface="Arial" pitchFamily="34" charset="0"/>
                          <a:ea typeface="ＭＳ Ｐゴシック"/>
                          <a:cs typeface="+mn-cs"/>
                        </a:rPr>
                        <a:t>Be consistent: API implementations must be free of variations or contradictions; Bring consistency between APIs by setting clear standards to help consumers with what to expect from the API</a:t>
                      </a:r>
                    </a:p>
                    <a:p>
                      <a:pPr marL="593491" marR="0" lvl="1" indent="-171450" algn="l" defTabSz="914400" rtl="0" eaLnBrk="1" fontAlgn="base" latinLnBrk="0" hangingPunct="1">
                        <a:lnSpc>
                          <a:spcPct val="93000"/>
                        </a:lnSpc>
                        <a:spcBef>
                          <a:spcPts val="300"/>
                        </a:spcBef>
                        <a:spcAft>
                          <a:spcPct val="0"/>
                        </a:spcAft>
                        <a:buClrTx/>
                        <a:buSzPct val="100000"/>
                        <a:buFont typeface="Wingdings" pitchFamily="2" charset="2"/>
                        <a:buChar char="ü"/>
                        <a:tabLst/>
                      </a:pPr>
                      <a:r>
                        <a:rPr kumimoji="0" lang="en-US" sz="1100" b="0" i="0" u="none" strike="noStrike" kern="1200" cap="none" normalizeH="0" baseline="0" dirty="0">
                          <a:ln>
                            <a:noFill/>
                          </a:ln>
                          <a:solidFill>
                            <a:schemeClr val="bg2"/>
                          </a:solidFill>
                          <a:effectLst/>
                          <a:latin typeface="Arial" pitchFamily="34" charset="0"/>
                          <a:ea typeface="ＭＳ Ｐゴシック"/>
                          <a:cs typeface="+mn-cs"/>
                        </a:rPr>
                        <a:t>Implement the standard pattern</a:t>
                      </a:r>
                    </a:p>
                    <a:p>
                      <a:pPr marL="593491" marR="0" lvl="1" indent="-171450" algn="l" defTabSz="914400" rtl="0" eaLnBrk="1" fontAlgn="base" latinLnBrk="0" hangingPunct="1">
                        <a:lnSpc>
                          <a:spcPct val="93000"/>
                        </a:lnSpc>
                        <a:spcBef>
                          <a:spcPts val="300"/>
                        </a:spcBef>
                        <a:spcAft>
                          <a:spcPct val="0"/>
                        </a:spcAft>
                        <a:buClrTx/>
                        <a:buSzPct val="100000"/>
                        <a:buFont typeface="Wingdings" pitchFamily="2" charset="2"/>
                        <a:buChar char="ü"/>
                        <a:tabLst/>
                      </a:pPr>
                      <a:r>
                        <a:rPr kumimoji="0" lang="en-US" sz="1100" b="0" i="0" u="none" strike="noStrike" kern="1200" cap="none" normalizeH="0" baseline="0" dirty="0">
                          <a:ln>
                            <a:noFill/>
                          </a:ln>
                          <a:solidFill>
                            <a:schemeClr val="bg2"/>
                          </a:solidFill>
                          <a:effectLst/>
                          <a:latin typeface="Arial" pitchFamily="34" charset="0"/>
                          <a:ea typeface="ＭＳ Ｐゴシック"/>
                          <a:cs typeface="+mn-cs"/>
                        </a:rPr>
                        <a:t>Standard terminology: follow standard and significant elements</a:t>
                      </a:r>
                    </a:p>
                    <a:p>
                      <a:pPr marL="593491" marR="0" lvl="1" indent="-171450" algn="l" defTabSz="914400" rtl="0" eaLnBrk="1" fontAlgn="base" latinLnBrk="0" hangingPunct="1">
                        <a:lnSpc>
                          <a:spcPct val="93000"/>
                        </a:lnSpc>
                        <a:spcBef>
                          <a:spcPts val="300"/>
                        </a:spcBef>
                        <a:spcAft>
                          <a:spcPct val="0"/>
                        </a:spcAft>
                        <a:buClrTx/>
                        <a:buSzPct val="100000"/>
                        <a:buFont typeface="Wingdings" pitchFamily="2" charset="2"/>
                        <a:buChar char="ü"/>
                        <a:tabLst/>
                      </a:pPr>
                      <a:r>
                        <a:rPr kumimoji="0" lang="en-US" sz="1100" b="0" i="0" u="none" strike="noStrike" kern="1200" cap="none" normalizeH="0" baseline="0" dirty="0">
                          <a:ln>
                            <a:noFill/>
                          </a:ln>
                          <a:solidFill>
                            <a:schemeClr val="bg2"/>
                          </a:solidFill>
                          <a:effectLst/>
                          <a:latin typeface="Arial" pitchFamily="34" charset="0"/>
                          <a:ea typeface="ＭＳ Ｐゴシック"/>
                          <a:cs typeface="+mn-cs"/>
                        </a:rPr>
                        <a:t>flexible: APIs are flexible to accept contributions from customers</a:t>
                      </a:r>
                    </a:p>
                    <a:p>
                      <a:pPr marL="593491" marR="0" lvl="1" indent="-171450" algn="l" defTabSz="914400" rtl="0" eaLnBrk="1" fontAlgn="base" latinLnBrk="0" hangingPunct="1">
                        <a:lnSpc>
                          <a:spcPct val="93000"/>
                        </a:lnSpc>
                        <a:spcBef>
                          <a:spcPts val="300"/>
                        </a:spcBef>
                        <a:spcAft>
                          <a:spcPct val="0"/>
                        </a:spcAft>
                        <a:buClrTx/>
                        <a:buSzPct val="100000"/>
                        <a:buFont typeface="Wingdings" pitchFamily="2" charset="2"/>
                        <a:buChar char="ü"/>
                        <a:tabLst/>
                      </a:pPr>
                      <a:r>
                        <a:rPr kumimoji="0" lang="en-US" sz="1100" b="0" i="0" u="none" strike="noStrike" kern="1200" cap="none" normalizeH="0" baseline="0" dirty="0">
                          <a:ln>
                            <a:noFill/>
                          </a:ln>
                          <a:solidFill>
                            <a:schemeClr val="bg2"/>
                          </a:solidFill>
                          <a:effectLst/>
                          <a:latin typeface="Arial" pitchFamily="34" charset="0"/>
                          <a:ea typeface="ＭＳ Ｐゴシック"/>
                          <a:cs typeface="+mn-cs"/>
                        </a:rPr>
                        <a:t>Clear identifier for errors and error messages</a:t>
                      </a:r>
                    </a:p>
                    <a:p>
                      <a:pPr marL="593491" marR="0" lvl="1" indent="-171450" algn="l" defTabSz="914400" rtl="0" eaLnBrk="1" fontAlgn="base" latinLnBrk="0" hangingPunct="1">
                        <a:lnSpc>
                          <a:spcPct val="93000"/>
                        </a:lnSpc>
                        <a:spcBef>
                          <a:spcPts val="300"/>
                        </a:spcBef>
                        <a:spcAft>
                          <a:spcPct val="0"/>
                        </a:spcAft>
                        <a:buClrTx/>
                        <a:buSzPct val="100000"/>
                        <a:buFont typeface="Wingdings" pitchFamily="2" charset="2"/>
                        <a:buChar char="ü"/>
                        <a:tabLst/>
                      </a:pPr>
                      <a:r>
                        <a:rPr kumimoji="0" lang="en-US" sz="1100" b="0" i="0" u="none" strike="noStrike" kern="1200" cap="none" normalizeH="0" baseline="0" dirty="0">
                          <a:ln>
                            <a:noFill/>
                          </a:ln>
                          <a:solidFill>
                            <a:schemeClr val="bg2"/>
                          </a:solidFill>
                          <a:effectLst/>
                          <a:latin typeface="Arial" pitchFamily="34" charset="0"/>
                          <a:ea typeface="ＭＳ Ｐゴシック"/>
                          <a:cs typeface="+mn-cs"/>
                        </a:rPr>
                        <a:t>Documentation: APIs can be discovered and documented, so it is essential to publish the API documentation</a:t>
                      </a:r>
                    </a:p>
                    <a:p>
                      <a:pPr marL="593491" marR="0" lvl="1" indent="-171450" algn="l" defTabSz="914400" rtl="0" eaLnBrk="1" fontAlgn="base" latinLnBrk="0" hangingPunct="1">
                        <a:lnSpc>
                          <a:spcPct val="93000"/>
                        </a:lnSpc>
                        <a:spcBef>
                          <a:spcPts val="300"/>
                        </a:spcBef>
                        <a:spcAft>
                          <a:spcPct val="0"/>
                        </a:spcAft>
                        <a:buClrTx/>
                        <a:buSzPct val="100000"/>
                        <a:buFont typeface="Wingdings" pitchFamily="2" charset="2"/>
                        <a:buChar char="ü"/>
                        <a:tabLst/>
                      </a:pPr>
                      <a:r>
                        <a:rPr kumimoji="0" lang="en-US" sz="1100" b="0" i="0" u="none" strike="noStrike" kern="1200" cap="none" normalizeH="0" baseline="0" dirty="0">
                          <a:ln>
                            <a:noFill/>
                          </a:ln>
                          <a:solidFill>
                            <a:schemeClr val="bg2"/>
                          </a:solidFill>
                          <a:effectLst/>
                          <a:latin typeface="Arial" pitchFamily="34" charset="0"/>
                          <a:ea typeface="ＭＳ Ｐゴシック"/>
                          <a:cs typeface="+mn-cs"/>
                        </a:rPr>
                        <a:t>Provide feedback and support mechanism for API users</a:t>
                      </a:r>
                    </a:p>
                  </a:txBody>
                  <a:tcPr marL="90000" marR="90000" marT="46843" marB="46843"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1513696539"/>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tangle 3">
            <a:extLst>
              <a:ext uri="{FF2B5EF4-FFF2-40B4-BE49-F238E27FC236}">
                <a16:creationId xmlns:a16="http://schemas.microsoft.com/office/drawing/2014/main" id="{A27FD23C-A522-0E4F-B70C-CC83BC4542BA}"/>
              </a:ext>
            </a:extLst>
          </p:cNvPr>
          <p:cNvSpPr txBox="1"/>
          <p:nvPr/>
        </p:nvSpPr>
        <p:spPr>
          <a:xfrm>
            <a:off x="404808" y="237462"/>
            <a:ext cx="7585857" cy="400105"/>
          </a:xfrm>
          <a:prstGeom prst="rect">
            <a:avLst/>
          </a:prstGeom>
          <a:ln w="12700">
            <a:miter lim="400000"/>
          </a:ln>
          <a:extLst>
            <a:ext uri="{C572A759-6A51-4108-AA02-DFA0A04FC94B}">
              <ma14:wrappingTextBoxFlag xmlns:ma14="http://schemas.microsoft.com/office/mac/drawingml/2011/main" xmlns="" val="1"/>
            </a:ext>
          </a:extLst>
        </p:spPr>
        <p:txBody>
          <a:bodyPr wrap="square" lIns="45718" tIns="45718" rIns="45718" bIns="45718">
            <a:spAutoFit/>
          </a:bodyPr>
          <a:lstStyle>
            <a:lvl1pPr algn="l" defTabSz="914400">
              <a:defRPr sz="2200" b="1">
                <a:solidFill>
                  <a:srgbClr val="FFFFFF"/>
                </a:solidFill>
                <a:latin typeface="Arial"/>
                <a:ea typeface="Arial"/>
                <a:cs typeface="Arial"/>
                <a:sym typeface="Arial"/>
              </a:defRPr>
            </a:lvl1pPr>
          </a:lstStyle>
          <a:p>
            <a:r>
              <a:rPr lang="en-US" sz="2000" dirty="0">
                <a:solidFill>
                  <a:srgbClr val="016AA2"/>
                </a:solidFill>
              </a:rPr>
              <a:t>Standards, Patterns and Decisions of Architecture (III)</a:t>
            </a:r>
          </a:p>
        </p:txBody>
      </p:sp>
      <p:sp>
        <p:nvSpPr>
          <p:cNvPr id="65" name="Rectangle 3"/>
          <p:cNvSpPr txBox="1"/>
          <p:nvPr/>
        </p:nvSpPr>
        <p:spPr>
          <a:xfrm>
            <a:off x="404807" y="680165"/>
            <a:ext cx="7153461" cy="369328"/>
          </a:xfrm>
          <a:prstGeom prst="rect">
            <a:avLst/>
          </a:prstGeom>
          <a:ln w="12700">
            <a:miter lim="400000"/>
          </a:ln>
          <a:extLst>
            <a:ext uri="{C572A759-6A51-4108-AA02-DFA0A04FC94B}">
              <ma14:wrappingTextBoxFlag xmlns="" xmlns:ma14="http://schemas.microsoft.com/office/mac/drawingml/2011/main" val="1"/>
            </a:ext>
          </a:extLst>
        </p:spPr>
        <p:txBody>
          <a:bodyPr wrap="square" lIns="45718" tIns="45718" rIns="45718" bIns="45718">
            <a:spAutoFit/>
          </a:bodyPr>
          <a:lstStyle>
            <a:lvl1pPr algn="l" defTabSz="914400">
              <a:defRPr sz="2000">
                <a:solidFill>
                  <a:srgbClr val="104D6A"/>
                </a:solidFill>
                <a:latin typeface="Arial"/>
                <a:ea typeface="Arial"/>
                <a:cs typeface="Arial"/>
                <a:sym typeface="Arial"/>
              </a:defRPr>
            </a:lvl1pPr>
          </a:lstStyle>
          <a:p>
            <a:pPr>
              <a:defRPr/>
            </a:pPr>
            <a:r>
              <a:rPr lang="en-US" sz="1800" b="1" dirty="0">
                <a:solidFill>
                  <a:srgbClr val="73C4EF"/>
                </a:solidFill>
              </a:rPr>
              <a:t>Architecture Decisions</a:t>
            </a:r>
          </a:p>
        </p:txBody>
      </p:sp>
      <p:graphicFrame>
        <p:nvGraphicFramePr>
          <p:cNvPr id="5" name="Group 4">
            <a:extLst>
              <a:ext uri="{FF2B5EF4-FFF2-40B4-BE49-F238E27FC236}">
                <a16:creationId xmlns:a16="http://schemas.microsoft.com/office/drawing/2014/main" id="{1CADC336-840A-7245-A2C2-E53A516EA300}"/>
              </a:ext>
            </a:extLst>
          </p:cNvPr>
          <p:cNvGraphicFramePr>
            <a:graphicFrameLocks/>
          </p:cNvGraphicFramePr>
          <p:nvPr>
            <p:extLst>
              <p:ext uri="{D42A27DB-BD31-4B8C-83A1-F6EECF244321}">
                <p14:modId xmlns:p14="http://schemas.microsoft.com/office/powerpoint/2010/main" val="641618828"/>
              </p:ext>
            </p:extLst>
          </p:nvPr>
        </p:nvGraphicFramePr>
        <p:xfrm>
          <a:off x="671512" y="1141222"/>
          <a:ext cx="10636954" cy="2034043"/>
        </p:xfrm>
        <a:graphic>
          <a:graphicData uri="http://schemas.openxmlformats.org/drawingml/2006/table">
            <a:tbl>
              <a:tblPr/>
              <a:tblGrid>
                <a:gridCol w="2559937">
                  <a:extLst>
                    <a:ext uri="{9D8B030D-6E8A-4147-A177-3AD203B41FA5}">
                      <a16:colId xmlns:a16="http://schemas.microsoft.com/office/drawing/2014/main" val="20000"/>
                    </a:ext>
                  </a:extLst>
                </a:gridCol>
                <a:gridCol w="2980804">
                  <a:extLst>
                    <a:ext uri="{9D8B030D-6E8A-4147-A177-3AD203B41FA5}">
                      <a16:colId xmlns:a16="http://schemas.microsoft.com/office/drawing/2014/main" val="20001"/>
                    </a:ext>
                  </a:extLst>
                </a:gridCol>
                <a:gridCol w="5096213">
                  <a:extLst>
                    <a:ext uri="{9D8B030D-6E8A-4147-A177-3AD203B41FA5}">
                      <a16:colId xmlns:a16="http://schemas.microsoft.com/office/drawing/2014/main" val="20002"/>
                    </a:ext>
                  </a:extLst>
                </a:gridCol>
              </a:tblGrid>
              <a:tr h="428731">
                <a:tc>
                  <a:txBody>
                    <a:bodyPr/>
                    <a:lstStyle/>
                    <a:p>
                      <a:pPr marL="0" marR="0" lvl="0" indent="0" algn="ctr" defTabSz="914400" rtl="0" eaLnBrk="1" fontAlgn="base" latinLnBrk="0" hangingPunct="1">
                        <a:lnSpc>
                          <a:spcPct val="100000"/>
                        </a:lnSpc>
                        <a:spcBef>
                          <a:spcPct val="0"/>
                        </a:spcBef>
                        <a:spcAft>
                          <a:spcPct val="0"/>
                        </a:spcAft>
                        <a:buClr>
                          <a:schemeClr val="bg1"/>
                        </a:buClr>
                        <a:buSzPct val="25000"/>
                        <a:buFont typeface="Times" pitchFamily="18" charset="0"/>
                        <a:buNone/>
                        <a:tabLst/>
                      </a:pPr>
                      <a:r>
                        <a:rPr kumimoji="0" lang="es-ES" sz="1200" b="1" i="0" u="none" strike="noStrike" cap="none" normalizeH="0" baseline="0" dirty="0">
                          <a:ln>
                            <a:noFill/>
                          </a:ln>
                          <a:solidFill>
                            <a:schemeClr val="bg1"/>
                          </a:solidFill>
                          <a:effectLst/>
                          <a:latin typeface="Arial" charset="0"/>
                        </a:rPr>
                        <a:t>Decisión</a:t>
                      </a:r>
                    </a:p>
                  </a:txBody>
                  <a:tcPr marL="90000" marR="90000" marT="46798" marB="46798"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0067B7"/>
                    </a:solidFill>
                  </a:tcPr>
                </a:tc>
                <a:tc>
                  <a:txBody>
                    <a:bodyPr/>
                    <a:lstStyle/>
                    <a:p>
                      <a:pPr marL="0" marR="0" lvl="0" indent="0" algn="ctr" defTabSz="914400" rtl="0" eaLnBrk="1" fontAlgn="base" latinLnBrk="0" hangingPunct="1">
                        <a:lnSpc>
                          <a:spcPct val="100000"/>
                        </a:lnSpc>
                        <a:spcBef>
                          <a:spcPct val="0"/>
                        </a:spcBef>
                        <a:spcAft>
                          <a:spcPct val="0"/>
                        </a:spcAft>
                        <a:buClr>
                          <a:schemeClr val="bg1"/>
                        </a:buClr>
                        <a:buSzPct val="25000"/>
                        <a:buFont typeface="Times" pitchFamily="18" charset="0"/>
                        <a:buNone/>
                        <a:tabLst/>
                      </a:pPr>
                      <a:r>
                        <a:rPr kumimoji="0" lang="es-ES" sz="1200" b="1" i="0" u="none" strike="noStrike" cap="none" normalizeH="0" baseline="0" dirty="0">
                          <a:ln>
                            <a:noFill/>
                          </a:ln>
                          <a:solidFill>
                            <a:schemeClr val="bg1"/>
                          </a:solidFill>
                          <a:effectLst/>
                          <a:latin typeface="Arial" charset="0"/>
                        </a:rPr>
                        <a:t>Premisas</a:t>
                      </a:r>
                    </a:p>
                  </a:txBody>
                  <a:tcPr marL="90000" marR="90000" marT="46798" marB="46798"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0067B7"/>
                    </a:solidFill>
                  </a:tcPr>
                </a:tc>
                <a:tc>
                  <a:txBody>
                    <a:bodyPr/>
                    <a:lstStyle/>
                    <a:p>
                      <a:pPr marL="0" marR="0" lvl="0" indent="0" algn="ctr" defTabSz="914400" rtl="0" eaLnBrk="1" fontAlgn="base" latinLnBrk="0" hangingPunct="1">
                        <a:lnSpc>
                          <a:spcPct val="100000"/>
                        </a:lnSpc>
                        <a:spcBef>
                          <a:spcPct val="0"/>
                        </a:spcBef>
                        <a:spcAft>
                          <a:spcPct val="0"/>
                        </a:spcAft>
                        <a:buClr>
                          <a:schemeClr val="bg1"/>
                        </a:buClr>
                        <a:buSzPct val="25000"/>
                        <a:buFont typeface="Times" pitchFamily="18" charset="0"/>
                        <a:buNone/>
                        <a:tabLst/>
                      </a:pPr>
                      <a:r>
                        <a:rPr kumimoji="0" lang="es-ES" sz="1200" b="1" i="0" u="none" strike="noStrike" cap="none" normalizeH="0" baseline="0" dirty="0">
                          <a:ln>
                            <a:noFill/>
                          </a:ln>
                          <a:solidFill>
                            <a:schemeClr val="bg1"/>
                          </a:solidFill>
                          <a:effectLst/>
                          <a:latin typeface="Arial" charset="0"/>
                        </a:rPr>
                        <a:t>Razonamiento de la Decisión</a:t>
                      </a:r>
                    </a:p>
                  </a:txBody>
                  <a:tcPr marL="90000" marR="90000" marT="46798" marB="46798"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0067B7"/>
                    </a:solidFill>
                  </a:tcPr>
                </a:tc>
                <a:extLst>
                  <a:ext uri="{0D108BD9-81ED-4DB2-BD59-A6C34878D82A}">
                    <a16:rowId xmlns:a16="http://schemas.microsoft.com/office/drawing/2014/main" val="10000"/>
                  </a:ext>
                </a:extLst>
              </a:tr>
              <a:tr h="1029365">
                <a:tc>
                  <a:txBody>
                    <a:bodyPr/>
                    <a:lstStyle/>
                    <a:p>
                      <a:pPr marL="0" marR="0" lvl="0" indent="0" algn="l" defTabSz="914400" rtl="0" eaLnBrk="1" fontAlgn="base" latinLnBrk="0" hangingPunct="1">
                        <a:lnSpc>
                          <a:spcPct val="93000"/>
                        </a:lnSpc>
                        <a:spcBef>
                          <a:spcPts val="300"/>
                        </a:spcBef>
                        <a:spcAft>
                          <a:spcPct val="0"/>
                        </a:spcAft>
                        <a:buClrTx/>
                        <a:buSzPct val="25000"/>
                        <a:buFontTx/>
                        <a:buNone/>
                        <a:tabLst/>
                        <a:defRPr/>
                      </a:pPr>
                      <a:endParaRPr kumimoji="0" lang="es-MX" sz="1100" b="0" i="0" u="none" strike="noStrike" kern="1200" cap="none" normalizeH="0" baseline="0" dirty="0">
                        <a:ln>
                          <a:noFill/>
                        </a:ln>
                        <a:solidFill>
                          <a:schemeClr val="bg2"/>
                        </a:solidFill>
                        <a:effectLst/>
                        <a:latin typeface="Arial" pitchFamily="34" charset="0"/>
                        <a:ea typeface="ＭＳ Ｐゴシック"/>
                        <a:cs typeface="ＭＳ Ｐゴシック"/>
                      </a:endParaRPr>
                    </a:p>
                  </a:txBody>
                  <a:tcPr marL="90000" marR="90000" marT="46843" marB="46843"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93000"/>
                        </a:lnSpc>
                        <a:spcBef>
                          <a:spcPts val="300"/>
                        </a:spcBef>
                        <a:spcAft>
                          <a:spcPct val="0"/>
                        </a:spcAft>
                        <a:buClrTx/>
                        <a:buSzPct val="25000"/>
                        <a:buFontTx/>
                        <a:buNone/>
                        <a:tabLst/>
                      </a:pPr>
                      <a:endParaRPr kumimoji="0" lang="es-MX" sz="1100" b="0" i="0" u="none" strike="noStrike" kern="1200" cap="none" normalizeH="0" baseline="0" dirty="0">
                        <a:ln>
                          <a:noFill/>
                        </a:ln>
                        <a:solidFill>
                          <a:schemeClr val="bg2"/>
                        </a:solidFill>
                        <a:effectLst/>
                        <a:latin typeface="Arial" pitchFamily="34" charset="0"/>
                        <a:ea typeface="ＭＳ Ｐゴシック"/>
                        <a:cs typeface="ＭＳ Ｐゴシック"/>
                      </a:endParaRPr>
                    </a:p>
                  </a:txBody>
                  <a:tcPr marL="90000" marR="90000" marT="46843" marB="46843"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171450" marR="0" lvl="0" indent="-171450" algn="l" defTabSz="914400" rtl="0" eaLnBrk="1" fontAlgn="base" latinLnBrk="0" hangingPunct="1">
                        <a:lnSpc>
                          <a:spcPct val="93000"/>
                        </a:lnSpc>
                        <a:spcBef>
                          <a:spcPts val="300"/>
                        </a:spcBef>
                        <a:spcAft>
                          <a:spcPct val="0"/>
                        </a:spcAft>
                        <a:buClrTx/>
                        <a:buSzPct val="100000"/>
                        <a:buFont typeface="Arial" panose="020B0604020202020204" pitchFamily="34" charset="0"/>
                        <a:buChar char="•"/>
                        <a:tabLst/>
                      </a:pPr>
                      <a:endParaRPr kumimoji="0" lang="es-MX" sz="1100" b="0" i="0" u="none" strike="noStrike" kern="1200" cap="none" normalizeH="0" baseline="0" dirty="0">
                        <a:ln>
                          <a:noFill/>
                        </a:ln>
                        <a:solidFill>
                          <a:schemeClr val="bg2"/>
                        </a:solidFill>
                        <a:effectLst/>
                        <a:latin typeface="Arial" pitchFamily="34" charset="0"/>
                        <a:ea typeface="ＭＳ Ｐゴシック"/>
                        <a:cs typeface="ＭＳ Ｐゴシック"/>
                      </a:endParaRPr>
                    </a:p>
                  </a:txBody>
                  <a:tcPr marL="90000" marR="90000" marT="46843" marB="46843"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575947">
                <a:tc>
                  <a:txBody>
                    <a:bodyPr/>
                    <a:lstStyle/>
                    <a:p>
                      <a:pPr marL="0" marR="0" lvl="0" indent="0" algn="l" defTabSz="914400" rtl="0" eaLnBrk="1" fontAlgn="base" latinLnBrk="0" hangingPunct="1">
                        <a:lnSpc>
                          <a:spcPct val="93000"/>
                        </a:lnSpc>
                        <a:spcBef>
                          <a:spcPts val="300"/>
                        </a:spcBef>
                        <a:spcAft>
                          <a:spcPct val="0"/>
                        </a:spcAft>
                        <a:buClrTx/>
                        <a:buSzPct val="25000"/>
                        <a:buFontTx/>
                        <a:buNone/>
                        <a:tabLst/>
                        <a:defRPr/>
                      </a:pPr>
                      <a:endParaRPr kumimoji="0" lang="es-MX" sz="1100" b="0" i="0" u="none" strike="noStrike" kern="1200" cap="none" normalizeH="0" baseline="0" dirty="0">
                        <a:ln>
                          <a:noFill/>
                        </a:ln>
                        <a:solidFill>
                          <a:schemeClr val="bg2"/>
                        </a:solidFill>
                        <a:effectLst/>
                        <a:latin typeface="Arial" pitchFamily="34" charset="0"/>
                        <a:ea typeface="ＭＳ Ｐゴシック"/>
                        <a:cs typeface="ＭＳ Ｐゴシック"/>
                      </a:endParaRPr>
                    </a:p>
                  </a:txBody>
                  <a:tcPr marL="90000" marR="90000" marT="46843" marB="46843"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93000"/>
                        </a:lnSpc>
                        <a:spcBef>
                          <a:spcPts val="300"/>
                        </a:spcBef>
                        <a:spcAft>
                          <a:spcPct val="0"/>
                        </a:spcAft>
                        <a:buClrTx/>
                        <a:buSzPct val="25000"/>
                        <a:buFontTx/>
                        <a:buNone/>
                        <a:tabLst/>
                        <a:defRPr/>
                      </a:pPr>
                      <a:endParaRPr kumimoji="0" lang="es-MX" sz="1100" b="0" i="0" u="none" strike="noStrike" kern="1200" cap="none" normalizeH="0" baseline="0" dirty="0">
                        <a:ln>
                          <a:noFill/>
                        </a:ln>
                        <a:solidFill>
                          <a:schemeClr val="bg2"/>
                        </a:solidFill>
                        <a:effectLst/>
                        <a:latin typeface="Arial" pitchFamily="34" charset="0"/>
                        <a:ea typeface="ＭＳ Ｐゴシック"/>
                        <a:cs typeface="+mn-cs"/>
                      </a:endParaRPr>
                    </a:p>
                  </a:txBody>
                  <a:tcPr marL="90000" marR="90000" marT="46843" marB="46843"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171450" marR="0" lvl="0" indent="-171450" algn="l" defTabSz="914400" rtl="0" eaLnBrk="1" fontAlgn="base" latinLnBrk="0" hangingPunct="1">
                        <a:lnSpc>
                          <a:spcPct val="93000"/>
                        </a:lnSpc>
                        <a:spcBef>
                          <a:spcPts val="300"/>
                        </a:spcBef>
                        <a:spcAft>
                          <a:spcPct val="0"/>
                        </a:spcAft>
                        <a:buClrTx/>
                        <a:buSzPct val="100000"/>
                        <a:buFont typeface="Arial" panose="020B0604020202020204" pitchFamily="34" charset="0"/>
                        <a:buChar char="•"/>
                        <a:tabLst/>
                      </a:pPr>
                      <a:endParaRPr kumimoji="0" lang="en-US" sz="1100" b="0" i="0" u="none" strike="noStrike" kern="1200" cap="none" normalizeH="0" baseline="0" dirty="0">
                        <a:ln>
                          <a:noFill/>
                        </a:ln>
                        <a:solidFill>
                          <a:schemeClr val="bg2"/>
                        </a:solidFill>
                        <a:effectLst/>
                        <a:latin typeface="Arial" pitchFamily="34" charset="0"/>
                        <a:ea typeface="ＭＳ Ｐゴシック"/>
                        <a:cs typeface="+mn-cs"/>
                      </a:endParaRPr>
                    </a:p>
                  </a:txBody>
                  <a:tcPr marL="90000" marR="90000" marT="46843" marB="46843"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1578934391"/>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tangle 3">
            <a:extLst>
              <a:ext uri="{FF2B5EF4-FFF2-40B4-BE49-F238E27FC236}">
                <a16:creationId xmlns:a16="http://schemas.microsoft.com/office/drawing/2014/main" id="{A27FD23C-A522-0E4F-B70C-CC83BC4542BA}"/>
              </a:ext>
            </a:extLst>
          </p:cNvPr>
          <p:cNvSpPr txBox="1"/>
          <p:nvPr/>
        </p:nvSpPr>
        <p:spPr>
          <a:xfrm>
            <a:off x="404808" y="237462"/>
            <a:ext cx="7585857" cy="400105"/>
          </a:xfrm>
          <a:prstGeom prst="rect">
            <a:avLst/>
          </a:prstGeom>
          <a:ln w="12700">
            <a:miter lim="400000"/>
          </a:ln>
          <a:extLst>
            <a:ext uri="{C572A759-6A51-4108-AA02-DFA0A04FC94B}">
              <ma14:wrappingTextBoxFlag xmlns:ma14="http://schemas.microsoft.com/office/mac/drawingml/2011/main" xmlns="" val="1"/>
            </a:ext>
          </a:extLst>
        </p:spPr>
        <p:txBody>
          <a:bodyPr wrap="square" lIns="45718" tIns="45718" rIns="45718" bIns="45718">
            <a:spAutoFit/>
          </a:bodyPr>
          <a:lstStyle>
            <a:lvl1pPr algn="l" defTabSz="914400">
              <a:defRPr sz="2200" b="1">
                <a:solidFill>
                  <a:srgbClr val="FFFFFF"/>
                </a:solidFill>
                <a:latin typeface="Arial"/>
                <a:ea typeface="Arial"/>
                <a:cs typeface="Arial"/>
                <a:sym typeface="Arial"/>
              </a:defRPr>
            </a:lvl1pPr>
          </a:lstStyle>
          <a:p>
            <a:r>
              <a:rPr lang="en-US" sz="2000" dirty="0">
                <a:solidFill>
                  <a:srgbClr val="016AA2"/>
                </a:solidFill>
              </a:rPr>
              <a:t>Standards, Patterns and Decisions of Architecture (III)</a:t>
            </a:r>
          </a:p>
        </p:txBody>
      </p:sp>
      <p:sp>
        <p:nvSpPr>
          <p:cNvPr id="65" name="Rectangle 3"/>
          <p:cNvSpPr txBox="1"/>
          <p:nvPr/>
        </p:nvSpPr>
        <p:spPr>
          <a:xfrm>
            <a:off x="404807" y="725885"/>
            <a:ext cx="7153461" cy="369328"/>
          </a:xfrm>
          <a:prstGeom prst="rect">
            <a:avLst/>
          </a:prstGeom>
          <a:ln w="12700">
            <a:miter lim="400000"/>
          </a:ln>
          <a:extLst>
            <a:ext uri="{C572A759-6A51-4108-AA02-DFA0A04FC94B}">
              <ma14:wrappingTextBoxFlag xmlns="" xmlns:ma14="http://schemas.microsoft.com/office/mac/drawingml/2011/main" val="1"/>
            </a:ext>
          </a:extLst>
        </p:spPr>
        <p:txBody>
          <a:bodyPr wrap="square" lIns="45718" tIns="45718" rIns="45718" bIns="45718">
            <a:spAutoFit/>
          </a:bodyPr>
          <a:lstStyle>
            <a:lvl1pPr algn="l" defTabSz="914400">
              <a:defRPr sz="2000">
                <a:solidFill>
                  <a:srgbClr val="104D6A"/>
                </a:solidFill>
                <a:latin typeface="Arial"/>
                <a:ea typeface="Arial"/>
                <a:cs typeface="Arial"/>
                <a:sym typeface="Arial"/>
              </a:defRPr>
            </a:lvl1pPr>
          </a:lstStyle>
          <a:p>
            <a:pPr>
              <a:defRPr/>
            </a:pPr>
            <a:r>
              <a:rPr lang="en-US" sz="1800" b="1" dirty="0">
                <a:solidFill>
                  <a:srgbClr val="73C4EF"/>
                </a:solidFill>
              </a:rPr>
              <a:t>Outbuildings</a:t>
            </a:r>
          </a:p>
        </p:txBody>
      </p:sp>
      <p:graphicFrame>
        <p:nvGraphicFramePr>
          <p:cNvPr id="6" name="Group 4">
            <a:extLst>
              <a:ext uri="{FF2B5EF4-FFF2-40B4-BE49-F238E27FC236}">
                <a16:creationId xmlns:a16="http://schemas.microsoft.com/office/drawing/2014/main" id="{4B051D2D-6E03-A14E-93EC-54E87EE83F3D}"/>
              </a:ext>
            </a:extLst>
          </p:cNvPr>
          <p:cNvGraphicFramePr>
            <a:graphicFrameLocks/>
          </p:cNvGraphicFramePr>
          <p:nvPr>
            <p:extLst>
              <p:ext uri="{D42A27DB-BD31-4B8C-83A1-F6EECF244321}">
                <p14:modId xmlns:p14="http://schemas.microsoft.com/office/powerpoint/2010/main" val="3198380808"/>
              </p:ext>
            </p:extLst>
          </p:nvPr>
        </p:nvGraphicFramePr>
        <p:xfrm>
          <a:off x="671510" y="1708150"/>
          <a:ext cx="10822151" cy="2414589"/>
        </p:xfrm>
        <a:graphic>
          <a:graphicData uri="http://schemas.openxmlformats.org/drawingml/2006/table">
            <a:tbl>
              <a:tblPr/>
              <a:tblGrid>
                <a:gridCol w="3025157">
                  <a:extLst>
                    <a:ext uri="{9D8B030D-6E8A-4147-A177-3AD203B41FA5}">
                      <a16:colId xmlns:a16="http://schemas.microsoft.com/office/drawing/2014/main" val="20000"/>
                    </a:ext>
                  </a:extLst>
                </a:gridCol>
                <a:gridCol w="4903323">
                  <a:extLst>
                    <a:ext uri="{9D8B030D-6E8A-4147-A177-3AD203B41FA5}">
                      <a16:colId xmlns:a16="http://schemas.microsoft.com/office/drawing/2014/main" val="20001"/>
                    </a:ext>
                  </a:extLst>
                </a:gridCol>
                <a:gridCol w="2893671">
                  <a:extLst>
                    <a:ext uri="{9D8B030D-6E8A-4147-A177-3AD203B41FA5}">
                      <a16:colId xmlns:a16="http://schemas.microsoft.com/office/drawing/2014/main" val="20002"/>
                    </a:ext>
                  </a:extLst>
                </a:gridCol>
              </a:tblGrid>
              <a:tr h="687900">
                <a:tc>
                  <a:txBody>
                    <a:bodyPr/>
                    <a:lstStyle/>
                    <a:p>
                      <a:pPr marL="0" marR="0" lvl="0" indent="0" algn="ctr" defTabSz="914400" rtl="0" eaLnBrk="1" fontAlgn="base" latinLnBrk="0" hangingPunct="1">
                        <a:lnSpc>
                          <a:spcPct val="100000"/>
                        </a:lnSpc>
                        <a:spcBef>
                          <a:spcPct val="0"/>
                        </a:spcBef>
                        <a:spcAft>
                          <a:spcPct val="0"/>
                        </a:spcAft>
                        <a:buClr>
                          <a:schemeClr val="bg1"/>
                        </a:buClr>
                        <a:buSzPct val="25000"/>
                        <a:buFont typeface="Times" pitchFamily="18" charset="0"/>
                        <a:buNone/>
                        <a:tabLst/>
                      </a:pPr>
                      <a:r>
                        <a:rPr kumimoji="0" lang="es-ES" sz="1200" b="1" i="0" u="none" strike="noStrike" cap="none" normalizeH="0" baseline="0" dirty="0">
                          <a:ln>
                            <a:noFill/>
                          </a:ln>
                          <a:solidFill>
                            <a:schemeClr val="bg1"/>
                          </a:solidFill>
                          <a:effectLst/>
                          <a:latin typeface="Arial" charset="0"/>
                        </a:rPr>
                        <a:t>Dependencia</a:t>
                      </a:r>
                    </a:p>
                  </a:txBody>
                  <a:tcPr marL="90000" marR="90000" marT="46767" marB="46767"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0067B7"/>
                    </a:solidFill>
                  </a:tcPr>
                </a:tc>
                <a:tc>
                  <a:txBody>
                    <a:bodyPr/>
                    <a:lstStyle/>
                    <a:p>
                      <a:pPr marL="0" marR="0" lvl="0" indent="0" algn="ctr" defTabSz="914400" rtl="0" eaLnBrk="1" fontAlgn="base" latinLnBrk="0" hangingPunct="1">
                        <a:lnSpc>
                          <a:spcPct val="100000"/>
                        </a:lnSpc>
                        <a:spcBef>
                          <a:spcPct val="0"/>
                        </a:spcBef>
                        <a:spcAft>
                          <a:spcPct val="0"/>
                        </a:spcAft>
                        <a:buClr>
                          <a:schemeClr val="bg1"/>
                        </a:buClr>
                        <a:buSzPct val="25000"/>
                        <a:buFont typeface="Times" pitchFamily="18" charset="0"/>
                        <a:buNone/>
                        <a:tabLst/>
                      </a:pPr>
                      <a:r>
                        <a:rPr kumimoji="0" lang="es-ES" sz="1200" b="1" i="0" u="none" strike="noStrike" cap="none" normalizeH="0" baseline="0" dirty="0">
                          <a:ln>
                            <a:noFill/>
                          </a:ln>
                          <a:solidFill>
                            <a:schemeClr val="bg1"/>
                          </a:solidFill>
                          <a:effectLst/>
                          <a:latin typeface="Arial" charset="0"/>
                        </a:rPr>
                        <a:t>Componente externo a la solución que impacta </a:t>
                      </a:r>
                    </a:p>
                  </a:txBody>
                  <a:tcPr marL="90000" marR="90000" marT="46767" marB="4676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0067B7"/>
                    </a:solidFill>
                  </a:tcPr>
                </a:tc>
                <a:tc>
                  <a:txBody>
                    <a:bodyPr/>
                    <a:lstStyle/>
                    <a:p>
                      <a:pPr marL="0" marR="0" lvl="0" indent="0" algn="ctr" defTabSz="914400" rtl="0" eaLnBrk="1" fontAlgn="base" latinLnBrk="0" hangingPunct="1">
                        <a:lnSpc>
                          <a:spcPct val="100000"/>
                        </a:lnSpc>
                        <a:spcBef>
                          <a:spcPct val="0"/>
                        </a:spcBef>
                        <a:spcAft>
                          <a:spcPct val="0"/>
                        </a:spcAft>
                        <a:buClr>
                          <a:schemeClr val="bg1"/>
                        </a:buClr>
                        <a:buSzPct val="25000"/>
                        <a:buFont typeface="Times" pitchFamily="18" charset="0"/>
                        <a:buNone/>
                        <a:tabLst/>
                      </a:pPr>
                      <a:r>
                        <a:rPr kumimoji="0" lang="es-ES" sz="1200" b="1" i="0" u="none" strike="noStrike" cap="none" normalizeH="0" baseline="0" dirty="0">
                          <a:ln>
                            <a:noFill/>
                          </a:ln>
                          <a:solidFill>
                            <a:schemeClr val="bg1"/>
                          </a:solidFill>
                          <a:effectLst/>
                          <a:latin typeface="Arial" charset="0"/>
                        </a:rPr>
                        <a:t>Fecha estimada en la que se requiere disponible</a:t>
                      </a:r>
                    </a:p>
                  </a:txBody>
                  <a:tcPr marL="90000" marR="90000" marT="46767" marB="46767"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0067B7"/>
                    </a:solidFill>
                  </a:tcPr>
                </a:tc>
                <a:extLst>
                  <a:ext uri="{0D108BD9-81ED-4DB2-BD59-A6C34878D82A}">
                    <a16:rowId xmlns:a16="http://schemas.microsoft.com/office/drawing/2014/main" val="10000"/>
                  </a:ext>
                </a:extLst>
              </a:tr>
              <a:tr h="575563">
                <a:tc>
                  <a:txBody>
                    <a:bodyPr/>
                    <a:lstStyle/>
                    <a:p>
                      <a:pPr marL="0" marR="0" lvl="0" indent="0" algn="l" defTabSz="914400" rtl="0" eaLnBrk="1" fontAlgn="base" latinLnBrk="0" hangingPunct="1">
                        <a:lnSpc>
                          <a:spcPct val="93000"/>
                        </a:lnSpc>
                        <a:spcBef>
                          <a:spcPts val="300"/>
                        </a:spcBef>
                        <a:spcAft>
                          <a:spcPct val="0"/>
                        </a:spcAft>
                        <a:buClrTx/>
                        <a:buSzPct val="25000"/>
                        <a:buFontTx/>
                        <a:buNone/>
                        <a:tabLst/>
                        <a:defRPr/>
                      </a:pPr>
                      <a:r>
                        <a:rPr kumimoji="0" lang="en-US" sz="1100" b="0" i="0" u="none" strike="noStrike" kern="1200" cap="none" normalizeH="0" baseline="0" dirty="0">
                          <a:ln>
                            <a:noFill/>
                          </a:ln>
                          <a:solidFill>
                            <a:schemeClr val="bg2"/>
                          </a:solidFill>
                          <a:effectLst/>
                          <a:latin typeface="Arial" pitchFamily="34" charset="0"/>
                          <a:ea typeface="ＭＳ Ｐゴシック"/>
                        </a:rPr>
                        <a:t>Not apply</a:t>
                      </a:r>
                      <a:endParaRPr kumimoji="0" lang="es-MX" sz="1100" b="0" i="0" u="none" strike="noStrike" kern="1200" cap="none" normalizeH="0" baseline="0" dirty="0">
                        <a:ln>
                          <a:noFill/>
                        </a:ln>
                        <a:solidFill>
                          <a:schemeClr val="bg2"/>
                        </a:solidFill>
                        <a:effectLst/>
                        <a:latin typeface="Arial" pitchFamily="34" charset="0"/>
                        <a:ea typeface="ＭＳ Ｐゴシック"/>
                        <a:cs typeface="ＭＳ Ｐゴシック"/>
                      </a:endParaRPr>
                    </a:p>
                  </a:txBody>
                  <a:tcPr marL="90000" marR="90000" marT="46812" marB="46812"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93000"/>
                        </a:lnSpc>
                        <a:spcBef>
                          <a:spcPts val="300"/>
                        </a:spcBef>
                        <a:spcAft>
                          <a:spcPct val="0"/>
                        </a:spcAft>
                        <a:buClrTx/>
                        <a:buSzPct val="25000"/>
                        <a:buFontTx/>
                        <a:buNone/>
                        <a:tabLst/>
                        <a:defRPr/>
                      </a:pPr>
                      <a:r>
                        <a:rPr kumimoji="0" lang="en-US" sz="1100" b="0" i="0" u="none" strike="noStrike" kern="1200" cap="none" normalizeH="0" baseline="0" dirty="0">
                          <a:ln>
                            <a:noFill/>
                          </a:ln>
                          <a:solidFill>
                            <a:schemeClr val="bg2"/>
                          </a:solidFill>
                          <a:effectLst/>
                          <a:latin typeface="Arial" pitchFamily="34" charset="0"/>
                          <a:ea typeface="ＭＳ Ｐゴシック"/>
                        </a:rPr>
                        <a:t>Not apply</a:t>
                      </a:r>
                      <a:endParaRPr kumimoji="0" lang="es-MX" sz="1100" b="0" i="0" u="none" strike="noStrike" kern="1200" cap="none" normalizeH="0" baseline="0" dirty="0">
                        <a:ln>
                          <a:noFill/>
                        </a:ln>
                        <a:solidFill>
                          <a:schemeClr val="bg2"/>
                        </a:solidFill>
                        <a:effectLst/>
                        <a:latin typeface="Arial" pitchFamily="34" charset="0"/>
                        <a:ea typeface="ＭＳ Ｐゴシック"/>
                        <a:cs typeface="ＭＳ Ｐゴシック"/>
                      </a:endParaRPr>
                    </a:p>
                  </a:txBody>
                  <a:tcPr marL="90000" marR="90000" marT="46812" marB="46812"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93000"/>
                        </a:lnSpc>
                        <a:spcBef>
                          <a:spcPts val="300"/>
                        </a:spcBef>
                        <a:spcAft>
                          <a:spcPct val="0"/>
                        </a:spcAft>
                        <a:buClrTx/>
                        <a:buSzPct val="25000"/>
                        <a:buFontTx/>
                        <a:buNone/>
                        <a:tabLst/>
                        <a:defRPr/>
                      </a:pPr>
                      <a:r>
                        <a:rPr kumimoji="0" lang="en-US" sz="1100" b="0" i="0" u="none" strike="noStrike" kern="1200" cap="none" normalizeH="0" baseline="0" dirty="0">
                          <a:ln>
                            <a:noFill/>
                          </a:ln>
                          <a:solidFill>
                            <a:schemeClr val="bg2"/>
                          </a:solidFill>
                          <a:effectLst/>
                          <a:latin typeface="Arial" pitchFamily="34" charset="0"/>
                          <a:ea typeface="ＭＳ Ｐゴシック"/>
                        </a:rPr>
                        <a:t>Not apply</a:t>
                      </a:r>
                      <a:endParaRPr kumimoji="0" lang="es-MX" sz="1100" b="0" i="0" u="none" strike="noStrike" kern="1200" cap="none" normalizeH="0" baseline="0" dirty="0">
                        <a:ln>
                          <a:noFill/>
                        </a:ln>
                        <a:solidFill>
                          <a:schemeClr val="bg2"/>
                        </a:solidFill>
                        <a:effectLst/>
                        <a:latin typeface="Arial" pitchFamily="34" charset="0"/>
                        <a:ea typeface="ＭＳ Ｐゴシック"/>
                        <a:cs typeface="ＭＳ Ｐゴシック"/>
                      </a:endParaRPr>
                    </a:p>
                  </a:txBody>
                  <a:tcPr marL="90000" marR="90000" marT="46812" marB="46812"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575563">
                <a:tc>
                  <a:txBody>
                    <a:bodyPr/>
                    <a:lstStyle/>
                    <a:p>
                      <a:pPr marL="0" marR="0" lvl="0" indent="0" algn="l" defTabSz="914400" rtl="0" eaLnBrk="1" fontAlgn="base" latinLnBrk="0" hangingPunct="1">
                        <a:lnSpc>
                          <a:spcPct val="93000"/>
                        </a:lnSpc>
                        <a:spcBef>
                          <a:spcPts val="300"/>
                        </a:spcBef>
                        <a:spcAft>
                          <a:spcPct val="0"/>
                        </a:spcAft>
                        <a:buClrTx/>
                        <a:buSzPct val="25000"/>
                        <a:buFontTx/>
                        <a:buNone/>
                        <a:tabLst/>
                      </a:pPr>
                      <a:endParaRPr kumimoji="0" lang="es-MX" sz="1100" b="0" i="0" u="none" strike="noStrike" kern="1200" cap="none" normalizeH="0" baseline="0" dirty="0">
                        <a:ln>
                          <a:noFill/>
                        </a:ln>
                        <a:solidFill>
                          <a:schemeClr val="bg2"/>
                        </a:solidFill>
                        <a:effectLst/>
                        <a:latin typeface="Arial" pitchFamily="34" charset="0"/>
                        <a:ea typeface="ＭＳ Ｐゴシック"/>
                        <a:cs typeface="ＭＳ Ｐゴシック"/>
                      </a:endParaRPr>
                    </a:p>
                  </a:txBody>
                  <a:tcPr marL="90000" marR="90000" marT="46812" marB="46812"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93000"/>
                        </a:lnSpc>
                        <a:spcBef>
                          <a:spcPts val="300"/>
                        </a:spcBef>
                        <a:spcAft>
                          <a:spcPct val="0"/>
                        </a:spcAft>
                        <a:buClrTx/>
                        <a:buSzPct val="25000"/>
                        <a:buFontTx/>
                        <a:buNone/>
                        <a:tabLst/>
                      </a:pPr>
                      <a:endParaRPr kumimoji="0" lang="es-MX" sz="1100" b="0" i="0" u="none" strike="noStrike" kern="1200" cap="none" normalizeH="0" baseline="0" dirty="0">
                        <a:ln>
                          <a:noFill/>
                        </a:ln>
                        <a:solidFill>
                          <a:schemeClr val="bg2"/>
                        </a:solidFill>
                        <a:effectLst/>
                        <a:latin typeface="Arial" pitchFamily="34" charset="0"/>
                        <a:ea typeface="ＭＳ Ｐゴシック"/>
                        <a:cs typeface="ＭＳ Ｐゴシック"/>
                      </a:endParaRPr>
                    </a:p>
                  </a:txBody>
                  <a:tcPr marL="90000" marR="90000" marT="46812" marB="46812"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93000"/>
                        </a:lnSpc>
                        <a:spcBef>
                          <a:spcPts val="300"/>
                        </a:spcBef>
                        <a:spcAft>
                          <a:spcPct val="0"/>
                        </a:spcAft>
                        <a:buClrTx/>
                        <a:buSzPct val="25000"/>
                        <a:buFontTx/>
                        <a:buNone/>
                        <a:tabLst/>
                      </a:pPr>
                      <a:endParaRPr kumimoji="0" lang="es-MX" sz="1100" b="0" i="0" u="none" strike="noStrike" kern="1200" cap="none" normalizeH="0" baseline="0" dirty="0">
                        <a:ln>
                          <a:noFill/>
                        </a:ln>
                        <a:solidFill>
                          <a:schemeClr val="bg2"/>
                        </a:solidFill>
                        <a:effectLst/>
                        <a:latin typeface="Arial" pitchFamily="34" charset="0"/>
                        <a:ea typeface="ＭＳ Ｐゴシック"/>
                        <a:cs typeface="ＭＳ Ｐゴシック"/>
                      </a:endParaRPr>
                    </a:p>
                  </a:txBody>
                  <a:tcPr marL="90000" marR="90000" marT="46812" marB="46812"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575563">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pPr>
                      <a:endParaRPr kumimoji="0" lang="en-GB" sz="2000" b="1" i="0" u="none" strike="noStrike" cap="none" normalizeH="0" baseline="0" dirty="0">
                        <a:ln>
                          <a:noFill/>
                        </a:ln>
                        <a:solidFill>
                          <a:srgbClr val="FF0000"/>
                        </a:solidFill>
                        <a:effectLst/>
                        <a:latin typeface="Arial" charset="0"/>
                      </a:endParaRPr>
                    </a:p>
                  </a:txBody>
                  <a:tcPr marL="90000" marR="90000" marT="46767" marB="46767"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pPr>
                      <a:endParaRPr kumimoji="0" lang="en-GB" sz="2000" b="1" i="0" u="none" strike="noStrike" cap="none" normalizeH="0" baseline="0" dirty="0">
                        <a:ln>
                          <a:noFill/>
                        </a:ln>
                        <a:solidFill>
                          <a:srgbClr val="FF0000"/>
                        </a:solidFill>
                        <a:effectLst/>
                        <a:latin typeface="Arial" charset="0"/>
                      </a:endParaRPr>
                    </a:p>
                  </a:txBody>
                  <a:tcPr marL="90000" marR="90000" marT="46767" marB="4676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pPr>
                      <a:endParaRPr kumimoji="0" lang="en-GB" sz="2000" b="1" i="0" u="none" strike="noStrike" cap="none" normalizeH="0" baseline="0" dirty="0">
                        <a:ln>
                          <a:noFill/>
                        </a:ln>
                        <a:solidFill>
                          <a:srgbClr val="FF0000"/>
                        </a:solidFill>
                        <a:effectLst/>
                        <a:latin typeface="Arial" charset="0"/>
                      </a:endParaRPr>
                    </a:p>
                  </a:txBody>
                  <a:tcPr marL="90000" marR="90000" marT="46767" marB="46767"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2529247226"/>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tangle 3">
            <a:extLst>
              <a:ext uri="{FF2B5EF4-FFF2-40B4-BE49-F238E27FC236}">
                <a16:creationId xmlns:a16="http://schemas.microsoft.com/office/drawing/2014/main" id="{A27FD23C-A522-0E4F-B70C-CC83BC4542BA}"/>
              </a:ext>
            </a:extLst>
          </p:cNvPr>
          <p:cNvSpPr txBox="1"/>
          <p:nvPr/>
        </p:nvSpPr>
        <p:spPr>
          <a:xfrm>
            <a:off x="404808" y="237462"/>
            <a:ext cx="7585857" cy="400105"/>
          </a:xfrm>
          <a:prstGeom prst="rect">
            <a:avLst/>
          </a:prstGeom>
          <a:ln w="12700">
            <a:miter lim="400000"/>
          </a:ln>
          <a:extLst>
            <a:ext uri="{C572A759-6A51-4108-AA02-DFA0A04FC94B}">
              <ma14:wrappingTextBoxFlag xmlns:ma14="http://schemas.microsoft.com/office/mac/drawingml/2011/main" xmlns="" val="1"/>
            </a:ext>
          </a:extLst>
        </p:spPr>
        <p:txBody>
          <a:bodyPr wrap="square" lIns="45718" tIns="45718" rIns="45718" bIns="45718">
            <a:spAutoFit/>
          </a:bodyPr>
          <a:lstStyle>
            <a:lvl1pPr algn="l" defTabSz="914400">
              <a:defRPr sz="2200" b="1">
                <a:solidFill>
                  <a:srgbClr val="FFFFFF"/>
                </a:solidFill>
                <a:latin typeface="Arial"/>
                <a:ea typeface="Arial"/>
                <a:cs typeface="Arial"/>
                <a:sym typeface="Arial"/>
              </a:defRPr>
            </a:lvl1pPr>
          </a:lstStyle>
          <a:p>
            <a:r>
              <a:rPr lang="en-US" sz="2000" dirty="0">
                <a:solidFill>
                  <a:srgbClr val="016AA2"/>
                </a:solidFill>
              </a:rPr>
              <a:t>References and Annex (I)</a:t>
            </a:r>
          </a:p>
        </p:txBody>
      </p:sp>
      <p:sp>
        <p:nvSpPr>
          <p:cNvPr id="65" name="Rectangle 3"/>
          <p:cNvSpPr txBox="1"/>
          <p:nvPr/>
        </p:nvSpPr>
        <p:spPr>
          <a:xfrm>
            <a:off x="404807" y="725885"/>
            <a:ext cx="7153461" cy="369328"/>
          </a:xfrm>
          <a:prstGeom prst="rect">
            <a:avLst/>
          </a:prstGeom>
          <a:ln w="12700">
            <a:miter lim="400000"/>
          </a:ln>
          <a:extLst>
            <a:ext uri="{C572A759-6A51-4108-AA02-DFA0A04FC94B}">
              <ma14:wrappingTextBoxFlag xmlns="" xmlns:ma14="http://schemas.microsoft.com/office/mac/drawingml/2011/main" val="1"/>
            </a:ext>
          </a:extLst>
        </p:spPr>
        <p:txBody>
          <a:bodyPr wrap="square" lIns="45718" tIns="45718" rIns="45718" bIns="45718">
            <a:spAutoFit/>
          </a:bodyPr>
          <a:lstStyle>
            <a:lvl1pPr algn="l" defTabSz="914400">
              <a:defRPr sz="2000">
                <a:solidFill>
                  <a:srgbClr val="104D6A"/>
                </a:solidFill>
                <a:latin typeface="Arial"/>
                <a:ea typeface="Arial"/>
                <a:cs typeface="Arial"/>
                <a:sym typeface="Arial"/>
              </a:defRPr>
            </a:lvl1pPr>
          </a:lstStyle>
          <a:p>
            <a:pPr>
              <a:defRPr/>
            </a:pPr>
            <a:r>
              <a:rPr lang="en-US" sz="1800" b="1" dirty="0">
                <a:solidFill>
                  <a:srgbClr val="73C4EF"/>
                </a:solidFill>
              </a:rPr>
              <a:t>References</a:t>
            </a:r>
          </a:p>
        </p:txBody>
      </p:sp>
      <p:graphicFrame>
        <p:nvGraphicFramePr>
          <p:cNvPr id="4" name="Group 28">
            <a:extLst>
              <a:ext uri="{FF2B5EF4-FFF2-40B4-BE49-F238E27FC236}">
                <a16:creationId xmlns:a16="http://schemas.microsoft.com/office/drawing/2014/main" id="{44B1DE4E-4010-7D41-8624-34A6883AD576}"/>
              </a:ext>
            </a:extLst>
          </p:cNvPr>
          <p:cNvGraphicFramePr>
            <a:graphicFrameLocks/>
          </p:cNvGraphicFramePr>
          <p:nvPr>
            <p:extLst>
              <p:ext uri="{D42A27DB-BD31-4B8C-83A1-F6EECF244321}">
                <p14:modId xmlns:p14="http://schemas.microsoft.com/office/powerpoint/2010/main" val="48457590"/>
              </p:ext>
            </p:extLst>
          </p:nvPr>
        </p:nvGraphicFramePr>
        <p:xfrm>
          <a:off x="631825" y="1665288"/>
          <a:ext cx="10688217" cy="3751664"/>
        </p:xfrm>
        <a:graphic>
          <a:graphicData uri="http://schemas.openxmlformats.org/drawingml/2006/table">
            <a:tbl>
              <a:tblPr/>
              <a:tblGrid>
                <a:gridCol w="3988981">
                  <a:extLst>
                    <a:ext uri="{9D8B030D-6E8A-4147-A177-3AD203B41FA5}">
                      <a16:colId xmlns:a16="http://schemas.microsoft.com/office/drawing/2014/main" val="20000"/>
                    </a:ext>
                  </a:extLst>
                </a:gridCol>
                <a:gridCol w="1552727">
                  <a:extLst>
                    <a:ext uri="{9D8B030D-6E8A-4147-A177-3AD203B41FA5}">
                      <a16:colId xmlns:a16="http://schemas.microsoft.com/office/drawing/2014/main" val="20001"/>
                    </a:ext>
                  </a:extLst>
                </a:gridCol>
                <a:gridCol w="3030520">
                  <a:extLst>
                    <a:ext uri="{9D8B030D-6E8A-4147-A177-3AD203B41FA5}">
                      <a16:colId xmlns:a16="http://schemas.microsoft.com/office/drawing/2014/main" val="20002"/>
                    </a:ext>
                  </a:extLst>
                </a:gridCol>
                <a:gridCol w="2115989">
                  <a:extLst>
                    <a:ext uri="{9D8B030D-6E8A-4147-A177-3AD203B41FA5}">
                      <a16:colId xmlns:a16="http://schemas.microsoft.com/office/drawing/2014/main" val="20003"/>
                    </a:ext>
                  </a:extLst>
                </a:gridCol>
              </a:tblGrid>
              <a:tr h="499371">
                <a:tc>
                  <a:txBody>
                    <a:bodyPr/>
                    <a:lstStyle/>
                    <a:p>
                      <a:pPr marL="0" marR="0" lvl="0" indent="0" algn="ctr" defTabSz="914400" rtl="0" eaLnBrk="1" fontAlgn="base" latinLnBrk="0" hangingPunct="1">
                        <a:lnSpc>
                          <a:spcPct val="100000"/>
                        </a:lnSpc>
                        <a:spcBef>
                          <a:spcPct val="20000"/>
                        </a:spcBef>
                        <a:spcAft>
                          <a:spcPct val="0"/>
                        </a:spcAft>
                        <a:buClrTx/>
                        <a:buSzPct val="25000"/>
                        <a:buFont typeface="Times" pitchFamily="18" charset="0"/>
                        <a:buNone/>
                        <a:tabLst>
                          <a:tab pos="450850" algn="l"/>
                          <a:tab pos="900113" algn="l"/>
                          <a:tab pos="1349375" algn="l"/>
                          <a:tab pos="2251075" algn="l"/>
                        </a:tabLst>
                      </a:pPr>
                      <a:r>
                        <a:rPr kumimoji="0" lang="en-GB" sz="1300" b="1" i="0" u="none" strike="noStrike" cap="none" normalizeH="0" baseline="0" dirty="0">
                          <a:ln>
                            <a:noFill/>
                          </a:ln>
                          <a:solidFill>
                            <a:schemeClr val="bg1"/>
                          </a:solidFill>
                          <a:effectLst/>
                          <a:latin typeface="Arial" charset="0"/>
                        </a:rPr>
                        <a:t>Nombre y version</a:t>
                      </a:r>
                    </a:p>
                  </a:txBody>
                  <a:tcPr marL="72000" marR="72000" marT="72002" marB="72002"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67B7"/>
                    </a:solidFill>
                  </a:tcPr>
                </a:tc>
                <a:tc>
                  <a:txBody>
                    <a:bodyPr/>
                    <a:lstStyle/>
                    <a:p>
                      <a:pPr marL="0" marR="0" lvl="0" indent="0" algn="ctr" defTabSz="914400" rtl="0" eaLnBrk="1" fontAlgn="base" latinLnBrk="0" hangingPunct="1">
                        <a:lnSpc>
                          <a:spcPct val="100000"/>
                        </a:lnSpc>
                        <a:spcBef>
                          <a:spcPct val="20000"/>
                        </a:spcBef>
                        <a:spcAft>
                          <a:spcPct val="0"/>
                        </a:spcAft>
                        <a:buClrTx/>
                        <a:buSzPct val="25000"/>
                        <a:buFont typeface="Times" pitchFamily="18" charset="0"/>
                        <a:buNone/>
                        <a:tabLst>
                          <a:tab pos="450850" algn="l"/>
                          <a:tab pos="900113" algn="l"/>
                          <a:tab pos="1349375" algn="l"/>
                          <a:tab pos="2251075" algn="l"/>
                        </a:tabLst>
                      </a:pPr>
                      <a:r>
                        <a:rPr kumimoji="0" lang="en-GB" sz="1300" b="1" i="0" u="none" strike="noStrike" cap="none" normalizeH="0" baseline="0" dirty="0">
                          <a:ln>
                            <a:noFill/>
                          </a:ln>
                          <a:solidFill>
                            <a:schemeClr val="bg1"/>
                          </a:solidFill>
                          <a:effectLst/>
                          <a:latin typeface="Arial" charset="0"/>
                        </a:rPr>
                        <a:t>Fecha</a:t>
                      </a:r>
                      <a:endParaRPr kumimoji="0" lang="en-GB" sz="1300" b="1" i="0" u="none" strike="noStrike" cap="none" normalizeH="0" baseline="0" dirty="0">
                        <a:ln>
                          <a:noFill/>
                        </a:ln>
                        <a:solidFill>
                          <a:schemeClr val="bg1"/>
                        </a:solidFill>
                        <a:effectLst/>
                        <a:latin typeface="Times New Roman" pitchFamily="18" charset="0"/>
                      </a:endParaRPr>
                    </a:p>
                  </a:txBody>
                  <a:tcPr marL="72000" marR="72000" marT="72002" marB="72002"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67B7"/>
                    </a:solidFill>
                  </a:tcPr>
                </a:tc>
                <a:tc>
                  <a:txBody>
                    <a:bodyPr/>
                    <a:lstStyle/>
                    <a:p>
                      <a:pPr marL="0" marR="0" lvl="0" indent="0" algn="ctr" defTabSz="914400" rtl="0" eaLnBrk="1" fontAlgn="base" latinLnBrk="0" hangingPunct="1">
                        <a:lnSpc>
                          <a:spcPct val="100000"/>
                        </a:lnSpc>
                        <a:spcBef>
                          <a:spcPct val="20000"/>
                        </a:spcBef>
                        <a:spcAft>
                          <a:spcPct val="0"/>
                        </a:spcAft>
                        <a:buClrTx/>
                        <a:buSzPct val="25000"/>
                        <a:buFont typeface="Times" pitchFamily="18" charset="0"/>
                        <a:buNone/>
                        <a:tabLst>
                          <a:tab pos="450850" algn="l"/>
                          <a:tab pos="900113" algn="l"/>
                          <a:tab pos="1349375" algn="l"/>
                          <a:tab pos="2251075" algn="l"/>
                        </a:tabLst>
                      </a:pPr>
                      <a:r>
                        <a:rPr kumimoji="0" lang="en-GB" sz="1300" b="1" i="0" u="none" strike="noStrike" cap="none" normalizeH="0" baseline="0" dirty="0">
                          <a:ln>
                            <a:noFill/>
                          </a:ln>
                          <a:solidFill>
                            <a:schemeClr val="bg1"/>
                          </a:solidFill>
                          <a:effectLst/>
                          <a:latin typeface="Arial" charset="0"/>
                        </a:rPr>
                        <a:t>Comentarios</a:t>
                      </a:r>
                    </a:p>
                  </a:txBody>
                  <a:tcPr marL="72000" marR="72000" marT="72002" marB="72002"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67B7"/>
                    </a:solidFill>
                  </a:tcPr>
                </a:tc>
                <a:tc>
                  <a:txBody>
                    <a:bodyPr/>
                    <a:lstStyle/>
                    <a:p>
                      <a:pPr marL="0" marR="0" lvl="0" indent="0" algn="ctr" defTabSz="914400" rtl="0" eaLnBrk="1" fontAlgn="base" latinLnBrk="0" hangingPunct="1">
                        <a:lnSpc>
                          <a:spcPct val="100000"/>
                        </a:lnSpc>
                        <a:spcBef>
                          <a:spcPct val="20000"/>
                        </a:spcBef>
                        <a:spcAft>
                          <a:spcPct val="0"/>
                        </a:spcAft>
                        <a:buClrTx/>
                        <a:buSzPct val="25000"/>
                        <a:buFont typeface="Times" pitchFamily="18" charset="0"/>
                        <a:buNone/>
                        <a:tabLst>
                          <a:tab pos="450850" algn="l"/>
                          <a:tab pos="900113" algn="l"/>
                          <a:tab pos="1349375" algn="l"/>
                          <a:tab pos="2251075" algn="l"/>
                        </a:tabLst>
                      </a:pPr>
                      <a:r>
                        <a:rPr kumimoji="0" lang="en-GB" sz="1300" b="1" i="0" u="none" strike="noStrike" cap="none" normalizeH="0" baseline="0" dirty="0">
                          <a:ln>
                            <a:noFill/>
                          </a:ln>
                          <a:solidFill>
                            <a:schemeClr val="bg1"/>
                          </a:solidFill>
                          <a:effectLst/>
                          <a:latin typeface="Arial" charset="0"/>
                        </a:rPr>
                        <a:t>Rol/Departamento</a:t>
                      </a:r>
                      <a:endParaRPr kumimoji="0" lang="en-GB" sz="1300" b="1" i="0" u="none" strike="noStrike" cap="none" normalizeH="0" baseline="0" dirty="0">
                        <a:ln>
                          <a:noFill/>
                        </a:ln>
                        <a:solidFill>
                          <a:schemeClr val="bg1"/>
                        </a:solidFill>
                        <a:effectLst/>
                        <a:latin typeface="Times New Roman" pitchFamily="18" charset="0"/>
                      </a:endParaRPr>
                    </a:p>
                  </a:txBody>
                  <a:tcPr marL="72000" marR="72000" marT="72002" marB="72002"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67B7"/>
                    </a:solidFill>
                  </a:tcPr>
                </a:tc>
                <a:extLst>
                  <a:ext uri="{0D108BD9-81ED-4DB2-BD59-A6C34878D82A}">
                    <a16:rowId xmlns:a16="http://schemas.microsoft.com/office/drawing/2014/main" val="10000"/>
                  </a:ext>
                </a:extLst>
              </a:tr>
              <a:tr h="650297">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pPr>
                      <a:endParaRPr kumimoji="0" lang="es-MX" sz="1100" b="0" i="0" u="none" strike="noStrike" cap="none" normalizeH="0" baseline="0" noProof="0" dirty="0">
                        <a:ln>
                          <a:noFill/>
                        </a:ln>
                        <a:solidFill>
                          <a:schemeClr val="bg2"/>
                        </a:solidFill>
                        <a:effectLst/>
                        <a:latin typeface="Arial" charset="0"/>
                      </a:endParaRPr>
                    </a:p>
                  </a:txBody>
                  <a:tcPr marL="72004" marR="72004" marT="72022" marB="72022"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algn="ctr">
                        <a:spcBef>
                          <a:spcPts val="300"/>
                        </a:spcBef>
                        <a:spcAft>
                          <a:spcPts val="300"/>
                        </a:spcAft>
                      </a:pPr>
                      <a:endParaRPr lang="es-MX" sz="1200" b="0" kern="1200" noProof="0" dirty="0">
                        <a:solidFill>
                          <a:schemeClr val="bg2"/>
                        </a:solidFill>
                        <a:effectLst/>
                        <a:latin typeface="Arial"/>
                        <a:ea typeface="Times New Roman"/>
                        <a:cs typeface="Times New Roman"/>
                      </a:endParaRPr>
                    </a:p>
                  </a:txBody>
                  <a:tcPr marL="68584" marR="6858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algn="ctr">
                        <a:spcBef>
                          <a:spcPts val="300"/>
                        </a:spcBef>
                        <a:spcAft>
                          <a:spcPts val="300"/>
                        </a:spcAft>
                      </a:pPr>
                      <a:endParaRPr lang="es-MX" sz="1200" b="0" kern="1200" noProof="0" dirty="0">
                        <a:solidFill>
                          <a:schemeClr val="bg2"/>
                        </a:solidFill>
                        <a:effectLst/>
                        <a:latin typeface="Arial"/>
                        <a:ea typeface="Times New Roman"/>
                        <a:cs typeface="Times New Roman"/>
                      </a:endParaRPr>
                    </a:p>
                  </a:txBody>
                  <a:tcPr marL="68584" marR="6858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pPr>
                      <a:endParaRPr lang="es-MX" sz="1200" b="0" kern="1200" noProof="0" dirty="0">
                        <a:solidFill>
                          <a:schemeClr val="bg2"/>
                        </a:solidFill>
                        <a:effectLst/>
                        <a:latin typeface="+mn-lt"/>
                        <a:ea typeface="Times New Roman"/>
                        <a:cs typeface="Times New Roman"/>
                      </a:endParaRPr>
                    </a:p>
                  </a:txBody>
                  <a:tcPr marL="72004" marR="72004" marT="72022" marB="72022"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690665">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pPr>
                      <a:endParaRPr kumimoji="0" lang="es-MX" sz="1100" b="0" i="0" u="none" strike="noStrike" cap="none" normalizeH="0" baseline="0" noProof="0" dirty="0">
                        <a:ln>
                          <a:noFill/>
                        </a:ln>
                        <a:solidFill>
                          <a:schemeClr val="bg2"/>
                        </a:solidFill>
                        <a:effectLst/>
                        <a:latin typeface="Arial" charset="0"/>
                      </a:endParaRPr>
                    </a:p>
                  </a:txBody>
                  <a:tcPr marL="72004" marR="72004" marT="72022" marB="72022"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algn="ctr" defTabSz="914400" rtl="0" eaLnBrk="1" latinLnBrk="0" hangingPunct="1">
                        <a:spcBef>
                          <a:spcPts val="300"/>
                        </a:spcBef>
                        <a:spcAft>
                          <a:spcPts val="300"/>
                        </a:spcAft>
                      </a:pPr>
                      <a:endParaRPr lang="es-MX" sz="1200" b="0" kern="1200" noProof="0" dirty="0">
                        <a:solidFill>
                          <a:schemeClr val="bg2"/>
                        </a:solidFill>
                        <a:effectLst/>
                        <a:latin typeface="Arial"/>
                        <a:ea typeface="Times New Roman"/>
                        <a:cs typeface="Times New Roman"/>
                      </a:endParaRPr>
                    </a:p>
                  </a:txBody>
                  <a:tcPr marL="68584" marR="6858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indent="0" algn="ctr" defTabSz="914400" rtl="0" eaLnBrk="1" fontAlgn="auto" latinLnBrk="0" hangingPunct="1">
                        <a:lnSpc>
                          <a:spcPct val="100000"/>
                        </a:lnSpc>
                        <a:spcBef>
                          <a:spcPts val="300"/>
                        </a:spcBef>
                        <a:spcAft>
                          <a:spcPts val="300"/>
                        </a:spcAft>
                        <a:buClrTx/>
                        <a:buSzTx/>
                        <a:buFontTx/>
                        <a:buNone/>
                        <a:tabLst/>
                        <a:defRPr/>
                      </a:pPr>
                      <a:endParaRPr lang="es-MX" sz="1200" kern="1200" noProof="0" dirty="0">
                        <a:solidFill>
                          <a:schemeClr val="tx1"/>
                        </a:solidFill>
                        <a:effectLst/>
                        <a:latin typeface="+mn-lt"/>
                        <a:ea typeface="Times New Roman"/>
                        <a:cs typeface="Times New Roman"/>
                      </a:endParaRPr>
                    </a:p>
                  </a:txBody>
                  <a:tcPr marL="68584" marR="6858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defRPr/>
                      </a:pPr>
                      <a:endParaRPr lang="es-MX" sz="1200" b="0" kern="1200" noProof="0" dirty="0">
                        <a:solidFill>
                          <a:schemeClr val="bg2"/>
                        </a:solidFill>
                        <a:effectLst/>
                        <a:latin typeface="+mn-lt"/>
                        <a:ea typeface="Times New Roman"/>
                        <a:cs typeface="Times New Roman"/>
                      </a:endParaRPr>
                    </a:p>
                  </a:txBody>
                  <a:tcPr marL="72004" marR="72004" marT="72022" marB="72022"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694232">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pPr>
                      <a:endParaRPr kumimoji="0" lang="es-MX" sz="1100" b="0" i="0" u="none" strike="noStrike" kern="1200" cap="none" normalizeH="0" baseline="0" noProof="0" dirty="0">
                        <a:ln>
                          <a:noFill/>
                        </a:ln>
                        <a:solidFill>
                          <a:schemeClr val="bg2"/>
                        </a:solidFill>
                        <a:effectLst/>
                        <a:latin typeface="Arial" charset="0"/>
                        <a:ea typeface="+mn-ea"/>
                        <a:cs typeface="+mn-cs"/>
                      </a:endParaRPr>
                    </a:p>
                  </a:txBody>
                  <a:tcPr marL="72004" marR="72004" marT="72022" marB="72022"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algn="ctr" defTabSz="914400" rtl="0" eaLnBrk="1" latinLnBrk="0" hangingPunct="1">
                        <a:spcBef>
                          <a:spcPts val="300"/>
                        </a:spcBef>
                        <a:spcAft>
                          <a:spcPts val="300"/>
                        </a:spcAft>
                      </a:pPr>
                      <a:endParaRPr lang="es-MX" sz="1200" b="0" kern="1200" noProof="0" dirty="0">
                        <a:solidFill>
                          <a:schemeClr val="bg2"/>
                        </a:solidFill>
                        <a:effectLst/>
                        <a:latin typeface="Arial"/>
                        <a:ea typeface="Times New Roman"/>
                        <a:cs typeface="Times New Roman"/>
                      </a:endParaRPr>
                    </a:p>
                  </a:txBody>
                  <a:tcPr marL="68584" marR="6858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indent="0" algn="ctr" defTabSz="914400" rtl="0" eaLnBrk="1" fontAlgn="auto" latinLnBrk="0" hangingPunct="1">
                        <a:lnSpc>
                          <a:spcPct val="100000"/>
                        </a:lnSpc>
                        <a:spcBef>
                          <a:spcPts val="300"/>
                        </a:spcBef>
                        <a:spcAft>
                          <a:spcPts val="300"/>
                        </a:spcAft>
                        <a:buClrTx/>
                        <a:buSzTx/>
                        <a:buFontTx/>
                        <a:buNone/>
                        <a:tabLst/>
                        <a:defRPr/>
                      </a:pPr>
                      <a:endParaRPr lang="es-MX" sz="1200" kern="1200" noProof="0" dirty="0">
                        <a:solidFill>
                          <a:schemeClr val="tx1"/>
                        </a:solidFill>
                        <a:effectLst/>
                        <a:latin typeface="+mn-lt"/>
                        <a:ea typeface="Times New Roman"/>
                        <a:cs typeface="Times New Roman"/>
                      </a:endParaRPr>
                    </a:p>
                  </a:txBody>
                  <a:tcPr marL="68584" marR="6858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defRPr/>
                      </a:pPr>
                      <a:endParaRPr lang="es-MX" sz="1200" b="0" kern="1200" noProof="0" dirty="0">
                        <a:solidFill>
                          <a:schemeClr val="bg2"/>
                        </a:solidFill>
                        <a:effectLst/>
                        <a:latin typeface="+mn-lt"/>
                        <a:ea typeface="Times New Roman"/>
                        <a:cs typeface="Times New Roman"/>
                      </a:endParaRPr>
                    </a:p>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pPr>
                      <a:endParaRPr lang="es-MX" sz="1200" kern="1200" noProof="0" dirty="0">
                        <a:solidFill>
                          <a:schemeClr val="tx1"/>
                        </a:solidFill>
                        <a:effectLst/>
                        <a:latin typeface="+mn-lt"/>
                        <a:ea typeface="Times New Roman"/>
                        <a:cs typeface="Times New Roman"/>
                      </a:endParaRPr>
                    </a:p>
                  </a:txBody>
                  <a:tcPr marL="72004" marR="72004" marT="72022" marB="72022"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r h="534416">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defRPr/>
                      </a:pPr>
                      <a:endParaRPr kumimoji="0" lang="en-US" sz="1100" b="1" i="0" u="none" strike="noStrike" kern="1200" cap="none" normalizeH="0" baseline="0" dirty="0">
                        <a:ln>
                          <a:noFill/>
                        </a:ln>
                        <a:solidFill>
                          <a:srgbClr val="FF0000"/>
                        </a:solidFill>
                        <a:effectLst/>
                        <a:latin typeface="Arial" charset="0"/>
                        <a:ea typeface="+mn-ea"/>
                        <a:cs typeface="+mn-cs"/>
                      </a:endParaRPr>
                    </a:p>
                  </a:txBody>
                  <a:tcPr marL="72000" marR="72000" marT="72002" marB="72002"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pPr>
                      <a:endParaRPr kumimoji="0" lang="en-US" sz="1400" b="1" i="0" u="none" strike="noStrike" cap="none" normalizeH="0" baseline="0" dirty="0">
                        <a:ln>
                          <a:noFill/>
                        </a:ln>
                        <a:solidFill>
                          <a:srgbClr val="FF0000"/>
                        </a:solidFill>
                        <a:effectLst/>
                        <a:latin typeface="Arial" charset="0"/>
                      </a:endParaRPr>
                    </a:p>
                  </a:txBody>
                  <a:tcPr marL="72000" marR="72000" marT="72002" marB="72002"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pPr>
                      <a:endParaRPr kumimoji="0" lang="en-US" sz="1400" b="1" i="0" u="none" strike="noStrike" cap="none" normalizeH="0" baseline="0" dirty="0">
                        <a:ln>
                          <a:noFill/>
                        </a:ln>
                        <a:solidFill>
                          <a:srgbClr val="FF0000"/>
                        </a:solidFill>
                        <a:effectLst/>
                        <a:latin typeface="Arial" charset="0"/>
                      </a:endParaRPr>
                    </a:p>
                  </a:txBody>
                  <a:tcPr marL="72000" marR="72000" marT="72002" marB="72002"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pPr>
                      <a:endParaRPr kumimoji="0" lang="en-US" sz="1400" b="1" i="0" u="none" strike="noStrike" cap="none" normalizeH="0" baseline="0" dirty="0">
                        <a:ln>
                          <a:noFill/>
                        </a:ln>
                        <a:solidFill>
                          <a:srgbClr val="FF0000"/>
                        </a:solidFill>
                        <a:effectLst/>
                        <a:latin typeface="Arial" charset="0"/>
                      </a:endParaRPr>
                    </a:p>
                  </a:txBody>
                  <a:tcPr marL="72000" marR="72000" marT="72002" marB="72002"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4"/>
                  </a:ext>
                </a:extLst>
              </a:tr>
              <a:tr h="682683">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defRPr/>
                      </a:pPr>
                      <a:endParaRPr kumimoji="0" lang="en-US" sz="1100" b="1" i="0" u="none" strike="noStrike" kern="1200" cap="none" normalizeH="0" baseline="0" dirty="0">
                        <a:ln>
                          <a:noFill/>
                        </a:ln>
                        <a:solidFill>
                          <a:srgbClr val="FF0000"/>
                        </a:solidFill>
                        <a:effectLst/>
                        <a:latin typeface="Arial" charset="0"/>
                        <a:ea typeface="+mn-ea"/>
                        <a:cs typeface="+mn-cs"/>
                      </a:endParaRPr>
                    </a:p>
                  </a:txBody>
                  <a:tcPr marL="72000" marR="72000" marT="72002" marB="72002"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pPr>
                      <a:endParaRPr kumimoji="0" lang="en-US" sz="1400" b="1" i="0" u="none" strike="noStrike" cap="none" normalizeH="0" baseline="0" dirty="0">
                        <a:ln>
                          <a:noFill/>
                        </a:ln>
                        <a:solidFill>
                          <a:srgbClr val="FF0000"/>
                        </a:solidFill>
                        <a:effectLst/>
                        <a:latin typeface="Arial" charset="0"/>
                      </a:endParaRPr>
                    </a:p>
                  </a:txBody>
                  <a:tcPr marL="72000" marR="72000" marT="72002" marB="72002"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pPr>
                      <a:endParaRPr kumimoji="0" lang="en-US" sz="1400" b="1" i="0" u="none" strike="noStrike" cap="none" normalizeH="0" baseline="0" dirty="0">
                        <a:ln>
                          <a:noFill/>
                        </a:ln>
                        <a:solidFill>
                          <a:srgbClr val="FF0000"/>
                        </a:solidFill>
                        <a:effectLst/>
                        <a:latin typeface="Arial" charset="0"/>
                      </a:endParaRPr>
                    </a:p>
                  </a:txBody>
                  <a:tcPr marL="72000" marR="72000" marT="72002" marB="72002"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pPr>
                      <a:endParaRPr kumimoji="0" lang="en-US" sz="1400" b="1" i="0" u="none" strike="noStrike" cap="none" normalizeH="0" baseline="0" dirty="0">
                        <a:ln>
                          <a:noFill/>
                        </a:ln>
                        <a:solidFill>
                          <a:srgbClr val="FF0000"/>
                        </a:solidFill>
                        <a:effectLst/>
                        <a:latin typeface="Arial" charset="0"/>
                      </a:endParaRPr>
                    </a:p>
                  </a:txBody>
                  <a:tcPr marL="72000" marR="72000" marT="72002" marB="72002"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5"/>
                  </a:ext>
                </a:extLst>
              </a:tr>
            </a:tbl>
          </a:graphicData>
        </a:graphic>
      </p:graphicFrame>
    </p:spTree>
    <p:extLst>
      <p:ext uri="{BB962C8B-B14F-4D97-AF65-F5344CB8AC3E}">
        <p14:creationId xmlns:p14="http://schemas.microsoft.com/office/powerpoint/2010/main" val="269677859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tangle 3">
            <a:extLst>
              <a:ext uri="{FF2B5EF4-FFF2-40B4-BE49-F238E27FC236}">
                <a16:creationId xmlns:a16="http://schemas.microsoft.com/office/drawing/2014/main" id="{A27FD23C-A522-0E4F-B70C-CC83BC4542BA}"/>
              </a:ext>
            </a:extLst>
          </p:cNvPr>
          <p:cNvSpPr txBox="1"/>
          <p:nvPr/>
        </p:nvSpPr>
        <p:spPr>
          <a:xfrm>
            <a:off x="404808" y="237462"/>
            <a:ext cx="7585857" cy="400105"/>
          </a:xfrm>
          <a:prstGeom prst="rect">
            <a:avLst/>
          </a:prstGeom>
          <a:ln w="12700">
            <a:miter lim="400000"/>
          </a:ln>
          <a:extLst>
            <a:ext uri="{C572A759-6A51-4108-AA02-DFA0A04FC94B}">
              <ma14:wrappingTextBoxFlag xmlns:ma14="http://schemas.microsoft.com/office/mac/drawingml/2011/main" xmlns="" val="1"/>
            </a:ext>
          </a:extLst>
        </p:spPr>
        <p:txBody>
          <a:bodyPr wrap="square" lIns="45718" tIns="45718" rIns="45718" bIns="45718">
            <a:spAutoFit/>
          </a:bodyPr>
          <a:lstStyle>
            <a:lvl1pPr algn="l" defTabSz="914400">
              <a:defRPr sz="2200" b="1">
                <a:solidFill>
                  <a:srgbClr val="FFFFFF"/>
                </a:solidFill>
                <a:latin typeface="Arial"/>
                <a:ea typeface="Arial"/>
                <a:cs typeface="Arial"/>
                <a:sym typeface="Arial"/>
              </a:defRPr>
            </a:lvl1pPr>
          </a:lstStyle>
          <a:p>
            <a:r>
              <a:rPr lang="en-US" sz="2000" dirty="0">
                <a:solidFill>
                  <a:srgbClr val="016AA2"/>
                </a:solidFill>
              </a:rPr>
              <a:t>Features and terminology (II)</a:t>
            </a:r>
          </a:p>
        </p:txBody>
      </p:sp>
      <p:sp>
        <p:nvSpPr>
          <p:cNvPr id="65" name="Rectangle 3"/>
          <p:cNvSpPr txBox="1"/>
          <p:nvPr/>
        </p:nvSpPr>
        <p:spPr>
          <a:xfrm>
            <a:off x="404806" y="610135"/>
            <a:ext cx="8775769" cy="369328"/>
          </a:xfrm>
          <a:prstGeom prst="rect">
            <a:avLst/>
          </a:prstGeom>
          <a:ln w="12700">
            <a:miter lim="400000"/>
          </a:ln>
          <a:extLst>
            <a:ext uri="{C572A759-6A51-4108-AA02-DFA0A04FC94B}">
              <ma14:wrappingTextBoxFlag xmlns="" xmlns:ma14="http://schemas.microsoft.com/office/mac/drawingml/2011/main" val="1"/>
            </a:ext>
          </a:extLst>
        </p:spPr>
        <p:txBody>
          <a:bodyPr wrap="square" lIns="45718" tIns="45718" rIns="45718" bIns="45718">
            <a:spAutoFit/>
          </a:bodyPr>
          <a:lstStyle>
            <a:lvl1pPr algn="l" defTabSz="914400">
              <a:defRPr sz="2000">
                <a:solidFill>
                  <a:srgbClr val="104D6A"/>
                </a:solidFill>
                <a:latin typeface="Arial"/>
                <a:ea typeface="Arial"/>
                <a:cs typeface="Arial"/>
                <a:sym typeface="Arial"/>
              </a:defRPr>
            </a:lvl1pPr>
          </a:lstStyle>
          <a:p>
            <a:pPr>
              <a:defRPr/>
            </a:pPr>
            <a:r>
              <a:rPr lang="en-US" sz="1800" b="1" dirty="0">
                <a:solidFill>
                  <a:srgbClr val="73C4EF"/>
                </a:solidFill>
              </a:rPr>
              <a:t>Event Hub Architecture – Topics, Partitions and Offsets</a:t>
            </a:r>
          </a:p>
        </p:txBody>
      </p:sp>
      <p:sp>
        <p:nvSpPr>
          <p:cNvPr id="2" name="Rectangle 1">
            <a:extLst>
              <a:ext uri="{FF2B5EF4-FFF2-40B4-BE49-F238E27FC236}">
                <a16:creationId xmlns:a16="http://schemas.microsoft.com/office/drawing/2014/main" id="{8B6E0CC3-0F04-3D42-AD25-3FAE34C5A750}"/>
              </a:ext>
            </a:extLst>
          </p:cNvPr>
          <p:cNvSpPr/>
          <p:nvPr/>
        </p:nvSpPr>
        <p:spPr>
          <a:xfrm>
            <a:off x="404805" y="1060010"/>
            <a:ext cx="11276911" cy="1659085"/>
          </a:xfrm>
          <a:prstGeom prst="rect">
            <a:avLst/>
          </a:prstGeom>
          <a:noFill/>
        </p:spPr>
        <p:txBody>
          <a:bodyPr wrap="square" tIns="90000" bIns="90000" rtlCol="0" anchor="t">
            <a:spAutoFit/>
          </a:bodyPr>
          <a:lstStyle/>
          <a:p>
            <a:pPr algn="just"/>
            <a:r>
              <a:rPr lang="en-US" sz="1200" dirty="0">
                <a:solidFill>
                  <a:srgbClr val="0079D1"/>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Topics: a particular stream of data</a:t>
            </a:r>
          </a:p>
          <a:p>
            <a:pPr marL="285750" indent="-285750" algn="just">
              <a:buFont typeface="Arial" panose="020B0604020202020204" pitchFamily="34" charset="0"/>
              <a:buChar char="•"/>
            </a:pPr>
            <a:r>
              <a:rPr lang="en-US" sz="1200" dirty="0">
                <a:solidFill>
                  <a:srgbClr val="0079D1"/>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Similar to a table in database (without all the constraints)</a:t>
            </a:r>
          </a:p>
          <a:p>
            <a:pPr marL="285750" indent="-285750" algn="just">
              <a:buFont typeface="Arial" panose="020B0604020202020204" pitchFamily="34" charset="0"/>
              <a:buChar char="•"/>
            </a:pPr>
            <a:r>
              <a:rPr lang="en-US" sz="1200" dirty="0">
                <a:solidFill>
                  <a:srgbClr val="0079D1"/>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It have as many topics as you want</a:t>
            </a:r>
          </a:p>
          <a:p>
            <a:pPr marL="285750" indent="-285750" algn="just">
              <a:buFont typeface="Arial" panose="020B0604020202020204" pitchFamily="34" charset="0"/>
              <a:buChar char="•"/>
            </a:pPr>
            <a:r>
              <a:rPr lang="en-US" sz="1200" dirty="0">
                <a:solidFill>
                  <a:srgbClr val="0079D1"/>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A Topic is identified by its name</a:t>
            </a:r>
          </a:p>
          <a:p>
            <a:pPr algn="just"/>
            <a:endParaRPr lang="en-US" sz="1200" dirty="0">
              <a:solidFill>
                <a:srgbClr val="0079D1"/>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endParaRPr>
          </a:p>
          <a:p>
            <a:pPr algn="just"/>
            <a:r>
              <a:rPr lang="en-US" sz="1200" dirty="0">
                <a:solidFill>
                  <a:srgbClr val="0079D1"/>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Topics are split in partitions</a:t>
            </a:r>
          </a:p>
          <a:p>
            <a:pPr marL="285750" indent="-285750" algn="just">
              <a:buFont typeface="Arial" panose="020B0604020202020204" pitchFamily="34" charset="0"/>
              <a:buChar char="•"/>
            </a:pPr>
            <a:r>
              <a:rPr lang="en-US" sz="1200" dirty="0">
                <a:solidFill>
                  <a:srgbClr val="0079D1"/>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Each partition is ordered</a:t>
            </a:r>
          </a:p>
          <a:p>
            <a:pPr marL="285750" indent="-285750" algn="just">
              <a:buFont typeface="Arial" panose="020B0604020202020204" pitchFamily="34" charset="0"/>
              <a:buChar char="•"/>
            </a:pPr>
            <a:r>
              <a:rPr lang="en-US" sz="1200" dirty="0">
                <a:solidFill>
                  <a:srgbClr val="0079D1"/>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Each massage within a partition gets an incremental id, called offset</a:t>
            </a:r>
            <a:endParaRPr lang="en-US" sz="1600" dirty="0">
              <a:solidFill>
                <a:srgbClr val="0079D1"/>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endParaRPr>
          </a:p>
        </p:txBody>
      </p:sp>
      <p:sp>
        <p:nvSpPr>
          <p:cNvPr id="5" name="Google Shape;61;p12">
            <a:extLst>
              <a:ext uri="{FF2B5EF4-FFF2-40B4-BE49-F238E27FC236}">
                <a16:creationId xmlns:a16="http://schemas.microsoft.com/office/drawing/2014/main" id="{28CF5AAD-3382-CF47-8F35-AB0EF038602B}"/>
              </a:ext>
            </a:extLst>
          </p:cNvPr>
          <p:cNvSpPr txBox="1">
            <a:spLocks/>
          </p:cNvSpPr>
          <p:nvPr/>
        </p:nvSpPr>
        <p:spPr>
          <a:xfrm>
            <a:off x="1061174" y="3966563"/>
            <a:ext cx="995730" cy="215444"/>
          </a:xfrm>
          <a:prstGeom prst="rect">
            <a:avLst/>
          </a:prstGeom>
          <a:noFill/>
        </p:spPr>
        <p:txBody>
          <a:bodyPr wrap="square" rtlCol="0">
            <a:spAutoFit/>
          </a:bodyPr>
          <a:lstStyle>
            <a:defPPr>
              <a:defRPr lang="en-US"/>
            </a:defPPr>
            <a:lvl1pPr algn="ctr" defTabSz="457200">
              <a:defRPr sz="90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defRPr>
            </a:lvl1pPr>
          </a:lstStyle>
          <a:p>
            <a:pPr algn="l"/>
            <a:r>
              <a:rPr lang="en-US" sz="800" dirty="0">
                <a:solidFill>
                  <a:schemeClr val="tx1">
                    <a:lumMod val="50000"/>
                  </a:schemeClr>
                </a:solidFill>
                <a:latin typeface="Comic Sans MS" panose="030F0902030302020204" pitchFamily="66" charset="0"/>
              </a:rPr>
              <a:t>Kafka Topic</a:t>
            </a:r>
            <a:endParaRPr lang="es-ES_tradnl" sz="800" dirty="0">
              <a:solidFill>
                <a:schemeClr val="tx1">
                  <a:lumMod val="50000"/>
                </a:schemeClr>
              </a:solidFill>
              <a:latin typeface="Comic Sans MS" panose="030F0902030302020204" pitchFamily="66" charset="0"/>
            </a:endParaRPr>
          </a:p>
        </p:txBody>
      </p:sp>
      <p:sp>
        <p:nvSpPr>
          <p:cNvPr id="3" name="Left Bracket 2">
            <a:extLst>
              <a:ext uri="{FF2B5EF4-FFF2-40B4-BE49-F238E27FC236}">
                <a16:creationId xmlns:a16="http://schemas.microsoft.com/office/drawing/2014/main" id="{D7EB0C00-6E9C-1A41-93AE-43E99D08E7D0}"/>
              </a:ext>
            </a:extLst>
          </p:cNvPr>
          <p:cNvSpPr/>
          <p:nvPr/>
        </p:nvSpPr>
        <p:spPr>
          <a:xfrm>
            <a:off x="2118169" y="3303659"/>
            <a:ext cx="300942" cy="1766051"/>
          </a:xfrm>
          <a:prstGeom prst="leftBracket">
            <a:avLst/>
          </a:prstGeom>
          <a:ln>
            <a:solidFill>
              <a:schemeClr val="tx1">
                <a:lumMod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000">
              <a:latin typeface="Comic Sans MS" panose="030F0902030302020204" pitchFamily="66" charset="0"/>
            </a:endParaRPr>
          </a:p>
        </p:txBody>
      </p:sp>
      <p:sp>
        <p:nvSpPr>
          <p:cNvPr id="24" name="Google Shape;61;p12">
            <a:extLst>
              <a:ext uri="{FF2B5EF4-FFF2-40B4-BE49-F238E27FC236}">
                <a16:creationId xmlns:a16="http://schemas.microsoft.com/office/drawing/2014/main" id="{349FB039-C548-B84C-BEA4-97CB60A3A0DA}"/>
              </a:ext>
            </a:extLst>
          </p:cNvPr>
          <p:cNvSpPr txBox="1">
            <a:spLocks/>
          </p:cNvSpPr>
          <p:nvPr/>
        </p:nvSpPr>
        <p:spPr>
          <a:xfrm>
            <a:off x="2268640" y="3429136"/>
            <a:ext cx="995730" cy="215444"/>
          </a:xfrm>
          <a:prstGeom prst="rect">
            <a:avLst/>
          </a:prstGeom>
          <a:noFill/>
        </p:spPr>
        <p:txBody>
          <a:bodyPr wrap="square" rtlCol="0">
            <a:spAutoFit/>
          </a:bodyPr>
          <a:lstStyle>
            <a:defPPr>
              <a:defRPr lang="en-US"/>
            </a:defPPr>
            <a:lvl1pPr algn="ctr" defTabSz="457200">
              <a:defRPr sz="90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defRPr>
            </a:lvl1pPr>
          </a:lstStyle>
          <a:p>
            <a:pPr algn="l"/>
            <a:r>
              <a:rPr lang="en-US" sz="800" dirty="0">
                <a:solidFill>
                  <a:schemeClr val="tx1">
                    <a:lumMod val="50000"/>
                  </a:schemeClr>
                </a:solidFill>
                <a:latin typeface="Comic Sans MS" panose="030F0902030302020204" pitchFamily="66" charset="0"/>
              </a:rPr>
              <a:t>Partition 0</a:t>
            </a:r>
          </a:p>
        </p:txBody>
      </p:sp>
      <p:sp>
        <p:nvSpPr>
          <p:cNvPr id="25" name="Google Shape;61;p12">
            <a:extLst>
              <a:ext uri="{FF2B5EF4-FFF2-40B4-BE49-F238E27FC236}">
                <a16:creationId xmlns:a16="http://schemas.microsoft.com/office/drawing/2014/main" id="{8C478D6D-0556-5948-B4E8-79CD51DD42D9}"/>
              </a:ext>
            </a:extLst>
          </p:cNvPr>
          <p:cNvSpPr txBox="1">
            <a:spLocks/>
          </p:cNvSpPr>
          <p:nvPr/>
        </p:nvSpPr>
        <p:spPr>
          <a:xfrm>
            <a:off x="2268640" y="3966563"/>
            <a:ext cx="995730" cy="215444"/>
          </a:xfrm>
          <a:prstGeom prst="rect">
            <a:avLst/>
          </a:prstGeom>
          <a:noFill/>
        </p:spPr>
        <p:txBody>
          <a:bodyPr wrap="square" rtlCol="0">
            <a:spAutoFit/>
          </a:bodyPr>
          <a:lstStyle>
            <a:defPPr>
              <a:defRPr lang="en-US"/>
            </a:defPPr>
            <a:lvl1pPr algn="ctr" defTabSz="457200">
              <a:defRPr sz="90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defRPr>
            </a:lvl1pPr>
          </a:lstStyle>
          <a:p>
            <a:pPr algn="l"/>
            <a:r>
              <a:rPr lang="en-US" sz="800" dirty="0">
                <a:solidFill>
                  <a:schemeClr val="tx1">
                    <a:lumMod val="50000"/>
                  </a:schemeClr>
                </a:solidFill>
                <a:latin typeface="Comic Sans MS" panose="030F0902030302020204" pitchFamily="66" charset="0"/>
              </a:rPr>
              <a:t>Partition 1</a:t>
            </a:r>
          </a:p>
        </p:txBody>
      </p:sp>
      <p:sp>
        <p:nvSpPr>
          <p:cNvPr id="26" name="Google Shape;61;p12">
            <a:extLst>
              <a:ext uri="{FF2B5EF4-FFF2-40B4-BE49-F238E27FC236}">
                <a16:creationId xmlns:a16="http://schemas.microsoft.com/office/drawing/2014/main" id="{BD4930CE-1810-1949-B2D5-75D29F73FE78}"/>
              </a:ext>
            </a:extLst>
          </p:cNvPr>
          <p:cNvSpPr txBox="1">
            <a:spLocks/>
          </p:cNvSpPr>
          <p:nvPr/>
        </p:nvSpPr>
        <p:spPr>
          <a:xfrm>
            <a:off x="2260557" y="4550346"/>
            <a:ext cx="995730" cy="215444"/>
          </a:xfrm>
          <a:prstGeom prst="rect">
            <a:avLst/>
          </a:prstGeom>
          <a:noFill/>
        </p:spPr>
        <p:txBody>
          <a:bodyPr wrap="square" rtlCol="0">
            <a:spAutoFit/>
          </a:bodyPr>
          <a:lstStyle>
            <a:defPPr>
              <a:defRPr lang="en-US"/>
            </a:defPPr>
            <a:lvl1pPr algn="ctr" defTabSz="457200">
              <a:defRPr sz="90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defRPr>
            </a:lvl1pPr>
          </a:lstStyle>
          <a:p>
            <a:pPr algn="l"/>
            <a:r>
              <a:rPr lang="en-US" sz="800" dirty="0">
                <a:solidFill>
                  <a:schemeClr val="tx1">
                    <a:lumMod val="50000"/>
                  </a:schemeClr>
                </a:solidFill>
                <a:latin typeface="Comic Sans MS" panose="030F0902030302020204" pitchFamily="66" charset="0"/>
              </a:rPr>
              <a:t>Partition 2</a:t>
            </a:r>
          </a:p>
        </p:txBody>
      </p:sp>
      <p:sp>
        <p:nvSpPr>
          <p:cNvPr id="27" name="Rounded Rectangle 26">
            <a:extLst>
              <a:ext uri="{FF2B5EF4-FFF2-40B4-BE49-F238E27FC236}">
                <a16:creationId xmlns:a16="http://schemas.microsoft.com/office/drawing/2014/main" id="{2917D495-1A5F-EB4B-8FF0-9B213855AD15}"/>
              </a:ext>
            </a:extLst>
          </p:cNvPr>
          <p:cNvSpPr/>
          <p:nvPr/>
        </p:nvSpPr>
        <p:spPr>
          <a:xfrm>
            <a:off x="3231237" y="3292085"/>
            <a:ext cx="183604" cy="461059"/>
          </a:xfrm>
          <a:prstGeom prst="roundRect">
            <a:avLst/>
          </a:prstGeom>
          <a:solidFill>
            <a:srgbClr val="87CBD8"/>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solidFill>
                  <a:srgbClr val="0079D1"/>
                </a:solidFill>
                <a:latin typeface="Comic Sans MS" panose="030F0902030302020204" pitchFamily="66" charset="0"/>
                <a:ea typeface="Nanum Pen Script" panose="03040600000000000000" pitchFamily="66" charset="-127"/>
              </a:rPr>
              <a:t>0</a:t>
            </a:r>
          </a:p>
        </p:txBody>
      </p:sp>
      <p:sp>
        <p:nvSpPr>
          <p:cNvPr id="28" name="Rounded Rectangle 27">
            <a:extLst>
              <a:ext uri="{FF2B5EF4-FFF2-40B4-BE49-F238E27FC236}">
                <a16:creationId xmlns:a16="http://schemas.microsoft.com/office/drawing/2014/main" id="{FE3A074F-8D96-A943-83AA-9A3CB2606F1B}"/>
              </a:ext>
            </a:extLst>
          </p:cNvPr>
          <p:cNvSpPr/>
          <p:nvPr/>
        </p:nvSpPr>
        <p:spPr>
          <a:xfrm>
            <a:off x="3414841" y="3292085"/>
            <a:ext cx="183604" cy="456403"/>
          </a:xfrm>
          <a:prstGeom prst="roundRect">
            <a:avLst/>
          </a:prstGeom>
          <a:solidFill>
            <a:srgbClr val="87CBD8"/>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solidFill>
                  <a:srgbClr val="0079D1"/>
                </a:solidFill>
                <a:latin typeface="Comic Sans MS" panose="030F0902030302020204" pitchFamily="66" charset="0"/>
                <a:ea typeface="Nanum Pen Script" panose="03040600000000000000" pitchFamily="66" charset="-127"/>
              </a:rPr>
              <a:t>1</a:t>
            </a:r>
          </a:p>
        </p:txBody>
      </p:sp>
      <p:sp>
        <p:nvSpPr>
          <p:cNvPr id="30" name="Rounded Rectangle 29">
            <a:extLst>
              <a:ext uri="{FF2B5EF4-FFF2-40B4-BE49-F238E27FC236}">
                <a16:creationId xmlns:a16="http://schemas.microsoft.com/office/drawing/2014/main" id="{27788048-BD8F-1342-AC2F-5F6C936F3C0E}"/>
              </a:ext>
            </a:extLst>
          </p:cNvPr>
          <p:cNvSpPr/>
          <p:nvPr/>
        </p:nvSpPr>
        <p:spPr>
          <a:xfrm>
            <a:off x="3598445" y="3292085"/>
            <a:ext cx="183604" cy="461059"/>
          </a:xfrm>
          <a:prstGeom prst="roundRect">
            <a:avLst/>
          </a:prstGeom>
          <a:solidFill>
            <a:srgbClr val="87CBD8"/>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solidFill>
                  <a:srgbClr val="0079D1"/>
                </a:solidFill>
                <a:latin typeface="Comic Sans MS" panose="030F0902030302020204" pitchFamily="66" charset="0"/>
                <a:ea typeface="Nanum Pen Script" panose="03040600000000000000" pitchFamily="66" charset="-127"/>
              </a:rPr>
              <a:t>2</a:t>
            </a:r>
          </a:p>
        </p:txBody>
      </p:sp>
      <p:sp>
        <p:nvSpPr>
          <p:cNvPr id="33" name="Rounded Rectangle 32">
            <a:extLst>
              <a:ext uri="{FF2B5EF4-FFF2-40B4-BE49-F238E27FC236}">
                <a16:creationId xmlns:a16="http://schemas.microsoft.com/office/drawing/2014/main" id="{8BBC8D89-B3B0-8E46-94FC-65E36FFEB813}"/>
              </a:ext>
            </a:extLst>
          </p:cNvPr>
          <p:cNvSpPr/>
          <p:nvPr/>
        </p:nvSpPr>
        <p:spPr>
          <a:xfrm>
            <a:off x="3782049" y="3292085"/>
            <a:ext cx="183604" cy="456403"/>
          </a:xfrm>
          <a:prstGeom prst="roundRect">
            <a:avLst/>
          </a:prstGeom>
          <a:solidFill>
            <a:srgbClr val="87CBD8"/>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solidFill>
                  <a:srgbClr val="0079D1"/>
                </a:solidFill>
                <a:latin typeface="Comic Sans MS" panose="030F0902030302020204" pitchFamily="66" charset="0"/>
                <a:ea typeface="Nanum Pen Script" panose="03040600000000000000" pitchFamily="66" charset="-127"/>
              </a:rPr>
              <a:t>3</a:t>
            </a:r>
          </a:p>
        </p:txBody>
      </p:sp>
      <p:sp>
        <p:nvSpPr>
          <p:cNvPr id="34" name="Rounded Rectangle 33">
            <a:extLst>
              <a:ext uri="{FF2B5EF4-FFF2-40B4-BE49-F238E27FC236}">
                <a16:creationId xmlns:a16="http://schemas.microsoft.com/office/drawing/2014/main" id="{E4AADF9D-6A7D-9040-A8C7-5932DE0DD9A4}"/>
              </a:ext>
            </a:extLst>
          </p:cNvPr>
          <p:cNvSpPr/>
          <p:nvPr/>
        </p:nvSpPr>
        <p:spPr>
          <a:xfrm>
            <a:off x="3967859" y="3292085"/>
            <a:ext cx="183604" cy="461059"/>
          </a:xfrm>
          <a:prstGeom prst="roundRect">
            <a:avLst/>
          </a:prstGeom>
          <a:solidFill>
            <a:srgbClr val="87CBD8"/>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solidFill>
                  <a:srgbClr val="0079D1"/>
                </a:solidFill>
                <a:latin typeface="Comic Sans MS" panose="030F0902030302020204" pitchFamily="66" charset="0"/>
                <a:ea typeface="Nanum Pen Script" panose="03040600000000000000" pitchFamily="66" charset="-127"/>
              </a:rPr>
              <a:t>4</a:t>
            </a:r>
          </a:p>
        </p:txBody>
      </p:sp>
      <p:sp>
        <p:nvSpPr>
          <p:cNvPr id="35" name="Rounded Rectangle 34">
            <a:extLst>
              <a:ext uri="{FF2B5EF4-FFF2-40B4-BE49-F238E27FC236}">
                <a16:creationId xmlns:a16="http://schemas.microsoft.com/office/drawing/2014/main" id="{9B0A1DF2-563F-E24E-9257-B4B7B40E84E9}"/>
              </a:ext>
            </a:extLst>
          </p:cNvPr>
          <p:cNvSpPr/>
          <p:nvPr/>
        </p:nvSpPr>
        <p:spPr>
          <a:xfrm>
            <a:off x="4151463" y="3292085"/>
            <a:ext cx="183604" cy="456403"/>
          </a:xfrm>
          <a:prstGeom prst="roundRect">
            <a:avLst/>
          </a:prstGeom>
          <a:solidFill>
            <a:srgbClr val="87CBD8"/>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solidFill>
                  <a:srgbClr val="0079D1"/>
                </a:solidFill>
                <a:latin typeface="Comic Sans MS" panose="030F0902030302020204" pitchFamily="66" charset="0"/>
                <a:ea typeface="Nanum Pen Script" panose="03040600000000000000" pitchFamily="66" charset="-127"/>
              </a:rPr>
              <a:t>5</a:t>
            </a:r>
          </a:p>
        </p:txBody>
      </p:sp>
      <p:sp>
        <p:nvSpPr>
          <p:cNvPr id="37" name="Rounded Rectangle 36">
            <a:extLst>
              <a:ext uri="{FF2B5EF4-FFF2-40B4-BE49-F238E27FC236}">
                <a16:creationId xmlns:a16="http://schemas.microsoft.com/office/drawing/2014/main" id="{0D8A4793-3489-6E4E-923C-C3751C6BC49A}"/>
              </a:ext>
            </a:extLst>
          </p:cNvPr>
          <p:cNvSpPr/>
          <p:nvPr/>
        </p:nvSpPr>
        <p:spPr>
          <a:xfrm>
            <a:off x="4335067" y="3292085"/>
            <a:ext cx="183604" cy="461059"/>
          </a:xfrm>
          <a:prstGeom prst="roundRect">
            <a:avLst/>
          </a:prstGeom>
          <a:solidFill>
            <a:srgbClr val="87CBD8"/>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solidFill>
                  <a:srgbClr val="0079D1"/>
                </a:solidFill>
                <a:latin typeface="Comic Sans MS" panose="030F0902030302020204" pitchFamily="66" charset="0"/>
                <a:ea typeface="Nanum Pen Script" panose="03040600000000000000" pitchFamily="66" charset="-127"/>
              </a:rPr>
              <a:t>6</a:t>
            </a:r>
          </a:p>
        </p:txBody>
      </p:sp>
      <p:sp>
        <p:nvSpPr>
          <p:cNvPr id="38" name="Rounded Rectangle 37">
            <a:extLst>
              <a:ext uri="{FF2B5EF4-FFF2-40B4-BE49-F238E27FC236}">
                <a16:creationId xmlns:a16="http://schemas.microsoft.com/office/drawing/2014/main" id="{2702820F-97B9-B44D-9F5A-41D91C9C37E3}"/>
              </a:ext>
            </a:extLst>
          </p:cNvPr>
          <p:cNvSpPr/>
          <p:nvPr/>
        </p:nvSpPr>
        <p:spPr>
          <a:xfrm>
            <a:off x="4518671" y="3292085"/>
            <a:ext cx="183604" cy="456403"/>
          </a:xfrm>
          <a:prstGeom prst="roundRect">
            <a:avLst/>
          </a:prstGeom>
          <a:solidFill>
            <a:srgbClr val="87CBD8"/>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solidFill>
                  <a:srgbClr val="0079D1"/>
                </a:solidFill>
                <a:latin typeface="Comic Sans MS" panose="030F0902030302020204" pitchFamily="66" charset="0"/>
                <a:ea typeface="Nanum Pen Script" panose="03040600000000000000" pitchFamily="66" charset="-127"/>
              </a:rPr>
              <a:t>7</a:t>
            </a:r>
          </a:p>
        </p:txBody>
      </p:sp>
      <p:sp>
        <p:nvSpPr>
          <p:cNvPr id="39" name="Rounded Rectangle 38">
            <a:extLst>
              <a:ext uri="{FF2B5EF4-FFF2-40B4-BE49-F238E27FC236}">
                <a16:creationId xmlns:a16="http://schemas.microsoft.com/office/drawing/2014/main" id="{4FC73129-B0A4-A14D-89A1-017B1442AD2B}"/>
              </a:ext>
            </a:extLst>
          </p:cNvPr>
          <p:cNvSpPr/>
          <p:nvPr/>
        </p:nvSpPr>
        <p:spPr>
          <a:xfrm>
            <a:off x="4693614" y="3292085"/>
            <a:ext cx="183604" cy="461059"/>
          </a:xfrm>
          <a:prstGeom prst="roundRect">
            <a:avLst/>
          </a:prstGeom>
          <a:solidFill>
            <a:srgbClr val="87CBD8"/>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solidFill>
                  <a:srgbClr val="0079D1"/>
                </a:solidFill>
                <a:latin typeface="Comic Sans MS" panose="030F0902030302020204" pitchFamily="66" charset="0"/>
                <a:ea typeface="Nanum Pen Script" panose="03040600000000000000" pitchFamily="66" charset="-127"/>
              </a:rPr>
              <a:t>8</a:t>
            </a:r>
          </a:p>
        </p:txBody>
      </p:sp>
      <p:sp>
        <p:nvSpPr>
          <p:cNvPr id="40" name="Rounded Rectangle 39">
            <a:extLst>
              <a:ext uri="{FF2B5EF4-FFF2-40B4-BE49-F238E27FC236}">
                <a16:creationId xmlns:a16="http://schemas.microsoft.com/office/drawing/2014/main" id="{10DE644B-6635-B743-95BB-7947D4208E50}"/>
              </a:ext>
            </a:extLst>
          </p:cNvPr>
          <p:cNvSpPr/>
          <p:nvPr/>
        </p:nvSpPr>
        <p:spPr>
          <a:xfrm>
            <a:off x="4877218" y="3292085"/>
            <a:ext cx="183604" cy="456403"/>
          </a:xfrm>
          <a:prstGeom prst="roundRect">
            <a:avLst/>
          </a:prstGeom>
          <a:solidFill>
            <a:srgbClr val="87CBD8"/>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solidFill>
                  <a:srgbClr val="0079D1"/>
                </a:solidFill>
                <a:latin typeface="Comic Sans MS" panose="030F0902030302020204" pitchFamily="66" charset="0"/>
                <a:ea typeface="Nanum Pen Script" panose="03040600000000000000" pitchFamily="66" charset="-127"/>
              </a:rPr>
              <a:t>9</a:t>
            </a:r>
          </a:p>
        </p:txBody>
      </p:sp>
      <p:sp>
        <p:nvSpPr>
          <p:cNvPr id="43" name="Rounded Rectangle 42">
            <a:extLst>
              <a:ext uri="{FF2B5EF4-FFF2-40B4-BE49-F238E27FC236}">
                <a16:creationId xmlns:a16="http://schemas.microsoft.com/office/drawing/2014/main" id="{BF911872-7168-A145-8EB2-C0688BC8019F}"/>
              </a:ext>
            </a:extLst>
          </p:cNvPr>
          <p:cNvSpPr/>
          <p:nvPr/>
        </p:nvSpPr>
        <p:spPr>
          <a:xfrm>
            <a:off x="5060822" y="3292085"/>
            <a:ext cx="183604" cy="461059"/>
          </a:xfrm>
          <a:prstGeom prst="roundRect">
            <a:avLst/>
          </a:prstGeom>
          <a:solidFill>
            <a:srgbClr val="87CBD8"/>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solidFill>
                  <a:srgbClr val="0079D1"/>
                </a:solidFill>
                <a:latin typeface="Comic Sans MS" panose="030F0902030302020204" pitchFamily="66" charset="0"/>
                <a:ea typeface="Nanum Pen Script" panose="03040600000000000000" pitchFamily="66" charset="-127"/>
              </a:rPr>
              <a:t>10</a:t>
            </a:r>
          </a:p>
        </p:txBody>
      </p:sp>
      <p:sp>
        <p:nvSpPr>
          <p:cNvPr id="44" name="Rounded Rectangle 43">
            <a:extLst>
              <a:ext uri="{FF2B5EF4-FFF2-40B4-BE49-F238E27FC236}">
                <a16:creationId xmlns:a16="http://schemas.microsoft.com/office/drawing/2014/main" id="{090AE37D-3D9D-AB4C-BF4B-FA66565F644B}"/>
              </a:ext>
            </a:extLst>
          </p:cNvPr>
          <p:cNvSpPr/>
          <p:nvPr/>
        </p:nvSpPr>
        <p:spPr>
          <a:xfrm>
            <a:off x="5244426" y="3292085"/>
            <a:ext cx="183604" cy="456403"/>
          </a:xfrm>
          <a:prstGeom prst="roundRect">
            <a:avLst/>
          </a:prstGeom>
          <a:solidFill>
            <a:srgbClr val="87CBD8"/>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solidFill>
                  <a:srgbClr val="0079D1"/>
                </a:solidFill>
                <a:latin typeface="Comic Sans MS" panose="030F0902030302020204" pitchFamily="66" charset="0"/>
                <a:ea typeface="Nanum Pen Script" panose="03040600000000000000" pitchFamily="66" charset="-127"/>
              </a:rPr>
              <a:t>11</a:t>
            </a:r>
          </a:p>
        </p:txBody>
      </p:sp>
      <p:sp>
        <p:nvSpPr>
          <p:cNvPr id="45" name="Rounded Rectangle 44">
            <a:extLst>
              <a:ext uri="{FF2B5EF4-FFF2-40B4-BE49-F238E27FC236}">
                <a16:creationId xmlns:a16="http://schemas.microsoft.com/office/drawing/2014/main" id="{E8B3DCFE-1099-314F-B30A-287B87A5ABB3}"/>
              </a:ext>
            </a:extLst>
          </p:cNvPr>
          <p:cNvSpPr/>
          <p:nvPr/>
        </p:nvSpPr>
        <p:spPr>
          <a:xfrm>
            <a:off x="5430236" y="3292085"/>
            <a:ext cx="183604" cy="461059"/>
          </a:xfrm>
          <a:prstGeom prst="roundRect">
            <a:avLst/>
          </a:prstGeom>
          <a:solidFill>
            <a:srgbClr val="87CBD8"/>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solidFill>
                  <a:srgbClr val="0079D1"/>
                </a:solidFill>
                <a:latin typeface="Comic Sans MS" panose="030F0902030302020204" pitchFamily="66" charset="0"/>
                <a:ea typeface="Nanum Pen Script" panose="03040600000000000000" pitchFamily="66" charset="-127"/>
              </a:rPr>
              <a:t>12</a:t>
            </a:r>
          </a:p>
        </p:txBody>
      </p:sp>
      <p:sp>
        <p:nvSpPr>
          <p:cNvPr id="46" name="Rounded Rectangle 45">
            <a:extLst>
              <a:ext uri="{FF2B5EF4-FFF2-40B4-BE49-F238E27FC236}">
                <a16:creationId xmlns:a16="http://schemas.microsoft.com/office/drawing/2014/main" id="{B3F604A5-5DE1-7D41-8F7E-4DCB60DC3F9A}"/>
              </a:ext>
            </a:extLst>
          </p:cNvPr>
          <p:cNvSpPr/>
          <p:nvPr/>
        </p:nvSpPr>
        <p:spPr>
          <a:xfrm>
            <a:off x="5613840" y="3292085"/>
            <a:ext cx="183604" cy="456403"/>
          </a:xfrm>
          <a:prstGeom prst="roundRect">
            <a:avLst/>
          </a:prstGeom>
          <a:solidFill>
            <a:schemeClr val="bg1"/>
          </a:solidFill>
          <a:ln w="3175">
            <a:solidFill>
              <a:srgbClr val="0079D1">
                <a:alpha val="39000"/>
              </a:srgb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solidFill>
                  <a:srgbClr val="0079D1"/>
                </a:solidFill>
                <a:latin typeface="Comic Sans MS" panose="030F0902030302020204" pitchFamily="66" charset="0"/>
                <a:ea typeface="Nanum Pen Script" panose="03040600000000000000" pitchFamily="66" charset="-127"/>
              </a:rPr>
              <a:t>13</a:t>
            </a:r>
          </a:p>
        </p:txBody>
      </p:sp>
      <p:sp>
        <p:nvSpPr>
          <p:cNvPr id="60" name="Rounded Rectangle 59">
            <a:extLst>
              <a:ext uri="{FF2B5EF4-FFF2-40B4-BE49-F238E27FC236}">
                <a16:creationId xmlns:a16="http://schemas.microsoft.com/office/drawing/2014/main" id="{E84092B0-2F45-6645-91D3-9C579F5D1615}"/>
              </a:ext>
            </a:extLst>
          </p:cNvPr>
          <p:cNvSpPr/>
          <p:nvPr/>
        </p:nvSpPr>
        <p:spPr>
          <a:xfrm>
            <a:off x="3231237" y="3885539"/>
            <a:ext cx="183604" cy="461059"/>
          </a:xfrm>
          <a:prstGeom prst="roundRect">
            <a:avLst/>
          </a:prstGeom>
          <a:solidFill>
            <a:srgbClr val="EE4328"/>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solidFill>
                  <a:schemeClr val="bg1"/>
                </a:solidFill>
                <a:latin typeface="Comic Sans MS" panose="030F0902030302020204" pitchFamily="66" charset="0"/>
                <a:ea typeface="Nanum Pen Script" panose="03040600000000000000" pitchFamily="66" charset="-127"/>
              </a:rPr>
              <a:t>0</a:t>
            </a:r>
          </a:p>
        </p:txBody>
      </p:sp>
      <p:sp>
        <p:nvSpPr>
          <p:cNvPr id="61" name="Rounded Rectangle 60">
            <a:extLst>
              <a:ext uri="{FF2B5EF4-FFF2-40B4-BE49-F238E27FC236}">
                <a16:creationId xmlns:a16="http://schemas.microsoft.com/office/drawing/2014/main" id="{589B62B6-9583-9D49-A1B3-10F0A2BFD9EF}"/>
              </a:ext>
            </a:extLst>
          </p:cNvPr>
          <p:cNvSpPr/>
          <p:nvPr/>
        </p:nvSpPr>
        <p:spPr>
          <a:xfrm>
            <a:off x="3414841" y="3885539"/>
            <a:ext cx="183604" cy="456403"/>
          </a:xfrm>
          <a:prstGeom prst="roundRect">
            <a:avLst/>
          </a:prstGeom>
          <a:solidFill>
            <a:srgbClr val="EE4328"/>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solidFill>
                  <a:schemeClr val="bg1"/>
                </a:solidFill>
                <a:latin typeface="Comic Sans MS" panose="030F0902030302020204" pitchFamily="66" charset="0"/>
                <a:ea typeface="Nanum Pen Script" panose="03040600000000000000" pitchFamily="66" charset="-127"/>
              </a:rPr>
              <a:t>1</a:t>
            </a:r>
          </a:p>
        </p:txBody>
      </p:sp>
      <p:sp>
        <p:nvSpPr>
          <p:cNvPr id="62" name="Rounded Rectangle 61">
            <a:extLst>
              <a:ext uri="{FF2B5EF4-FFF2-40B4-BE49-F238E27FC236}">
                <a16:creationId xmlns:a16="http://schemas.microsoft.com/office/drawing/2014/main" id="{F9F7FFDA-EF42-4F4C-AF8D-602B807C6C7E}"/>
              </a:ext>
            </a:extLst>
          </p:cNvPr>
          <p:cNvSpPr/>
          <p:nvPr/>
        </p:nvSpPr>
        <p:spPr>
          <a:xfrm>
            <a:off x="3598445" y="3885539"/>
            <a:ext cx="183604" cy="461059"/>
          </a:xfrm>
          <a:prstGeom prst="roundRect">
            <a:avLst/>
          </a:prstGeom>
          <a:solidFill>
            <a:srgbClr val="EE4328"/>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solidFill>
                  <a:schemeClr val="bg1"/>
                </a:solidFill>
                <a:latin typeface="Comic Sans MS" panose="030F0902030302020204" pitchFamily="66" charset="0"/>
                <a:ea typeface="Nanum Pen Script" panose="03040600000000000000" pitchFamily="66" charset="-127"/>
              </a:rPr>
              <a:t>2</a:t>
            </a:r>
          </a:p>
        </p:txBody>
      </p:sp>
      <p:sp>
        <p:nvSpPr>
          <p:cNvPr id="66" name="Rounded Rectangle 65">
            <a:extLst>
              <a:ext uri="{FF2B5EF4-FFF2-40B4-BE49-F238E27FC236}">
                <a16:creationId xmlns:a16="http://schemas.microsoft.com/office/drawing/2014/main" id="{242496BA-1036-6F42-8D3E-19372130AA7A}"/>
              </a:ext>
            </a:extLst>
          </p:cNvPr>
          <p:cNvSpPr/>
          <p:nvPr/>
        </p:nvSpPr>
        <p:spPr>
          <a:xfrm>
            <a:off x="3782049" y="3885539"/>
            <a:ext cx="183604" cy="456403"/>
          </a:xfrm>
          <a:prstGeom prst="roundRect">
            <a:avLst/>
          </a:prstGeom>
          <a:solidFill>
            <a:srgbClr val="EE4328"/>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solidFill>
                  <a:schemeClr val="bg1"/>
                </a:solidFill>
                <a:latin typeface="Comic Sans MS" panose="030F0902030302020204" pitchFamily="66" charset="0"/>
                <a:ea typeface="Nanum Pen Script" panose="03040600000000000000" pitchFamily="66" charset="-127"/>
              </a:rPr>
              <a:t>3</a:t>
            </a:r>
          </a:p>
        </p:txBody>
      </p:sp>
      <p:sp>
        <p:nvSpPr>
          <p:cNvPr id="67" name="Rounded Rectangle 66">
            <a:extLst>
              <a:ext uri="{FF2B5EF4-FFF2-40B4-BE49-F238E27FC236}">
                <a16:creationId xmlns:a16="http://schemas.microsoft.com/office/drawing/2014/main" id="{AE3B129E-0D97-0647-ADCE-7E784F43F80F}"/>
              </a:ext>
            </a:extLst>
          </p:cNvPr>
          <p:cNvSpPr/>
          <p:nvPr/>
        </p:nvSpPr>
        <p:spPr>
          <a:xfrm>
            <a:off x="3967859" y="3885539"/>
            <a:ext cx="183604" cy="461059"/>
          </a:xfrm>
          <a:prstGeom prst="roundRect">
            <a:avLst/>
          </a:prstGeom>
          <a:solidFill>
            <a:srgbClr val="EE4328"/>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solidFill>
                  <a:schemeClr val="bg1"/>
                </a:solidFill>
                <a:latin typeface="Comic Sans MS" panose="030F0902030302020204" pitchFamily="66" charset="0"/>
                <a:ea typeface="Nanum Pen Script" panose="03040600000000000000" pitchFamily="66" charset="-127"/>
              </a:rPr>
              <a:t>4</a:t>
            </a:r>
          </a:p>
        </p:txBody>
      </p:sp>
      <p:sp>
        <p:nvSpPr>
          <p:cNvPr id="69" name="Rounded Rectangle 68">
            <a:extLst>
              <a:ext uri="{FF2B5EF4-FFF2-40B4-BE49-F238E27FC236}">
                <a16:creationId xmlns:a16="http://schemas.microsoft.com/office/drawing/2014/main" id="{A89422C7-EB5C-8546-8E04-7844FC0D65E0}"/>
              </a:ext>
            </a:extLst>
          </p:cNvPr>
          <p:cNvSpPr/>
          <p:nvPr/>
        </p:nvSpPr>
        <p:spPr>
          <a:xfrm>
            <a:off x="4151463" y="3885539"/>
            <a:ext cx="183604" cy="456403"/>
          </a:xfrm>
          <a:prstGeom prst="roundRect">
            <a:avLst/>
          </a:prstGeom>
          <a:solidFill>
            <a:srgbClr val="EE4328"/>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solidFill>
                  <a:schemeClr val="bg1"/>
                </a:solidFill>
                <a:latin typeface="Comic Sans MS" panose="030F0902030302020204" pitchFamily="66" charset="0"/>
                <a:ea typeface="Nanum Pen Script" panose="03040600000000000000" pitchFamily="66" charset="-127"/>
              </a:rPr>
              <a:t>5</a:t>
            </a:r>
          </a:p>
        </p:txBody>
      </p:sp>
      <p:sp>
        <p:nvSpPr>
          <p:cNvPr id="70" name="Rounded Rectangle 69">
            <a:extLst>
              <a:ext uri="{FF2B5EF4-FFF2-40B4-BE49-F238E27FC236}">
                <a16:creationId xmlns:a16="http://schemas.microsoft.com/office/drawing/2014/main" id="{43B907EC-5B41-BF49-92C1-3BBFD64C6B4D}"/>
              </a:ext>
            </a:extLst>
          </p:cNvPr>
          <p:cNvSpPr/>
          <p:nvPr/>
        </p:nvSpPr>
        <p:spPr>
          <a:xfrm>
            <a:off x="4335067" y="3885539"/>
            <a:ext cx="183604" cy="461059"/>
          </a:xfrm>
          <a:prstGeom prst="roundRect">
            <a:avLst/>
          </a:prstGeom>
          <a:solidFill>
            <a:srgbClr val="EE4328"/>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solidFill>
                  <a:schemeClr val="bg1"/>
                </a:solidFill>
                <a:latin typeface="Comic Sans MS" panose="030F0902030302020204" pitchFamily="66" charset="0"/>
                <a:ea typeface="Nanum Pen Script" panose="03040600000000000000" pitchFamily="66" charset="-127"/>
              </a:rPr>
              <a:t>6</a:t>
            </a:r>
          </a:p>
        </p:txBody>
      </p:sp>
      <p:sp>
        <p:nvSpPr>
          <p:cNvPr id="71" name="Rounded Rectangle 70">
            <a:extLst>
              <a:ext uri="{FF2B5EF4-FFF2-40B4-BE49-F238E27FC236}">
                <a16:creationId xmlns:a16="http://schemas.microsoft.com/office/drawing/2014/main" id="{EEBFA0D0-4377-634F-9A31-12345302BE0E}"/>
              </a:ext>
            </a:extLst>
          </p:cNvPr>
          <p:cNvSpPr/>
          <p:nvPr/>
        </p:nvSpPr>
        <p:spPr>
          <a:xfrm>
            <a:off x="4518671" y="3885539"/>
            <a:ext cx="183604" cy="456403"/>
          </a:xfrm>
          <a:prstGeom prst="roundRect">
            <a:avLst/>
          </a:prstGeom>
          <a:solidFill>
            <a:srgbClr val="EE4328"/>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solidFill>
                  <a:schemeClr val="bg1"/>
                </a:solidFill>
                <a:latin typeface="Comic Sans MS" panose="030F0902030302020204" pitchFamily="66" charset="0"/>
                <a:ea typeface="Nanum Pen Script" panose="03040600000000000000" pitchFamily="66" charset="-127"/>
              </a:rPr>
              <a:t>7</a:t>
            </a:r>
          </a:p>
        </p:txBody>
      </p:sp>
      <p:sp>
        <p:nvSpPr>
          <p:cNvPr id="72" name="Rounded Rectangle 71">
            <a:extLst>
              <a:ext uri="{FF2B5EF4-FFF2-40B4-BE49-F238E27FC236}">
                <a16:creationId xmlns:a16="http://schemas.microsoft.com/office/drawing/2014/main" id="{6C394CC5-F437-2442-9D28-79A629EDBAE0}"/>
              </a:ext>
            </a:extLst>
          </p:cNvPr>
          <p:cNvSpPr/>
          <p:nvPr/>
        </p:nvSpPr>
        <p:spPr>
          <a:xfrm>
            <a:off x="4693614" y="3885539"/>
            <a:ext cx="183604" cy="461059"/>
          </a:xfrm>
          <a:prstGeom prst="roundRect">
            <a:avLst/>
          </a:prstGeom>
          <a:solidFill>
            <a:schemeClr val="bg1"/>
          </a:solidFill>
          <a:ln w="3175">
            <a:solidFill>
              <a:srgbClr val="EE4328">
                <a:alpha val="39000"/>
              </a:srgb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solidFill>
                  <a:schemeClr val="tx1">
                    <a:lumMod val="50000"/>
                  </a:schemeClr>
                </a:solidFill>
                <a:latin typeface="Comic Sans MS" panose="030F0902030302020204" pitchFamily="66" charset="0"/>
                <a:ea typeface="Nanum Pen Script" panose="03040600000000000000" pitchFamily="66" charset="-127"/>
              </a:rPr>
              <a:t>8</a:t>
            </a:r>
          </a:p>
        </p:txBody>
      </p:sp>
      <p:sp>
        <p:nvSpPr>
          <p:cNvPr id="95" name="Rounded Rectangle 94">
            <a:extLst>
              <a:ext uri="{FF2B5EF4-FFF2-40B4-BE49-F238E27FC236}">
                <a16:creationId xmlns:a16="http://schemas.microsoft.com/office/drawing/2014/main" id="{4D222AB5-3496-CA43-BA75-2A22CB59EF72}"/>
              </a:ext>
            </a:extLst>
          </p:cNvPr>
          <p:cNvSpPr/>
          <p:nvPr/>
        </p:nvSpPr>
        <p:spPr>
          <a:xfrm>
            <a:off x="3231237" y="4545690"/>
            <a:ext cx="183604" cy="461059"/>
          </a:xfrm>
          <a:prstGeom prst="roundRect">
            <a:avLst/>
          </a:prstGeom>
          <a:solidFill>
            <a:srgbClr val="0079D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solidFill>
                  <a:schemeClr val="bg1"/>
                </a:solidFill>
                <a:latin typeface="Comic Sans MS" panose="030F0902030302020204" pitchFamily="66" charset="0"/>
                <a:ea typeface="Nanum Pen Script" panose="03040600000000000000" pitchFamily="66" charset="-127"/>
              </a:rPr>
              <a:t>0</a:t>
            </a:r>
          </a:p>
        </p:txBody>
      </p:sp>
      <p:sp>
        <p:nvSpPr>
          <p:cNvPr id="96" name="Rounded Rectangle 95">
            <a:extLst>
              <a:ext uri="{FF2B5EF4-FFF2-40B4-BE49-F238E27FC236}">
                <a16:creationId xmlns:a16="http://schemas.microsoft.com/office/drawing/2014/main" id="{0CEF01EE-DB1C-1B41-B1FF-5FCD43CEFB12}"/>
              </a:ext>
            </a:extLst>
          </p:cNvPr>
          <p:cNvSpPr/>
          <p:nvPr/>
        </p:nvSpPr>
        <p:spPr>
          <a:xfrm>
            <a:off x="3398675" y="4545691"/>
            <a:ext cx="199770" cy="467978"/>
          </a:xfrm>
          <a:prstGeom prst="roundRect">
            <a:avLst/>
          </a:prstGeom>
          <a:solidFill>
            <a:srgbClr val="0079D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solidFill>
                  <a:schemeClr val="bg1"/>
                </a:solidFill>
                <a:latin typeface="Comic Sans MS" panose="030F0902030302020204" pitchFamily="66" charset="0"/>
                <a:ea typeface="Nanum Pen Script" panose="03040600000000000000" pitchFamily="66" charset="-127"/>
              </a:rPr>
              <a:t>1</a:t>
            </a:r>
          </a:p>
        </p:txBody>
      </p:sp>
      <p:sp>
        <p:nvSpPr>
          <p:cNvPr id="97" name="Rounded Rectangle 96">
            <a:extLst>
              <a:ext uri="{FF2B5EF4-FFF2-40B4-BE49-F238E27FC236}">
                <a16:creationId xmlns:a16="http://schemas.microsoft.com/office/drawing/2014/main" id="{873A546F-76F0-984E-A03A-F9B9ECDDFD76}"/>
              </a:ext>
            </a:extLst>
          </p:cNvPr>
          <p:cNvSpPr/>
          <p:nvPr/>
        </p:nvSpPr>
        <p:spPr>
          <a:xfrm>
            <a:off x="3598445" y="4545690"/>
            <a:ext cx="183604" cy="461059"/>
          </a:xfrm>
          <a:prstGeom prst="roundRect">
            <a:avLst/>
          </a:prstGeom>
          <a:solidFill>
            <a:srgbClr val="0079D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solidFill>
                  <a:schemeClr val="bg1"/>
                </a:solidFill>
                <a:latin typeface="Comic Sans MS" panose="030F0902030302020204" pitchFamily="66" charset="0"/>
                <a:ea typeface="Nanum Pen Script" panose="03040600000000000000" pitchFamily="66" charset="-127"/>
              </a:rPr>
              <a:t>2</a:t>
            </a:r>
          </a:p>
        </p:txBody>
      </p:sp>
      <p:sp>
        <p:nvSpPr>
          <p:cNvPr id="98" name="Rounded Rectangle 97">
            <a:extLst>
              <a:ext uri="{FF2B5EF4-FFF2-40B4-BE49-F238E27FC236}">
                <a16:creationId xmlns:a16="http://schemas.microsoft.com/office/drawing/2014/main" id="{F76373F3-D95F-4748-A6ED-AE6C08138D43}"/>
              </a:ext>
            </a:extLst>
          </p:cNvPr>
          <p:cNvSpPr/>
          <p:nvPr/>
        </p:nvSpPr>
        <p:spPr>
          <a:xfrm>
            <a:off x="3782049" y="4545690"/>
            <a:ext cx="183604" cy="467978"/>
          </a:xfrm>
          <a:prstGeom prst="roundRect">
            <a:avLst/>
          </a:prstGeom>
          <a:solidFill>
            <a:srgbClr val="0079D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solidFill>
                  <a:schemeClr val="bg1"/>
                </a:solidFill>
                <a:latin typeface="Comic Sans MS" panose="030F0902030302020204" pitchFamily="66" charset="0"/>
                <a:ea typeface="Nanum Pen Script" panose="03040600000000000000" pitchFamily="66" charset="-127"/>
              </a:rPr>
              <a:t>3</a:t>
            </a:r>
          </a:p>
        </p:txBody>
      </p:sp>
      <p:sp>
        <p:nvSpPr>
          <p:cNvPr id="99" name="Rounded Rectangle 98">
            <a:extLst>
              <a:ext uri="{FF2B5EF4-FFF2-40B4-BE49-F238E27FC236}">
                <a16:creationId xmlns:a16="http://schemas.microsoft.com/office/drawing/2014/main" id="{0877CE00-08DC-E54C-96F6-6C3A1B0C9D38}"/>
              </a:ext>
            </a:extLst>
          </p:cNvPr>
          <p:cNvSpPr/>
          <p:nvPr/>
        </p:nvSpPr>
        <p:spPr>
          <a:xfrm>
            <a:off x="3967859" y="4545690"/>
            <a:ext cx="183604" cy="461059"/>
          </a:xfrm>
          <a:prstGeom prst="roundRect">
            <a:avLst/>
          </a:prstGeom>
          <a:solidFill>
            <a:srgbClr val="0079D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solidFill>
                  <a:schemeClr val="bg1"/>
                </a:solidFill>
                <a:latin typeface="Comic Sans MS" panose="030F0902030302020204" pitchFamily="66" charset="0"/>
                <a:ea typeface="Nanum Pen Script" panose="03040600000000000000" pitchFamily="66" charset="-127"/>
              </a:rPr>
              <a:t>4</a:t>
            </a:r>
          </a:p>
        </p:txBody>
      </p:sp>
      <p:sp>
        <p:nvSpPr>
          <p:cNvPr id="100" name="Rounded Rectangle 99">
            <a:extLst>
              <a:ext uri="{FF2B5EF4-FFF2-40B4-BE49-F238E27FC236}">
                <a16:creationId xmlns:a16="http://schemas.microsoft.com/office/drawing/2014/main" id="{06A1EB8D-01EC-6E46-9CBF-7B56C6471388}"/>
              </a:ext>
            </a:extLst>
          </p:cNvPr>
          <p:cNvSpPr/>
          <p:nvPr/>
        </p:nvSpPr>
        <p:spPr>
          <a:xfrm>
            <a:off x="4151463" y="4545690"/>
            <a:ext cx="183604" cy="456403"/>
          </a:xfrm>
          <a:prstGeom prst="roundRect">
            <a:avLst/>
          </a:prstGeom>
          <a:solidFill>
            <a:srgbClr val="0079D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solidFill>
                  <a:schemeClr val="bg1"/>
                </a:solidFill>
                <a:latin typeface="Comic Sans MS" panose="030F0902030302020204" pitchFamily="66" charset="0"/>
                <a:ea typeface="Nanum Pen Script" panose="03040600000000000000" pitchFamily="66" charset="-127"/>
              </a:rPr>
              <a:t>5</a:t>
            </a:r>
          </a:p>
        </p:txBody>
      </p:sp>
      <p:sp>
        <p:nvSpPr>
          <p:cNvPr id="101" name="Rounded Rectangle 100">
            <a:extLst>
              <a:ext uri="{FF2B5EF4-FFF2-40B4-BE49-F238E27FC236}">
                <a16:creationId xmlns:a16="http://schemas.microsoft.com/office/drawing/2014/main" id="{3BADD76A-BF3D-E740-9D00-C149EF350426}"/>
              </a:ext>
            </a:extLst>
          </p:cNvPr>
          <p:cNvSpPr/>
          <p:nvPr/>
        </p:nvSpPr>
        <p:spPr>
          <a:xfrm>
            <a:off x="4335067" y="4545690"/>
            <a:ext cx="183604" cy="461059"/>
          </a:xfrm>
          <a:prstGeom prst="roundRect">
            <a:avLst/>
          </a:prstGeom>
          <a:solidFill>
            <a:srgbClr val="0079D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solidFill>
                  <a:schemeClr val="bg1"/>
                </a:solidFill>
                <a:latin typeface="Comic Sans MS" panose="030F0902030302020204" pitchFamily="66" charset="0"/>
                <a:ea typeface="Nanum Pen Script" panose="03040600000000000000" pitchFamily="66" charset="-127"/>
              </a:rPr>
              <a:t>6</a:t>
            </a:r>
          </a:p>
        </p:txBody>
      </p:sp>
      <p:sp>
        <p:nvSpPr>
          <p:cNvPr id="102" name="Rounded Rectangle 101">
            <a:extLst>
              <a:ext uri="{FF2B5EF4-FFF2-40B4-BE49-F238E27FC236}">
                <a16:creationId xmlns:a16="http://schemas.microsoft.com/office/drawing/2014/main" id="{51D142A7-73B1-EB4A-A207-CCF7E9FB67DA}"/>
              </a:ext>
            </a:extLst>
          </p:cNvPr>
          <p:cNvSpPr/>
          <p:nvPr/>
        </p:nvSpPr>
        <p:spPr>
          <a:xfrm>
            <a:off x="4518671" y="4545690"/>
            <a:ext cx="183604" cy="456403"/>
          </a:xfrm>
          <a:prstGeom prst="roundRect">
            <a:avLst/>
          </a:prstGeom>
          <a:solidFill>
            <a:srgbClr val="0079D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solidFill>
                  <a:schemeClr val="bg1"/>
                </a:solidFill>
                <a:latin typeface="Comic Sans MS" panose="030F0902030302020204" pitchFamily="66" charset="0"/>
                <a:ea typeface="Nanum Pen Script" panose="03040600000000000000" pitchFamily="66" charset="-127"/>
              </a:rPr>
              <a:t>7</a:t>
            </a:r>
          </a:p>
        </p:txBody>
      </p:sp>
      <p:sp>
        <p:nvSpPr>
          <p:cNvPr id="103" name="Rounded Rectangle 102">
            <a:extLst>
              <a:ext uri="{FF2B5EF4-FFF2-40B4-BE49-F238E27FC236}">
                <a16:creationId xmlns:a16="http://schemas.microsoft.com/office/drawing/2014/main" id="{9C0DF98E-6775-F349-AA93-9B1BF0A6B7D5}"/>
              </a:ext>
            </a:extLst>
          </p:cNvPr>
          <p:cNvSpPr/>
          <p:nvPr/>
        </p:nvSpPr>
        <p:spPr>
          <a:xfrm>
            <a:off x="4693614" y="4545690"/>
            <a:ext cx="183604" cy="461059"/>
          </a:xfrm>
          <a:prstGeom prst="roundRect">
            <a:avLst/>
          </a:prstGeom>
          <a:solidFill>
            <a:srgbClr val="0079D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solidFill>
                  <a:schemeClr val="bg1"/>
                </a:solidFill>
                <a:latin typeface="Comic Sans MS" panose="030F0902030302020204" pitchFamily="66" charset="0"/>
                <a:ea typeface="Nanum Pen Script" panose="03040600000000000000" pitchFamily="66" charset="-127"/>
              </a:rPr>
              <a:t>8</a:t>
            </a:r>
          </a:p>
        </p:txBody>
      </p:sp>
      <p:sp>
        <p:nvSpPr>
          <p:cNvPr id="104" name="Rounded Rectangle 103">
            <a:extLst>
              <a:ext uri="{FF2B5EF4-FFF2-40B4-BE49-F238E27FC236}">
                <a16:creationId xmlns:a16="http://schemas.microsoft.com/office/drawing/2014/main" id="{DE9A6C9D-35F0-F44F-AA92-39775B3288E5}"/>
              </a:ext>
            </a:extLst>
          </p:cNvPr>
          <p:cNvSpPr/>
          <p:nvPr/>
        </p:nvSpPr>
        <p:spPr>
          <a:xfrm>
            <a:off x="4877218" y="4545690"/>
            <a:ext cx="183604" cy="456403"/>
          </a:xfrm>
          <a:prstGeom prst="roundRect">
            <a:avLst/>
          </a:prstGeom>
          <a:solidFill>
            <a:srgbClr val="0079D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solidFill>
                  <a:schemeClr val="bg1"/>
                </a:solidFill>
                <a:latin typeface="Comic Sans MS" panose="030F0902030302020204" pitchFamily="66" charset="0"/>
                <a:ea typeface="Nanum Pen Script" panose="03040600000000000000" pitchFamily="66" charset="-127"/>
              </a:rPr>
              <a:t>9</a:t>
            </a:r>
          </a:p>
        </p:txBody>
      </p:sp>
      <p:sp>
        <p:nvSpPr>
          <p:cNvPr id="105" name="Rounded Rectangle 104">
            <a:extLst>
              <a:ext uri="{FF2B5EF4-FFF2-40B4-BE49-F238E27FC236}">
                <a16:creationId xmlns:a16="http://schemas.microsoft.com/office/drawing/2014/main" id="{95D2D61F-F3BA-D54F-AB02-8F24191480EC}"/>
              </a:ext>
            </a:extLst>
          </p:cNvPr>
          <p:cNvSpPr/>
          <p:nvPr/>
        </p:nvSpPr>
        <p:spPr>
          <a:xfrm>
            <a:off x="5060822" y="4545690"/>
            <a:ext cx="183604" cy="461059"/>
          </a:xfrm>
          <a:prstGeom prst="roundRect">
            <a:avLst/>
          </a:prstGeom>
          <a:solidFill>
            <a:schemeClr val="bg1"/>
          </a:solidFill>
          <a:ln w="3175">
            <a:solidFill>
              <a:srgbClr val="0079D1">
                <a:alpha val="39000"/>
              </a:srgb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solidFill>
                  <a:schemeClr val="tx1">
                    <a:lumMod val="50000"/>
                  </a:schemeClr>
                </a:solidFill>
                <a:latin typeface="Comic Sans MS" panose="030F0902030302020204" pitchFamily="66" charset="0"/>
                <a:ea typeface="Nanum Pen Script" panose="03040600000000000000" pitchFamily="66" charset="-127"/>
              </a:rPr>
              <a:t>10</a:t>
            </a:r>
          </a:p>
        </p:txBody>
      </p:sp>
      <p:cxnSp>
        <p:nvCxnSpPr>
          <p:cNvPr id="109" name="Straight Connector 108">
            <a:extLst>
              <a:ext uri="{FF2B5EF4-FFF2-40B4-BE49-F238E27FC236}">
                <a16:creationId xmlns:a16="http://schemas.microsoft.com/office/drawing/2014/main" id="{2DA6E8B0-1DC7-F847-A8E7-4F1C8F49D75A}"/>
              </a:ext>
            </a:extLst>
          </p:cNvPr>
          <p:cNvCxnSpPr>
            <a:cxnSpLocks/>
          </p:cNvCxnSpPr>
          <p:nvPr/>
        </p:nvCxnSpPr>
        <p:spPr>
          <a:xfrm>
            <a:off x="5888450" y="3520286"/>
            <a:ext cx="982937" cy="0"/>
          </a:xfrm>
          <a:prstGeom prst="line">
            <a:avLst/>
          </a:prstGeom>
          <a:ln w="12700">
            <a:solidFill>
              <a:srgbClr val="87CBD8"/>
            </a:solidFill>
            <a:headEnd type="oval"/>
            <a:tailEnd type="oval"/>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A5F3C333-A12E-B143-8F9E-05A066071A77}"/>
              </a:ext>
            </a:extLst>
          </p:cNvPr>
          <p:cNvCxnSpPr>
            <a:cxnSpLocks/>
          </p:cNvCxnSpPr>
          <p:nvPr/>
        </p:nvCxnSpPr>
        <p:spPr>
          <a:xfrm>
            <a:off x="4987057" y="4178621"/>
            <a:ext cx="982937" cy="0"/>
          </a:xfrm>
          <a:prstGeom prst="line">
            <a:avLst/>
          </a:prstGeom>
          <a:ln w="12700">
            <a:solidFill>
              <a:srgbClr val="EE4328"/>
            </a:solidFill>
            <a:headEnd type="oval"/>
            <a:tailEnd type="oval"/>
          </a:ln>
        </p:spPr>
        <p:style>
          <a:lnRef idx="1">
            <a:schemeClr val="accent1"/>
          </a:lnRef>
          <a:fillRef idx="0">
            <a:schemeClr val="accent1"/>
          </a:fillRef>
          <a:effectRef idx="0">
            <a:schemeClr val="accent1"/>
          </a:effectRef>
          <a:fontRef idx="minor">
            <a:schemeClr val="tx1"/>
          </a:fontRef>
        </p:style>
      </p:cxnSp>
      <p:sp>
        <p:nvSpPr>
          <p:cNvPr id="112" name="Google Shape;61;p12">
            <a:extLst>
              <a:ext uri="{FF2B5EF4-FFF2-40B4-BE49-F238E27FC236}">
                <a16:creationId xmlns:a16="http://schemas.microsoft.com/office/drawing/2014/main" id="{D18D2365-5543-FD44-8387-37F64437EF59}"/>
              </a:ext>
            </a:extLst>
          </p:cNvPr>
          <p:cNvSpPr txBox="1">
            <a:spLocks/>
          </p:cNvSpPr>
          <p:nvPr/>
        </p:nvSpPr>
        <p:spPr>
          <a:xfrm>
            <a:off x="6123857" y="4024732"/>
            <a:ext cx="747530" cy="215444"/>
          </a:xfrm>
          <a:prstGeom prst="rect">
            <a:avLst/>
          </a:prstGeom>
          <a:noFill/>
        </p:spPr>
        <p:txBody>
          <a:bodyPr wrap="square" rtlCol="0">
            <a:spAutoFit/>
          </a:bodyPr>
          <a:lstStyle>
            <a:defPPr>
              <a:defRPr lang="en-US"/>
            </a:defPPr>
            <a:lvl1pPr algn="ctr" defTabSz="457200">
              <a:defRPr sz="90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defRPr>
            </a:lvl1pPr>
          </a:lstStyle>
          <a:p>
            <a:pPr algn="l"/>
            <a:r>
              <a:rPr lang="en-US" sz="800" dirty="0">
                <a:solidFill>
                  <a:schemeClr val="tx1">
                    <a:lumMod val="50000"/>
                  </a:schemeClr>
                </a:solidFill>
                <a:latin typeface="Comic Sans MS" panose="030F0902030302020204" pitchFamily="66" charset="0"/>
              </a:rPr>
              <a:t>writes</a:t>
            </a:r>
          </a:p>
        </p:txBody>
      </p:sp>
      <p:cxnSp>
        <p:nvCxnSpPr>
          <p:cNvPr id="113" name="Straight Connector 112">
            <a:extLst>
              <a:ext uri="{FF2B5EF4-FFF2-40B4-BE49-F238E27FC236}">
                <a16:creationId xmlns:a16="http://schemas.microsoft.com/office/drawing/2014/main" id="{C7F1F14E-CAF0-9240-9C12-F80F9FFE493C}"/>
              </a:ext>
            </a:extLst>
          </p:cNvPr>
          <p:cNvCxnSpPr>
            <a:cxnSpLocks/>
          </p:cNvCxnSpPr>
          <p:nvPr/>
        </p:nvCxnSpPr>
        <p:spPr>
          <a:xfrm>
            <a:off x="5321588" y="4770859"/>
            <a:ext cx="982937" cy="0"/>
          </a:xfrm>
          <a:prstGeom prst="line">
            <a:avLst/>
          </a:prstGeom>
          <a:ln w="12700">
            <a:solidFill>
              <a:srgbClr val="0079D1"/>
            </a:solidFill>
            <a:headEnd type="oval"/>
            <a:tailEnd type="oval"/>
          </a:ln>
        </p:spPr>
        <p:style>
          <a:lnRef idx="1">
            <a:schemeClr val="accent1"/>
          </a:lnRef>
          <a:fillRef idx="0">
            <a:schemeClr val="accent1"/>
          </a:fillRef>
          <a:effectRef idx="0">
            <a:schemeClr val="accent1"/>
          </a:effectRef>
          <a:fontRef idx="minor">
            <a:schemeClr val="tx1"/>
          </a:fontRef>
        </p:style>
      </p:cxnSp>
      <p:sp>
        <p:nvSpPr>
          <p:cNvPr id="114" name="Google Shape;61;p12">
            <a:extLst>
              <a:ext uri="{FF2B5EF4-FFF2-40B4-BE49-F238E27FC236}">
                <a16:creationId xmlns:a16="http://schemas.microsoft.com/office/drawing/2014/main" id="{764BB72B-3752-7141-9EE9-49D3B3405C1F}"/>
              </a:ext>
            </a:extLst>
          </p:cNvPr>
          <p:cNvSpPr txBox="1">
            <a:spLocks/>
          </p:cNvSpPr>
          <p:nvPr/>
        </p:nvSpPr>
        <p:spPr>
          <a:xfrm>
            <a:off x="7489727" y="3533243"/>
            <a:ext cx="4191989" cy="1384995"/>
          </a:xfrm>
          <a:prstGeom prst="rect">
            <a:avLst/>
          </a:prstGeom>
          <a:noFill/>
        </p:spPr>
        <p:txBody>
          <a:bodyPr wrap="square" rtlCol="0">
            <a:spAutoFit/>
          </a:bodyPr>
          <a:lstStyle>
            <a:defPPr>
              <a:defRPr lang="en-US"/>
            </a:defPPr>
            <a:lvl1pPr algn="ctr" defTabSz="457200">
              <a:defRPr sz="90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defRPr>
            </a:lvl1pPr>
          </a:lstStyle>
          <a:p>
            <a:pPr marL="285750" indent="-285750" algn="l">
              <a:buFont typeface="Arial" panose="020B0604020202020204" pitchFamily="34" charset="0"/>
              <a:buChar char="•"/>
            </a:pPr>
            <a:r>
              <a:rPr lang="en-US" sz="1050" dirty="0">
                <a:solidFill>
                  <a:schemeClr val="tx1">
                    <a:lumMod val="50000"/>
                  </a:schemeClr>
                </a:solidFill>
                <a:latin typeface="Comic Sans MS" panose="030F0902030302020204" pitchFamily="66" charset="0"/>
              </a:rPr>
              <a:t>Offset only have a meaning for a specific partition</a:t>
            </a:r>
          </a:p>
          <a:p>
            <a:pPr marL="285750" indent="-285750" algn="l">
              <a:buFont typeface="Arial" panose="020B0604020202020204" pitchFamily="34" charset="0"/>
              <a:buChar char="•"/>
            </a:pPr>
            <a:r>
              <a:rPr lang="en-US" sz="1050" dirty="0">
                <a:solidFill>
                  <a:schemeClr val="tx1">
                    <a:lumMod val="50000"/>
                  </a:schemeClr>
                </a:solidFill>
                <a:latin typeface="Comic Sans MS" panose="030F0902030302020204" pitchFamily="66" charset="0"/>
              </a:rPr>
              <a:t>Order is guaranteed only within a partition (not across partitions)</a:t>
            </a:r>
          </a:p>
          <a:p>
            <a:pPr marL="285750" indent="-285750" algn="l">
              <a:buFont typeface="Arial" panose="020B0604020202020204" pitchFamily="34" charset="0"/>
              <a:buChar char="•"/>
            </a:pPr>
            <a:r>
              <a:rPr lang="en-US" sz="1050" dirty="0">
                <a:solidFill>
                  <a:schemeClr val="tx1">
                    <a:lumMod val="50000"/>
                  </a:schemeClr>
                </a:solidFill>
                <a:latin typeface="Comic Sans MS" panose="030F0902030302020204" pitchFamily="66" charset="0"/>
              </a:rPr>
              <a:t>Data is Kept only for a limited time</a:t>
            </a:r>
          </a:p>
          <a:p>
            <a:pPr marL="285750" indent="-285750" algn="l">
              <a:buFont typeface="Arial" panose="020B0604020202020204" pitchFamily="34" charset="0"/>
              <a:buChar char="•"/>
            </a:pPr>
            <a:r>
              <a:rPr lang="en-US" sz="1050" dirty="0">
                <a:solidFill>
                  <a:schemeClr val="tx1">
                    <a:lumMod val="50000"/>
                  </a:schemeClr>
                </a:solidFill>
                <a:latin typeface="Comic Sans MS" panose="030F0902030302020204" pitchFamily="66" charset="0"/>
              </a:rPr>
              <a:t>Once the data is written to partition, it can't be changed (immutability)</a:t>
            </a:r>
          </a:p>
          <a:p>
            <a:pPr marL="285750" indent="-285750" algn="l">
              <a:buFont typeface="Arial" panose="020B0604020202020204" pitchFamily="34" charset="0"/>
              <a:buChar char="•"/>
            </a:pPr>
            <a:r>
              <a:rPr lang="en-US" sz="1050" dirty="0">
                <a:solidFill>
                  <a:schemeClr val="tx1">
                    <a:lumMod val="50000"/>
                  </a:schemeClr>
                </a:solidFill>
                <a:latin typeface="Comic Sans MS" panose="030F0902030302020204" pitchFamily="66" charset="0"/>
              </a:rPr>
              <a:t>Data is assigned randomly to a partition unless a key is provided</a:t>
            </a:r>
          </a:p>
        </p:txBody>
      </p:sp>
    </p:spTree>
    <p:extLst>
      <p:ext uri="{BB962C8B-B14F-4D97-AF65-F5344CB8AC3E}">
        <p14:creationId xmlns:p14="http://schemas.microsoft.com/office/powerpoint/2010/main" val="3247489828"/>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48952493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tangle 3">
            <a:extLst>
              <a:ext uri="{FF2B5EF4-FFF2-40B4-BE49-F238E27FC236}">
                <a16:creationId xmlns:a16="http://schemas.microsoft.com/office/drawing/2014/main" id="{A27FD23C-A522-0E4F-B70C-CC83BC4542BA}"/>
              </a:ext>
            </a:extLst>
          </p:cNvPr>
          <p:cNvSpPr txBox="1"/>
          <p:nvPr/>
        </p:nvSpPr>
        <p:spPr>
          <a:xfrm>
            <a:off x="404808" y="237462"/>
            <a:ext cx="7585857" cy="400105"/>
          </a:xfrm>
          <a:prstGeom prst="rect">
            <a:avLst/>
          </a:prstGeom>
          <a:ln w="12700">
            <a:miter lim="400000"/>
          </a:ln>
          <a:extLst>
            <a:ext uri="{C572A759-6A51-4108-AA02-DFA0A04FC94B}">
              <ma14:wrappingTextBoxFlag xmlns:ma14="http://schemas.microsoft.com/office/mac/drawingml/2011/main" xmlns="" val="1"/>
            </a:ext>
          </a:extLst>
        </p:spPr>
        <p:txBody>
          <a:bodyPr wrap="square" lIns="45718" tIns="45718" rIns="45718" bIns="45718">
            <a:spAutoFit/>
          </a:bodyPr>
          <a:lstStyle>
            <a:lvl1pPr algn="l" defTabSz="914400">
              <a:defRPr sz="2200" b="1">
                <a:solidFill>
                  <a:srgbClr val="FFFFFF"/>
                </a:solidFill>
                <a:latin typeface="Arial"/>
                <a:ea typeface="Arial"/>
                <a:cs typeface="Arial"/>
                <a:sym typeface="Arial"/>
              </a:defRPr>
            </a:lvl1pPr>
          </a:lstStyle>
          <a:p>
            <a:r>
              <a:rPr lang="en-US" sz="2000" dirty="0">
                <a:solidFill>
                  <a:srgbClr val="016AA2"/>
                </a:solidFill>
              </a:rPr>
              <a:t>Features and terminology (III)</a:t>
            </a:r>
          </a:p>
        </p:txBody>
      </p:sp>
      <p:sp>
        <p:nvSpPr>
          <p:cNvPr id="65" name="Rectangle 3"/>
          <p:cNvSpPr txBox="1"/>
          <p:nvPr/>
        </p:nvSpPr>
        <p:spPr>
          <a:xfrm>
            <a:off x="404806" y="610135"/>
            <a:ext cx="8775769" cy="369328"/>
          </a:xfrm>
          <a:prstGeom prst="rect">
            <a:avLst/>
          </a:prstGeom>
          <a:ln w="12700">
            <a:miter lim="400000"/>
          </a:ln>
          <a:extLst>
            <a:ext uri="{C572A759-6A51-4108-AA02-DFA0A04FC94B}">
              <ma14:wrappingTextBoxFlag xmlns="" xmlns:ma14="http://schemas.microsoft.com/office/mac/drawingml/2011/main" val="1"/>
            </a:ext>
          </a:extLst>
        </p:spPr>
        <p:txBody>
          <a:bodyPr wrap="square" lIns="45718" tIns="45718" rIns="45718" bIns="45718">
            <a:spAutoFit/>
          </a:bodyPr>
          <a:lstStyle>
            <a:lvl1pPr algn="l" defTabSz="914400">
              <a:defRPr sz="2000">
                <a:solidFill>
                  <a:srgbClr val="104D6A"/>
                </a:solidFill>
                <a:latin typeface="Arial"/>
                <a:ea typeface="Arial"/>
                <a:cs typeface="Arial"/>
                <a:sym typeface="Arial"/>
              </a:defRPr>
            </a:lvl1pPr>
          </a:lstStyle>
          <a:p>
            <a:pPr>
              <a:defRPr/>
            </a:pPr>
            <a:r>
              <a:rPr lang="en-US" sz="1800" b="1" dirty="0">
                <a:solidFill>
                  <a:srgbClr val="73C4EF"/>
                </a:solidFill>
              </a:rPr>
              <a:t>Event Hub Architecture – Topics Replication factor</a:t>
            </a:r>
          </a:p>
        </p:txBody>
      </p:sp>
      <p:sp>
        <p:nvSpPr>
          <p:cNvPr id="52" name="Rectangle 51">
            <a:extLst>
              <a:ext uri="{FF2B5EF4-FFF2-40B4-BE49-F238E27FC236}">
                <a16:creationId xmlns:a16="http://schemas.microsoft.com/office/drawing/2014/main" id="{5B86E7B8-1B06-3F46-9976-7A54E47D5724}"/>
              </a:ext>
            </a:extLst>
          </p:cNvPr>
          <p:cNvSpPr/>
          <p:nvPr/>
        </p:nvSpPr>
        <p:spPr>
          <a:xfrm>
            <a:off x="404805" y="1013710"/>
            <a:ext cx="11276911" cy="689589"/>
          </a:xfrm>
          <a:prstGeom prst="rect">
            <a:avLst/>
          </a:prstGeom>
          <a:noFill/>
        </p:spPr>
        <p:txBody>
          <a:bodyPr wrap="square" tIns="90000" bIns="90000" rtlCol="0" anchor="t">
            <a:spAutoFit/>
          </a:bodyPr>
          <a:lstStyle/>
          <a:p>
            <a:pPr marL="285750" indent="-285750" algn="just">
              <a:buFont typeface="Arial" panose="020B0604020202020204" pitchFamily="34" charset="0"/>
              <a:buChar char="•"/>
            </a:pPr>
            <a:r>
              <a:rPr lang="en-US" sz="1100" dirty="0">
                <a:solidFill>
                  <a:srgbClr val="0079D1"/>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Topic should have a replication factor &gt; 1 (usually between 2 and 3)</a:t>
            </a:r>
          </a:p>
          <a:p>
            <a:pPr marL="285750" indent="-285750" algn="just">
              <a:buFont typeface="Arial" panose="020B0604020202020204" pitchFamily="34" charset="0"/>
              <a:buChar char="•"/>
            </a:pPr>
            <a:r>
              <a:rPr lang="en-US" sz="1100" dirty="0">
                <a:solidFill>
                  <a:srgbClr val="0079D1"/>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This way if a broker is down, another broker can serve the data</a:t>
            </a:r>
          </a:p>
          <a:p>
            <a:pPr marL="285750" indent="-285750" algn="just">
              <a:buFont typeface="Arial" panose="020B0604020202020204" pitchFamily="34" charset="0"/>
              <a:buChar char="•"/>
            </a:pPr>
            <a:r>
              <a:rPr lang="en-US" sz="1100" dirty="0">
                <a:solidFill>
                  <a:srgbClr val="0079D1"/>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Example: Topic-A with 2 partition and replication factor of 2</a:t>
            </a:r>
          </a:p>
        </p:txBody>
      </p:sp>
      <p:sp>
        <p:nvSpPr>
          <p:cNvPr id="53" name="Rectangle 52">
            <a:extLst>
              <a:ext uri="{FF2B5EF4-FFF2-40B4-BE49-F238E27FC236}">
                <a16:creationId xmlns:a16="http://schemas.microsoft.com/office/drawing/2014/main" id="{7C68DBFA-B87F-1941-B949-F41FAE326024}"/>
              </a:ext>
            </a:extLst>
          </p:cNvPr>
          <p:cNvSpPr/>
          <p:nvPr/>
        </p:nvSpPr>
        <p:spPr>
          <a:xfrm>
            <a:off x="2523281" y="2049404"/>
            <a:ext cx="1851949" cy="1781817"/>
          </a:xfrm>
          <a:prstGeom prst="rect">
            <a:avLst/>
          </a:prstGeom>
          <a:solidFill>
            <a:srgbClr val="87CBD8">
              <a:alpha val="95000"/>
            </a:srgb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t" anchorCtr="0" forceAA="0" compatLnSpc="1">
            <a:prstTxWarp prst="textNoShape">
              <a:avLst/>
            </a:prstTxWarp>
            <a:noAutofit/>
          </a:bodyPr>
          <a:lstStyle/>
          <a:p>
            <a:pPr algn="ctr" defTabSz="457200"/>
            <a:r>
              <a:rPr lang="en-US" sz="1000" dirty="0">
                <a:solidFill>
                  <a:srgbClr val="0067B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Broker 1</a:t>
            </a:r>
          </a:p>
        </p:txBody>
      </p:sp>
      <p:sp>
        <p:nvSpPr>
          <p:cNvPr id="57" name="Rounded Rectangle 56">
            <a:extLst>
              <a:ext uri="{FF2B5EF4-FFF2-40B4-BE49-F238E27FC236}">
                <a16:creationId xmlns:a16="http://schemas.microsoft.com/office/drawing/2014/main" id="{7EC2F573-4C2D-0144-8F15-36F97F21C4AB}"/>
              </a:ext>
            </a:extLst>
          </p:cNvPr>
          <p:cNvSpPr/>
          <p:nvPr/>
        </p:nvSpPr>
        <p:spPr>
          <a:xfrm>
            <a:off x="2639029" y="2334231"/>
            <a:ext cx="1597305" cy="621176"/>
          </a:xfrm>
          <a:prstGeom prst="roundRect">
            <a:avLst/>
          </a:prstGeom>
          <a:solidFill>
            <a:srgbClr val="EE4328"/>
          </a:solidFill>
          <a:ln w="3175">
            <a:solidFill>
              <a:schemeClr val="bg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bg1"/>
                </a:solidFill>
                <a:latin typeface="Comic Sans MS" panose="030F0902030302020204" pitchFamily="66" charset="0"/>
                <a:ea typeface="Nanum Pen Script" panose="03040600000000000000" pitchFamily="66" charset="-127"/>
              </a:rPr>
              <a:t>Partition 0</a:t>
            </a:r>
          </a:p>
          <a:p>
            <a:pPr algn="ctr"/>
            <a:r>
              <a:rPr lang="en-US" sz="900" dirty="0">
                <a:solidFill>
                  <a:schemeClr val="bg1"/>
                </a:solidFill>
                <a:latin typeface="Comic Sans MS" panose="030F0902030302020204" pitchFamily="66" charset="0"/>
                <a:ea typeface="Nanum Pen Script" panose="03040600000000000000" pitchFamily="66" charset="-127"/>
              </a:rPr>
              <a:t>Topic-A </a:t>
            </a:r>
          </a:p>
        </p:txBody>
      </p:sp>
      <p:sp>
        <p:nvSpPr>
          <p:cNvPr id="58" name="Rectangle 57">
            <a:extLst>
              <a:ext uri="{FF2B5EF4-FFF2-40B4-BE49-F238E27FC236}">
                <a16:creationId xmlns:a16="http://schemas.microsoft.com/office/drawing/2014/main" id="{6DA7002B-345B-D34A-83CA-787A73691C10}"/>
              </a:ext>
            </a:extLst>
          </p:cNvPr>
          <p:cNvSpPr/>
          <p:nvPr/>
        </p:nvSpPr>
        <p:spPr>
          <a:xfrm>
            <a:off x="5071641" y="2049405"/>
            <a:ext cx="1851949" cy="1781816"/>
          </a:xfrm>
          <a:prstGeom prst="rect">
            <a:avLst/>
          </a:prstGeom>
          <a:solidFill>
            <a:srgbClr val="87CBD8">
              <a:alpha val="95000"/>
            </a:srgb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t" anchorCtr="0" forceAA="0" compatLnSpc="1">
            <a:prstTxWarp prst="textNoShape">
              <a:avLst/>
            </a:prstTxWarp>
            <a:noAutofit/>
          </a:bodyPr>
          <a:lstStyle/>
          <a:p>
            <a:pPr algn="ctr" defTabSz="457200"/>
            <a:r>
              <a:rPr lang="en-US" sz="1000" dirty="0">
                <a:solidFill>
                  <a:srgbClr val="0067B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Broker 2</a:t>
            </a:r>
          </a:p>
        </p:txBody>
      </p:sp>
      <p:sp>
        <p:nvSpPr>
          <p:cNvPr id="59" name="Rounded Rectangle 58">
            <a:extLst>
              <a:ext uri="{FF2B5EF4-FFF2-40B4-BE49-F238E27FC236}">
                <a16:creationId xmlns:a16="http://schemas.microsoft.com/office/drawing/2014/main" id="{7E35CB00-9371-1344-9130-8897898A9216}"/>
              </a:ext>
            </a:extLst>
          </p:cNvPr>
          <p:cNvSpPr/>
          <p:nvPr/>
        </p:nvSpPr>
        <p:spPr>
          <a:xfrm>
            <a:off x="5187389" y="2334231"/>
            <a:ext cx="1597305" cy="621176"/>
          </a:xfrm>
          <a:prstGeom prst="roundRect">
            <a:avLst/>
          </a:prstGeom>
          <a:solidFill>
            <a:srgbClr val="F36F26">
              <a:alpha val="80000"/>
            </a:srgbClr>
          </a:solidFill>
          <a:ln w="3175">
            <a:solidFill>
              <a:schemeClr val="bg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bg1"/>
                </a:solidFill>
                <a:latin typeface="Comic Sans MS" panose="030F0902030302020204" pitchFamily="66" charset="0"/>
                <a:ea typeface="Nanum Pen Script" panose="03040600000000000000" pitchFamily="66" charset="-127"/>
              </a:rPr>
              <a:t>Partition 1</a:t>
            </a:r>
          </a:p>
          <a:p>
            <a:pPr algn="ctr"/>
            <a:r>
              <a:rPr lang="en-US" sz="900" dirty="0">
                <a:solidFill>
                  <a:schemeClr val="bg1"/>
                </a:solidFill>
                <a:latin typeface="Comic Sans MS" panose="030F0902030302020204" pitchFamily="66" charset="0"/>
                <a:ea typeface="Nanum Pen Script" panose="03040600000000000000" pitchFamily="66" charset="-127"/>
              </a:rPr>
              <a:t>Topic-A (Leader)</a:t>
            </a:r>
          </a:p>
        </p:txBody>
      </p:sp>
      <p:sp>
        <p:nvSpPr>
          <p:cNvPr id="63" name="Rectangle 62">
            <a:extLst>
              <a:ext uri="{FF2B5EF4-FFF2-40B4-BE49-F238E27FC236}">
                <a16:creationId xmlns:a16="http://schemas.microsoft.com/office/drawing/2014/main" id="{9452D72C-B629-E648-BF15-5D2B269341AF}"/>
              </a:ext>
            </a:extLst>
          </p:cNvPr>
          <p:cNvSpPr/>
          <p:nvPr/>
        </p:nvSpPr>
        <p:spPr>
          <a:xfrm>
            <a:off x="7765573" y="2049404"/>
            <a:ext cx="1851949" cy="1781817"/>
          </a:xfrm>
          <a:prstGeom prst="rect">
            <a:avLst/>
          </a:prstGeom>
          <a:solidFill>
            <a:srgbClr val="87CBD8">
              <a:alpha val="95000"/>
            </a:srgb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t" anchorCtr="0" forceAA="0" compatLnSpc="1">
            <a:prstTxWarp prst="textNoShape">
              <a:avLst/>
            </a:prstTxWarp>
            <a:noAutofit/>
          </a:bodyPr>
          <a:lstStyle/>
          <a:p>
            <a:pPr algn="ctr" defTabSz="457200"/>
            <a:r>
              <a:rPr lang="en-US" sz="1000" dirty="0">
                <a:solidFill>
                  <a:srgbClr val="0067B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Broker 3</a:t>
            </a:r>
          </a:p>
        </p:txBody>
      </p:sp>
      <p:sp>
        <p:nvSpPr>
          <p:cNvPr id="64" name="Rounded Rectangle 63">
            <a:extLst>
              <a:ext uri="{FF2B5EF4-FFF2-40B4-BE49-F238E27FC236}">
                <a16:creationId xmlns:a16="http://schemas.microsoft.com/office/drawing/2014/main" id="{5893FC06-ACFD-B443-BA9E-6B67D19B2078}"/>
              </a:ext>
            </a:extLst>
          </p:cNvPr>
          <p:cNvSpPr/>
          <p:nvPr/>
        </p:nvSpPr>
        <p:spPr>
          <a:xfrm>
            <a:off x="7881321" y="2334231"/>
            <a:ext cx="1597305" cy="621176"/>
          </a:xfrm>
          <a:prstGeom prst="roundRect">
            <a:avLst/>
          </a:prstGeom>
          <a:solidFill>
            <a:srgbClr val="F36F26">
              <a:alpha val="80000"/>
            </a:srgbClr>
          </a:solidFill>
          <a:ln w="3175">
            <a:solidFill>
              <a:schemeClr val="bg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bg1"/>
                </a:solidFill>
                <a:latin typeface="Comic Sans MS" panose="030F0902030302020204" pitchFamily="66" charset="0"/>
                <a:ea typeface="Nanum Pen Script" panose="03040600000000000000" pitchFamily="66" charset="-127"/>
              </a:rPr>
              <a:t>Partition 0</a:t>
            </a:r>
          </a:p>
          <a:p>
            <a:pPr algn="ctr"/>
            <a:r>
              <a:rPr lang="en-US" sz="900" dirty="0">
                <a:solidFill>
                  <a:schemeClr val="bg1"/>
                </a:solidFill>
                <a:latin typeface="Comic Sans MS" panose="030F0902030302020204" pitchFamily="66" charset="0"/>
                <a:ea typeface="Nanum Pen Script" panose="03040600000000000000" pitchFamily="66" charset="-127"/>
              </a:rPr>
              <a:t>Topic-A (Leader)</a:t>
            </a:r>
          </a:p>
        </p:txBody>
      </p:sp>
      <p:sp>
        <p:nvSpPr>
          <p:cNvPr id="75" name="Rounded Rectangle 74">
            <a:extLst>
              <a:ext uri="{FF2B5EF4-FFF2-40B4-BE49-F238E27FC236}">
                <a16:creationId xmlns:a16="http://schemas.microsoft.com/office/drawing/2014/main" id="{E46EC1DB-E099-C341-ADE8-339F517D1ABF}"/>
              </a:ext>
            </a:extLst>
          </p:cNvPr>
          <p:cNvSpPr/>
          <p:nvPr/>
        </p:nvSpPr>
        <p:spPr>
          <a:xfrm>
            <a:off x="5187388" y="3025976"/>
            <a:ext cx="1597305" cy="621176"/>
          </a:xfrm>
          <a:prstGeom prst="roundRect">
            <a:avLst/>
          </a:prstGeom>
          <a:solidFill>
            <a:srgbClr val="EE4328"/>
          </a:solidFill>
          <a:ln w="3175">
            <a:solidFill>
              <a:schemeClr val="bg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bg1"/>
                </a:solidFill>
                <a:latin typeface="Comic Sans MS" panose="030F0902030302020204" pitchFamily="66" charset="0"/>
                <a:ea typeface="Nanum Pen Script" panose="03040600000000000000" pitchFamily="66" charset="-127"/>
              </a:rPr>
              <a:t>Partition 0</a:t>
            </a:r>
          </a:p>
          <a:p>
            <a:pPr algn="ctr"/>
            <a:r>
              <a:rPr lang="en-US" sz="900" dirty="0">
                <a:solidFill>
                  <a:schemeClr val="bg1"/>
                </a:solidFill>
                <a:latin typeface="Comic Sans MS" panose="030F0902030302020204" pitchFamily="66" charset="0"/>
                <a:ea typeface="Nanum Pen Script" panose="03040600000000000000" pitchFamily="66" charset="-127"/>
              </a:rPr>
              <a:t>Topic-A</a:t>
            </a:r>
          </a:p>
        </p:txBody>
      </p:sp>
      <p:cxnSp>
        <p:nvCxnSpPr>
          <p:cNvPr id="74" name="Straight Connector 73">
            <a:extLst>
              <a:ext uri="{FF2B5EF4-FFF2-40B4-BE49-F238E27FC236}">
                <a16:creationId xmlns:a16="http://schemas.microsoft.com/office/drawing/2014/main" id="{4ED28C91-86DE-F54C-AC84-241079B823C7}"/>
              </a:ext>
            </a:extLst>
          </p:cNvPr>
          <p:cNvCxnSpPr>
            <a:cxnSpLocks/>
            <a:stCxn id="57" idx="3"/>
            <a:endCxn id="75" idx="1"/>
          </p:cNvCxnSpPr>
          <p:nvPr/>
        </p:nvCxnSpPr>
        <p:spPr>
          <a:xfrm>
            <a:off x="4236334" y="2644819"/>
            <a:ext cx="951054" cy="691745"/>
          </a:xfrm>
          <a:prstGeom prst="line">
            <a:avLst/>
          </a:prstGeom>
          <a:ln w="12700">
            <a:solidFill>
              <a:srgbClr val="0079D1"/>
            </a:solidFill>
            <a:headEnd type="oval"/>
            <a:tailEnd type="oval"/>
          </a:ln>
        </p:spPr>
        <p:style>
          <a:lnRef idx="1">
            <a:schemeClr val="accent1"/>
          </a:lnRef>
          <a:fillRef idx="0">
            <a:schemeClr val="accent1"/>
          </a:fillRef>
          <a:effectRef idx="0">
            <a:schemeClr val="accent1"/>
          </a:effectRef>
          <a:fontRef idx="minor">
            <a:schemeClr val="tx1"/>
          </a:fontRef>
        </p:style>
      </p:cxnSp>
      <p:cxnSp>
        <p:nvCxnSpPr>
          <p:cNvPr id="76" name="Straight Connector 75">
            <a:extLst>
              <a:ext uri="{FF2B5EF4-FFF2-40B4-BE49-F238E27FC236}">
                <a16:creationId xmlns:a16="http://schemas.microsoft.com/office/drawing/2014/main" id="{0B017F6C-1ABB-1D43-8AE9-D7B173E432C1}"/>
              </a:ext>
            </a:extLst>
          </p:cNvPr>
          <p:cNvCxnSpPr>
            <a:cxnSpLocks/>
            <a:stCxn id="59" idx="3"/>
            <a:endCxn id="64" idx="1"/>
          </p:cNvCxnSpPr>
          <p:nvPr/>
        </p:nvCxnSpPr>
        <p:spPr>
          <a:xfrm>
            <a:off x="6784694" y="2644819"/>
            <a:ext cx="1096627" cy="0"/>
          </a:xfrm>
          <a:prstGeom prst="line">
            <a:avLst/>
          </a:prstGeom>
          <a:ln w="12700">
            <a:solidFill>
              <a:srgbClr val="0079D1"/>
            </a:solidFill>
            <a:headEnd type="oval"/>
            <a:tailEnd type="oval"/>
          </a:ln>
        </p:spPr>
        <p:style>
          <a:lnRef idx="1">
            <a:schemeClr val="accent1"/>
          </a:lnRef>
          <a:fillRef idx="0">
            <a:schemeClr val="accent1"/>
          </a:fillRef>
          <a:effectRef idx="0">
            <a:schemeClr val="accent1"/>
          </a:effectRef>
          <a:fontRef idx="minor">
            <a:schemeClr val="tx1"/>
          </a:fontRef>
        </p:style>
      </p:cxnSp>
      <p:sp>
        <p:nvSpPr>
          <p:cNvPr id="77" name="Rectangle 76">
            <a:extLst>
              <a:ext uri="{FF2B5EF4-FFF2-40B4-BE49-F238E27FC236}">
                <a16:creationId xmlns:a16="http://schemas.microsoft.com/office/drawing/2014/main" id="{2A995AF7-71D6-DD49-BC43-49751B257ABD}"/>
              </a:ext>
            </a:extLst>
          </p:cNvPr>
          <p:cNvSpPr/>
          <p:nvPr/>
        </p:nvSpPr>
        <p:spPr>
          <a:xfrm>
            <a:off x="404804" y="3837926"/>
            <a:ext cx="11276911" cy="520312"/>
          </a:xfrm>
          <a:prstGeom prst="rect">
            <a:avLst/>
          </a:prstGeom>
          <a:noFill/>
        </p:spPr>
        <p:txBody>
          <a:bodyPr wrap="square" tIns="90000" bIns="90000" rtlCol="0" anchor="t">
            <a:spAutoFit/>
          </a:bodyPr>
          <a:lstStyle/>
          <a:p>
            <a:pPr marL="285750" indent="-285750" algn="just">
              <a:buFont typeface="Arial" panose="020B0604020202020204" pitchFamily="34" charset="0"/>
              <a:buChar char="•"/>
            </a:pPr>
            <a:r>
              <a:rPr lang="en-US" sz="1100" dirty="0">
                <a:solidFill>
                  <a:srgbClr val="0079D1"/>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Example lost Broker 2</a:t>
            </a:r>
          </a:p>
          <a:p>
            <a:pPr marL="285750" indent="-285750" algn="just">
              <a:buFont typeface="Arial" panose="020B0604020202020204" pitchFamily="34" charset="0"/>
              <a:buChar char="•"/>
            </a:pPr>
            <a:r>
              <a:rPr lang="en-US" sz="1100" dirty="0">
                <a:solidFill>
                  <a:srgbClr val="0079D1"/>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Result: Broker 1 and 3 can still serve the data</a:t>
            </a:r>
          </a:p>
        </p:txBody>
      </p:sp>
      <p:sp>
        <p:nvSpPr>
          <p:cNvPr id="93" name="Rectangle 92">
            <a:extLst>
              <a:ext uri="{FF2B5EF4-FFF2-40B4-BE49-F238E27FC236}">
                <a16:creationId xmlns:a16="http://schemas.microsoft.com/office/drawing/2014/main" id="{62F239F7-C0DB-0C4F-87C6-BDB3F7F3DDA0}"/>
              </a:ext>
            </a:extLst>
          </p:cNvPr>
          <p:cNvSpPr/>
          <p:nvPr/>
        </p:nvSpPr>
        <p:spPr>
          <a:xfrm>
            <a:off x="2523281" y="4541908"/>
            <a:ext cx="1851949" cy="1781817"/>
          </a:xfrm>
          <a:prstGeom prst="rect">
            <a:avLst/>
          </a:prstGeom>
          <a:solidFill>
            <a:srgbClr val="87CBD8">
              <a:alpha val="95000"/>
            </a:srgb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t" anchorCtr="0" forceAA="0" compatLnSpc="1">
            <a:prstTxWarp prst="textNoShape">
              <a:avLst/>
            </a:prstTxWarp>
            <a:noAutofit/>
          </a:bodyPr>
          <a:lstStyle/>
          <a:p>
            <a:pPr algn="ctr" defTabSz="457200"/>
            <a:r>
              <a:rPr lang="en-US" sz="1000" dirty="0">
                <a:solidFill>
                  <a:srgbClr val="0067B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Broker 1</a:t>
            </a:r>
          </a:p>
        </p:txBody>
      </p:sp>
      <p:sp>
        <p:nvSpPr>
          <p:cNvPr id="94" name="Rounded Rectangle 93">
            <a:extLst>
              <a:ext uri="{FF2B5EF4-FFF2-40B4-BE49-F238E27FC236}">
                <a16:creationId xmlns:a16="http://schemas.microsoft.com/office/drawing/2014/main" id="{03253365-6838-5B4C-8BD5-DB9409A9D21C}"/>
              </a:ext>
            </a:extLst>
          </p:cNvPr>
          <p:cNvSpPr/>
          <p:nvPr/>
        </p:nvSpPr>
        <p:spPr>
          <a:xfrm>
            <a:off x="2639029" y="4826735"/>
            <a:ext cx="1597305" cy="621176"/>
          </a:xfrm>
          <a:prstGeom prst="roundRect">
            <a:avLst/>
          </a:prstGeom>
          <a:solidFill>
            <a:srgbClr val="EE4328"/>
          </a:solidFill>
          <a:ln w="3175">
            <a:solidFill>
              <a:schemeClr val="bg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bg1"/>
                </a:solidFill>
                <a:latin typeface="Comic Sans MS" panose="030F0902030302020204" pitchFamily="66" charset="0"/>
                <a:ea typeface="Nanum Pen Script" panose="03040600000000000000" pitchFamily="66" charset="-127"/>
              </a:rPr>
              <a:t>Partition 0</a:t>
            </a:r>
          </a:p>
          <a:p>
            <a:pPr algn="ctr"/>
            <a:r>
              <a:rPr lang="en-US" sz="900" dirty="0">
                <a:solidFill>
                  <a:schemeClr val="bg1"/>
                </a:solidFill>
                <a:latin typeface="Comic Sans MS" panose="030F0902030302020204" pitchFamily="66" charset="0"/>
                <a:ea typeface="Nanum Pen Script" panose="03040600000000000000" pitchFamily="66" charset="-127"/>
              </a:rPr>
              <a:t>Topic-A </a:t>
            </a:r>
          </a:p>
        </p:txBody>
      </p:sp>
      <p:sp>
        <p:nvSpPr>
          <p:cNvPr id="106" name="Rectangle 105">
            <a:extLst>
              <a:ext uri="{FF2B5EF4-FFF2-40B4-BE49-F238E27FC236}">
                <a16:creationId xmlns:a16="http://schemas.microsoft.com/office/drawing/2014/main" id="{C86AF522-7B77-6F43-A656-D63A61229296}"/>
              </a:ext>
            </a:extLst>
          </p:cNvPr>
          <p:cNvSpPr/>
          <p:nvPr/>
        </p:nvSpPr>
        <p:spPr>
          <a:xfrm>
            <a:off x="5071641" y="4541909"/>
            <a:ext cx="1851949" cy="1781816"/>
          </a:xfrm>
          <a:prstGeom prst="rect">
            <a:avLst/>
          </a:prstGeom>
          <a:solidFill>
            <a:srgbClr val="87CBD8">
              <a:alpha val="95000"/>
            </a:srgb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t" anchorCtr="0" forceAA="0" compatLnSpc="1">
            <a:prstTxWarp prst="textNoShape">
              <a:avLst/>
            </a:prstTxWarp>
            <a:noAutofit/>
          </a:bodyPr>
          <a:lstStyle/>
          <a:p>
            <a:pPr algn="ctr" defTabSz="457200"/>
            <a:r>
              <a:rPr lang="en-US" sz="1000" dirty="0">
                <a:solidFill>
                  <a:srgbClr val="0067B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Broker 2</a:t>
            </a:r>
          </a:p>
        </p:txBody>
      </p:sp>
      <p:sp>
        <p:nvSpPr>
          <p:cNvPr id="107" name="Rounded Rectangle 106">
            <a:extLst>
              <a:ext uri="{FF2B5EF4-FFF2-40B4-BE49-F238E27FC236}">
                <a16:creationId xmlns:a16="http://schemas.microsoft.com/office/drawing/2014/main" id="{19F5F706-ABD9-FE40-A95A-50940A33108F}"/>
              </a:ext>
            </a:extLst>
          </p:cNvPr>
          <p:cNvSpPr/>
          <p:nvPr/>
        </p:nvSpPr>
        <p:spPr>
          <a:xfrm>
            <a:off x="5187389" y="4826735"/>
            <a:ext cx="1597305" cy="621176"/>
          </a:xfrm>
          <a:prstGeom prst="roundRect">
            <a:avLst/>
          </a:prstGeom>
          <a:solidFill>
            <a:srgbClr val="F36F26">
              <a:alpha val="80000"/>
            </a:srgbClr>
          </a:solidFill>
          <a:ln w="3175">
            <a:solidFill>
              <a:schemeClr val="bg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bg1"/>
                </a:solidFill>
                <a:latin typeface="Comic Sans MS" panose="030F0902030302020204" pitchFamily="66" charset="0"/>
                <a:ea typeface="Nanum Pen Script" panose="03040600000000000000" pitchFamily="66" charset="-127"/>
              </a:rPr>
              <a:t>Partition 1</a:t>
            </a:r>
          </a:p>
          <a:p>
            <a:pPr algn="ctr"/>
            <a:r>
              <a:rPr lang="en-US" sz="900" dirty="0">
                <a:solidFill>
                  <a:schemeClr val="bg1"/>
                </a:solidFill>
                <a:latin typeface="Comic Sans MS" panose="030F0902030302020204" pitchFamily="66" charset="0"/>
                <a:ea typeface="Nanum Pen Script" panose="03040600000000000000" pitchFamily="66" charset="-127"/>
              </a:rPr>
              <a:t>Topic-A (Leader)</a:t>
            </a:r>
          </a:p>
        </p:txBody>
      </p:sp>
      <p:sp>
        <p:nvSpPr>
          <p:cNvPr id="108" name="Rectangle 107">
            <a:extLst>
              <a:ext uri="{FF2B5EF4-FFF2-40B4-BE49-F238E27FC236}">
                <a16:creationId xmlns:a16="http://schemas.microsoft.com/office/drawing/2014/main" id="{49857276-0CD2-5942-9B3B-A9C1029408BD}"/>
              </a:ext>
            </a:extLst>
          </p:cNvPr>
          <p:cNvSpPr/>
          <p:nvPr/>
        </p:nvSpPr>
        <p:spPr>
          <a:xfrm>
            <a:off x="7765573" y="4541908"/>
            <a:ext cx="1851949" cy="1781817"/>
          </a:xfrm>
          <a:prstGeom prst="rect">
            <a:avLst/>
          </a:prstGeom>
          <a:solidFill>
            <a:srgbClr val="87CBD8">
              <a:alpha val="95000"/>
            </a:srgb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t" anchorCtr="0" forceAA="0" compatLnSpc="1">
            <a:prstTxWarp prst="textNoShape">
              <a:avLst/>
            </a:prstTxWarp>
            <a:noAutofit/>
          </a:bodyPr>
          <a:lstStyle/>
          <a:p>
            <a:pPr algn="ctr" defTabSz="457200"/>
            <a:r>
              <a:rPr lang="en-US" sz="1000" dirty="0">
                <a:solidFill>
                  <a:srgbClr val="0067B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Broker 3</a:t>
            </a:r>
          </a:p>
        </p:txBody>
      </p:sp>
      <p:sp>
        <p:nvSpPr>
          <p:cNvPr id="110" name="Rounded Rectangle 109">
            <a:extLst>
              <a:ext uri="{FF2B5EF4-FFF2-40B4-BE49-F238E27FC236}">
                <a16:creationId xmlns:a16="http://schemas.microsoft.com/office/drawing/2014/main" id="{C552DDE7-0FB8-D14E-A00E-398C314917C7}"/>
              </a:ext>
            </a:extLst>
          </p:cNvPr>
          <p:cNvSpPr/>
          <p:nvPr/>
        </p:nvSpPr>
        <p:spPr>
          <a:xfrm>
            <a:off x="7881321" y="4826735"/>
            <a:ext cx="1597305" cy="621176"/>
          </a:xfrm>
          <a:prstGeom prst="roundRect">
            <a:avLst/>
          </a:prstGeom>
          <a:solidFill>
            <a:srgbClr val="F36F26">
              <a:alpha val="80000"/>
            </a:srgbClr>
          </a:solidFill>
          <a:ln w="3175">
            <a:solidFill>
              <a:schemeClr val="bg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bg1"/>
                </a:solidFill>
                <a:latin typeface="Comic Sans MS" panose="030F0902030302020204" pitchFamily="66" charset="0"/>
                <a:ea typeface="Nanum Pen Script" panose="03040600000000000000" pitchFamily="66" charset="-127"/>
              </a:rPr>
              <a:t>Partition 0</a:t>
            </a:r>
          </a:p>
          <a:p>
            <a:pPr algn="ctr"/>
            <a:r>
              <a:rPr lang="en-US" sz="900" dirty="0">
                <a:solidFill>
                  <a:schemeClr val="bg1"/>
                </a:solidFill>
                <a:latin typeface="Comic Sans MS" panose="030F0902030302020204" pitchFamily="66" charset="0"/>
                <a:ea typeface="Nanum Pen Script" panose="03040600000000000000" pitchFamily="66" charset="-127"/>
              </a:rPr>
              <a:t>Topic-A (Leader)</a:t>
            </a:r>
          </a:p>
        </p:txBody>
      </p:sp>
      <p:sp>
        <p:nvSpPr>
          <p:cNvPr id="115" name="Rounded Rectangle 114">
            <a:extLst>
              <a:ext uri="{FF2B5EF4-FFF2-40B4-BE49-F238E27FC236}">
                <a16:creationId xmlns:a16="http://schemas.microsoft.com/office/drawing/2014/main" id="{57AEAB2E-27D7-8A4D-B803-3CF457274429}"/>
              </a:ext>
            </a:extLst>
          </p:cNvPr>
          <p:cNvSpPr/>
          <p:nvPr/>
        </p:nvSpPr>
        <p:spPr>
          <a:xfrm>
            <a:off x="5187388" y="5518480"/>
            <a:ext cx="1597305" cy="621176"/>
          </a:xfrm>
          <a:prstGeom prst="roundRect">
            <a:avLst/>
          </a:prstGeom>
          <a:solidFill>
            <a:srgbClr val="EE4328"/>
          </a:solidFill>
          <a:ln w="3175">
            <a:solidFill>
              <a:schemeClr val="bg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bg1"/>
                </a:solidFill>
                <a:latin typeface="Comic Sans MS" panose="030F0902030302020204" pitchFamily="66" charset="0"/>
                <a:ea typeface="Nanum Pen Script" panose="03040600000000000000" pitchFamily="66" charset="-127"/>
              </a:rPr>
              <a:t>Partition 0</a:t>
            </a:r>
          </a:p>
          <a:p>
            <a:pPr algn="ctr"/>
            <a:r>
              <a:rPr lang="en-US" sz="900" dirty="0">
                <a:solidFill>
                  <a:schemeClr val="bg1"/>
                </a:solidFill>
                <a:latin typeface="Comic Sans MS" panose="030F0902030302020204" pitchFamily="66" charset="0"/>
                <a:ea typeface="Nanum Pen Script" panose="03040600000000000000" pitchFamily="66" charset="-127"/>
              </a:rPr>
              <a:t>Topic-A</a:t>
            </a:r>
          </a:p>
        </p:txBody>
      </p:sp>
      <p:sp>
        <p:nvSpPr>
          <p:cNvPr id="11" name="&quot;No&quot; Symbol 10">
            <a:extLst>
              <a:ext uri="{FF2B5EF4-FFF2-40B4-BE49-F238E27FC236}">
                <a16:creationId xmlns:a16="http://schemas.microsoft.com/office/drawing/2014/main" id="{66A017B3-19ED-6248-A29F-C35F6361089E}"/>
              </a:ext>
            </a:extLst>
          </p:cNvPr>
          <p:cNvSpPr/>
          <p:nvPr/>
        </p:nvSpPr>
        <p:spPr>
          <a:xfrm>
            <a:off x="5391442" y="4863408"/>
            <a:ext cx="1194553" cy="1242186"/>
          </a:xfrm>
          <a:prstGeom prst="noSmoking">
            <a:avLst/>
          </a:prstGeom>
          <a:solidFill>
            <a:srgbClr val="E2E2E2">
              <a:alpha val="15000"/>
            </a:srgbClr>
          </a:solidFill>
          <a:ln w="9525">
            <a:solidFill>
              <a:srgbClr val="E2E2E2">
                <a:alpha val="15000"/>
              </a:srgbClr>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050" dirty="0">
              <a:solidFill>
                <a:srgbClr val="002D72"/>
              </a:solidFill>
              <a:latin typeface="Comic Sans MS" panose="030F0902030302020204" pitchFamily="66" charset="0"/>
              <a:cs typeface="Arial" pitchFamily="34" charset="0"/>
            </a:endParaRPr>
          </a:p>
        </p:txBody>
      </p:sp>
    </p:spTree>
    <p:extLst>
      <p:ext uri="{BB962C8B-B14F-4D97-AF65-F5344CB8AC3E}">
        <p14:creationId xmlns:p14="http://schemas.microsoft.com/office/powerpoint/2010/main" val="359241417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tangle 3">
            <a:extLst>
              <a:ext uri="{FF2B5EF4-FFF2-40B4-BE49-F238E27FC236}">
                <a16:creationId xmlns:a16="http://schemas.microsoft.com/office/drawing/2014/main" id="{A27FD23C-A522-0E4F-B70C-CC83BC4542BA}"/>
              </a:ext>
            </a:extLst>
          </p:cNvPr>
          <p:cNvSpPr txBox="1"/>
          <p:nvPr/>
        </p:nvSpPr>
        <p:spPr>
          <a:xfrm>
            <a:off x="404808" y="237462"/>
            <a:ext cx="7585857" cy="400105"/>
          </a:xfrm>
          <a:prstGeom prst="rect">
            <a:avLst/>
          </a:prstGeom>
          <a:ln w="12700">
            <a:miter lim="400000"/>
          </a:ln>
          <a:extLst>
            <a:ext uri="{C572A759-6A51-4108-AA02-DFA0A04FC94B}">
              <ma14:wrappingTextBoxFlag xmlns:ma14="http://schemas.microsoft.com/office/mac/drawingml/2011/main" xmlns="" val="1"/>
            </a:ext>
          </a:extLst>
        </p:spPr>
        <p:txBody>
          <a:bodyPr wrap="square" lIns="45718" tIns="45718" rIns="45718" bIns="45718">
            <a:spAutoFit/>
          </a:bodyPr>
          <a:lstStyle>
            <a:lvl1pPr algn="l" defTabSz="914400">
              <a:defRPr sz="2200" b="1">
                <a:solidFill>
                  <a:srgbClr val="FFFFFF"/>
                </a:solidFill>
                <a:latin typeface="Arial"/>
                <a:ea typeface="Arial"/>
                <a:cs typeface="Arial"/>
                <a:sym typeface="Arial"/>
              </a:defRPr>
            </a:lvl1pPr>
          </a:lstStyle>
          <a:p>
            <a:r>
              <a:rPr lang="en-US" sz="2000" dirty="0">
                <a:solidFill>
                  <a:srgbClr val="016AA2"/>
                </a:solidFill>
              </a:rPr>
              <a:t>Features and terminology (IV)</a:t>
            </a:r>
          </a:p>
        </p:txBody>
      </p:sp>
      <p:sp>
        <p:nvSpPr>
          <p:cNvPr id="65" name="Rectangle 3"/>
          <p:cNvSpPr txBox="1"/>
          <p:nvPr/>
        </p:nvSpPr>
        <p:spPr>
          <a:xfrm>
            <a:off x="404806" y="610135"/>
            <a:ext cx="8775769" cy="369328"/>
          </a:xfrm>
          <a:prstGeom prst="rect">
            <a:avLst/>
          </a:prstGeom>
          <a:ln w="12700">
            <a:miter lim="400000"/>
          </a:ln>
          <a:extLst>
            <a:ext uri="{C572A759-6A51-4108-AA02-DFA0A04FC94B}">
              <ma14:wrappingTextBoxFlag xmlns="" xmlns:ma14="http://schemas.microsoft.com/office/mac/drawingml/2011/main" val="1"/>
            </a:ext>
          </a:extLst>
        </p:spPr>
        <p:txBody>
          <a:bodyPr wrap="square" lIns="45718" tIns="45718" rIns="45718" bIns="45718">
            <a:spAutoFit/>
          </a:bodyPr>
          <a:lstStyle>
            <a:lvl1pPr algn="l" defTabSz="914400">
              <a:defRPr sz="2000">
                <a:solidFill>
                  <a:srgbClr val="104D6A"/>
                </a:solidFill>
                <a:latin typeface="Arial"/>
                <a:ea typeface="Arial"/>
                <a:cs typeface="Arial"/>
                <a:sym typeface="Arial"/>
              </a:defRPr>
            </a:lvl1pPr>
          </a:lstStyle>
          <a:p>
            <a:pPr>
              <a:defRPr/>
            </a:pPr>
            <a:r>
              <a:rPr lang="en-US" sz="1800" b="1" dirty="0">
                <a:solidFill>
                  <a:srgbClr val="73C4EF"/>
                </a:solidFill>
              </a:rPr>
              <a:t>Event Hub Architecture – Producer and Massage Keys</a:t>
            </a:r>
          </a:p>
        </p:txBody>
      </p:sp>
      <p:sp>
        <p:nvSpPr>
          <p:cNvPr id="52" name="Rectangle 51">
            <a:extLst>
              <a:ext uri="{FF2B5EF4-FFF2-40B4-BE49-F238E27FC236}">
                <a16:creationId xmlns:a16="http://schemas.microsoft.com/office/drawing/2014/main" id="{5B86E7B8-1B06-3F46-9976-7A54E47D5724}"/>
              </a:ext>
            </a:extLst>
          </p:cNvPr>
          <p:cNvSpPr/>
          <p:nvPr/>
        </p:nvSpPr>
        <p:spPr>
          <a:xfrm>
            <a:off x="404805" y="1060010"/>
            <a:ext cx="11276911" cy="1443642"/>
          </a:xfrm>
          <a:prstGeom prst="rect">
            <a:avLst/>
          </a:prstGeom>
          <a:noFill/>
        </p:spPr>
        <p:txBody>
          <a:bodyPr wrap="square" tIns="90000" bIns="90000" rtlCol="0" anchor="t">
            <a:spAutoFit/>
          </a:bodyPr>
          <a:lstStyle/>
          <a:p>
            <a:pPr marL="285750" indent="-285750" algn="just">
              <a:buFont typeface="Arial" panose="020B0604020202020204" pitchFamily="34" charset="0"/>
              <a:buChar char="•"/>
            </a:pPr>
            <a:r>
              <a:rPr lang="en-US" sz="1100" dirty="0">
                <a:solidFill>
                  <a:srgbClr val="0079D1"/>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Producer write data to topic (which is made of partitions)</a:t>
            </a:r>
          </a:p>
          <a:p>
            <a:pPr marL="285750" indent="-285750" algn="just">
              <a:buFont typeface="Arial" panose="020B0604020202020204" pitchFamily="34" charset="0"/>
              <a:buChar char="•"/>
            </a:pPr>
            <a:r>
              <a:rPr lang="en-US" sz="1100" dirty="0">
                <a:solidFill>
                  <a:srgbClr val="0079D1"/>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Producer automatically know to which broker and partition to write to</a:t>
            </a:r>
          </a:p>
          <a:p>
            <a:pPr marL="285750" indent="-285750" algn="just">
              <a:buFont typeface="Arial" panose="020B0604020202020204" pitchFamily="34" charset="0"/>
              <a:buChar char="•"/>
            </a:pPr>
            <a:r>
              <a:rPr lang="en-US" sz="1100" dirty="0">
                <a:solidFill>
                  <a:srgbClr val="0079D1"/>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In case of Broker failures, Producer will automatically recover</a:t>
            </a:r>
          </a:p>
          <a:p>
            <a:pPr marL="285750" indent="-285750" algn="just">
              <a:buFont typeface="Arial" panose="020B0604020202020204" pitchFamily="34" charset="0"/>
              <a:buChar char="•"/>
            </a:pPr>
            <a:r>
              <a:rPr lang="en-US" sz="1100" dirty="0">
                <a:solidFill>
                  <a:srgbClr val="0079D1"/>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Producer can choose to replicas acknowledgment of data writes:</a:t>
            </a:r>
          </a:p>
          <a:p>
            <a:pPr algn="just"/>
            <a:r>
              <a:rPr lang="en-US" sz="1100" dirty="0">
                <a:solidFill>
                  <a:srgbClr val="0079D1"/>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     </a:t>
            </a:r>
            <a:r>
              <a:rPr lang="en-US" sz="1100" dirty="0">
                <a:solidFill>
                  <a:srgbClr val="C5277F"/>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 acts=0: Producer won’t wait acknowledgement (possible data loss)</a:t>
            </a:r>
          </a:p>
          <a:p>
            <a:pPr algn="just"/>
            <a:r>
              <a:rPr lang="en-US" sz="1100" dirty="0">
                <a:solidFill>
                  <a:srgbClr val="C5277F"/>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      acts=1: Producer won’t wait acknowledgement (limited data loss)</a:t>
            </a:r>
          </a:p>
          <a:p>
            <a:pPr algn="just"/>
            <a:r>
              <a:rPr lang="en-US" sz="1100" dirty="0">
                <a:solidFill>
                  <a:srgbClr val="C5277F"/>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      acts=all: Producer won’t wait acknowledgement (possible data loss) </a:t>
            </a:r>
            <a:r>
              <a:rPr lang="en-US" sz="1100" dirty="0">
                <a:solidFill>
                  <a:srgbClr val="0079D1"/>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	 </a:t>
            </a:r>
            <a:r>
              <a:rPr lang="en-US" sz="1600" dirty="0">
                <a:solidFill>
                  <a:srgbClr val="0079D1"/>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	</a:t>
            </a:r>
          </a:p>
        </p:txBody>
      </p:sp>
      <p:sp>
        <p:nvSpPr>
          <p:cNvPr id="9" name="Rounded Rectangle 8">
            <a:extLst>
              <a:ext uri="{FF2B5EF4-FFF2-40B4-BE49-F238E27FC236}">
                <a16:creationId xmlns:a16="http://schemas.microsoft.com/office/drawing/2014/main" id="{C2D0D31E-F3A8-D846-9D55-816B17CC9FBD}"/>
              </a:ext>
            </a:extLst>
          </p:cNvPr>
          <p:cNvSpPr/>
          <p:nvPr/>
        </p:nvSpPr>
        <p:spPr>
          <a:xfrm>
            <a:off x="6961171" y="3310164"/>
            <a:ext cx="183604" cy="461059"/>
          </a:xfrm>
          <a:prstGeom prst="roundRect">
            <a:avLst/>
          </a:prstGeom>
          <a:solidFill>
            <a:srgbClr val="87CBD8"/>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srgbClr val="0079D1"/>
                </a:solidFill>
                <a:latin typeface="Comic Sans MS" panose="030F0902030302020204" pitchFamily="66" charset="0"/>
                <a:ea typeface="Nanum Pen Script" panose="03040600000000000000" pitchFamily="66" charset="-127"/>
              </a:rPr>
              <a:t>0</a:t>
            </a:r>
          </a:p>
        </p:txBody>
      </p:sp>
      <p:sp>
        <p:nvSpPr>
          <p:cNvPr id="10" name="Rounded Rectangle 9">
            <a:extLst>
              <a:ext uri="{FF2B5EF4-FFF2-40B4-BE49-F238E27FC236}">
                <a16:creationId xmlns:a16="http://schemas.microsoft.com/office/drawing/2014/main" id="{C0FF4342-8B9E-B340-8170-448702286C54}"/>
              </a:ext>
            </a:extLst>
          </p:cNvPr>
          <p:cNvSpPr/>
          <p:nvPr/>
        </p:nvSpPr>
        <p:spPr>
          <a:xfrm>
            <a:off x="7144775" y="3310164"/>
            <a:ext cx="183604" cy="456403"/>
          </a:xfrm>
          <a:prstGeom prst="roundRect">
            <a:avLst/>
          </a:prstGeom>
          <a:solidFill>
            <a:srgbClr val="87CBD8"/>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srgbClr val="0079D1"/>
                </a:solidFill>
                <a:latin typeface="Comic Sans MS" panose="030F0902030302020204" pitchFamily="66" charset="0"/>
                <a:ea typeface="Nanum Pen Script" panose="03040600000000000000" pitchFamily="66" charset="-127"/>
              </a:rPr>
              <a:t>1</a:t>
            </a:r>
          </a:p>
        </p:txBody>
      </p:sp>
      <p:sp>
        <p:nvSpPr>
          <p:cNvPr id="11" name="Rounded Rectangle 10">
            <a:extLst>
              <a:ext uri="{FF2B5EF4-FFF2-40B4-BE49-F238E27FC236}">
                <a16:creationId xmlns:a16="http://schemas.microsoft.com/office/drawing/2014/main" id="{B0074BD2-B894-DC42-9ECD-CA63E5C8DE7A}"/>
              </a:ext>
            </a:extLst>
          </p:cNvPr>
          <p:cNvSpPr/>
          <p:nvPr/>
        </p:nvSpPr>
        <p:spPr>
          <a:xfrm>
            <a:off x="7328379" y="3310164"/>
            <a:ext cx="183604" cy="461059"/>
          </a:xfrm>
          <a:prstGeom prst="roundRect">
            <a:avLst/>
          </a:prstGeom>
          <a:solidFill>
            <a:srgbClr val="87CBD8"/>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srgbClr val="0079D1"/>
                </a:solidFill>
                <a:latin typeface="Comic Sans MS" panose="030F0902030302020204" pitchFamily="66" charset="0"/>
                <a:ea typeface="Nanum Pen Script" panose="03040600000000000000" pitchFamily="66" charset="-127"/>
              </a:rPr>
              <a:t>2</a:t>
            </a:r>
          </a:p>
        </p:txBody>
      </p:sp>
      <p:sp>
        <p:nvSpPr>
          <p:cNvPr id="12" name="Rounded Rectangle 11">
            <a:extLst>
              <a:ext uri="{FF2B5EF4-FFF2-40B4-BE49-F238E27FC236}">
                <a16:creationId xmlns:a16="http://schemas.microsoft.com/office/drawing/2014/main" id="{E4AB50A5-694A-8B49-AC7D-6D85A78A78DB}"/>
              </a:ext>
            </a:extLst>
          </p:cNvPr>
          <p:cNvSpPr/>
          <p:nvPr/>
        </p:nvSpPr>
        <p:spPr>
          <a:xfrm>
            <a:off x="7511983" y="3310164"/>
            <a:ext cx="183604" cy="456403"/>
          </a:xfrm>
          <a:prstGeom prst="roundRect">
            <a:avLst/>
          </a:prstGeom>
          <a:solidFill>
            <a:srgbClr val="87CBD8"/>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srgbClr val="0079D1"/>
                </a:solidFill>
                <a:latin typeface="Comic Sans MS" panose="030F0902030302020204" pitchFamily="66" charset="0"/>
                <a:ea typeface="Nanum Pen Script" panose="03040600000000000000" pitchFamily="66" charset="-127"/>
              </a:rPr>
              <a:t>3</a:t>
            </a:r>
          </a:p>
        </p:txBody>
      </p:sp>
      <p:sp>
        <p:nvSpPr>
          <p:cNvPr id="13" name="Rounded Rectangle 12">
            <a:extLst>
              <a:ext uri="{FF2B5EF4-FFF2-40B4-BE49-F238E27FC236}">
                <a16:creationId xmlns:a16="http://schemas.microsoft.com/office/drawing/2014/main" id="{40904F64-06D4-CB41-AF73-11502AFC3EF6}"/>
              </a:ext>
            </a:extLst>
          </p:cNvPr>
          <p:cNvSpPr/>
          <p:nvPr/>
        </p:nvSpPr>
        <p:spPr>
          <a:xfrm>
            <a:off x="7697793" y="3310164"/>
            <a:ext cx="183604" cy="461059"/>
          </a:xfrm>
          <a:prstGeom prst="roundRect">
            <a:avLst/>
          </a:prstGeom>
          <a:solidFill>
            <a:srgbClr val="87CBD8"/>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srgbClr val="0079D1"/>
                </a:solidFill>
                <a:latin typeface="Comic Sans MS" panose="030F0902030302020204" pitchFamily="66" charset="0"/>
                <a:ea typeface="Nanum Pen Script" panose="03040600000000000000" pitchFamily="66" charset="-127"/>
              </a:rPr>
              <a:t>4</a:t>
            </a:r>
          </a:p>
        </p:txBody>
      </p:sp>
      <p:sp>
        <p:nvSpPr>
          <p:cNvPr id="14" name="Rounded Rectangle 13">
            <a:extLst>
              <a:ext uri="{FF2B5EF4-FFF2-40B4-BE49-F238E27FC236}">
                <a16:creationId xmlns:a16="http://schemas.microsoft.com/office/drawing/2014/main" id="{66D3F914-56E1-E745-935F-B0CE16510F3A}"/>
              </a:ext>
            </a:extLst>
          </p:cNvPr>
          <p:cNvSpPr/>
          <p:nvPr/>
        </p:nvSpPr>
        <p:spPr>
          <a:xfrm>
            <a:off x="7881397" y="3310164"/>
            <a:ext cx="183604" cy="456403"/>
          </a:xfrm>
          <a:prstGeom prst="roundRect">
            <a:avLst/>
          </a:prstGeom>
          <a:solidFill>
            <a:srgbClr val="87CBD8"/>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srgbClr val="0079D1"/>
                </a:solidFill>
                <a:latin typeface="Comic Sans MS" panose="030F0902030302020204" pitchFamily="66" charset="0"/>
                <a:ea typeface="Nanum Pen Script" panose="03040600000000000000" pitchFamily="66" charset="-127"/>
              </a:rPr>
              <a:t>5</a:t>
            </a:r>
          </a:p>
        </p:txBody>
      </p:sp>
      <p:sp>
        <p:nvSpPr>
          <p:cNvPr id="15" name="Rounded Rectangle 14">
            <a:extLst>
              <a:ext uri="{FF2B5EF4-FFF2-40B4-BE49-F238E27FC236}">
                <a16:creationId xmlns:a16="http://schemas.microsoft.com/office/drawing/2014/main" id="{DDBD3006-4191-E641-9C4C-52678CFCF8C6}"/>
              </a:ext>
            </a:extLst>
          </p:cNvPr>
          <p:cNvSpPr/>
          <p:nvPr/>
        </p:nvSpPr>
        <p:spPr>
          <a:xfrm>
            <a:off x="8065001" y="3310164"/>
            <a:ext cx="183604" cy="461059"/>
          </a:xfrm>
          <a:prstGeom prst="roundRect">
            <a:avLst/>
          </a:prstGeom>
          <a:solidFill>
            <a:srgbClr val="87CBD8"/>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srgbClr val="0079D1"/>
                </a:solidFill>
                <a:latin typeface="Comic Sans MS" panose="030F0902030302020204" pitchFamily="66" charset="0"/>
                <a:ea typeface="Nanum Pen Script" panose="03040600000000000000" pitchFamily="66" charset="-127"/>
              </a:rPr>
              <a:t>6</a:t>
            </a:r>
          </a:p>
        </p:txBody>
      </p:sp>
      <p:sp>
        <p:nvSpPr>
          <p:cNvPr id="16" name="Rounded Rectangle 15">
            <a:extLst>
              <a:ext uri="{FF2B5EF4-FFF2-40B4-BE49-F238E27FC236}">
                <a16:creationId xmlns:a16="http://schemas.microsoft.com/office/drawing/2014/main" id="{D7198EAC-5355-104C-90FF-6C4B32B6FBAD}"/>
              </a:ext>
            </a:extLst>
          </p:cNvPr>
          <p:cNvSpPr/>
          <p:nvPr/>
        </p:nvSpPr>
        <p:spPr>
          <a:xfrm>
            <a:off x="8248605" y="3310164"/>
            <a:ext cx="183604" cy="456403"/>
          </a:xfrm>
          <a:prstGeom prst="roundRect">
            <a:avLst/>
          </a:prstGeom>
          <a:solidFill>
            <a:srgbClr val="87CBD8"/>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srgbClr val="0079D1"/>
                </a:solidFill>
                <a:latin typeface="Comic Sans MS" panose="030F0902030302020204" pitchFamily="66" charset="0"/>
                <a:ea typeface="Nanum Pen Script" panose="03040600000000000000" pitchFamily="66" charset="-127"/>
              </a:rPr>
              <a:t>7</a:t>
            </a:r>
          </a:p>
        </p:txBody>
      </p:sp>
      <p:sp>
        <p:nvSpPr>
          <p:cNvPr id="17" name="Rounded Rectangle 16">
            <a:extLst>
              <a:ext uri="{FF2B5EF4-FFF2-40B4-BE49-F238E27FC236}">
                <a16:creationId xmlns:a16="http://schemas.microsoft.com/office/drawing/2014/main" id="{68D411F0-FD39-4E48-9126-3A858F24A7FD}"/>
              </a:ext>
            </a:extLst>
          </p:cNvPr>
          <p:cNvSpPr/>
          <p:nvPr/>
        </p:nvSpPr>
        <p:spPr>
          <a:xfrm>
            <a:off x="8423548" y="3310164"/>
            <a:ext cx="183604" cy="461059"/>
          </a:xfrm>
          <a:prstGeom prst="roundRect">
            <a:avLst/>
          </a:prstGeom>
          <a:solidFill>
            <a:srgbClr val="87CBD8"/>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srgbClr val="0079D1"/>
                </a:solidFill>
                <a:latin typeface="Comic Sans MS" panose="030F0902030302020204" pitchFamily="66" charset="0"/>
                <a:ea typeface="Nanum Pen Script" panose="03040600000000000000" pitchFamily="66" charset="-127"/>
              </a:rPr>
              <a:t>8</a:t>
            </a:r>
          </a:p>
        </p:txBody>
      </p:sp>
      <p:sp>
        <p:nvSpPr>
          <p:cNvPr id="18" name="Rounded Rectangle 17">
            <a:extLst>
              <a:ext uri="{FF2B5EF4-FFF2-40B4-BE49-F238E27FC236}">
                <a16:creationId xmlns:a16="http://schemas.microsoft.com/office/drawing/2014/main" id="{B181075E-CDAC-6340-9EB7-2693BACE2C3C}"/>
              </a:ext>
            </a:extLst>
          </p:cNvPr>
          <p:cNvSpPr/>
          <p:nvPr/>
        </p:nvSpPr>
        <p:spPr>
          <a:xfrm>
            <a:off x="8607152" y="3310164"/>
            <a:ext cx="183604" cy="456403"/>
          </a:xfrm>
          <a:prstGeom prst="roundRect">
            <a:avLst/>
          </a:prstGeom>
          <a:solidFill>
            <a:srgbClr val="87CBD8"/>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srgbClr val="0079D1"/>
                </a:solidFill>
                <a:latin typeface="Comic Sans MS" panose="030F0902030302020204" pitchFamily="66" charset="0"/>
                <a:ea typeface="Nanum Pen Script" panose="03040600000000000000" pitchFamily="66" charset="-127"/>
              </a:rPr>
              <a:t>9</a:t>
            </a:r>
          </a:p>
        </p:txBody>
      </p:sp>
      <p:sp>
        <p:nvSpPr>
          <p:cNvPr id="19" name="Rounded Rectangle 18">
            <a:extLst>
              <a:ext uri="{FF2B5EF4-FFF2-40B4-BE49-F238E27FC236}">
                <a16:creationId xmlns:a16="http://schemas.microsoft.com/office/drawing/2014/main" id="{C914B076-25F0-144F-B3B0-6DE8A91AB37A}"/>
              </a:ext>
            </a:extLst>
          </p:cNvPr>
          <p:cNvSpPr/>
          <p:nvPr/>
        </p:nvSpPr>
        <p:spPr>
          <a:xfrm>
            <a:off x="8790756" y="3310164"/>
            <a:ext cx="183604" cy="461059"/>
          </a:xfrm>
          <a:prstGeom prst="roundRect">
            <a:avLst/>
          </a:prstGeom>
          <a:solidFill>
            <a:srgbClr val="87CBD8"/>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srgbClr val="0079D1"/>
                </a:solidFill>
                <a:latin typeface="Comic Sans MS" panose="030F0902030302020204" pitchFamily="66" charset="0"/>
                <a:ea typeface="Nanum Pen Script" panose="03040600000000000000" pitchFamily="66" charset="-127"/>
              </a:rPr>
              <a:t>10</a:t>
            </a:r>
          </a:p>
        </p:txBody>
      </p:sp>
      <p:sp>
        <p:nvSpPr>
          <p:cNvPr id="20" name="Rounded Rectangle 19">
            <a:extLst>
              <a:ext uri="{FF2B5EF4-FFF2-40B4-BE49-F238E27FC236}">
                <a16:creationId xmlns:a16="http://schemas.microsoft.com/office/drawing/2014/main" id="{A134EE4E-75E6-7843-A821-23973E9F1480}"/>
              </a:ext>
            </a:extLst>
          </p:cNvPr>
          <p:cNvSpPr/>
          <p:nvPr/>
        </p:nvSpPr>
        <p:spPr>
          <a:xfrm>
            <a:off x="8974360" y="3310164"/>
            <a:ext cx="183604" cy="456403"/>
          </a:xfrm>
          <a:prstGeom prst="roundRect">
            <a:avLst/>
          </a:prstGeom>
          <a:solidFill>
            <a:srgbClr val="87CBD8"/>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srgbClr val="0079D1"/>
                </a:solidFill>
                <a:latin typeface="Comic Sans MS" panose="030F0902030302020204" pitchFamily="66" charset="0"/>
                <a:ea typeface="Nanum Pen Script" panose="03040600000000000000" pitchFamily="66" charset="-127"/>
              </a:rPr>
              <a:t>11</a:t>
            </a:r>
          </a:p>
        </p:txBody>
      </p:sp>
      <p:sp>
        <p:nvSpPr>
          <p:cNvPr id="21" name="Rounded Rectangle 20">
            <a:extLst>
              <a:ext uri="{FF2B5EF4-FFF2-40B4-BE49-F238E27FC236}">
                <a16:creationId xmlns:a16="http://schemas.microsoft.com/office/drawing/2014/main" id="{F50C760E-D267-F845-B85A-A82842DCF3DF}"/>
              </a:ext>
            </a:extLst>
          </p:cNvPr>
          <p:cNvSpPr/>
          <p:nvPr/>
        </p:nvSpPr>
        <p:spPr>
          <a:xfrm>
            <a:off x="9160170" y="3310164"/>
            <a:ext cx="183604" cy="461059"/>
          </a:xfrm>
          <a:prstGeom prst="roundRect">
            <a:avLst/>
          </a:prstGeom>
          <a:solidFill>
            <a:srgbClr val="87CBD8"/>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srgbClr val="0079D1"/>
                </a:solidFill>
                <a:latin typeface="Comic Sans MS" panose="030F0902030302020204" pitchFamily="66" charset="0"/>
                <a:ea typeface="Nanum Pen Script" panose="03040600000000000000" pitchFamily="66" charset="-127"/>
              </a:rPr>
              <a:t>12</a:t>
            </a:r>
          </a:p>
        </p:txBody>
      </p:sp>
      <p:sp>
        <p:nvSpPr>
          <p:cNvPr id="22" name="Rounded Rectangle 21">
            <a:extLst>
              <a:ext uri="{FF2B5EF4-FFF2-40B4-BE49-F238E27FC236}">
                <a16:creationId xmlns:a16="http://schemas.microsoft.com/office/drawing/2014/main" id="{8972ACAD-E120-3E4F-858D-85AFBC4CAA1D}"/>
              </a:ext>
            </a:extLst>
          </p:cNvPr>
          <p:cNvSpPr/>
          <p:nvPr/>
        </p:nvSpPr>
        <p:spPr>
          <a:xfrm>
            <a:off x="9343774" y="3310164"/>
            <a:ext cx="183604" cy="456403"/>
          </a:xfrm>
          <a:prstGeom prst="roundRect">
            <a:avLst/>
          </a:prstGeom>
          <a:solidFill>
            <a:schemeClr val="bg1"/>
          </a:solidFill>
          <a:ln w="3175">
            <a:solidFill>
              <a:srgbClr val="0079D1">
                <a:alpha val="39000"/>
              </a:srgb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srgbClr val="0079D1"/>
                </a:solidFill>
                <a:latin typeface="Comic Sans MS" panose="030F0902030302020204" pitchFamily="66" charset="0"/>
                <a:ea typeface="Nanum Pen Script" panose="03040600000000000000" pitchFamily="66" charset="-127"/>
              </a:rPr>
              <a:t>13</a:t>
            </a:r>
          </a:p>
        </p:txBody>
      </p:sp>
      <p:sp>
        <p:nvSpPr>
          <p:cNvPr id="23" name="Rounded Rectangle 22">
            <a:extLst>
              <a:ext uri="{FF2B5EF4-FFF2-40B4-BE49-F238E27FC236}">
                <a16:creationId xmlns:a16="http://schemas.microsoft.com/office/drawing/2014/main" id="{4B2C5A18-BAF8-1745-BFCD-69B46AC7F91F}"/>
              </a:ext>
            </a:extLst>
          </p:cNvPr>
          <p:cNvSpPr/>
          <p:nvPr/>
        </p:nvSpPr>
        <p:spPr>
          <a:xfrm>
            <a:off x="6961171" y="4448140"/>
            <a:ext cx="183604" cy="461059"/>
          </a:xfrm>
          <a:prstGeom prst="roundRect">
            <a:avLst/>
          </a:prstGeom>
          <a:solidFill>
            <a:srgbClr val="EE4328"/>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schemeClr val="bg1"/>
                </a:solidFill>
                <a:latin typeface="Comic Sans MS" panose="030F0902030302020204" pitchFamily="66" charset="0"/>
                <a:ea typeface="Nanum Pen Script" panose="03040600000000000000" pitchFamily="66" charset="-127"/>
              </a:rPr>
              <a:t>0</a:t>
            </a:r>
          </a:p>
        </p:txBody>
      </p:sp>
      <p:sp>
        <p:nvSpPr>
          <p:cNvPr id="24" name="Rounded Rectangle 23">
            <a:extLst>
              <a:ext uri="{FF2B5EF4-FFF2-40B4-BE49-F238E27FC236}">
                <a16:creationId xmlns:a16="http://schemas.microsoft.com/office/drawing/2014/main" id="{291311E3-0FBC-1E4A-B61F-6E3CB3310942}"/>
              </a:ext>
            </a:extLst>
          </p:cNvPr>
          <p:cNvSpPr/>
          <p:nvPr/>
        </p:nvSpPr>
        <p:spPr>
          <a:xfrm>
            <a:off x="7144775" y="4448140"/>
            <a:ext cx="183604" cy="456403"/>
          </a:xfrm>
          <a:prstGeom prst="roundRect">
            <a:avLst/>
          </a:prstGeom>
          <a:solidFill>
            <a:srgbClr val="EE4328"/>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schemeClr val="bg1"/>
                </a:solidFill>
                <a:latin typeface="Comic Sans MS" panose="030F0902030302020204" pitchFamily="66" charset="0"/>
                <a:ea typeface="Nanum Pen Script" panose="03040600000000000000" pitchFamily="66" charset="-127"/>
              </a:rPr>
              <a:t>1</a:t>
            </a:r>
          </a:p>
        </p:txBody>
      </p:sp>
      <p:sp>
        <p:nvSpPr>
          <p:cNvPr id="25" name="Rounded Rectangle 24">
            <a:extLst>
              <a:ext uri="{FF2B5EF4-FFF2-40B4-BE49-F238E27FC236}">
                <a16:creationId xmlns:a16="http://schemas.microsoft.com/office/drawing/2014/main" id="{1FF746B1-0328-A24B-A6A8-757621AD832E}"/>
              </a:ext>
            </a:extLst>
          </p:cNvPr>
          <p:cNvSpPr/>
          <p:nvPr/>
        </p:nvSpPr>
        <p:spPr>
          <a:xfrm>
            <a:off x="7328379" y="4448140"/>
            <a:ext cx="183604" cy="461059"/>
          </a:xfrm>
          <a:prstGeom prst="roundRect">
            <a:avLst/>
          </a:prstGeom>
          <a:solidFill>
            <a:srgbClr val="EE4328"/>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schemeClr val="bg1"/>
                </a:solidFill>
                <a:latin typeface="Comic Sans MS" panose="030F0902030302020204" pitchFamily="66" charset="0"/>
                <a:ea typeface="Nanum Pen Script" panose="03040600000000000000" pitchFamily="66" charset="-127"/>
              </a:rPr>
              <a:t>2</a:t>
            </a:r>
          </a:p>
        </p:txBody>
      </p:sp>
      <p:sp>
        <p:nvSpPr>
          <p:cNvPr id="26" name="Rounded Rectangle 25">
            <a:extLst>
              <a:ext uri="{FF2B5EF4-FFF2-40B4-BE49-F238E27FC236}">
                <a16:creationId xmlns:a16="http://schemas.microsoft.com/office/drawing/2014/main" id="{F9416581-7CB2-D343-AFD3-6A7A1E7ADAF2}"/>
              </a:ext>
            </a:extLst>
          </p:cNvPr>
          <p:cNvSpPr/>
          <p:nvPr/>
        </p:nvSpPr>
        <p:spPr>
          <a:xfrm>
            <a:off x="7511983" y="4448140"/>
            <a:ext cx="183604" cy="456403"/>
          </a:xfrm>
          <a:prstGeom prst="roundRect">
            <a:avLst/>
          </a:prstGeom>
          <a:solidFill>
            <a:srgbClr val="EE4328"/>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schemeClr val="bg1"/>
                </a:solidFill>
                <a:latin typeface="Comic Sans MS" panose="030F0902030302020204" pitchFamily="66" charset="0"/>
                <a:ea typeface="Nanum Pen Script" panose="03040600000000000000" pitchFamily="66" charset="-127"/>
              </a:rPr>
              <a:t>3</a:t>
            </a:r>
          </a:p>
        </p:txBody>
      </p:sp>
      <p:sp>
        <p:nvSpPr>
          <p:cNvPr id="27" name="Rounded Rectangle 26">
            <a:extLst>
              <a:ext uri="{FF2B5EF4-FFF2-40B4-BE49-F238E27FC236}">
                <a16:creationId xmlns:a16="http://schemas.microsoft.com/office/drawing/2014/main" id="{5E75CD63-0ED5-9E4C-A3F2-811EB85A2E29}"/>
              </a:ext>
            </a:extLst>
          </p:cNvPr>
          <p:cNvSpPr/>
          <p:nvPr/>
        </p:nvSpPr>
        <p:spPr>
          <a:xfrm>
            <a:off x="7697793" y="4448140"/>
            <a:ext cx="183604" cy="461059"/>
          </a:xfrm>
          <a:prstGeom prst="roundRect">
            <a:avLst/>
          </a:prstGeom>
          <a:solidFill>
            <a:srgbClr val="EE4328"/>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schemeClr val="bg1"/>
                </a:solidFill>
                <a:latin typeface="Comic Sans MS" panose="030F0902030302020204" pitchFamily="66" charset="0"/>
                <a:ea typeface="Nanum Pen Script" panose="03040600000000000000" pitchFamily="66" charset="-127"/>
              </a:rPr>
              <a:t>4</a:t>
            </a:r>
          </a:p>
        </p:txBody>
      </p:sp>
      <p:sp>
        <p:nvSpPr>
          <p:cNvPr id="28" name="Rounded Rectangle 27">
            <a:extLst>
              <a:ext uri="{FF2B5EF4-FFF2-40B4-BE49-F238E27FC236}">
                <a16:creationId xmlns:a16="http://schemas.microsoft.com/office/drawing/2014/main" id="{5B2124AD-4198-8847-AE27-DD23B240906A}"/>
              </a:ext>
            </a:extLst>
          </p:cNvPr>
          <p:cNvSpPr/>
          <p:nvPr/>
        </p:nvSpPr>
        <p:spPr>
          <a:xfrm>
            <a:off x="7881397" y="4448140"/>
            <a:ext cx="183604" cy="456403"/>
          </a:xfrm>
          <a:prstGeom prst="roundRect">
            <a:avLst/>
          </a:prstGeom>
          <a:solidFill>
            <a:srgbClr val="EE4328"/>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schemeClr val="bg1"/>
                </a:solidFill>
                <a:latin typeface="Comic Sans MS" panose="030F0902030302020204" pitchFamily="66" charset="0"/>
                <a:ea typeface="Nanum Pen Script" panose="03040600000000000000" pitchFamily="66" charset="-127"/>
              </a:rPr>
              <a:t>5</a:t>
            </a:r>
          </a:p>
        </p:txBody>
      </p:sp>
      <p:sp>
        <p:nvSpPr>
          <p:cNvPr id="29" name="Rounded Rectangle 28">
            <a:extLst>
              <a:ext uri="{FF2B5EF4-FFF2-40B4-BE49-F238E27FC236}">
                <a16:creationId xmlns:a16="http://schemas.microsoft.com/office/drawing/2014/main" id="{64A1A8E6-CEDC-4949-AB04-7AE46F1573F8}"/>
              </a:ext>
            </a:extLst>
          </p:cNvPr>
          <p:cNvSpPr/>
          <p:nvPr/>
        </p:nvSpPr>
        <p:spPr>
          <a:xfrm>
            <a:off x="8065001" y="4448140"/>
            <a:ext cx="183604" cy="461059"/>
          </a:xfrm>
          <a:prstGeom prst="roundRect">
            <a:avLst/>
          </a:prstGeom>
          <a:solidFill>
            <a:srgbClr val="EE4328"/>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schemeClr val="bg1"/>
                </a:solidFill>
                <a:latin typeface="Comic Sans MS" panose="030F0902030302020204" pitchFamily="66" charset="0"/>
                <a:ea typeface="Nanum Pen Script" panose="03040600000000000000" pitchFamily="66" charset="-127"/>
              </a:rPr>
              <a:t>6</a:t>
            </a:r>
          </a:p>
        </p:txBody>
      </p:sp>
      <p:sp>
        <p:nvSpPr>
          <p:cNvPr id="30" name="Rounded Rectangle 29">
            <a:extLst>
              <a:ext uri="{FF2B5EF4-FFF2-40B4-BE49-F238E27FC236}">
                <a16:creationId xmlns:a16="http://schemas.microsoft.com/office/drawing/2014/main" id="{2E11D7FE-6749-C747-B293-D2702BCCC291}"/>
              </a:ext>
            </a:extLst>
          </p:cNvPr>
          <p:cNvSpPr/>
          <p:nvPr/>
        </p:nvSpPr>
        <p:spPr>
          <a:xfrm>
            <a:off x="8248605" y="4448140"/>
            <a:ext cx="183604" cy="456403"/>
          </a:xfrm>
          <a:prstGeom prst="roundRect">
            <a:avLst/>
          </a:prstGeom>
          <a:solidFill>
            <a:srgbClr val="EE4328"/>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schemeClr val="bg1"/>
                </a:solidFill>
                <a:latin typeface="Comic Sans MS" panose="030F0902030302020204" pitchFamily="66" charset="0"/>
                <a:ea typeface="Nanum Pen Script" panose="03040600000000000000" pitchFamily="66" charset="-127"/>
              </a:rPr>
              <a:t>7</a:t>
            </a:r>
          </a:p>
        </p:txBody>
      </p:sp>
      <p:sp>
        <p:nvSpPr>
          <p:cNvPr id="32" name="Rounded Rectangle 31">
            <a:extLst>
              <a:ext uri="{FF2B5EF4-FFF2-40B4-BE49-F238E27FC236}">
                <a16:creationId xmlns:a16="http://schemas.microsoft.com/office/drawing/2014/main" id="{D468AA2E-7270-8045-9BDE-F83CEA3FFC34}"/>
              </a:ext>
            </a:extLst>
          </p:cNvPr>
          <p:cNvSpPr/>
          <p:nvPr/>
        </p:nvSpPr>
        <p:spPr>
          <a:xfrm>
            <a:off x="8423548" y="4448140"/>
            <a:ext cx="183604" cy="461059"/>
          </a:xfrm>
          <a:prstGeom prst="roundRect">
            <a:avLst/>
          </a:prstGeom>
          <a:solidFill>
            <a:schemeClr val="bg1"/>
          </a:solidFill>
          <a:ln w="3175">
            <a:solidFill>
              <a:srgbClr val="EE4328">
                <a:alpha val="39000"/>
              </a:srgb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schemeClr val="tx1">
                    <a:lumMod val="50000"/>
                  </a:schemeClr>
                </a:solidFill>
                <a:latin typeface="Comic Sans MS" panose="030F0902030302020204" pitchFamily="66" charset="0"/>
                <a:ea typeface="Nanum Pen Script" panose="03040600000000000000" pitchFamily="66" charset="-127"/>
              </a:rPr>
              <a:t>8</a:t>
            </a:r>
          </a:p>
        </p:txBody>
      </p:sp>
      <p:sp>
        <p:nvSpPr>
          <p:cNvPr id="33" name="Rounded Rectangle 32">
            <a:extLst>
              <a:ext uri="{FF2B5EF4-FFF2-40B4-BE49-F238E27FC236}">
                <a16:creationId xmlns:a16="http://schemas.microsoft.com/office/drawing/2014/main" id="{9FA95493-B83A-8945-916B-3CAD9FE22AD9}"/>
              </a:ext>
            </a:extLst>
          </p:cNvPr>
          <p:cNvSpPr/>
          <p:nvPr/>
        </p:nvSpPr>
        <p:spPr>
          <a:xfrm>
            <a:off x="6961171" y="5539801"/>
            <a:ext cx="183604" cy="461059"/>
          </a:xfrm>
          <a:prstGeom prst="roundRect">
            <a:avLst/>
          </a:prstGeom>
          <a:solidFill>
            <a:srgbClr val="0079D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schemeClr val="bg1"/>
                </a:solidFill>
                <a:latin typeface="Comic Sans MS" panose="030F0902030302020204" pitchFamily="66" charset="0"/>
                <a:ea typeface="Nanum Pen Script" panose="03040600000000000000" pitchFamily="66" charset="-127"/>
              </a:rPr>
              <a:t>0</a:t>
            </a:r>
          </a:p>
        </p:txBody>
      </p:sp>
      <p:sp>
        <p:nvSpPr>
          <p:cNvPr id="34" name="Rounded Rectangle 33">
            <a:extLst>
              <a:ext uri="{FF2B5EF4-FFF2-40B4-BE49-F238E27FC236}">
                <a16:creationId xmlns:a16="http://schemas.microsoft.com/office/drawing/2014/main" id="{9C800173-3037-3A49-B3A1-D45035472A00}"/>
              </a:ext>
            </a:extLst>
          </p:cNvPr>
          <p:cNvSpPr/>
          <p:nvPr/>
        </p:nvSpPr>
        <p:spPr>
          <a:xfrm>
            <a:off x="7128609" y="5539802"/>
            <a:ext cx="199770" cy="467978"/>
          </a:xfrm>
          <a:prstGeom prst="roundRect">
            <a:avLst/>
          </a:prstGeom>
          <a:solidFill>
            <a:srgbClr val="0079D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schemeClr val="bg1"/>
                </a:solidFill>
                <a:latin typeface="Comic Sans MS" panose="030F0902030302020204" pitchFamily="66" charset="0"/>
                <a:ea typeface="Nanum Pen Script" panose="03040600000000000000" pitchFamily="66" charset="-127"/>
              </a:rPr>
              <a:t>1</a:t>
            </a:r>
          </a:p>
        </p:txBody>
      </p:sp>
      <p:sp>
        <p:nvSpPr>
          <p:cNvPr id="35" name="Rounded Rectangle 34">
            <a:extLst>
              <a:ext uri="{FF2B5EF4-FFF2-40B4-BE49-F238E27FC236}">
                <a16:creationId xmlns:a16="http://schemas.microsoft.com/office/drawing/2014/main" id="{B4BD0C6E-C29F-8548-992F-9107BCA1EB2F}"/>
              </a:ext>
            </a:extLst>
          </p:cNvPr>
          <p:cNvSpPr/>
          <p:nvPr/>
        </p:nvSpPr>
        <p:spPr>
          <a:xfrm>
            <a:off x="7328379" y="5539801"/>
            <a:ext cx="183604" cy="461059"/>
          </a:xfrm>
          <a:prstGeom prst="roundRect">
            <a:avLst/>
          </a:prstGeom>
          <a:solidFill>
            <a:srgbClr val="0079D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schemeClr val="bg1"/>
                </a:solidFill>
                <a:latin typeface="Comic Sans MS" panose="030F0902030302020204" pitchFamily="66" charset="0"/>
                <a:ea typeface="Nanum Pen Script" panose="03040600000000000000" pitchFamily="66" charset="-127"/>
              </a:rPr>
              <a:t>2</a:t>
            </a:r>
          </a:p>
        </p:txBody>
      </p:sp>
      <p:sp>
        <p:nvSpPr>
          <p:cNvPr id="36" name="Rounded Rectangle 35">
            <a:extLst>
              <a:ext uri="{FF2B5EF4-FFF2-40B4-BE49-F238E27FC236}">
                <a16:creationId xmlns:a16="http://schemas.microsoft.com/office/drawing/2014/main" id="{3A2F9863-3EB7-E148-8941-8D4D1614F959}"/>
              </a:ext>
            </a:extLst>
          </p:cNvPr>
          <p:cNvSpPr/>
          <p:nvPr/>
        </p:nvSpPr>
        <p:spPr>
          <a:xfrm>
            <a:off x="7511983" y="5539801"/>
            <a:ext cx="183604" cy="467978"/>
          </a:xfrm>
          <a:prstGeom prst="roundRect">
            <a:avLst/>
          </a:prstGeom>
          <a:solidFill>
            <a:srgbClr val="0079D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schemeClr val="bg1"/>
                </a:solidFill>
                <a:latin typeface="Comic Sans MS" panose="030F0902030302020204" pitchFamily="66" charset="0"/>
                <a:ea typeface="Nanum Pen Script" panose="03040600000000000000" pitchFamily="66" charset="-127"/>
              </a:rPr>
              <a:t>3</a:t>
            </a:r>
          </a:p>
        </p:txBody>
      </p:sp>
      <p:sp>
        <p:nvSpPr>
          <p:cNvPr id="37" name="Rounded Rectangle 36">
            <a:extLst>
              <a:ext uri="{FF2B5EF4-FFF2-40B4-BE49-F238E27FC236}">
                <a16:creationId xmlns:a16="http://schemas.microsoft.com/office/drawing/2014/main" id="{73B93FE3-D836-9548-8747-0AB13863EF88}"/>
              </a:ext>
            </a:extLst>
          </p:cNvPr>
          <p:cNvSpPr/>
          <p:nvPr/>
        </p:nvSpPr>
        <p:spPr>
          <a:xfrm>
            <a:off x="7697793" y="5539801"/>
            <a:ext cx="183604" cy="461059"/>
          </a:xfrm>
          <a:prstGeom prst="roundRect">
            <a:avLst/>
          </a:prstGeom>
          <a:solidFill>
            <a:srgbClr val="0079D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schemeClr val="bg1"/>
                </a:solidFill>
                <a:latin typeface="Comic Sans MS" panose="030F0902030302020204" pitchFamily="66" charset="0"/>
                <a:ea typeface="Nanum Pen Script" panose="03040600000000000000" pitchFamily="66" charset="-127"/>
              </a:rPr>
              <a:t>4</a:t>
            </a:r>
          </a:p>
        </p:txBody>
      </p:sp>
      <p:sp>
        <p:nvSpPr>
          <p:cNvPr id="38" name="Rounded Rectangle 37">
            <a:extLst>
              <a:ext uri="{FF2B5EF4-FFF2-40B4-BE49-F238E27FC236}">
                <a16:creationId xmlns:a16="http://schemas.microsoft.com/office/drawing/2014/main" id="{D8E1606C-0D34-B24E-8B84-E3476CCA9D51}"/>
              </a:ext>
            </a:extLst>
          </p:cNvPr>
          <p:cNvSpPr/>
          <p:nvPr/>
        </p:nvSpPr>
        <p:spPr>
          <a:xfrm>
            <a:off x="7881397" y="5539801"/>
            <a:ext cx="183604" cy="456403"/>
          </a:xfrm>
          <a:prstGeom prst="roundRect">
            <a:avLst/>
          </a:prstGeom>
          <a:solidFill>
            <a:srgbClr val="0079D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schemeClr val="bg1"/>
                </a:solidFill>
                <a:latin typeface="Comic Sans MS" panose="030F0902030302020204" pitchFamily="66" charset="0"/>
                <a:ea typeface="Nanum Pen Script" panose="03040600000000000000" pitchFamily="66" charset="-127"/>
              </a:rPr>
              <a:t>5</a:t>
            </a:r>
          </a:p>
        </p:txBody>
      </p:sp>
      <p:sp>
        <p:nvSpPr>
          <p:cNvPr id="39" name="Rounded Rectangle 38">
            <a:extLst>
              <a:ext uri="{FF2B5EF4-FFF2-40B4-BE49-F238E27FC236}">
                <a16:creationId xmlns:a16="http://schemas.microsoft.com/office/drawing/2014/main" id="{2078ABFF-CE69-4846-8706-4748E3B3C08D}"/>
              </a:ext>
            </a:extLst>
          </p:cNvPr>
          <p:cNvSpPr/>
          <p:nvPr/>
        </p:nvSpPr>
        <p:spPr>
          <a:xfrm>
            <a:off x="8065001" y="5539801"/>
            <a:ext cx="183604" cy="461059"/>
          </a:xfrm>
          <a:prstGeom prst="roundRect">
            <a:avLst/>
          </a:prstGeom>
          <a:solidFill>
            <a:srgbClr val="0079D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schemeClr val="bg1"/>
                </a:solidFill>
                <a:latin typeface="Comic Sans MS" panose="030F0902030302020204" pitchFamily="66" charset="0"/>
                <a:ea typeface="Nanum Pen Script" panose="03040600000000000000" pitchFamily="66" charset="-127"/>
              </a:rPr>
              <a:t>6</a:t>
            </a:r>
          </a:p>
        </p:txBody>
      </p:sp>
      <p:sp>
        <p:nvSpPr>
          <p:cNvPr id="40" name="Rounded Rectangle 39">
            <a:extLst>
              <a:ext uri="{FF2B5EF4-FFF2-40B4-BE49-F238E27FC236}">
                <a16:creationId xmlns:a16="http://schemas.microsoft.com/office/drawing/2014/main" id="{DFC31DE9-7C5E-114D-AED6-52F98BB5B134}"/>
              </a:ext>
            </a:extLst>
          </p:cNvPr>
          <p:cNvSpPr/>
          <p:nvPr/>
        </p:nvSpPr>
        <p:spPr>
          <a:xfrm>
            <a:off x="8248605" y="5539801"/>
            <a:ext cx="183604" cy="456403"/>
          </a:xfrm>
          <a:prstGeom prst="roundRect">
            <a:avLst/>
          </a:prstGeom>
          <a:solidFill>
            <a:srgbClr val="0079D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schemeClr val="bg1"/>
                </a:solidFill>
                <a:latin typeface="Comic Sans MS" panose="030F0902030302020204" pitchFamily="66" charset="0"/>
                <a:ea typeface="Nanum Pen Script" panose="03040600000000000000" pitchFamily="66" charset="-127"/>
              </a:rPr>
              <a:t>7</a:t>
            </a:r>
          </a:p>
        </p:txBody>
      </p:sp>
      <p:sp>
        <p:nvSpPr>
          <p:cNvPr id="41" name="Rounded Rectangle 40">
            <a:extLst>
              <a:ext uri="{FF2B5EF4-FFF2-40B4-BE49-F238E27FC236}">
                <a16:creationId xmlns:a16="http://schemas.microsoft.com/office/drawing/2014/main" id="{87DA61CA-25CD-F749-9615-26F6E3F1EB79}"/>
              </a:ext>
            </a:extLst>
          </p:cNvPr>
          <p:cNvSpPr/>
          <p:nvPr/>
        </p:nvSpPr>
        <p:spPr>
          <a:xfrm>
            <a:off x="8423548" y="5539801"/>
            <a:ext cx="183604" cy="461059"/>
          </a:xfrm>
          <a:prstGeom prst="roundRect">
            <a:avLst/>
          </a:prstGeom>
          <a:solidFill>
            <a:srgbClr val="0079D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schemeClr val="bg1"/>
                </a:solidFill>
                <a:latin typeface="Comic Sans MS" panose="030F0902030302020204" pitchFamily="66" charset="0"/>
                <a:ea typeface="Nanum Pen Script" panose="03040600000000000000" pitchFamily="66" charset="-127"/>
              </a:rPr>
              <a:t>8</a:t>
            </a:r>
          </a:p>
        </p:txBody>
      </p:sp>
      <p:sp>
        <p:nvSpPr>
          <p:cNvPr id="42" name="Rounded Rectangle 41">
            <a:extLst>
              <a:ext uri="{FF2B5EF4-FFF2-40B4-BE49-F238E27FC236}">
                <a16:creationId xmlns:a16="http://schemas.microsoft.com/office/drawing/2014/main" id="{60ABCDC9-0AFF-9D48-A7BB-FC8C2D2BA48E}"/>
              </a:ext>
            </a:extLst>
          </p:cNvPr>
          <p:cNvSpPr/>
          <p:nvPr/>
        </p:nvSpPr>
        <p:spPr>
          <a:xfrm>
            <a:off x="8607152" y="5539801"/>
            <a:ext cx="183604" cy="456403"/>
          </a:xfrm>
          <a:prstGeom prst="roundRect">
            <a:avLst/>
          </a:prstGeom>
          <a:solidFill>
            <a:srgbClr val="0079D1"/>
          </a:solidFill>
          <a:ln w="3175">
            <a:solidFill>
              <a:schemeClr val="tx1">
                <a:alpha val="39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schemeClr val="bg1"/>
                </a:solidFill>
                <a:latin typeface="Comic Sans MS" panose="030F0902030302020204" pitchFamily="66" charset="0"/>
                <a:ea typeface="Nanum Pen Script" panose="03040600000000000000" pitchFamily="66" charset="-127"/>
              </a:rPr>
              <a:t>9</a:t>
            </a:r>
          </a:p>
        </p:txBody>
      </p:sp>
      <p:sp>
        <p:nvSpPr>
          <p:cNvPr id="43" name="Rounded Rectangle 42">
            <a:extLst>
              <a:ext uri="{FF2B5EF4-FFF2-40B4-BE49-F238E27FC236}">
                <a16:creationId xmlns:a16="http://schemas.microsoft.com/office/drawing/2014/main" id="{1B0FBAE1-4C96-2447-8372-DFA6731791CA}"/>
              </a:ext>
            </a:extLst>
          </p:cNvPr>
          <p:cNvSpPr/>
          <p:nvPr/>
        </p:nvSpPr>
        <p:spPr>
          <a:xfrm>
            <a:off x="8790756" y="5539801"/>
            <a:ext cx="183604" cy="461059"/>
          </a:xfrm>
          <a:prstGeom prst="roundRect">
            <a:avLst/>
          </a:prstGeom>
          <a:solidFill>
            <a:schemeClr val="bg1"/>
          </a:solidFill>
          <a:ln w="3175">
            <a:solidFill>
              <a:srgbClr val="0079D1">
                <a:alpha val="39000"/>
              </a:srgb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schemeClr val="tx1">
                    <a:lumMod val="50000"/>
                  </a:schemeClr>
                </a:solidFill>
                <a:latin typeface="Comic Sans MS" panose="030F0902030302020204" pitchFamily="66" charset="0"/>
                <a:ea typeface="Nanum Pen Script" panose="03040600000000000000" pitchFamily="66" charset="-127"/>
              </a:rPr>
              <a:t>10</a:t>
            </a:r>
          </a:p>
        </p:txBody>
      </p:sp>
      <p:cxnSp>
        <p:nvCxnSpPr>
          <p:cNvPr id="44" name="Straight Connector 43">
            <a:extLst>
              <a:ext uri="{FF2B5EF4-FFF2-40B4-BE49-F238E27FC236}">
                <a16:creationId xmlns:a16="http://schemas.microsoft.com/office/drawing/2014/main" id="{F890E722-CE7D-6C45-AF8C-E887ED3DEA67}"/>
              </a:ext>
            </a:extLst>
          </p:cNvPr>
          <p:cNvCxnSpPr>
            <a:cxnSpLocks/>
          </p:cNvCxnSpPr>
          <p:nvPr/>
        </p:nvCxnSpPr>
        <p:spPr>
          <a:xfrm>
            <a:off x="9618384" y="3538365"/>
            <a:ext cx="982937" cy="0"/>
          </a:xfrm>
          <a:prstGeom prst="line">
            <a:avLst/>
          </a:prstGeom>
          <a:ln w="12700">
            <a:solidFill>
              <a:srgbClr val="87CBD8"/>
            </a:solidFill>
            <a:headEnd type="oval"/>
            <a:tailEnd type="oval"/>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45B515B-7C79-B840-A213-CDB85E53A31C}"/>
              </a:ext>
            </a:extLst>
          </p:cNvPr>
          <p:cNvCxnSpPr>
            <a:cxnSpLocks/>
          </p:cNvCxnSpPr>
          <p:nvPr/>
        </p:nvCxnSpPr>
        <p:spPr>
          <a:xfrm>
            <a:off x="8716991" y="4741222"/>
            <a:ext cx="982937" cy="0"/>
          </a:xfrm>
          <a:prstGeom prst="line">
            <a:avLst/>
          </a:prstGeom>
          <a:ln w="12700">
            <a:solidFill>
              <a:srgbClr val="EE4328"/>
            </a:solidFill>
            <a:headEnd type="oval"/>
            <a:tailEnd type="oval"/>
          </a:ln>
        </p:spPr>
        <p:style>
          <a:lnRef idx="1">
            <a:schemeClr val="accent1"/>
          </a:lnRef>
          <a:fillRef idx="0">
            <a:schemeClr val="accent1"/>
          </a:fillRef>
          <a:effectRef idx="0">
            <a:schemeClr val="accent1"/>
          </a:effectRef>
          <a:fontRef idx="minor">
            <a:schemeClr val="tx1"/>
          </a:fontRef>
        </p:style>
      </p:cxnSp>
      <p:sp>
        <p:nvSpPr>
          <p:cNvPr id="46" name="Google Shape;61;p12">
            <a:extLst>
              <a:ext uri="{FF2B5EF4-FFF2-40B4-BE49-F238E27FC236}">
                <a16:creationId xmlns:a16="http://schemas.microsoft.com/office/drawing/2014/main" id="{DC043E05-BDC1-FB42-AECD-3FD1422611E0}"/>
              </a:ext>
            </a:extLst>
          </p:cNvPr>
          <p:cNvSpPr txBox="1">
            <a:spLocks/>
          </p:cNvSpPr>
          <p:nvPr/>
        </p:nvSpPr>
        <p:spPr>
          <a:xfrm>
            <a:off x="9974095" y="4071628"/>
            <a:ext cx="747530" cy="261610"/>
          </a:xfrm>
          <a:prstGeom prst="rect">
            <a:avLst/>
          </a:prstGeom>
          <a:noFill/>
        </p:spPr>
        <p:txBody>
          <a:bodyPr wrap="square" rtlCol="0">
            <a:spAutoFit/>
          </a:bodyPr>
          <a:lstStyle>
            <a:defPPr>
              <a:defRPr lang="en-US"/>
            </a:defPPr>
            <a:lvl1pPr algn="ctr" defTabSz="457200">
              <a:defRPr sz="90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defRPr>
            </a:lvl1pPr>
          </a:lstStyle>
          <a:p>
            <a:pPr algn="l"/>
            <a:r>
              <a:rPr lang="en-US" sz="1100" dirty="0">
                <a:solidFill>
                  <a:schemeClr val="tx1">
                    <a:lumMod val="50000"/>
                  </a:schemeClr>
                </a:solidFill>
                <a:latin typeface="Comic Sans MS" panose="030F0902030302020204" pitchFamily="66" charset="0"/>
              </a:rPr>
              <a:t>writes</a:t>
            </a:r>
          </a:p>
        </p:txBody>
      </p:sp>
      <p:cxnSp>
        <p:nvCxnSpPr>
          <p:cNvPr id="47" name="Straight Connector 46">
            <a:extLst>
              <a:ext uri="{FF2B5EF4-FFF2-40B4-BE49-F238E27FC236}">
                <a16:creationId xmlns:a16="http://schemas.microsoft.com/office/drawing/2014/main" id="{83B32272-74AE-3545-9B61-A234785493E3}"/>
              </a:ext>
            </a:extLst>
          </p:cNvPr>
          <p:cNvCxnSpPr>
            <a:cxnSpLocks/>
          </p:cNvCxnSpPr>
          <p:nvPr/>
        </p:nvCxnSpPr>
        <p:spPr>
          <a:xfrm>
            <a:off x="9051522" y="5764970"/>
            <a:ext cx="982937" cy="0"/>
          </a:xfrm>
          <a:prstGeom prst="line">
            <a:avLst/>
          </a:prstGeom>
          <a:ln w="12700">
            <a:solidFill>
              <a:srgbClr val="0079D1"/>
            </a:solidFill>
            <a:headEnd type="oval"/>
            <a:tailEnd type="oval"/>
          </a:ln>
        </p:spPr>
        <p:style>
          <a:lnRef idx="1">
            <a:schemeClr val="accent1"/>
          </a:lnRef>
          <a:fillRef idx="0">
            <a:schemeClr val="accent1"/>
          </a:fillRef>
          <a:effectRef idx="0">
            <a:schemeClr val="accent1"/>
          </a:effectRef>
          <a:fontRef idx="minor">
            <a:schemeClr val="tx1"/>
          </a:fontRef>
        </p:style>
      </p:cxnSp>
      <p:sp>
        <p:nvSpPr>
          <p:cNvPr id="48" name="Rectangle 47">
            <a:extLst>
              <a:ext uri="{FF2B5EF4-FFF2-40B4-BE49-F238E27FC236}">
                <a16:creationId xmlns:a16="http://schemas.microsoft.com/office/drawing/2014/main" id="{AFF58F9D-B68C-6048-8479-37E4D96C7FFE}"/>
              </a:ext>
            </a:extLst>
          </p:cNvPr>
          <p:cNvSpPr/>
          <p:nvPr/>
        </p:nvSpPr>
        <p:spPr>
          <a:xfrm>
            <a:off x="4788128" y="3161334"/>
            <a:ext cx="1851949" cy="920422"/>
          </a:xfrm>
          <a:prstGeom prst="rect">
            <a:avLst/>
          </a:prstGeom>
          <a:solidFill>
            <a:srgbClr val="87CBD8">
              <a:alpha val="95000"/>
            </a:srgb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t" anchorCtr="0" forceAA="0" compatLnSpc="1">
            <a:prstTxWarp prst="textNoShape">
              <a:avLst/>
            </a:prstTxWarp>
            <a:noAutofit/>
          </a:bodyPr>
          <a:lstStyle/>
          <a:p>
            <a:pPr algn="ctr" defTabSz="457200"/>
            <a:r>
              <a:rPr lang="en-US" sz="800" dirty="0">
                <a:solidFill>
                  <a:srgbClr val="0067B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Broker 1</a:t>
            </a:r>
          </a:p>
        </p:txBody>
      </p:sp>
      <p:sp>
        <p:nvSpPr>
          <p:cNvPr id="50" name="Rounded Rectangle 49">
            <a:extLst>
              <a:ext uri="{FF2B5EF4-FFF2-40B4-BE49-F238E27FC236}">
                <a16:creationId xmlns:a16="http://schemas.microsoft.com/office/drawing/2014/main" id="{AC240D3A-46B3-4C4E-A2BF-7ABA381BAFCA}"/>
              </a:ext>
            </a:extLst>
          </p:cNvPr>
          <p:cNvSpPr/>
          <p:nvPr/>
        </p:nvSpPr>
        <p:spPr>
          <a:xfrm>
            <a:off x="4910014" y="3456173"/>
            <a:ext cx="1597305" cy="481893"/>
          </a:xfrm>
          <a:prstGeom prst="roundRect">
            <a:avLst/>
          </a:prstGeom>
          <a:solidFill>
            <a:srgbClr val="87CBD8">
              <a:alpha val="95000"/>
            </a:srgbClr>
          </a:solidFill>
          <a:ln w="9525">
            <a:solidFill>
              <a:srgbClr val="0079D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t" anchorCtr="0" forceAA="0" compatLnSpc="1">
            <a:prstTxWarp prst="textNoShape">
              <a:avLst/>
            </a:prstTxWarp>
            <a:noAutofit/>
          </a:bodyPr>
          <a:lstStyle/>
          <a:p>
            <a:pPr algn="ctr" defTabSz="457200"/>
            <a:r>
              <a:rPr lang="en-US" sz="800" dirty="0">
                <a:solidFill>
                  <a:srgbClr val="0067B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Partition 0</a:t>
            </a:r>
          </a:p>
          <a:p>
            <a:pPr algn="ctr" defTabSz="457200"/>
            <a:r>
              <a:rPr lang="en-US" sz="800" dirty="0">
                <a:solidFill>
                  <a:srgbClr val="0067B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Topic-A / Partition 0</a:t>
            </a:r>
          </a:p>
        </p:txBody>
      </p:sp>
      <p:sp>
        <p:nvSpPr>
          <p:cNvPr id="54" name="Rectangle 53">
            <a:extLst>
              <a:ext uri="{FF2B5EF4-FFF2-40B4-BE49-F238E27FC236}">
                <a16:creationId xmlns:a16="http://schemas.microsoft.com/office/drawing/2014/main" id="{F992BDA0-ADD4-4E4C-A921-346DDF24B756}"/>
              </a:ext>
            </a:extLst>
          </p:cNvPr>
          <p:cNvSpPr/>
          <p:nvPr/>
        </p:nvSpPr>
        <p:spPr>
          <a:xfrm>
            <a:off x="4788128" y="4234325"/>
            <a:ext cx="1851949" cy="920422"/>
          </a:xfrm>
          <a:prstGeom prst="rect">
            <a:avLst/>
          </a:prstGeom>
          <a:solidFill>
            <a:srgbClr val="EE4328">
              <a:alpha val="95000"/>
            </a:srgb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t" anchorCtr="0" forceAA="0" compatLnSpc="1">
            <a:prstTxWarp prst="textNoShape">
              <a:avLst/>
            </a:prstTxWarp>
            <a:noAutofit/>
          </a:bodyPr>
          <a:lstStyle/>
          <a:p>
            <a:pPr algn="ctr" defTabSz="457200"/>
            <a:r>
              <a:rPr lang="en-US" sz="800" dirty="0">
                <a:solidFill>
                  <a:schemeClr val="bg1"/>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Broker 1</a:t>
            </a:r>
          </a:p>
        </p:txBody>
      </p:sp>
      <p:sp>
        <p:nvSpPr>
          <p:cNvPr id="55" name="Rounded Rectangle 54">
            <a:extLst>
              <a:ext uri="{FF2B5EF4-FFF2-40B4-BE49-F238E27FC236}">
                <a16:creationId xmlns:a16="http://schemas.microsoft.com/office/drawing/2014/main" id="{53B7FDDA-26FD-C248-8470-AD6820B8DA45}"/>
              </a:ext>
            </a:extLst>
          </p:cNvPr>
          <p:cNvSpPr/>
          <p:nvPr/>
        </p:nvSpPr>
        <p:spPr>
          <a:xfrm>
            <a:off x="4910014" y="4529164"/>
            <a:ext cx="1597305" cy="481893"/>
          </a:xfrm>
          <a:prstGeom prst="roundRect">
            <a:avLst/>
          </a:prstGeom>
          <a:solidFill>
            <a:srgbClr val="EE4328">
              <a:alpha val="95000"/>
            </a:srgbClr>
          </a:solidFill>
          <a:ln w="952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t" anchorCtr="0" forceAA="0" compatLnSpc="1">
            <a:prstTxWarp prst="textNoShape">
              <a:avLst/>
            </a:prstTxWarp>
            <a:noAutofit/>
          </a:bodyPr>
          <a:lstStyle/>
          <a:p>
            <a:pPr algn="ctr" defTabSz="457200"/>
            <a:r>
              <a:rPr lang="en-US" sz="800" dirty="0">
                <a:solidFill>
                  <a:schemeClr val="bg1"/>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Partition 0</a:t>
            </a:r>
          </a:p>
          <a:p>
            <a:pPr algn="ctr" defTabSz="457200"/>
            <a:r>
              <a:rPr lang="en-US" sz="800" dirty="0">
                <a:solidFill>
                  <a:schemeClr val="bg1"/>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Topic-A / Partition 1</a:t>
            </a:r>
          </a:p>
        </p:txBody>
      </p:sp>
      <p:sp>
        <p:nvSpPr>
          <p:cNvPr id="56" name="Rectangle 55">
            <a:extLst>
              <a:ext uri="{FF2B5EF4-FFF2-40B4-BE49-F238E27FC236}">
                <a16:creationId xmlns:a16="http://schemas.microsoft.com/office/drawing/2014/main" id="{BEB2E4F1-7D8C-7149-B276-4730A7EADFBB}"/>
              </a:ext>
            </a:extLst>
          </p:cNvPr>
          <p:cNvSpPr/>
          <p:nvPr/>
        </p:nvSpPr>
        <p:spPr>
          <a:xfrm>
            <a:off x="4788128" y="5392023"/>
            <a:ext cx="1851949" cy="920422"/>
          </a:xfrm>
          <a:prstGeom prst="rect">
            <a:avLst/>
          </a:prstGeom>
          <a:solidFill>
            <a:srgbClr val="0079D1">
              <a:alpha val="95000"/>
            </a:srgb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t" anchorCtr="0" forceAA="0" compatLnSpc="1">
            <a:prstTxWarp prst="textNoShape">
              <a:avLst/>
            </a:prstTxWarp>
            <a:noAutofit/>
          </a:bodyPr>
          <a:lstStyle/>
          <a:p>
            <a:pPr algn="ctr" defTabSz="457200"/>
            <a:r>
              <a:rPr lang="en-US" sz="800" dirty="0">
                <a:solidFill>
                  <a:schemeClr val="bg1"/>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Broker 1</a:t>
            </a:r>
          </a:p>
        </p:txBody>
      </p:sp>
      <p:sp>
        <p:nvSpPr>
          <p:cNvPr id="57" name="Rounded Rectangle 56">
            <a:extLst>
              <a:ext uri="{FF2B5EF4-FFF2-40B4-BE49-F238E27FC236}">
                <a16:creationId xmlns:a16="http://schemas.microsoft.com/office/drawing/2014/main" id="{B0A436B2-F49D-704F-A80A-49EDDB34914D}"/>
              </a:ext>
            </a:extLst>
          </p:cNvPr>
          <p:cNvSpPr/>
          <p:nvPr/>
        </p:nvSpPr>
        <p:spPr>
          <a:xfrm>
            <a:off x="4910014" y="5686862"/>
            <a:ext cx="1597305" cy="481893"/>
          </a:xfrm>
          <a:prstGeom prst="roundRect">
            <a:avLst/>
          </a:prstGeom>
          <a:solidFill>
            <a:srgbClr val="0079D1">
              <a:alpha val="95000"/>
            </a:srgbClr>
          </a:solidFill>
          <a:ln w="952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t" anchorCtr="0" forceAA="0" compatLnSpc="1">
            <a:prstTxWarp prst="textNoShape">
              <a:avLst/>
            </a:prstTxWarp>
            <a:noAutofit/>
          </a:bodyPr>
          <a:lstStyle/>
          <a:p>
            <a:pPr algn="ctr" defTabSz="457200"/>
            <a:r>
              <a:rPr lang="en-US" sz="800" dirty="0">
                <a:solidFill>
                  <a:schemeClr val="bg1"/>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Partition 0</a:t>
            </a:r>
          </a:p>
          <a:p>
            <a:pPr algn="ctr" defTabSz="457200"/>
            <a:r>
              <a:rPr lang="en-US" sz="800" dirty="0">
                <a:solidFill>
                  <a:schemeClr val="bg1"/>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Topic-A / Partition 2</a:t>
            </a:r>
          </a:p>
        </p:txBody>
      </p:sp>
      <p:sp>
        <p:nvSpPr>
          <p:cNvPr id="58" name="Rounded Rectangle 57">
            <a:extLst>
              <a:ext uri="{FF2B5EF4-FFF2-40B4-BE49-F238E27FC236}">
                <a16:creationId xmlns:a16="http://schemas.microsoft.com/office/drawing/2014/main" id="{C2378D7D-66DB-C449-871A-4AF4F44EAA6E}"/>
              </a:ext>
            </a:extLst>
          </p:cNvPr>
          <p:cNvSpPr/>
          <p:nvPr/>
        </p:nvSpPr>
        <p:spPr>
          <a:xfrm>
            <a:off x="1765899" y="4453589"/>
            <a:ext cx="1597305" cy="481893"/>
          </a:xfrm>
          <a:prstGeom prst="roundRect">
            <a:avLst/>
          </a:prstGeom>
          <a:solidFill>
            <a:srgbClr val="87CBD8">
              <a:alpha val="95000"/>
            </a:srgbClr>
          </a:solidFill>
          <a:ln w="9525">
            <a:solidFill>
              <a:srgbClr val="0079D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t" anchorCtr="0" forceAA="0" compatLnSpc="1">
            <a:prstTxWarp prst="textNoShape">
              <a:avLst/>
            </a:prstTxWarp>
            <a:noAutofit/>
          </a:bodyPr>
          <a:lstStyle/>
          <a:p>
            <a:pPr algn="ctr" defTabSz="457200"/>
            <a:r>
              <a:rPr lang="en-US" sz="800" dirty="0">
                <a:solidFill>
                  <a:srgbClr val="0067B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Producer</a:t>
            </a:r>
          </a:p>
        </p:txBody>
      </p:sp>
      <p:cxnSp>
        <p:nvCxnSpPr>
          <p:cNvPr id="59" name="Straight Connector 58">
            <a:extLst>
              <a:ext uri="{FF2B5EF4-FFF2-40B4-BE49-F238E27FC236}">
                <a16:creationId xmlns:a16="http://schemas.microsoft.com/office/drawing/2014/main" id="{FD34E0B5-4EFC-BD4D-BE9D-17C1ABCBA004}"/>
              </a:ext>
            </a:extLst>
          </p:cNvPr>
          <p:cNvCxnSpPr>
            <a:cxnSpLocks/>
            <a:stCxn id="58" idx="3"/>
            <a:endCxn id="48" idx="1"/>
          </p:cNvCxnSpPr>
          <p:nvPr/>
        </p:nvCxnSpPr>
        <p:spPr>
          <a:xfrm flipV="1">
            <a:off x="3363204" y="3621545"/>
            <a:ext cx="1424924" cy="1072991"/>
          </a:xfrm>
          <a:prstGeom prst="line">
            <a:avLst/>
          </a:prstGeom>
          <a:ln w="12700">
            <a:solidFill>
              <a:srgbClr val="0079D1"/>
            </a:solidFill>
            <a:headEnd type="oval"/>
            <a:tailEnd type="oval"/>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24C3B87B-43D0-C34D-B3DE-3B91EE2F1E73}"/>
              </a:ext>
            </a:extLst>
          </p:cNvPr>
          <p:cNvCxnSpPr>
            <a:cxnSpLocks/>
            <a:stCxn id="58" idx="3"/>
            <a:endCxn id="54" idx="1"/>
          </p:cNvCxnSpPr>
          <p:nvPr/>
        </p:nvCxnSpPr>
        <p:spPr>
          <a:xfrm>
            <a:off x="3363204" y="4694536"/>
            <a:ext cx="1424924" cy="0"/>
          </a:xfrm>
          <a:prstGeom prst="line">
            <a:avLst/>
          </a:prstGeom>
          <a:ln w="12700">
            <a:solidFill>
              <a:srgbClr val="0079D1"/>
            </a:solidFill>
            <a:headEnd type="oval"/>
            <a:tailEnd type="oval"/>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636809B7-DB59-0A42-A697-A0FAAD2DED89}"/>
              </a:ext>
            </a:extLst>
          </p:cNvPr>
          <p:cNvCxnSpPr>
            <a:cxnSpLocks/>
            <a:stCxn id="58" idx="3"/>
            <a:endCxn id="56" idx="1"/>
          </p:cNvCxnSpPr>
          <p:nvPr/>
        </p:nvCxnSpPr>
        <p:spPr>
          <a:xfrm>
            <a:off x="3363204" y="4694536"/>
            <a:ext cx="1424924" cy="1157698"/>
          </a:xfrm>
          <a:prstGeom prst="line">
            <a:avLst/>
          </a:prstGeom>
          <a:ln w="12700">
            <a:solidFill>
              <a:srgbClr val="0079D1"/>
            </a:solidFill>
            <a:headEnd type="oval"/>
            <a:tailEnd type="oval"/>
          </a:ln>
        </p:spPr>
        <p:style>
          <a:lnRef idx="1">
            <a:schemeClr val="accent1"/>
          </a:lnRef>
          <a:fillRef idx="0">
            <a:schemeClr val="accent1"/>
          </a:fillRef>
          <a:effectRef idx="0">
            <a:schemeClr val="accent1"/>
          </a:effectRef>
          <a:fontRef idx="minor">
            <a:schemeClr val="tx1"/>
          </a:fontRef>
        </p:style>
      </p:cxnSp>
      <p:sp>
        <p:nvSpPr>
          <p:cNvPr id="66" name="Google Shape;61;p12">
            <a:extLst>
              <a:ext uri="{FF2B5EF4-FFF2-40B4-BE49-F238E27FC236}">
                <a16:creationId xmlns:a16="http://schemas.microsoft.com/office/drawing/2014/main" id="{B4832534-AA6E-A749-B2A0-B70033835380}"/>
              </a:ext>
            </a:extLst>
          </p:cNvPr>
          <p:cNvSpPr txBox="1">
            <a:spLocks/>
          </p:cNvSpPr>
          <p:nvPr/>
        </p:nvSpPr>
        <p:spPr>
          <a:xfrm>
            <a:off x="1359645" y="5070686"/>
            <a:ext cx="2555608" cy="369332"/>
          </a:xfrm>
          <a:prstGeom prst="rect">
            <a:avLst/>
          </a:prstGeom>
          <a:noFill/>
        </p:spPr>
        <p:txBody>
          <a:bodyPr wrap="square" rtlCol="0">
            <a:spAutoFit/>
          </a:bodyPr>
          <a:lstStyle>
            <a:defPPr>
              <a:defRPr lang="en-US"/>
            </a:defPPr>
            <a:lvl1pPr algn="ctr" defTabSz="457200">
              <a:defRPr sz="90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defRPr>
            </a:lvl1pPr>
          </a:lstStyle>
          <a:p>
            <a:pPr algn="l"/>
            <a:r>
              <a:rPr lang="en-US" dirty="0">
                <a:solidFill>
                  <a:srgbClr val="C5277F"/>
                </a:solidFill>
                <a:latin typeface="Comic Sans MS" panose="030F0902030302020204" pitchFamily="66" charset="0"/>
              </a:rPr>
              <a:t>The Load is balanced to many brokers thanks to the number of partitions</a:t>
            </a:r>
          </a:p>
        </p:txBody>
      </p:sp>
      <p:sp>
        <p:nvSpPr>
          <p:cNvPr id="67" name="Google Shape;61;p12">
            <a:extLst>
              <a:ext uri="{FF2B5EF4-FFF2-40B4-BE49-F238E27FC236}">
                <a16:creationId xmlns:a16="http://schemas.microsoft.com/office/drawing/2014/main" id="{C8040864-702E-B441-901D-465A34723538}"/>
              </a:ext>
            </a:extLst>
          </p:cNvPr>
          <p:cNvSpPr txBox="1">
            <a:spLocks/>
          </p:cNvSpPr>
          <p:nvPr/>
        </p:nvSpPr>
        <p:spPr>
          <a:xfrm>
            <a:off x="3783592" y="4390445"/>
            <a:ext cx="776722" cy="230832"/>
          </a:xfrm>
          <a:prstGeom prst="rect">
            <a:avLst/>
          </a:prstGeom>
          <a:noFill/>
        </p:spPr>
        <p:txBody>
          <a:bodyPr wrap="square" rtlCol="0">
            <a:spAutoFit/>
          </a:bodyPr>
          <a:lstStyle>
            <a:defPPr>
              <a:defRPr lang="en-US"/>
            </a:defPPr>
            <a:lvl1pPr algn="ctr" defTabSz="457200">
              <a:defRPr sz="90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defRPr>
            </a:lvl1pPr>
          </a:lstStyle>
          <a:p>
            <a:pPr algn="l"/>
            <a:r>
              <a:rPr lang="en-US" dirty="0">
                <a:solidFill>
                  <a:srgbClr val="C5277F"/>
                </a:solidFill>
                <a:latin typeface="Comic Sans MS" panose="030F0902030302020204" pitchFamily="66" charset="0"/>
              </a:rPr>
              <a:t>Send data</a:t>
            </a:r>
            <a:endParaRPr lang="es-ES_tradnl" dirty="0">
              <a:solidFill>
                <a:srgbClr val="C5277F"/>
              </a:solidFill>
              <a:latin typeface="Comic Sans MS" panose="030F0902030302020204" pitchFamily="66" charset="0"/>
            </a:endParaRPr>
          </a:p>
        </p:txBody>
      </p:sp>
    </p:spTree>
    <p:extLst>
      <p:ext uri="{BB962C8B-B14F-4D97-AF65-F5344CB8AC3E}">
        <p14:creationId xmlns:p14="http://schemas.microsoft.com/office/powerpoint/2010/main" val="353733394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7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3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5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itiBanamex_corporate_template_091212">
  <a:themeElements>
    <a:clrScheme name="Citi_corporate_template20120814 4">
      <a:dk1>
        <a:srgbClr val="53565A"/>
      </a:dk1>
      <a:lt1>
        <a:srgbClr val="FFFFFF"/>
      </a:lt1>
      <a:dk2>
        <a:srgbClr val="002D72"/>
      </a:dk2>
      <a:lt2>
        <a:srgbClr val="97999B"/>
      </a:lt2>
      <a:accent1>
        <a:srgbClr val="00BDF2"/>
      </a:accent1>
      <a:accent2>
        <a:srgbClr val="FFAA11"/>
      </a:accent2>
      <a:accent3>
        <a:srgbClr val="FFFFFF"/>
      </a:accent3>
      <a:accent4>
        <a:srgbClr val="46484C"/>
      </a:accent4>
      <a:accent5>
        <a:srgbClr val="AADBF7"/>
      </a:accent5>
      <a:accent6>
        <a:srgbClr val="E79A0E"/>
      </a:accent6>
      <a:hlink>
        <a:srgbClr val="FF0000"/>
      </a:hlink>
      <a:folHlink>
        <a:srgbClr val="890C58"/>
      </a:folHlink>
    </a:clrScheme>
    <a:fontScheme name="cfin_v06">
      <a:majorFont>
        <a:latin typeface="Arial"/>
        <a:ea typeface="Geneva"/>
        <a:cs typeface=""/>
      </a:majorFont>
      <a:minorFont>
        <a:latin typeface="Arial"/>
        <a:ea typeface="Geneva"/>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tx2"/>
        </a:solidFill>
        <a:ln w="12700"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2400" b="0" i="0" u="none" strike="noStrike" cap="none" normalizeH="0" baseline="0">
            <a:ln>
              <a:noFill/>
            </a:ln>
            <a:solidFill>
              <a:srgbClr val="000000"/>
            </a:solidFill>
            <a:effectLst/>
            <a:latin typeface="Arial" charset="0"/>
            <a:ea typeface="Geneva" charset="0"/>
          </a:defRPr>
        </a:defPPr>
      </a:lstStyle>
    </a:spDef>
    <a:lnDef>
      <a:spPr bwMode="auto">
        <a:xfrm>
          <a:off x="0" y="0"/>
          <a:ext cx="1" cy="1"/>
        </a:xfrm>
        <a:custGeom>
          <a:avLst/>
          <a:gdLst/>
          <a:ahLst/>
          <a:cxnLst/>
          <a:rect l="0" t="0" r="0" b="0"/>
          <a:pathLst/>
        </a:custGeom>
        <a:solidFill>
          <a:schemeClr val="tx2"/>
        </a:solidFill>
        <a:ln w="12700"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2400" b="0" i="0" u="none" strike="noStrike" cap="none" normalizeH="0" baseline="0">
            <a:ln>
              <a:noFill/>
            </a:ln>
            <a:solidFill>
              <a:srgbClr val="000000"/>
            </a:solidFill>
            <a:effectLst/>
            <a:latin typeface="Arial" charset="0"/>
            <a:ea typeface="Geneva" charset="0"/>
          </a:defRPr>
        </a:defPPr>
      </a:lstStyle>
    </a:lnDef>
    <a:txDef>
      <a:spPr bwMode="black">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accent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a:spPr>
      <a:bodyPr lIns="0"/>
      <a:lstStyle>
        <a:defPPr algn="l" eaLnBrk="1" hangingPunct="1">
          <a:lnSpc>
            <a:spcPct val="95000"/>
          </a:lnSpc>
          <a:spcBef>
            <a:spcPct val="75000"/>
          </a:spcBef>
          <a:spcAft>
            <a:spcPct val="20000"/>
          </a:spcAft>
          <a:defRPr sz="3600" dirty="0">
            <a:solidFill>
              <a:schemeClr val="bg1"/>
            </a:solidFill>
            <a:ea typeface="Arial" charset="0"/>
            <a:cs typeface="Geneva" charset="0"/>
          </a:defRPr>
        </a:defPPr>
      </a:lstStyle>
    </a:txDef>
  </a:objectDefaults>
  <a:extraClrSchemeLst>
    <a:extraClrScheme>
      <a:clrScheme name="cfin_v06 1">
        <a:dk1>
          <a:srgbClr val="000000"/>
        </a:dk1>
        <a:lt1>
          <a:srgbClr val="FFFFFF"/>
        </a:lt1>
        <a:dk2>
          <a:srgbClr val="000000"/>
        </a:dk2>
        <a:lt2>
          <a:srgbClr val="838589"/>
        </a:lt2>
        <a:accent1>
          <a:srgbClr val="4B4B4B"/>
        </a:accent1>
        <a:accent2>
          <a:srgbClr val="3973AD"/>
        </a:accent2>
        <a:accent3>
          <a:srgbClr val="FFFFFF"/>
        </a:accent3>
        <a:accent4>
          <a:srgbClr val="000000"/>
        </a:accent4>
        <a:accent5>
          <a:srgbClr val="B1B1B1"/>
        </a:accent5>
        <a:accent6>
          <a:srgbClr val="33689C"/>
        </a:accent6>
        <a:hlink>
          <a:srgbClr val="C0C0C0"/>
        </a:hlink>
        <a:folHlink>
          <a:srgbClr val="008080"/>
        </a:folHlink>
      </a:clrScheme>
      <a:clrMap bg1="lt1" tx1="dk1" bg2="lt2" tx2="dk2" accent1="accent1" accent2="accent2" accent3="accent3" accent4="accent4" accent5="accent5" accent6="accent6" hlink="hlink" folHlink="folHlink"/>
    </a:extraClrScheme>
    <a:extraClrScheme>
      <a:clrScheme name="cfin_v06 2">
        <a:dk1>
          <a:srgbClr val="000000"/>
        </a:dk1>
        <a:lt1>
          <a:srgbClr val="FFFFFF"/>
        </a:lt1>
        <a:dk2>
          <a:srgbClr val="004785"/>
        </a:dk2>
        <a:lt2>
          <a:srgbClr val="838589"/>
        </a:lt2>
        <a:accent1>
          <a:srgbClr val="4B4B4B"/>
        </a:accent1>
        <a:accent2>
          <a:srgbClr val="FFA202"/>
        </a:accent2>
        <a:accent3>
          <a:srgbClr val="FFFFFF"/>
        </a:accent3>
        <a:accent4>
          <a:srgbClr val="000000"/>
        </a:accent4>
        <a:accent5>
          <a:srgbClr val="B1B1B1"/>
        </a:accent5>
        <a:accent6>
          <a:srgbClr val="E79202"/>
        </a:accent6>
        <a:hlink>
          <a:srgbClr val="D7D7D7"/>
        </a:hlink>
        <a:folHlink>
          <a:srgbClr val="008080"/>
        </a:folHlink>
      </a:clrScheme>
      <a:clrMap bg1="lt1" tx1="dk1" bg2="lt2" tx2="dk2" accent1="accent1" accent2="accent2" accent3="accent3" accent4="accent4" accent5="accent5" accent6="accent6" hlink="hlink" folHlink="folHlink"/>
    </a:extraClrScheme>
    <a:extraClrScheme>
      <a:clrScheme name="citi_corporate_white 1">
        <a:dk1>
          <a:srgbClr val="717073"/>
        </a:dk1>
        <a:lt1>
          <a:srgbClr val="FFFFFF"/>
        </a:lt1>
        <a:dk2>
          <a:srgbClr val="002D72"/>
        </a:dk2>
        <a:lt2>
          <a:srgbClr val="D7D7D7"/>
        </a:lt2>
        <a:accent1>
          <a:srgbClr val="00BDF2"/>
        </a:accent1>
        <a:accent2>
          <a:srgbClr val="FFA202"/>
        </a:accent2>
        <a:accent3>
          <a:srgbClr val="FFFFFF"/>
        </a:accent3>
        <a:accent4>
          <a:srgbClr val="5F5F61"/>
        </a:accent4>
        <a:accent5>
          <a:srgbClr val="AADBF7"/>
        </a:accent5>
        <a:accent6>
          <a:srgbClr val="E79202"/>
        </a:accent6>
        <a:hlink>
          <a:srgbClr val="FF0000"/>
        </a:hlink>
        <a:folHlink>
          <a:srgbClr val="890C58"/>
        </a:folHlink>
      </a:clrScheme>
      <a:clrMap bg1="lt1" tx1="dk1" bg2="lt2" tx2="dk2" accent1="accent1" accent2="accent2" accent3="accent3" accent4="accent4" accent5="accent5" accent6="accent6" hlink="hlink" folHlink="folHlink"/>
    </a:extraClrScheme>
    <a:extraClrScheme>
      <a:clrScheme name="Citi_corporate_template20120814 1">
        <a:dk1>
          <a:srgbClr val="000000"/>
        </a:dk1>
        <a:lt1>
          <a:srgbClr val="FFFFFF"/>
        </a:lt1>
        <a:dk2>
          <a:srgbClr val="000000"/>
        </a:dk2>
        <a:lt2>
          <a:srgbClr val="838589"/>
        </a:lt2>
        <a:accent1>
          <a:srgbClr val="4B4B4B"/>
        </a:accent1>
        <a:accent2>
          <a:srgbClr val="3973AD"/>
        </a:accent2>
        <a:accent3>
          <a:srgbClr val="FFFFFF"/>
        </a:accent3>
        <a:accent4>
          <a:srgbClr val="000000"/>
        </a:accent4>
        <a:accent5>
          <a:srgbClr val="B1B1B1"/>
        </a:accent5>
        <a:accent6>
          <a:srgbClr val="33689C"/>
        </a:accent6>
        <a:hlink>
          <a:srgbClr val="C0C0C0"/>
        </a:hlink>
        <a:folHlink>
          <a:srgbClr val="008080"/>
        </a:folHlink>
      </a:clrScheme>
      <a:clrMap bg1="lt1" tx1="dk1" bg2="lt2" tx2="dk2" accent1="accent1" accent2="accent2" accent3="accent3" accent4="accent4" accent5="accent5" accent6="accent6" hlink="hlink" folHlink="folHlink"/>
    </a:extraClrScheme>
    <a:extraClrScheme>
      <a:clrScheme name="Citi_corporate_template20120814 2">
        <a:dk1>
          <a:srgbClr val="000000"/>
        </a:dk1>
        <a:lt1>
          <a:srgbClr val="FFFFFF"/>
        </a:lt1>
        <a:dk2>
          <a:srgbClr val="004785"/>
        </a:dk2>
        <a:lt2>
          <a:srgbClr val="838589"/>
        </a:lt2>
        <a:accent1>
          <a:srgbClr val="4B4B4B"/>
        </a:accent1>
        <a:accent2>
          <a:srgbClr val="FFA202"/>
        </a:accent2>
        <a:accent3>
          <a:srgbClr val="FFFFFF"/>
        </a:accent3>
        <a:accent4>
          <a:srgbClr val="000000"/>
        </a:accent4>
        <a:accent5>
          <a:srgbClr val="B1B1B1"/>
        </a:accent5>
        <a:accent6>
          <a:srgbClr val="E79202"/>
        </a:accent6>
        <a:hlink>
          <a:srgbClr val="D7D7D7"/>
        </a:hlink>
        <a:folHlink>
          <a:srgbClr val="008080"/>
        </a:folHlink>
      </a:clrScheme>
      <a:clrMap bg1="lt1" tx1="dk1" bg2="lt2" tx2="dk2" accent1="accent1" accent2="accent2" accent3="accent3" accent4="accent4" accent5="accent5" accent6="accent6" hlink="hlink" folHlink="folHlink"/>
    </a:extraClrScheme>
    <a:extraClrScheme>
      <a:clrScheme name="Citi_corporate_template20120814 3">
        <a:dk1>
          <a:srgbClr val="717073"/>
        </a:dk1>
        <a:lt1>
          <a:srgbClr val="FFFFFF"/>
        </a:lt1>
        <a:dk2>
          <a:srgbClr val="002D72"/>
        </a:dk2>
        <a:lt2>
          <a:srgbClr val="D7D7D7"/>
        </a:lt2>
        <a:accent1>
          <a:srgbClr val="00BDF2"/>
        </a:accent1>
        <a:accent2>
          <a:srgbClr val="FFA202"/>
        </a:accent2>
        <a:accent3>
          <a:srgbClr val="FFFFFF"/>
        </a:accent3>
        <a:accent4>
          <a:srgbClr val="5F5F61"/>
        </a:accent4>
        <a:accent5>
          <a:srgbClr val="AADBF7"/>
        </a:accent5>
        <a:accent6>
          <a:srgbClr val="E79202"/>
        </a:accent6>
        <a:hlink>
          <a:srgbClr val="FF0000"/>
        </a:hlink>
        <a:folHlink>
          <a:srgbClr val="890C58"/>
        </a:folHlink>
      </a:clrScheme>
      <a:clrMap bg1="lt1" tx1="dk1" bg2="lt2" tx2="dk2" accent1="accent1" accent2="accent2" accent3="accent3" accent4="accent4" accent5="accent5" accent6="accent6" hlink="hlink" folHlink="folHlink"/>
    </a:extraClrScheme>
    <a:extraClrScheme>
      <a:clrScheme name="Citi_corporate_template20120814 4">
        <a:dk1>
          <a:srgbClr val="53565A"/>
        </a:dk1>
        <a:lt1>
          <a:srgbClr val="FFFFFF"/>
        </a:lt1>
        <a:dk2>
          <a:srgbClr val="002D72"/>
        </a:dk2>
        <a:lt2>
          <a:srgbClr val="97999B"/>
        </a:lt2>
        <a:accent1>
          <a:srgbClr val="00BDF2"/>
        </a:accent1>
        <a:accent2>
          <a:srgbClr val="FFAA11"/>
        </a:accent2>
        <a:accent3>
          <a:srgbClr val="FFFFFF"/>
        </a:accent3>
        <a:accent4>
          <a:srgbClr val="46484C"/>
        </a:accent4>
        <a:accent5>
          <a:srgbClr val="AADBF7"/>
        </a:accent5>
        <a:accent6>
          <a:srgbClr val="E79A0E"/>
        </a:accent6>
        <a:hlink>
          <a:srgbClr val="FF0000"/>
        </a:hlink>
        <a:folHlink>
          <a:srgbClr val="890C58"/>
        </a:folHlink>
      </a:clrScheme>
      <a:clrMap bg1="lt1" tx1="dk1" bg2="lt2" tx2="dk2" accent1="accent1" accent2="accent2" accent3="accent3" accent4="accent4" accent5="accent5" accent6="accent6" hlink="hlink" folHlink="folHlink"/>
    </a:extraClrScheme>
  </a:extraClrSchemeLst>
</a:theme>
</file>

<file path=ppt/theme/theme10.xml><?xml version="1.0" encoding="utf-8"?>
<a:theme xmlns:a="http://schemas.openxmlformats.org/drawingml/2006/main" name="CITIBanamex-MX2020 Grid 16:9">
  <a:themeElements>
    <a:clrScheme name="CITIBanamex-MX2020">
      <a:dk1>
        <a:srgbClr val="002D72"/>
      </a:dk1>
      <a:lt1>
        <a:sysClr val="window" lastClr="FFFFFF"/>
      </a:lt1>
      <a:dk2>
        <a:srgbClr val="002D72"/>
      </a:dk2>
      <a:lt2>
        <a:srgbClr val="F2F2F2"/>
      </a:lt2>
      <a:accent1>
        <a:srgbClr val="001636"/>
      </a:accent1>
      <a:accent2>
        <a:srgbClr val="001F4C"/>
      </a:accent2>
      <a:accent3>
        <a:srgbClr val="FEEC00"/>
      </a:accent3>
      <a:accent4>
        <a:srgbClr val="004683"/>
      </a:accent4>
      <a:accent5>
        <a:srgbClr val="808080"/>
      </a:accent5>
      <a:accent6>
        <a:srgbClr val="8C0512"/>
      </a:accent6>
      <a:hlink>
        <a:srgbClr val="2E3558"/>
      </a:hlink>
      <a:folHlink>
        <a:srgbClr val="2E3558"/>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9525" cap="rnd">
          <a:noFill/>
          <a:prstDash val="sysDot"/>
          <a:roun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lnSpc>
            <a:spcPct val="90000"/>
          </a:lnSpc>
          <a:spcAft>
            <a:spcPts val="1000"/>
          </a:spcAft>
          <a:defRPr sz="12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11.xml><?xml version="1.0" encoding="utf-8"?>
<a:theme xmlns:a="http://schemas.openxmlformats.org/drawingml/2006/main" name="4_Blank">
  <a:themeElements>
    <a:clrScheme name="Citi">
      <a:dk1>
        <a:srgbClr val="002D72"/>
      </a:dk1>
      <a:lt1>
        <a:srgbClr val="FFFFFF"/>
      </a:lt1>
      <a:dk2>
        <a:srgbClr val="002060"/>
      </a:dk2>
      <a:lt2>
        <a:srgbClr val="808080"/>
      </a:lt2>
      <a:accent1>
        <a:srgbClr val="E2E2E2"/>
      </a:accent1>
      <a:accent2>
        <a:srgbClr val="43D2FF"/>
      </a:accent2>
      <a:accent3>
        <a:srgbClr val="FFFFFF"/>
      </a:accent3>
      <a:accent4>
        <a:srgbClr val="004683"/>
      </a:accent4>
      <a:accent5>
        <a:srgbClr val="D2E0E6"/>
      </a:accent5>
      <a:accent6>
        <a:srgbClr val="79A2B3"/>
      </a:accent6>
      <a:hlink>
        <a:srgbClr val="007BB4"/>
      </a:hlink>
      <a:folHlink>
        <a:srgbClr val="00ADE3"/>
      </a:folHlink>
    </a:clrScheme>
    <a:fontScheme name="Cit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E2E2E2"/>
        </a:solidFill>
        <a:ln w="9525">
          <a:solidFill>
            <a:srgbClr val="E2E2E2"/>
          </a:solidFill>
        </a:ln>
        <a:effectLst/>
      </a:spPr>
      <a:bodyPr tIns="90000" bIns="90000" rtlCol="0" anchor="ctr" anchorCtr="0"/>
      <a:lstStyle>
        <a:defPPr algn="ctr">
          <a:defRPr sz="1400" dirty="0" smtClean="0">
            <a:solidFill>
              <a:srgbClr val="002D72"/>
            </a:solidFill>
            <a:latin typeface="Arial" pitchFamily="34" charset="0"/>
            <a:cs typeface="Arial"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rgbClr val="808080"/>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tIns="90000" bIns="90000" rtlCol="0" anchor="t">
        <a:spAutoFit/>
      </a:bodyPr>
      <a:lstStyle>
        <a:defPPr algn="ctr">
          <a:defRPr sz="1400" dirty="0" err="1" smtClean="0">
            <a:solidFill>
              <a:srgbClr val="002D72"/>
            </a:solidFill>
            <a:latin typeface="Arial" pitchFamily="34" charset="0"/>
            <a:cs typeface="Arial" pitchFamily="34" charset="0"/>
          </a:defRPr>
        </a:defPPr>
      </a:lstStyle>
    </a:txDef>
  </a:objectDefaults>
  <a:extraClrSchemeLst/>
  <a:extLst>
    <a:ext uri="{05A4C25C-085E-4340-85A3-A5531E510DB2}">
      <thm15:themeFamily xmlns:thm15="http://schemas.microsoft.com/office/thememl/2012/main" name="Blank.potx" id="{57687F4B-2F1E-4114-B07A-640C069C128D}" vid="{E45BA0F0-7C25-449F-9B63-63C3B641F0FE}"/>
    </a:ext>
  </a:extLst>
</a:theme>
</file>

<file path=ppt/theme/theme12.xml><?xml version="1.0" encoding="utf-8"?>
<a:theme xmlns:a="http://schemas.openxmlformats.org/drawingml/2006/main" name="5_Blank">
  <a:themeElements>
    <a:clrScheme name="Citi">
      <a:dk1>
        <a:srgbClr val="002D72"/>
      </a:dk1>
      <a:lt1>
        <a:srgbClr val="FFFFFF"/>
      </a:lt1>
      <a:dk2>
        <a:srgbClr val="002060"/>
      </a:dk2>
      <a:lt2>
        <a:srgbClr val="808080"/>
      </a:lt2>
      <a:accent1>
        <a:srgbClr val="E2E2E2"/>
      </a:accent1>
      <a:accent2>
        <a:srgbClr val="43D2FF"/>
      </a:accent2>
      <a:accent3>
        <a:srgbClr val="FFFFFF"/>
      </a:accent3>
      <a:accent4>
        <a:srgbClr val="004683"/>
      </a:accent4>
      <a:accent5>
        <a:srgbClr val="D2E0E6"/>
      </a:accent5>
      <a:accent6>
        <a:srgbClr val="79A2B3"/>
      </a:accent6>
      <a:hlink>
        <a:srgbClr val="007BB4"/>
      </a:hlink>
      <a:folHlink>
        <a:srgbClr val="00ADE3"/>
      </a:folHlink>
    </a:clrScheme>
    <a:fontScheme name="Cit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E2E2E2"/>
        </a:solidFill>
        <a:ln w="9525">
          <a:solidFill>
            <a:srgbClr val="E2E2E2"/>
          </a:solidFill>
        </a:ln>
        <a:effectLst/>
      </a:spPr>
      <a:bodyPr tIns="90000" bIns="90000" rtlCol="0" anchor="ctr" anchorCtr="0"/>
      <a:lstStyle>
        <a:defPPr algn="ctr">
          <a:defRPr sz="1400" dirty="0" smtClean="0">
            <a:solidFill>
              <a:srgbClr val="002D72"/>
            </a:solidFill>
            <a:latin typeface="Arial" pitchFamily="34" charset="0"/>
            <a:cs typeface="Arial"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rgbClr val="808080"/>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tIns="90000" bIns="90000" rtlCol="0" anchor="t">
        <a:spAutoFit/>
      </a:bodyPr>
      <a:lstStyle>
        <a:defPPr algn="ctr">
          <a:defRPr sz="1400" dirty="0" err="1" smtClean="0">
            <a:solidFill>
              <a:srgbClr val="002D72"/>
            </a:solidFill>
            <a:latin typeface="Arial" pitchFamily="34" charset="0"/>
            <a:cs typeface="Arial" pitchFamily="34" charset="0"/>
          </a:defRPr>
        </a:defPPr>
      </a:lstStyle>
    </a:txDef>
  </a:objectDefaults>
  <a:extraClrSchemeLst/>
  <a:extLst>
    <a:ext uri="{05A4C25C-085E-4340-85A3-A5531E510DB2}">
      <thm15:themeFamily xmlns:thm15="http://schemas.microsoft.com/office/thememl/2012/main" name="blank.potx" id="{D4C19DBE-7440-4D40-A0AB-8BCC335FFB2D}" vid="{F0E4EF95-0183-4CD1-8F68-50C0E32646C5}"/>
    </a:ext>
  </a:extLst>
</a:theme>
</file>

<file path=ppt/theme/theme13.xml><?xml version="1.0" encoding="utf-8"?>
<a:theme xmlns:a="http://schemas.openxmlformats.org/drawingml/2006/main" name="Citi Consumer PPT Template">
  <a:themeElements>
    <a:clrScheme name="Citi_corporate_sampleslides20120814 4">
      <a:dk1>
        <a:srgbClr val="53565A"/>
      </a:dk1>
      <a:lt1>
        <a:srgbClr val="FFFFFF"/>
      </a:lt1>
      <a:dk2>
        <a:srgbClr val="002D72"/>
      </a:dk2>
      <a:lt2>
        <a:srgbClr val="97999B"/>
      </a:lt2>
      <a:accent1>
        <a:srgbClr val="00BDF2"/>
      </a:accent1>
      <a:accent2>
        <a:srgbClr val="FFAA11"/>
      </a:accent2>
      <a:accent3>
        <a:srgbClr val="FFFFFF"/>
      </a:accent3>
      <a:accent4>
        <a:srgbClr val="46484C"/>
      </a:accent4>
      <a:accent5>
        <a:srgbClr val="AADBF7"/>
      </a:accent5>
      <a:accent6>
        <a:srgbClr val="E79A0E"/>
      </a:accent6>
      <a:hlink>
        <a:srgbClr val="FF0000"/>
      </a:hlink>
      <a:folHlink>
        <a:srgbClr val="890C58"/>
      </a:folHlink>
    </a:clrScheme>
    <a:fontScheme name="cfin_v06">
      <a:majorFont>
        <a:latin typeface="Arial"/>
        <a:ea typeface="Geneva"/>
        <a:cs typeface=""/>
      </a:majorFont>
      <a:minorFont>
        <a:latin typeface="Arial"/>
        <a:ea typeface="Geneva"/>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tx2"/>
        </a:solidFill>
        <a:ln w="12700"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2400" b="0" i="0" u="none" strike="noStrike" cap="none" normalizeH="0" baseline="0">
            <a:ln>
              <a:noFill/>
            </a:ln>
            <a:solidFill>
              <a:srgbClr val="000000"/>
            </a:solidFill>
            <a:effectLst/>
            <a:latin typeface="Arial" charset="0"/>
            <a:ea typeface="Geneva" charset="0"/>
          </a:defRPr>
        </a:defPPr>
      </a:lstStyle>
    </a:spDef>
    <a:lnDef>
      <a:spPr bwMode="auto">
        <a:xfrm>
          <a:off x="0" y="0"/>
          <a:ext cx="1" cy="1"/>
        </a:xfrm>
        <a:custGeom>
          <a:avLst/>
          <a:gdLst/>
          <a:ahLst/>
          <a:cxnLst/>
          <a:rect l="0" t="0" r="0" b="0"/>
          <a:pathLst/>
        </a:custGeom>
        <a:solidFill>
          <a:schemeClr val="tx2"/>
        </a:solidFill>
        <a:ln w="12700"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2400" b="0" i="0" u="none" strike="noStrike" cap="none" normalizeH="0" baseline="0">
            <a:ln>
              <a:noFill/>
            </a:ln>
            <a:solidFill>
              <a:srgbClr val="000000"/>
            </a:solidFill>
            <a:effectLst/>
            <a:latin typeface="Arial" charset="0"/>
            <a:ea typeface="Geneva" charset="0"/>
          </a:defRPr>
        </a:defPPr>
      </a:lstStyle>
    </a:lnDef>
  </a:objectDefaults>
  <a:extraClrSchemeLst>
    <a:extraClrScheme>
      <a:clrScheme name="cfin_v06 1">
        <a:dk1>
          <a:srgbClr val="000000"/>
        </a:dk1>
        <a:lt1>
          <a:srgbClr val="FFFFFF"/>
        </a:lt1>
        <a:dk2>
          <a:srgbClr val="000000"/>
        </a:dk2>
        <a:lt2>
          <a:srgbClr val="838589"/>
        </a:lt2>
        <a:accent1>
          <a:srgbClr val="4B4B4B"/>
        </a:accent1>
        <a:accent2>
          <a:srgbClr val="3973AD"/>
        </a:accent2>
        <a:accent3>
          <a:srgbClr val="FFFFFF"/>
        </a:accent3>
        <a:accent4>
          <a:srgbClr val="000000"/>
        </a:accent4>
        <a:accent5>
          <a:srgbClr val="B1B1B1"/>
        </a:accent5>
        <a:accent6>
          <a:srgbClr val="33689C"/>
        </a:accent6>
        <a:hlink>
          <a:srgbClr val="C0C0C0"/>
        </a:hlink>
        <a:folHlink>
          <a:srgbClr val="008080"/>
        </a:folHlink>
      </a:clrScheme>
      <a:clrMap bg1="lt1" tx1="dk1" bg2="lt2" tx2="dk2" accent1="accent1" accent2="accent2" accent3="accent3" accent4="accent4" accent5="accent5" accent6="accent6" hlink="hlink" folHlink="folHlink"/>
    </a:extraClrScheme>
    <a:extraClrScheme>
      <a:clrScheme name="cfin_v06 2">
        <a:dk1>
          <a:srgbClr val="000000"/>
        </a:dk1>
        <a:lt1>
          <a:srgbClr val="FFFFFF"/>
        </a:lt1>
        <a:dk2>
          <a:srgbClr val="004785"/>
        </a:dk2>
        <a:lt2>
          <a:srgbClr val="838589"/>
        </a:lt2>
        <a:accent1>
          <a:srgbClr val="4B4B4B"/>
        </a:accent1>
        <a:accent2>
          <a:srgbClr val="FFA202"/>
        </a:accent2>
        <a:accent3>
          <a:srgbClr val="FFFFFF"/>
        </a:accent3>
        <a:accent4>
          <a:srgbClr val="000000"/>
        </a:accent4>
        <a:accent5>
          <a:srgbClr val="B1B1B1"/>
        </a:accent5>
        <a:accent6>
          <a:srgbClr val="E79202"/>
        </a:accent6>
        <a:hlink>
          <a:srgbClr val="D7D7D7"/>
        </a:hlink>
        <a:folHlink>
          <a:srgbClr val="008080"/>
        </a:folHlink>
      </a:clrScheme>
      <a:clrMap bg1="lt1" tx1="dk1" bg2="lt2" tx2="dk2" accent1="accent1" accent2="accent2" accent3="accent3" accent4="accent4" accent5="accent5" accent6="accent6" hlink="hlink" folHlink="folHlink"/>
    </a:extraClrScheme>
    <a:extraClrScheme>
      <a:clrScheme name="citi_corporate_white 1">
        <a:dk1>
          <a:srgbClr val="717073"/>
        </a:dk1>
        <a:lt1>
          <a:srgbClr val="FFFFFF"/>
        </a:lt1>
        <a:dk2>
          <a:srgbClr val="002D72"/>
        </a:dk2>
        <a:lt2>
          <a:srgbClr val="D7D7D7"/>
        </a:lt2>
        <a:accent1>
          <a:srgbClr val="00BDF2"/>
        </a:accent1>
        <a:accent2>
          <a:srgbClr val="FFA202"/>
        </a:accent2>
        <a:accent3>
          <a:srgbClr val="FFFFFF"/>
        </a:accent3>
        <a:accent4>
          <a:srgbClr val="5F5F61"/>
        </a:accent4>
        <a:accent5>
          <a:srgbClr val="AADBF7"/>
        </a:accent5>
        <a:accent6>
          <a:srgbClr val="E79202"/>
        </a:accent6>
        <a:hlink>
          <a:srgbClr val="FF0000"/>
        </a:hlink>
        <a:folHlink>
          <a:srgbClr val="890C58"/>
        </a:folHlink>
      </a:clrScheme>
      <a:clrMap bg1="lt1" tx1="dk1" bg2="lt2" tx2="dk2" accent1="accent1" accent2="accent2" accent3="accent3" accent4="accent4" accent5="accent5" accent6="accent6" hlink="hlink" folHlink="folHlink"/>
    </a:extraClrScheme>
    <a:extraClrScheme>
      <a:clrScheme name="Citi_corporate_sampleslides20120814 1">
        <a:dk1>
          <a:srgbClr val="000000"/>
        </a:dk1>
        <a:lt1>
          <a:srgbClr val="FFFFFF"/>
        </a:lt1>
        <a:dk2>
          <a:srgbClr val="000000"/>
        </a:dk2>
        <a:lt2>
          <a:srgbClr val="838589"/>
        </a:lt2>
        <a:accent1>
          <a:srgbClr val="4B4B4B"/>
        </a:accent1>
        <a:accent2>
          <a:srgbClr val="3973AD"/>
        </a:accent2>
        <a:accent3>
          <a:srgbClr val="FFFFFF"/>
        </a:accent3>
        <a:accent4>
          <a:srgbClr val="000000"/>
        </a:accent4>
        <a:accent5>
          <a:srgbClr val="B1B1B1"/>
        </a:accent5>
        <a:accent6>
          <a:srgbClr val="33689C"/>
        </a:accent6>
        <a:hlink>
          <a:srgbClr val="C0C0C0"/>
        </a:hlink>
        <a:folHlink>
          <a:srgbClr val="008080"/>
        </a:folHlink>
      </a:clrScheme>
      <a:clrMap bg1="lt1" tx1="dk1" bg2="lt2" tx2="dk2" accent1="accent1" accent2="accent2" accent3="accent3" accent4="accent4" accent5="accent5" accent6="accent6" hlink="hlink" folHlink="folHlink"/>
    </a:extraClrScheme>
    <a:extraClrScheme>
      <a:clrScheme name="Citi_corporate_sampleslides20120814 2">
        <a:dk1>
          <a:srgbClr val="000000"/>
        </a:dk1>
        <a:lt1>
          <a:srgbClr val="FFFFFF"/>
        </a:lt1>
        <a:dk2>
          <a:srgbClr val="004785"/>
        </a:dk2>
        <a:lt2>
          <a:srgbClr val="838589"/>
        </a:lt2>
        <a:accent1>
          <a:srgbClr val="4B4B4B"/>
        </a:accent1>
        <a:accent2>
          <a:srgbClr val="FFA202"/>
        </a:accent2>
        <a:accent3>
          <a:srgbClr val="FFFFFF"/>
        </a:accent3>
        <a:accent4>
          <a:srgbClr val="000000"/>
        </a:accent4>
        <a:accent5>
          <a:srgbClr val="B1B1B1"/>
        </a:accent5>
        <a:accent6>
          <a:srgbClr val="E79202"/>
        </a:accent6>
        <a:hlink>
          <a:srgbClr val="D7D7D7"/>
        </a:hlink>
        <a:folHlink>
          <a:srgbClr val="008080"/>
        </a:folHlink>
      </a:clrScheme>
      <a:clrMap bg1="lt1" tx1="dk1" bg2="lt2" tx2="dk2" accent1="accent1" accent2="accent2" accent3="accent3" accent4="accent4" accent5="accent5" accent6="accent6" hlink="hlink" folHlink="folHlink"/>
    </a:extraClrScheme>
    <a:extraClrScheme>
      <a:clrScheme name="Citi_corporate_sampleslides20120814 3">
        <a:dk1>
          <a:srgbClr val="717073"/>
        </a:dk1>
        <a:lt1>
          <a:srgbClr val="FFFFFF"/>
        </a:lt1>
        <a:dk2>
          <a:srgbClr val="002D72"/>
        </a:dk2>
        <a:lt2>
          <a:srgbClr val="D7D7D7"/>
        </a:lt2>
        <a:accent1>
          <a:srgbClr val="00BDF2"/>
        </a:accent1>
        <a:accent2>
          <a:srgbClr val="FFA202"/>
        </a:accent2>
        <a:accent3>
          <a:srgbClr val="FFFFFF"/>
        </a:accent3>
        <a:accent4>
          <a:srgbClr val="5F5F61"/>
        </a:accent4>
        <a:accent5>
          <a:srgbClr val="AADBF7"/>
        </a:accent5>
        <a:accent6>
          <a:srgbClr val="E79202"/>
        </a:accent6>
        <a:hlink>
          <a:srgbClr val="FF0000"/>
        </a:hlink>
        <a:folHlink>
          <a:srgbClr val="890C58"/>
        </a:folHlink>
      </a:clrScheme>
      <a:clrMap bg1="lt1" tx1="dk1" bg2="lt2" tx2="dk2" accent1="accent1" accent2="accent2" accent3="accent3" accent4="accent4" accent5="accent5" accent6="accent6" hlink="hlink" folHlink="folHlink"/>
    </a:extraClrScheme>
    <a:extraClrScheme>
      <a:clrScheme name="Citi_corporate_sampleslides20120814 4">
        <a:dk1>
          <a:srgbClr val="53565A"/>
        </a:dk1>
        <a:lt1>
          <a:srgbClr val="FFFFFF"/>
        </a:lt1>
        <a:dk2>
          <a:srgbClr val="002D72"/>
        </a:dk2>
        <a:lt2>
          <a:srgbClr val="97999B"/>
        </a:lt2>
        <a:accent1>
          <a:srgbClr val="00BDF2"/>
        </a:accent1>
        <a:accent2>
          <a:srgbClr val="FFAA11"/>
        </a:accent2>
        <a:accent3>
          <a:srgbClr val="FFFFFF"/>
        </a:accent3>
        <a:accent4>
          <a:srgbClr val="46484C"/>
        </a:accent4>
        <a:accent5>
          <a:srgbClr val="AADBF7"/>
        </a:accent5>
        <a:accent6>
          <a:srgbClr val="E79A0E"/>
        </a:accent6>
        <a:hlink>
          <a:srgbClr val="FF0000"/>
        </a:hlink>
        <a:folHlink>
          <a:srgbClr val="890C58"/>
        </a:folHlink>
      </a:clrScheme>
      <a:clrMap bg1="lt1" tx1="dk1" bg2="lt2" tx2="dk2" accent1="accent1" accent2="accent2" accent3="accent3" accent4="accent4" accent5="accent5" accent6="accent6" hlink="hlink" folHlink="folHlink"/>
    </a:extraClrScheme>
  </a:extraClrSchemeLst>
</a:theme>
</file>

<file path=ppt/theme/theme14.xml><?xml version="1.0" encoding="utf-8"?>
<a:theme xmlns:a="http://schemas.openxmlformats.org/drawingml/2006/main" name="2_Citi Consumer PPT Template">
  <a:themeElements>
    <a:clrScheme name="Citi_corporate_sampleslides20120814 4">
      <a:dk1>
        <a:srgbClr val="53565A"/>
      </a:dk1>
      <a:lt1>
        <a:srgbClr val="FFFFFF"/>
      </a:lt1>
      <a:dk2>
        <a:srgbClr val="002D72"/>
      </a:dk2>
      <a:lt2>
        <a:srgbClr val="97999B"/>
      </a:lt2>
      <a:accent1>
        <a:srgbClr val="00BDF2"/>
      </a:accent1>
      <a:accent2>
        <a:srgbClr val="FFAA11"/>
      </a:accent2>
      <a:accent3>
        <a:srgbClr val="FFFFFF"/>
      </a:accent3>
      <a:accent4>
        <a:srgbClr val="46484C"/>
      </a:accent4>
      <a:accent5>
        <a:srgbClr val="AADBF7"/>
      </a:accent5>
      <a:accent6>
        <a:srgbClr val="E79A0E"/>
      </a:accent6>
      <a:hlink>
        <a:srgbClr val="FF0000"/>
      </a:hlink>
      <a:folHlink>
        <a:srgbClr val="890C58"/>
      </a:folHlink>
    </a:clrScheme>
    <a:fontScheme name="cfin_v06">
      <a:majorFont>
        <a:latin typeface="Arial"/>
        <a:ea typeface="Geneva"/>
        <a:cs typeface=""/>
      </a:majorFont>
      <a:minorFont>
        <a:latin typeface="Arial"/>
        <a:ea typeface="Geneva"/>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tx2"/>
        </a:solidFill>
        <a:ln w="12700"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2400" b="0" i="0" u="none" strike="noStrike" cap="none" normalizeH="0" baseline="0">
            <a:ln>
              <a:noFill/>
            </a:ln>
            <a:solidFill>
              <a:srgbClr val="000000"/>
            </a:solidFill>
            <a:effectLst/>
            <a:latin typeface="Arial" charset="0"/>
            <a:ea typeface="Geneva" charset="0"/>
          </a:defRPr>
        </a:defPPr>
      </a:lstStyle>
    </a:spDef>
    <a:lnDef>
      <a:spPr bwMode="auto">
        <a:xfrm>
          <a:off x="0" y="0"/>
          <a:ext cx="1" cy="1"/>
        </a:xfrm>
        <a:custGeom>
          <a:avLst/>
          <a:gdLst/>
          <a:ahLst/>
          <a:cxnLst/>
          <a:rect l="0" t="0" r="0" b="0"/>
          <a:pathLst/>
        </a:custGeom>
        <a:solidFill>
          <a:schemeClr val="tx2"/>
        </a:solidFill>
        <a:ln w="12700"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2400" b="0" i="0" u="none" strike="noStrike" cap="none" normalizeH="0" baseline="0">
            <a:ln>
              <a:noFill/>
            </a:ln>
            <a:solidFill>
              <a:srgbClr val="000000"/>
            </a:solidFill>
            <a:effectLst/>
            <a:latin typeface="Arial" charset="0"/>
            <a:ea typeface="Geneva" charset="0"/>
          </a:defRPr>
        </a:defPPr>
      </a:lstStyle>
    </a:lnDef>
  </a:objectDefaults>
  <a:extraClrSchemeLst>
    <a:extraClrScheme>
      <a:clrScheme name="cfin_v06 1">
        <a:dk1>
          <a:srgbClr val="000000"/>
        </a:dk1>
        <a:lt1>
          <a:srgbClr val="FFFFFF"/>
        </a:lt1>
        <a:dk2>
          <a:srgbClr val="000000"/>
        </a:dk2>
        <a:lt2>
          <a:srgbClr val="838589"/>
        </a:lt2>
        <a:accent1>
          <a:srgbClr val="4B4B4B"/>
        </a:accent1>
        <a:accent2>
          <a:srgbClr val="3973AD"/>
        </a:accent2>
        <a:accent3>
          <a:srgbClr val="FFFFFF"/>
        </a:accent3>
        <a:accent4>
          <a:srgbClr val="000000"/>
        </a:accent4>
        <a:accent5>
          <a:srgbClr val="B1B1B1"/>
        </a:accent5>
        <a:accent6>
          <a:srgbClr val="33689C"/>
        </a:accent6>
        <a:hlink>
          <a:srgbClr val="C0C0C0"/>
        </a:hlink>
        <a:folHlink>
          <a:srgbClr val="008080"/>
        </a:folHlink>
      </a:clrScheme>
      <a:clrMap bg1="lt1" tx1="dk1" bg2="lt2" tx2="dk2" accent1="accent1" accent2="accent2" accent3="accent3" accent4="accent4" accent5="accent5" accent6="accent6" hlink="hlink" folHlink="folHlink"/>
    </a:extraClrScheme>
    <a:extraClrScheme>
      <a:clrScheme name="cfin_v06 2">
        <a:dk1>
          <a:srgbClr val="000000"/>
        </a:dk1>
        <a:lt1>
          <a:srgbClr val="FFFFFF"/>
        </a:lt1>
        <a:dk2>
          <a:srgbClr val="004785"/>
        </a:dk2>
        <a:lt2>
          <a:srgbClr val="838589"/>
        </a:lt2>
        <a:accent1>
          <a:srgbClr val="4B4B4B"/>
        </a:accent1>
        <a:accent2>
          <a:srgbClr val="FFA202"/>
        </a:accent2>
        <a:accent3>
          <a:srgbClr val="FFFFFF"/>
        </a:accent3>
        <a:accent4>
          <a:srgbClr val="000000"/>
        </a:accent4>
        <a:accent5>
          <a:srgbClr val="B1B1B1"/>
        </a:accent5>
        <a:accent6>
          <a:srgbClr val="E79202"/>
        </a:accent6>
        <a:hlink>
          <a:srgbClr val="D7D7D7"/>
        </a:hlink>
        <a:folHlink>
          <a:srgbClr val="008080"/>
        </a:folHlink>
      </a:clrScheme>
      <a:clrMap bg1="lt1" tx1="dk1" bg2="lt2" tx2="dk2" accent1="accent1" accent2="accent2" accent3="accent3" accent4="accent4" accent5="accent5" accent6="accent6" hlink="hlink" folHlink="folHlink"/>
    </a:extraClrScheme>
    <a:extraClrScheme>
      <a:clrScheme name="citi_corporate_white 1">
        <a:dk1>
          <a:srgbClr val="717073"/>
        </a:dk1>
        <a:lt1>
          <a:srgbClr val="FFFFFF"/>
        </a:lt1>
        <a:dk2>
          <a:srgbClr val="002D72"/>
        </a:dk2>
        <a:lt2>
          <a:srgbClr val="D7D7D7"/>
        </a:lt2>
        <a:accent1>
          <a:srgbClr val="00BDF2"/>
        </a:accent1>
        <a:accent2>
          <a:srgbClr val="FFA202"/>
        </a:accent2>
        <a:accent3>
          <a:srgbClr val="FFFFFF"/>
        </a:accent3>
        <a:accent4>
          <a:srgbClr val="5F5F61"/>
        </a:accent4>
        <a:accent5>
          <a:srgbClr val="AADBF7"/>
        </a:accent5>
        <a:accent6>
          <a:srgbClr val="E79202"/>
        </a:accent6>
        <a:hlink>
          <a:srgbClr val="FF0000"/>
        </a:hlink>
        <a:folHlink>
          <a:srgbClr val="890C58"/>
        </a:folHlink>
      </a:clrScheme>
      <a:clrMap bg1="lt1" tx1="dk1" bg2="lt2" tx2="dk2" accent1="accent1" accent2="accent2" accent3="accent3" accent4="accent4" accent5="accent5" accent6="accent6" hlink="hlink" folHlink="folHlink"/>
    </a:extraClrScheme>
    <a:extraClrScheme>
      <a:clrScheme name="Citi_corporate_sampleslides20120814 1">
        <a:dk1>
          <a:srgbClr val="000000"/>
        </a:dk1>
        <a:lt1>
          <a:srgbClr val="FFFFFF"/>
        </a:lt1>
        <a:dk2>
          <a:srgbClr val="000000"/>
        </a:dk2>
        <a:lt2>
          <a:srgbClr val="838589"/>
        </a:lt2>
        <a:accent1>
          <a:srgbClr val="4B4B4B"/>
        </a:accent1>
        <a:accent2>
          <a:srgbClr val="3973AD"/>
        </a:accent2>
        <a:accent3>
          <a:srgbClr val="FFFFFF"/>
        </a:accent3>
        <a:accent4>
          <a:srgbClr val="000000"/>
        </a:accent4>
        <a:accent5>
          <a:srgbClr val="B1B1B1"/>
        </a:accent5>
        <a:accent6>
          <a:srgbClr val="33689C"/>
        </a:accent6>
        <a:hlink>
          <a:srgbClr val="C0C0C0"/>
        </a:hlink>
        <a:folHlink>
          <a:srgbClr val="008080"/>
        </a:folHlink>
      </a:clrScheme>
      <a:clrMap bg1="lt1" tx1="dk1" bg2="lt2" tx2="dk2" accent1="accent1" accent2="accent2" accent3="accent3" accent4="accent4" accent5="accent5" accent6="accent6" hlink="hlink" folHlink="folHlink"/>
    </a:extraClrScheme>
    <a:extraClrScheme>
      <a:clrScheme name="Citi_corporate_sampleslides20120814 2">
        <a:dk1>
          <a:srgbClr val="000000"/>
        </a:dk1>
        <a:lt1>
          <a:srgbClr val="FFFFFF"/>
        </a:lt1>
        <a:dk2>
          <a:srgbClr val="004785"/>
        </a:dk2>
        <a:lt2>
          <a:srgbClr val="838589"/>
        </a:lt2>
        <a:accent1>
          <a:srgbClr val="4B4B4B"/>
        </a:accent1>
        <a:accent2>
          <a:srgbClr val="FFA202"/>
        </a:accent2>
        <a:accent3>
          <a:srgbClr val="FFFFFF"/>
        </a:accent3>
        <a:accent4>
          <a:srgbClr val="000000"/>
        </a:accent4>
        <a:accent5>
          <a:srgbClr val="B1B1B1"/>
        </a:accent5>
        <a:accent6>
          <a:srgbClr val="E79202"/>
        </a:accent6>
        <a:hlink>
          <a:srgbClr val="D7D7D7"/>
        </a:hlink>
        <a:folHlink>
          <a:srgbClr val="008080"/>
        </a:folHlink>
      </a:clrScheme>
      <a:clrMap bg1="lt1" tx1="dk1" bg2="lt2" tx2="dk2" accent1="accent1" accent2="accent2" accent3="accent3" accent4="accent4" accent5="accent5" accent6="accent6" hlink="hlink" folHlink="folHlink"/>
    </a:extraClrScheme>
    <a:extraClrScheme>
      <a:clrScheme name="Citi_corporate_sampleslides20120814 3">
        <a:dk1>
          <a:srgbClr val="717073"/>
        </a:dk1>
        <a:lt1>
          <a:srgbClr val="FFFFFF"/>
        </a:lt1>
        <a:dk2>
          <a:srgbClr val="002D72"/>
        </a:dk2>
        <a:lt2>
          <a:srgbClr val="D7D7D7"/>
        </a:lt2>
        <a:accent1>
          <a:srgbClr val="00BDF2"/>
        </a:accent1>
        <a:accent2>
          <a:srgbClr val="FFA202"/>
        </a:accent2>
        <a:accent3>
          <a:srgbClr val="FFFFFF"/>
        </a:accent3>
        <a:accent4>
          <a:srgbClr val="5F5F61"/>
        </a:accent4>
        <a:accent5>
          <a:srgbClr val="AADBF7"/>
        </a:accent5>
        <a:accent6>
          <a:srgbClr val="E79202"/>
        </a:accent6>
        <a:hlink>
          <a:srgbClr val="FF0000"/>
        </a:hlink>
        <a:folHlink>
          <a:srgbClr val="890C58"/>
        </a:folHlink>
      </a:clrScheme>
      <a:clrMap bg1="lt1" tx1="dk1" bg2="lt2" tx2="dk2" accent1="accent1" accent2="accent2" accent3="accent3" accent4="accent4" accent5="accent5" accent6="accent6" hlink="hlink" folHlink="folHlink"/>
    </a:extraClrScheme>
    <a:extraClrScheme>
      <a:clrScheme name="Citi_corporate_sampleslides20120814 4">
        <a:dk1>
          <a:srgbClr val="53565A"/>
        </a:dk1>
        <a:lt1>
          <a:srgbClr val="FFFFFF"/>
        </a:lt1>
        <a:dk2>
          <a:srgbClr val="002D72"/>
        </a:dk2>
        <a:lt2>
          <a:srgbClr val="97999B"/>
        </a:lt2>
        <a:accent1>
          <a:srgbClr val="00BDF2"/>
        </a:accent1>
        <a:accent2>
          <a:srgbClr val="FFAA11"/>
        </a:accent2>
        <a:accent3>
          <a:srgbClr val="FFFFFF"/>
        </a:accent3>
        <a:accent4>
          <a:srgbClr val="46484C"/>
        </a:accent4>
        <a:accent5>
          <a:srgbClr val="AADBF7"/>
        </a:accent5>
        <a:accent6>
          <a:srgbClr val="E79A0E"/>
        </a:accent6>
        <a:hlink>
          <a:srgbClr val="FF0000"/>
        </a:hlink>
        <a:folHlink>
          <a:srgbClr val="890C58"/>
        </a:folHlink>
      </a:clrScheme>
      <a:clrMap bg1="lt1" tx1="dk1" bg2="lt2" tx2="dk2" accent1="accent1" accent2="accent2" accent3="accent3" accent4="accent4" accent5="accent5" accent6="accent6" hlink="hlink" folHlink="folHlink"/>
    </a:extraClrScheme>
  </a:extraClrSchemeLst>
</a:theme>
</file>

<file path=ppt/theme/theme15.xml><?xml version="1.0" encoding="utf-8"?>
<a:theme xmlns:a="http://schemas.openxmlformats.org/drawingml/2006/main" name="3_Citi Consumer PPT Template">
  <a:themeElements>
    <a:clrScheme name="Citi_corporate_sampleslides20120814 4">
      <a:dk1>
        <a:srgbClr val="53565A"/>
      </a:dk1>
      <a:lt1>
        <a:srgbClr val="FFFFFF"/>
      </a:lt1>
      <a:dk2>
        <a:srgbClr val="002D72"/>
      </a:dk2>
      <a:lt2>
        <a:srgbClr val="97999B"/>
      </a:lt2>
      <a:accent1>
        <a:srgbClr val="00BDF2"/>
      </a:accent1>
      <a:accent2>
        <a:srgbClr val="FFAA11"/>
      </a:accent2>
      <a:accent3>
        <a:srgbClr val="FFFFFF"/>
      </a:accent3>
      <a:accent4>
        <a:srgbClr val="46484C"/>
      </a:accent4>
      <a:accent5>
        <a:srgbClr val="AADBF7"/>
      </a:accent5>
      <a:accent6>
        <a:srgbClr val="E79A0E"/>
      </a:accent6>
      <a:hlink>
        <a:srgbClr val="FF0000"/>
      </a:hlink>
      <a:folHlink>
        <a:srgbClr val="890C58"/>
      </a:folHlink>
    </a:clrScheme>
    <a:fontScheme name="cfin_v06">
      <a:majorFont>
        <a:latin typeface="Arial"/>
        <a:ea typeface="Geneva"/>
        <a:cs typeface=""/>
      </a:majorFont>
      <a:minorFont>
        <a:latin typeface="Arial"/>
        <a:ea typeface="Geneva"/>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tx2"/>
        </a:solidFill>
        <a:ln w="12700"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2400" b="0" i="0" u="none" strike="noStrike" cap="none" normalizeH="0" baseline="0">
            <a:ln>
              <a:noFill/>
            </a:ln>
            <a:solidFill>
              <a:srgbClr val="000000"/>
            </a:solidFill>
            <a:effectLst/>
            <a:latin typeface="Arial" charset="0"/>
            <a:ea typeface="Geneva" charset="0"/>
          </a:defRPr>
        </a:defPPr>
      </a:lstStyle>
    </a:spDef>
    <a:lnDef>
      <a:spPr bwMode="auto">
        <a:xfrm>
          <a:off x="0" y="0"/>
          <a:ext cx="1" cy="1"/>
        </a:xfrm>
        <a:custGeom>
          <a:avLst/>
          <a:gdLst/>
          <a:ahLst/>
          <a:cxnLst/>
          <a:rect l="0" t="0" r="0" b="0"/>
          <a:pathLst/>
        </a:custGeom>
        <a:solidFill>
          <a:schemeClr val="tx2"/>
        </a:solidFill>
        <a:ln w="12700"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2400" b="0" i="0" u="none" strike="noStrike" cap="none" normalizeH="0" baseline="0">
            <a:ln>
              <a:noFill/>
            </a:ln>
            <a:solidFill>
              <a:srgbClr val="000000"/>
            </a:solidFill>
            <a:effectLst/>
            <a:latin typeface="Arial" charset="0"/>
            <a:ea typeface="Geneva" charset="0"/>
          </a:defRPr>
        </a:defPPr>
      </a:lstStyle>
    </a:lnDef>
  </a:objectDefaults>
  <a:extraClrSchemeLst>
    <a:extraClrScheme>
      <a:clrScheme name="cfin_v06 1">
        <a:dk1>
          <a:srgbClr val="000000"/>
        </a:dk1>
        <a:lt1>
          <a:srgbClr val="FFFFFF"/>
        </a:lt1>
        <a:dk2>
          <a:srgbClr val="000000"/>
        </a:dk2>
        <a:lt2>
          <a:srgbClr val="838589"/>
        </a:lt2>
        <a:accent1>
          <a:srgbClr val="4B4B4B"/>
        </a:accent1>
        <a:accent2>
          <a:srgbClr val="3973AD"/>
        </a:accent2>
        <a:accent3>
          <a:srgbClr val="FFFFFF"/>
        </a:accent3>
        <a:accent4>
          <a:srgbClr val="000000"/>
        </a:accent4>
        <a:accent5>
          <a:srgbClr val="B1B1B1"/>
        </a:accent5>
        <a:accent6>
          <a:srgbClr val="33689C"/>
        </a:accent6>
        <a:hlink>
          <a:srgbClr val="C0C0C0"/>
        </a:hlink>
        <a:folHlink>
          <a:srgbClr val="008080"/>
        </a:folHlink>
      </a:clrScheme>
      <a:clrMap bg1="lt1" tx1="dk1" bg2="lt2" tx2="dk2" accent1="accent1" accent2="accent2" accent3="accent3" accent4="accent4" accent5="accent5" accent6="accent6" hlink="hlink" folHlink="folHlink"/>
    </a:extraClrScheme>
    <a:extraClrScheme>
      <a:clrScheme name="cfin_v06 2">
        <a:dk1>
          <a:srgbClr val="000000"/>
        </a:dk1>
        <a:lt1>
          <a:srgbClr val="FFFFFF"/>
        </a:lt1>
        <a:dk2>
          <a:srgbClr val="004785"/>
        </a:dk2>
        <a:lt2>
          <a:srgbClr val="838589"/>
        </a:lt2>
        <a:accent1>
          <a:srgbClr val="4B4B4B"/>
        </a:accent1>
        <a:accent2>
          <a:srgbClr val="FFA202"/>
        </a:accent2>
        <a:accent3>
          <a:srgbClr val="FFFFFF"/>
        </a:accent3>
        <a:accent4>
          <a:srgbClr val="000000"/>
        </a:accent4>
        <a:accent5>
          <a:srgbClr val="B1B1B1"/>
        </a:accent5>
        <a:accent6>
          <a:srgbClr val="E79202"/>
        </a:accent6>
        <a:hlink>
          <a:srgbClr val="D7D7D7"/>
        </a:hlink>
        <a:folHlink>
          <a:srgbClr val="008080"/>
        </a:folHlink>
      </a:clrScheme>
      <a:clrMap bg1="lt1" tx1="dk1" bg2="lt2" tx2="dk2" accent1="accent1" accent2="accent2" accent3="accent3" accent4="accent4" accent5="accent5" accent6="accent6" hlink="hlink" folHlink="folHlink"/>
    </a:extraClrScheme>
    <a:extraClrScheme>
      <a:clrScheme name="citi_corporate_white 1">
        <a:dk1>
          <a:srgbClr val="717073"/>
        </a:dk1>
        <a:lt1>
          <a:srgbClr val="FFFFFF"/>
        </a:lt1>
        <a:dk2>
          <a:srgbClr val="002D72"/>
        </a:dk2>
        <a:lt2>
          <a:srgbClr val="D7D7D7"/>
        </a:lt2>
        <a:accent1>
          <a:srgbClr val="00BDF2"/>
        </a:accent1>
        <a:accent2>
          <a:srgbClr val="FFA202"/>
        </a:accent2>
        <a:accent3>
          <a:srgbClr val="FFFFFF"/>
        </a:accent3>
        <a:accent4>
          <a:srgbClr val="5F5F61"/>
        </a:accent4>
        <a:accent5>
          <a:srgbClr val="AADBF7"/>
        </a:accent5>
        <a:accent6>
          <a:srgbClr val="E79202"/>
        </a:accent6>
        <a:hlink>
          <a:srgbClr val="FF0000"/>
        </a:hlink>
        <a:folHlink>
          <a:srgbClr val="890C58"/>
        </a:folHlink>
      </a:clrScheme>
      <a:clrMap bg1="lt1" tx1="dk1" bg2="lt2" tx2="dk2" accent1="accent1" accent2="accent2" accent3="accent3" accent4="accent4" accent5="accent5" accent6="accent6" hlink="hlink" folHlink="folHlink"/>
    </a:extraClrScheme>
    <a:extraClrScheme>
      <a:clrScheme name="Citi_corporate_sampleslides20120814 1">
        <a:dk1>
          <a:srgbClr val="000000"/>
        </a:dk1>
        <a:lt1>
          <a:srgbClr val="FFFFFF"/>
        </a:lt1>
        <a:dk2>
          <a:srgbClr val="000000"/>
        </a:dk2>
        <a:lt2>
          <a:srgbClr val="838589"/>
        </a:lt2>
        <a:accent1>
          <a:srgbClr val="4B4B4B"/>
        </a:accent1>
        <a:accent2>
          <a:srgbClr val="3973AD"/>
        </a:accent2>
        <a:accent3>
          <a:srgbClr val="FFFFFF"/>
        </a:accent3>
        <a:accent4>
          <a:srgbClr val="000000"/>
        </a:accent4>
        <a:accent5>
          <a:srgbClr val="B1B1B1"/>
        </a:accent5>
        <a:accent6>
          <a:srgbClr val="33689C"/>
        </a:accent6>
        <a:hlink>
          <a:srgbClr val="C0C0C0"/>
        </a:hlink>
        <a:folHlink>
          <a:srgbClr val="008080"/>
        </a:folHlink>
      </a:clrScheme>
      <a:clrMap bg1="lt1" tx1="dk1" bg2="lt2" tx2="dk2" accent1="accent1" accent2="accent2" accent3="accent3" accent4="accent4" accent5="accent5" accent6="accent6" hlink="hlink" folHlink="folHlink"/>
    </a:extraClrScheme>
    <a:extraClrScheme>
      <a:clrScheme name="Citi_corporate_sampleslides20120814 2">
        <a:dk1>
          <a:srgbClr val="000000"/>
        </a:dk1>
        <a:lt1>
          <a:srgbClr val="FFFFFF"/>
        </a:lt1>
        <a:dk2>
          <a:srgbClr val="004785"/>
        </a:dk2>
        <a:lt2>
          <a:srgbClr val="838589"/>
        </a:lt2>
        <a:accent1>
          <a:srgbClr val="4B4B4B"/>
        </a:accent1>
        <a:accent2>
          <a:srgbClr val="FFA202"/>
        </a:accent2>
        <a:accent3>
          <a:srgbClr val="FFFFFF"/>
        </a:accent3>
        <a:accent4>
          <a:srgbClr val="000000"/>
        </a:accent4>
        <a:accent5>
          <a:srgbClr val="B1B1B1"/>
        </a:accent5>
        <a:accent6>
          <a:srgbClr val="E79202"/>
        </a:accent6>
        <a:hlink>
          <a:srgbClr val="D7D7D7"/>
        </a:hlink>
        <a:folHlink>
          <a:srgbClr val="008080"/>
        </a:folHlink>
      </a:clrScheme>
      <a:clrMap bg1="lt1" tx1="dk1" bg2="lt2" tx2="dk2" accent1="accent1" accent2="accent2" accent3="accent3" accent4="accent4" accent5="accent5" accent6="accent6" hlink="hlink" folHlink="folHlink"/>
    </a:extraClrScheme>
    <a:extraClrScheme>
      <a:clrScheme name="Citi_corporate_sampleslides20120814 3">
        <a:dk1>
          <a:srgbClr val="717073"/>
        </a:dk1>
        <a:lt1>
          <a:srgbClr val="FFFFFF"/>
        </a:lt1>
        <a:dk2>
          <a:srgbClr val="002D72"/>
        </a:dk2>
        <a:lt2>
          <a:srgbClr val="D7D7D7"/>
        </a:lt2>
        <a:accent1>
          <a:srgbClr val="00BDF2"/>
        </a:accent1>
        <a:accent2>
          <a:srgbClr val="FFA202"/>
        </a:accent2>
        <a:accent3>
          <a:srgbClr val="FFFFFF"/>
        </a:accent3>
        <a:accent4>
          <a:srgbClr val="5F5F61"/>
        </a:accent4>
        <a:accent5>
          <a:srgbClr val="AADBF7"/>
        </a:accent5>
        <a:accent6>
          <a:srgbClr val="E79202"/>
        </a:accent6>
        <a:hlink>
          <a:srgbClr val="FF0000"/>
        </a:hlink>
        <a:folHlink>
          <a:srgbClr val="890C58"/>
        </a:folHlink>
      </a:clrScheme>
      <a:clrMap bg1="lt1" tx1="dk1" bg2="lt2" tx2="dk2" accent1="accent1" accent2="accent2" accent3="accent3" accent4="accent4" accent5="accent5" accent6="accent6" hlink="hlink" folHlink="folHlink"/>
    </a:extraClrScheme>
    <a:extraClrScheme>
      <a:clrScheme name="Citi_corporate_sampleslides20120814 4">
        <a:dk1>
          <a:srgbClr val="53565A"/>
        </a:dk1>
        <a:lt1>
          <a:srgbClr val="FFFFFF"/>
        </a:lt1>
        <a:dk2>
          <a:srgbClr val="002D72"/>
        </a:dk2>
        <a:lt2>
          <a:srgbClr val="97999B"/>
        </a:lt2>
        <a:accent1>
          <a:srgbClr val="00BDF2"/>
        </a:accent1>
        <a:accent2>
          <a:srgbClr val="FFAA11"/>
        </a:accent2>
        <a:accent3>
          <a:srgbClr val="FFFFFF"/>
        </a:accent3>
        <a:accent4>
          <a:srgbClr val="46484C"/>
        </a:accent4>
        <a:accent5>
          <a:srgbClr val="AADBF7"/>
        </a:accent5>
        <a:accent6>
          <a:srgbClr val="E79A0E"/>
        </a:accent6>
        <a:hlink>
          <a:srgbClr val="FF0000"/>
        </a:hlink>
        <a:folHlink>
          <a:srgbClr val="890C58"/>
        </a:folHlink>
      </a:clrScheme>
      <a:clrMap bg1="lt1" tx1="dk1" bg2="lt2" tx2="dk2" accent1="accent1" accent2="accent2" accent3="accent3" accent4="accent4" accent5="accent5" accent6="accent6" hlink="hlink" folHlink="folHlink"/>
    </a:extraClrScheme>
  </a:extraClrSchemeLst>
</a:theme>
</file>

<file path=ppt/theme/theme16.xml><?xml version="1.0" encoding="utf-8"?>
<a:theme xmlns:a="http://schemas.openxmlformats.org/drawingml/2006/main" name="6_Blank">
  <a:themeElements>
    <a:clrScheme name="Citi">
      <a:dk1>
        <a:srgbClr val="002D72"/>
      </a:dk1>
      <a:lt1>
        <a:srgbClr val="FFFFFF"/>
      </a:lt1>
      <a:dk2>
        <a:srgbClr val="002060"/>
      </a:dk2>
      <a:lt2>
        <a:srgbClr val="808080"/>
      </a:lt2>
      <a:accent1>
        <a:srgbClr val="E2E2E2"/>
      </a:accent1>
      <a:accent2>
        <a:srgbClr val="43D2FF"/>
      </a:accent2>
      <a:accent3>
        <a:srgbClr val="FFFFFF"/>
      </a:accent3>
      <a:accent4>
        <a:srgbClr val="004683"/>
      </a:accent4>
      <a:accent5>
        <a:srgbClr val="D2E0E6"/>
      </a:accent5>
      <a:accent6>
        <a:srgbClr val="79A2B3"/>
      </a:accent6>
      <a:hlink>
        <a:srgbClr val="007BB4"/>
      </a:hlink>
      <a:folHlink>
        <a:srgbClr val="00ADE3"/>
      </a:folHlink>
    </a:clrScheme>
    <a:fontScheme name="Cit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E2E2E2"/>
        </a:solidFill>
        <a:ln w="9525">
          <a:solidFill>
            <a:srgbClr val="E2E2E2"/>
          </a:solidFill>
        </a:ln>
        <a:effectLst/>
      </a:spPr>
      <a:bodyPr tIns="90000" bIns="90000" rtlCol="0" anchor="ctr" anchorCtr="0"/>
      <a:lstStyle>
        <a:defPPr algn="ctr">
          <a:defRPr sz="1400" dirty="0" smtClean="0">
            <a:solidFill>
              <a:srgbClr val="002D72"/>
            </a:solidFill>
            <a:latin typeface="Arial" pitchFamily="34" charset="0"/>
            <a:cs typeface="Arial"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rgbClr val="808080"/>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tIns="90000" bIns="90000" rtlCol="0" anchor="t">
        <a:spAutoFit/>
      </a:bodyPr>
      <a:lstStyle>
        <a:defPPr algn="ctr">
          <a:defRPr sz="1400" dirty="0" err="1" smtClean="0">
            <a:solidFill>
              <a:srgbClr val="002D72"/>
            </a:solidFill>
            <a:latin typeface="Arial" pitchFamily="34" charset="0"/>
            <a:cs typeface="Arial" pitchFamily="34" charset="0"/>
          </a:defRPr>
        </a:defPPr>
      </a:lstStyle>
    </a:txDef>
  </a:objectDefaults>
  <a:extraClrSchemeLst/>
  <a:extLst>
    <a:ext uri="{05A4C25C-085E-4340-85A3-A5531E510DB2}">
      <thm15:themeFamily xmlns:thm15="http://schemas.microsoft.com/office/thememl/2012/main" name="Blank.potx" id="{57687F4B-2F1E-4114-B07A-640C069C128D}" vid="{E45BA0F0-7C25-449F-9B63-63C3B641F0FE}"/>
    </a:ext>
  </a:extLst>
</a:theme>
</file>

<file path=ppt/theme/theme17.xml><?xml version="1.0" encoding="utf-8"?>
<a:theme xmlns:a="http://schemas.openxmlformats.org/drawingml/2006/main" name="9_Blank">
  <a:themeElements>
    <a:clrScheme name="Citi">
      <a:dk1>
        <a:srgbClr val="002D72"/>
      </a:dk1>
      <a:lt1>
        <a:srgbClr val="FFFFFF"/>
      </a:lt1>
      <a:dk2>
        <a:srgbClr val="002060"/>
      </a:dk2>
      <a:lt2>
        <a:srgbClr val="808080"/>
      </a:lt2>
      <a:accent1>
        <a:srgbClr val="E2E2E2"/>
      </a:accent1>
      <a:accent2>
        <a:srgbClr val="43D2FF"/>
      </a:accent2>
      <a:accent3>
        <a:srgbClr val="FFFFFF"/>
      </a:accent3>
      <a:accent4>
        <a:srgbClr val="004683"/>
      </a:accent4>
      <a:accent5>
        <a:srgbClr val="D2E0E6"/>
      </a:accent5>
      <a:accent6>
        <a:srgbClr val="79A2B3"/>
      </a:accent6>
      <a:hlink>
        <a:srgbClr val="007BB4"/>
      </a:hlink>
      <a:folHlink>
        <a:srgbClr val="00ADE3"/>
      </a:folHlink>
    </a:clrScheme>
    <a:fontScheme name="Cit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E2E2E2"/>
        </a:solidFill>
        <a:ln w="9525">
          <a:solidFill>
            <a:srgbClr val="E2E2E2"/>
          </a:solidFill>
        </a:ln>
        <a:effectLst/>
      </a:spPr>
      <a:bodyPr tIns="90000" bIns="90000" rtlCol="0" anchor="ctr" anchorCtr="0"/>
      <a:lstStyle>
        <a:defPPr algn="ctr">
          <a:defRPr sz="1400" dirty="0" smtClean="0">
            <a:solidFill>
              <a:srgbClr val="002D72"/>
            </a:solidFill>
            <a:latin typeface="Arial" pitchFamily="34" charset="0"/>
            <a:cs typeface="Arial"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rgbClr val="808080"/>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tIns="90000" bIns="90000" rtlCol="0" anchor="t">
        <a:spAutoFit/>
      </a:bodyPr>
      <a:lstStyle>
        <a:defPPr algn="ctr">
          <a:defRPr sz="1400" dirty="0" err="1" smtClean="0">
            <a:solidFill>
              <a:srgbClr val="002D72"/>
            </a:solidFill>
            <a:latin typeface="Arial" pitchFamily="34" charset="0"/>
            <a:cs typeface="Arial" pitchFamily="34" charset="0"/>
          </a:defRPr>
        </a:defPPr>
      </a:lstStyle>
    </a:txDef>
  </a:objectDefaults>
  <a:extraClrSchemeLst/>
  <a:extLst>
    <a:ext uri="{05A4C25C-085E-4340-85A3-A5531E510DB2}">
      <thm15:themeFamily xmlns:thm15="http://schemas.microsoft.com/office/thememl/2012/main" name="blank.potx" id="{D4C19DBE-7440-4D40-A0AB-8BCC335FFB2D}" vid="{F0E4EF95-0183-4CD1-8F68-50C0E32646C5}"/>
    </a:ext>
  </a:extLst>
</a:theme>
</file>

<file path=ppt/theme/theme18.xml><?xml version="1.0" encoding="utf-8"?>
<a:theme xmlns:a="http://schemas.openxmlformats.org/drawingml/2006/main" name="1_CITIBanamex-MX2020 Grid 16:9">
  <a:themeElements>
    <a:clrScheme name="CITIBanamex-MX2020">
      <a:dk1>
        <a:srgbClr val="002D72"/>
      </a:dk1>
      <a:lt1>
        <a:sysClr val="window" lastClr="FFFFFF"/>
      </a:lt1>
      <a:dk2>
        <a:srgbClr val="002D72"/>
      </a:dk2>
      <a:lt2>
        <a:srgbClr val="F2F2F2"/>
      </a:lt2>
      <a:accent1>
        <a:srgbClr val="001636"/>
      </a:accent1>
      <a:accent2>
        <a:srgbClr val="001F4C"/>
      </a:accent2>
      <a:accent3>
        <a:srgbClr val="FEEC00"/>
      </a:accent3>
      <a:accent4>
        <a:srgbClr val="004683"/>
      </a:accent4>
      <a:accent5>
        <a:srgbClr val="808080"/>
      </a:accent5>
      <a:accent6>
        <a:srgbClr val="8C0512"/>
      </a:accent6>
      <a:hlink>
        <a:srgbClr val="2E3558"/>
      </a:hlink>
      <a:folHlink>
        <a:srgbClr val="2E3558"/>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9525" cap="rnd">
          <a:noFill/>
          <a:prstDash val="sysDot"/>
          <a:roun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lnSpc>
            <a:spcPct val="90000"/>
          </a:lnSpc>
          <a:spcAft>
            <a:spcPts val="1000"/>
          </a:spcAft>
          <a:defRPr sz="12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19.xml><?xml version="1.0" encoding="utf-8"?>
<a:theme xmlns:a="http://schemas.openxmlformats.org/drawingml/2006/main" name="7_Blank">
  <a:themeElements>
    <a:clrScheme name="Citi">
      <a:dk1>
        <a:srgbClr val="002D72"/>
      </a:dk1>
      <a:lt1>
        <a:srgbClr val="FFFFFF"/>
      </a:lt1>
      <a:dk2>
        <a:srgbClr val="002060"/>
      </a:dk2>
      <a:lt2>
        <a:srgbClr val="808080"/>
      </a:lt2>
      <a:accent1>
        <a:srgbClr val="E2E2E2"/>
      </a:accent1>
      <a:accent2>
        <a:srgbClr val="43D2FF"/>
      </a:accent2>
      <a:accent3>
        <a:srgbClr val="FFFFFF"/>
      </a:accent3>
      <a:accent4>
        <a:srgbClr val="004683"/>
      </a:accent4>
      <a:accent5>
        <a:srgbClr val="D2E0E6"/>
      </a:accent5>
      <a:accent6>
        <a:srgbClr val="79A2B3"/>
      </a:accent6>
      <a:hlink>
        <a:srgbClr val="007BB4"/>
      </a:hlink>
      <a:folHlink>
        <a:srgbClr val="00ADE3"/>
      </a:folHlink>
    </a:clrScheme>
    <a:fontScheme name="Cit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E2E2E2"/>
        </a:solidFill>
        <a:ln w="9525">
          <a:solidFill>
            <a:srgbClr val="E2E2E2"/>
          </a:solidFill>
        </a:ln>
        <a:effectLst/>
      </a:spPr>
      <a:bodyPr tIns="90000" bIns="90000" rtlCol="0" anchor="ctr" anchorCtr="0"/>
      <a:lstStyle>
        <a:defPPr algn="ctr">
          <a:defRPr sz="1400" dirty="0" smtClean="0">
            <a:solidFill>
              <a:srgbClr val="002D72"/>
            </a:solidFill>
            <a:latin typeface="Arial" pitchFamily="34" charset="0"/>
            <a:cs typeface="Arial"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rgbClr val="808080"/>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tIns="90000" bIns="90000" rtlCol="0" anchor="t">
        <a:spAutoFit/>
      </a:bodyPr>
      <a:lstStyle>
        <a:defPPr algn="ctr">
          <a:defRPr sz="1400" dirty="0" err="1" smtClean="0">
            <a:solidFill>
              <a:srgbClr val="002D72"/>
            </a:solidFill>
            <a:latin typeface="Arial" pitchFamily="34" charset="0"/>
            <a:cs typeface="Arial" pitchFamily="34" charset="0"/>
          </a:defRPr>
        </a:defPPr>
      </a:lstStyle>
    </a:txDef>
  </a:objectDefaults>
  <a:extraClrSchemeLst/>
  <a:extLst>
    <a:ext uri="{05A4C25C-085E-4340-85A3-A5531E510DB2}">
      <thm15:themeFamily xmlns:thm15="http://schemas.microsoft.com/office/thememl/2012/main" name="Blank.potx" id="{57687F4B-2F1E-4114-B07A-640C069C128D}" vid="{E45BA0F0-7C25-449F-9B63-63C3B641F0FE}"/>
    </a:ext>
  </a:extLst>
</a:theme>
</file>

<file path=ppt/theme/theme2.xml><?xml version="1.0" encoding="utf-8"?>
<a:theme xmlns:a="http://schemas.openxmlformats.org/drawingml/2006/main" name="Blank">
  <a:themeElements>
    <a:clrScheme name="18_Blank 1">
      <a:dk1>
        <a:srgbClr val="000000"/>
      </a:dk1>
      <a:lt1>
        <a:srgbClr val="FFFFFF"/>
      </a:lt1>
      <a:dk2>
        <a:srgbClr val="002776"/>
      </a:dk2>
      <a:lt2>
        <a:srgbClr val="FFFFFF"/>
      </a:lt2>
      <a:accent1>
        <a:srgbClr val="002776"/>
      </a:accent1>
      <a:accent2>
        <a:srgbClr val="92D400"/>
      </a:accent2>
      <a:accent3>
        <a:srgbClr val="FFFFFF"/>
      </a:accent3>
      <a:accent4>
        <a:srgbClr val="000000"/>
      </a:accent4>
      <a:accent5>
        <a:srgbClr val="AAACBD"/>
      </a:accent5>
      <a:accent6>
        <a:srgbClr val="84C000"/>
      </a:accent6>
      <a:hlink>
        <a:srgbClr val="00A1DE"/>
      </a:hlink>
      <a:folHlink>
        <a:srgbClr val="72C7E7"/>
      </a:folHlink>
    </a:clrScheme>
    <a:fontScheme name="18_Blank">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18_Blank 1">
        <a:dk1>
          <a:srgbClr val="000000"/>
        </a:dk1>
        <a:lt1>
          <a:srgbClr val="FFFFFF"/>
        </a:lt1>
        <a:dk2>
          <a:srgbClr val="002776"/>
        </a:dk2>
        <a:lt2>
          <a:srgbClr val="FFFFFF"/>
        </a:lt2>
        <a:accent1>
          <a:srgbClr val="002776"/>
        </a:accent1>
        <a:accent2>
          <a:srgbClr val="92D400"/>
        </a:accent2>
        <a:accent3>
          <a:srgbClr val="FFFFFF"/>
        </a:accent3>
        <a:accent4>
          <a:srgbClr val="000000"/>
        </a:accent4>
        <a:accent5>
          <a:srgbClr val="AAACBD"/>
        </a:accent5>
        <a:accent6>
          <a:srgbClr val="84C000"/>
        </a:accent6>
        <a:hlink>
          <a:srgbClr val="00A1DE"/>
        </a:hlink>
        <a:folHlink>
          <a:srgbClr val="72C7E7"/>
        </a:folHlink>
      </a:clrScheme>
      <a:clrMap bg1="lt1" tx1="dk1" bg2="lt2" tx2="dk2" accent1="accent1" accent2="accent2" accent3="accent3" accent4="accent4" accent5="accent5" accent6="accent6" hlink="hlink" folHlink="folHlink"/>
    </a:extraClrScheme>
  </a:extraClrSchemeLst>
</a:theme>
</file>

<file path=ppt/theme/theme20.xml><?xml version="1.0" encoding="utf-8"?>
<a:theme xmlns:a="http://schemas.openxmlformats.org/drawingml/2006/main" name="10_Blank">
  <a:themeElements>
    <a:clrScheme name="Citi">
      <a:dk1>
        <a:srgbClr val="002D72"/>
      </a:dk1>
      <a:lt1>
        <a:srgbClr val="FFFFFF"/>
      </a:lt1>
      <a:dk2>
        <a:srgbClr val="002060"/>
      </a:dk2>
      <a:lt2>
        <a:srgbClr val="808080"/>
      </a:lt2>
      <a:accent1>
        <a:srgbClr val="E2E2E2"/>
      </a:accent1>
      <a:accent2>
        <a:srgbClr val="43D2FF"/>
      </a:accent2>
      <a:accent3>
        <a:srgbClr val="FFFFFF"/>
      </a:accent3>
      <a:accent4>
        <a:srgbClr val="004683"/>
      </a:accent4>
      <a:accent5>
        <a:srgbClr val="D2E0E6"/>
      </a:accent5>
      <a:accent6>
        <a:srgbClr val="79A2B3"/>
      </a:accent6>
      <a:hlink>
        <a:srgbClr val="007BB4"/>
      </a:hlink>
      <a:folHlink>
        <a:srgbClr val="00ADE3"/>
      </a:folHlink>
    </a:clrScheme>
    <a:fontScheme name="Cit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E2E2E2"/>
        </a:solidFill>
        <a:ln w="9525">
          <a:solidFill>
            <a:srgbClr val="E2E2E2"/>
          </a:solidFill>
        </a:ln>
        <a:effectLst/>
      </a:spPr>
      <a:bodyPr tIns="90000" bIns="90000" rtlCol="0" anchor="ctr" anchorCtr="0"/>
      <a:lstStyle>
        <a:defPPr algn="ctr">
          <a:defRPr sz="1400" dirty="0" smtClean="0">
            <a:solidFill>
              <a:srgbClr val="002D72"/>
            </a:solidFill>
            <a:latin typeface="Arial" pitchFamily="34" charset="0"/>
            <a:cs typeface="Arial"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rgbClr val="808080"/>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tIns="90000" bIns="90000" rtlCol="0" anchor="t">
        <a:spAutoFit/>
      </a:bodyPr>
      <a:lstStyle>
        <a:defPPr algn="ctr">
          <a:defRPr sz="1400" dirty="0" err="1" smtClean="0">
            <a:solidFill>
              <a:srgbClr val="002D72"/>
            </a:solidFill>
            <a:latin typeface="Arial" pitchFamily="34" charset="0"/>
            <a:cs typeface="Arial" pitchFamily="34" charset="0"/>
          </a:defRPr>
        </a:defPPr>
      </a:lstStyle>
    </a:txDef>
  </a:objectDefaults>
  <a:extraClrSchemeLst/>
  <a:extLst>
    <a:ext uri="{05A4C25C-085E-4340-85A3-A5531E510DB2}">
      <thm15:themeFamily xmlns:thm15="http://schemas.microsoft.com/office/thememl/2012/main" name="Blank.potx" id="{57687F4B-2F1E-4114-B07A-640C069C128D}" vid="{E45BA0F0-7C25-449F-9B63-63C3B641F0FE}"/>
    </a:ext>
  </a:extLst>
</a:theme>
</file>

<file path=ppt/theme/theme21.xml><?xml version="1.0" encoding="utf-8"?>
<a:theme xmlns:a="http://schemas.openxmlformats.org/drawingml/2006/main" name="14_Blank">
  <a:themeElements>
    <a:clrScheme name="Citi">
      <a:dk1>
        <a:srgbClr val="002D72"/>
      </a:dk1>
      <a:lt1>
        <a:srgbClr val="FFFFFF"/>
      </a:lt1>
      <a:dk2>
        <a:srgbClr val="002060"/>
      </a:dk2>
      <a:lt2>
        <a:srgbClr val="808080"/>
      </a:lt2>
      <a:accent1>
        <a:srgbClr val="E2E2E2"/>
      </a:accent1>
      <a:accent2>
        <a:srgbClr val="43D2FF"/>
      </a:accent2>
      <a:accent3>
        <a:srgbClr val="FFFFFF"/>
      </a:accent3>
      <a:accent4>
        <a:srgbClr val="004683"/>
      </a:accent4>
      <a:accent5>
        <a:srgbClr val="D2E0E6"/>
      </a:accent5>
      <a:accent6>
        <a:srgbClr val="79A2B3"/>
      </a:accent6>
      <a:hlink>
        <a:srgbClr val="007BB4"/>
      </a:hlink>
      <a:folHlink>
        <a:srgbClr val="00ADE3"/>
      </a:folHlink>
    </a:clrScheme>
    <a:fontScheme name="Cit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E2E2E2"/>
        </a:solidFill>
        <a:ln w="9525">
          <a:solidFill>
            <a:srgbClr val="E2E2E2"/>
          </a:solidFill>
        </a:ln>
        <a:effectLst/>
      </a:spPr>
      <a:bodyPr tIns="90000" bIns="90000" rtlCol="0" anchor="ctr" anchorCtr="0"/>
      <a:lstStyle>
        <a:defPPr algn="ctr">
          <a:defRPr sz="1400" dirty="0" smtClean="0">
            <a:solidFill>
              <a:srgbClr val="002D72"/>
            </a:solidFill>
            <a:latin typeface="Arial" pitchFamily="34" charset="0"/>
            <a:cs typeface="Arial"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rgbClr val="808080"/>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tIns="90000" bIns="90000" rtlCol="0" anchor="t">
        <a:spAutoFit/>
      </a:bodyPr>
      <a:lstStyle>
        <a:defPPr algn="ctr">
          <a:defRPr sz="1400" dirty="0" err="1" smtClean="0">
            <a:solidFill>
              <a:srgbClr val="002D72"/>
            </a:solidFill>
            <a:latin typeface="Arial" pitchFamily="34" charset="0"/>
            <a:cs typeface="Arial" pitchFamily="34" charset="0"/>
          </a:defRPr>
        </a:defPPr>
      </a:lstStyle>
    </a:txDef>
  </a:objectDefaults>
  <a:extraClrSchemeLst/>
  <a:extLst>
    <a:ext uri="{05A4C25C-085E-4340-85A3-A5531E510DB2}">
      <thm15:themeFamily xmlns:thm15="http://schemas.microsoft.com/office/thememl/2012/main" name="Blank.potx" id="{57687F4B-2F1E-4114-B07A-640C069C128D}" vid="{E45BA0F0-7C25-449F-9B63-63C3B641F0FE}"/>
    </a:ext>
  </a:extLst>
</a:theme>
</file>

<file path=ppt/theme/theme22.xml><?xml version="1.0" encoding="utf-8"?>
<a:theme xmlns:a="http://schemas.openxmlformats.org/drawingml/2006/main" name="16_Blank">
  <a:themeElements>
    <a:clrScheme name="Citi">
      <a:dk1>
        <a:srgbClr val="002D72"/>
      </a:dk1>
      <a:lt1>
        <a:srgbClr val="FFFFFF"/>
      </a:lt1>
      <a:dk2>
        <a:srgbClr val="002060"/>
      </a:dk2>
      <a:lt2>
        <a:srgbClr val="808080"/>
      </a:lt2>
      <a:accent1>
        <a:srgbClr val="E2E2E2"/>
      </a:accent1>
      <a:accent2>
        <a:srgbClr val="43D2FF"/>
      </a:accent2>
      <a:accent3>
        <a:srgbClr val="FFFFFF"/>
      </a:accent3>
      <a:accent4>
        <a:srgbClr val="004683"/>
      </a:accent4>
      <a:accent5>
        <a:srgbClr val="D2E0E6"/>
      </a:accent5>
      <a:accent6>
        <a:srgbClr val="79A2B3"/>
      </a:accent6>
      <a:hlink>
        <a:srgbClr val="007BB4"/>
      </a:hlink>
      <a:folHlink>
        <a:srgbClr val="00ADE3"/>
      </a:folHlink>
    </a:clrScheme>
    <a:fontScheme name="Cit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E2E2E2"/>
        </a:solidFill>
        <a:ln w="9525">
          <a:solidFill>
            <a:srgbClr val="E2E2E2"/>
          </a:solidFill>
        </a:ln>
        <a:effectLst/>
      </a:spPr>
      <a:bodyPr tIns="90000" bIns="90000" rtlCol="0" anchor="ctr" anchorCtr="0"/>
      <a:lstStyle>
        <a:defPPr algn="ctr">
          <a:defRPr sz="1400" dirty="0" smtClean="0">
            <a:solidFill>
              <a:srgbClr val="002D72"/>
            </a:solidFill>
            <a:latin typeface="Arial" pitchFamily="34" charset="0"/>
            <a:cs typeface="Arial"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rgbClr val="808080"/>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tIns="90000" bIns="90000" rtlCol="0" anchor="t">
        <a:spAutoFit/>
      </a:bodyPr>
      <a:lstStyle>
        <a:defPPr algn="ctr">
          <a:defRPr sz="1400" dirty="0" err="1" smtClean="0">
            <a:solidFill>
              <a:srgbClr val="002D72"/>
            </a:solidFill>
            <a:latin typeface="Arial" pitchFamily="34" charset="0"/>
            <a:cs typeface="Arial" pitchFamily="34" charset="0"/>
          </a:defRPr>
        </a:defPPr>
      </a:lstStyle>
    </a:txDef>
  </a:objectDefaults>
  <a:extraClrSchemeLst/>
  <a:extLst>
    <a:ext uri="{05A4C25C-085E-4340-85A3-A5531E510DB2}">
      <thm15:themeFamily xmlns:thm15="http://schemas.microsoft.com/office/thememl/2012/main" name="Blank.potx" id="{57687F4B-2F1E-4114-B07A-640C069C128D}" vid="{E45BA0F0-7C25-449F-9B63-63C3B641F0FE}"/>
    </a:ext>
  </a:extLst>
</a:theme>
</file>

<file path=ppt/theme/theme23.xml><?xml version="1.0" encoding="utf-8"?>
<a:theme xmlns:a="http://schemas.openxmlformats.org/drawingml/2006/main" name="20_Blank">
  <a:themeElements>
    <a:clrScheme name="Citi">
      <a:dk1>
        <a:srgbClr val="002D72"/>
      </a:dk1>
      <a:lt1>
        <a:srgbClr val="FFFFFF"/>
      </a:lt1>
      <a:dk2>
        <a:srgbClr val="002060"/>
      </a:dk2>
      <a:lt2>
        <a:srgbClr val="808080"/>
      </a:lt2>
      <a:accent1>
        <a:srgbClr val="E2E2E2"/>
      </a:accent1>
      <a:accent2>
        <a:srgbClr val="43D2FF"/>
      </a:accent2>
      <a:accent3>
        <a:srgbClr val="FFFFFF"/>
      </a:accent3>
      <a:accent4>
        <a:srgbClr val="004683"/>
      </a:accent4>
      <a:accent5>
        <a:srgbClr val="D2E0E6"/>
      </a:accent5>
      <a:accent6>
        <a:srgbClr val="79A2B3"/>
      </a:accent6>
      <a:hlink>
        <a:srgbClr val="007BB4"/>
      </a:hlink>
      <a:folHlink>
        <a:srgbClr val="00ADE3"/>
      </a:folHlink>
    </a:clrScheme>
    <a:fontScheme name="Cit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E2E2E2"/>
        </a:solidFill>
        <a:ln w="9525">
          <a:solidFill>
            <a:srgbClr val="E2E2E2"/>
          </a:solidFill>
        </a:ln>
        <a:effectLst/>
      </a:spPr>
      <a:bodyPr tIns="90000" bIns="90000" rtlCol="0" anchor="ctr" anchorCtr="0"/>
      <a:lstStyle>
        <a:defPPr algn="ctr">
          <a:defRPr sz="1400" dirty="0" smtClean="0">
            <a:solidFill>
              <a:srgbClr val="002D72"/>
            </a:solidFill>
            <a:latin typeface="Arial" pitchFamily="34" charset="0"/>
            <a:cs typeface="Arial"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rgbClr val="808080"/>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tIns="90000" bIns="90000" rtlCol="0" anchor="t">
        <a:spAutoFit/>
      </a:bodyPr>
      <a:lstStyle>
        <a:defPPr algn="ctr">
          <a:defRPr sz="1400" dirty="0" err="1" smtClean="0">
            <a:solidFill>
              <a:srgbClr val="002D72"/>
            </a:solidFill>
            <a:latin typeface="Arial" pitchFamily="34" charset="0"/>
            <a:cs typeface="Arial" pitchFamily="34" charset="0"/>
          </a:defRPr>
        </a:defPPr>
      </a:lstStyle>
    </a:txDef>
  </a:objectDefaults>
  <a:extraClrSchemeLst/>
  <a:extLst>
    <a:ext uri="{05A4C25C-085E-4340-85A3-A5531E510DB2}">
      <thm15:themeFamily xmlns:thm15="http://schemas.microsoft.com/office/thememl/2012/main" name="Blank.potx" id="{57687F4B-2F1E-4114-B07A-640C069C128D}" vid="{E45BA0F0-7C25-449F-9B63-63C3B641F0FE}"/>
    </a:ext>
  </a:extLst>
</a:theme>
</file>

<file path=ppt/theme/theme24.xml><?xml version="1.0" encoding="utf-8"?>
<a:theme xmlns:a="http://schemas.openxmlformats.org/drawingml/2006/main" name="22_Blank">
  <a:themeElements>
    <a:clrScheme name="Citi">
      <a:dk1>
        <a:srgbClr val="002D72"/>
      </a:dk1>
      <a:lt1>
        <a:srgbClr val="FFFFFF"/>
      </a:lt1>
      <a:dk2>
        <a:srgbClr val="002060"/>
      </a:dk2>
      <a:lt2>
        <a:srgbClr val="808080"/>
      </a:lt2>
      <a:accent1>
        <a:srgbClr val="E2E2E2"/>
      </a:accent1>
      <a:accent2>
        <a:srgbClr val="43D2FF"/>
      </a:accent2>
      <a:accent3>
        <a:srgbClr val="FFFFFF"/>
      </a:accent3>
      <a:accent4>
        <a:srgbClr val="004683"/>
      </a:accent4>
      <a:accent5>
        <a:srgbClr val="D2E0E6"/>
      </a:accent5>
      <a:accent6>
        <a:srgbClr val="79A2B3"/>
      </a:accent6>
      <a:hlink>
        <a:srgbClr val="007BB4"/>
      </a:hlink>
      <a:folHlink>
        <a:srgbClr val="00ADE3"/>
      </a:folHlink>
    </a:clrScheme>
    <a:fontScheme name="Cit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E2E2E2"/>
        </a:solidFill>
        <a:ln w="9525">
          <a:solidFill>
            <a:srgbClr val="E2E2E2"/>
          </a:solidFill>
        </a:ln>
        <a:effectLst/>
      </a:spPr>
      <a:bodyPr tIns="90000" bIns="90000" rtlCol="0" anchor="ctr" anchorCtr="0"/>
      <a:lstStyle>
        <a:defPPr algn="ctr">
          <a:defRPr sz="1400" dirty="0" smtClean="0">
            <a:solidFill>
              <a:srgbClr val="002D72"/>
            </a:solidFill>
            <a:latin typeface="Arial" pitchFamily="34" charset="0"/>
            <a:cs typeface="Arial"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rgbClr val="808080"/>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tIns="90000" bIns="90000" rtlCol="0" anchor="t">
        <a:spAutoFit/>
      </a:bodyPr>
      <a:lstStyle>
        <a:defPPr algn="ctr">
          <a:defRPr sz="1400" dirty="0" err="1" smtClean="0">
            <a:solidFill>
              <a:srgbClr val="002D72"/>
            </a:solidFill>
            <a:latin typeface="Arial" pitchFamily="34" charset="0"/>
            <a:cs typeface="Arial" pitchFamily="34" charset="0"/>
          </a:defRPr>
        </a:defPPr>
      </a:lstStyle>
    </a:txDef>
  </a:objectDefaults>
  <a:extraClrSchemeLst/>
  <a:extLst>
    <a:ext uri="{05A4C25C-085E-4340-85A3-A5531E510DB2}">
      <thm15:themeFamily xmlns:thm15="http://schemas.microsoft.com/office/thememl/2012/main" name="Blank.potx" id="{57687F4B-2F1E-4114-B07A-640C069C128D}" vid="{E45BA0F0-7C25-449F-9B63-63C3B641F0FE}"/>
    </a:ext>
  </a:extLst>
</a:theme>
</file>

<file path=ppt/theme/theme2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1_Blank">
  <a:themeElements>
    <a:clrScheme name="18_Blank 1">
      <a:dk1>
        <a:srgbClr val="000000"/>
      </a:dk1>
      <a:lt1>
        <a:srgbClr val="FFFFFF"/>
      </a:lt1>
      <a:dk2>
        <a:srgbClr val="002776"/>
      </a:dk2>
      <a:lt2>
        <a:srgbClr val="FFFFFF"/>
      </a:lt2>
      <a:accent1>
        <a:srgbClr val="002776"/>
      </a:accent1>
      <a:accent2>
        <a:srgbClr val="92D400"/>
      </a:accent2>
      <a:accent3>
        <a:srgbClr val="FFFFFF"/>
      </a:accent3>
      <a:accent4>
        <a:srgbClr val="000000"/>
      </a:accent4>
      <a:accent5>
        <a:srgbClr val="AAACBD"/>
      </a:accent5>
      <a:accent6>
        <a:srgbClr val="84C000"/>
      </a:accent6>
      <a:hlink>
        <a:srgbClr val="00A1DE"/>
      </a:hlink>
      <a:folHlink>
        <a:srgbClr val="72C7E7"/>
      </a:folHlink>
    </a:clrScheme>
    <a:fontScheme name="18_Blank">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18_Blank 1">
        <a:dk1>
          <a:srgbClr val="000000"/>
        </a:dk1>
        <a:lt1>
          <a:srgbClr val="FFFFFF"/>
        </a:lt1>
        <a:dk2>
          <a:srgbClr val="002776"/>
        </a:dk2>
        <a:lt2>
          <a:srgbClr val="FFFFFF"/>
        </a:lt2>
        <a:accent1>
          <a:srgbClr val="002776"/>
        </a:accent1>
        <a:accent2>
          <a:srgbClr val="92D400"/>
        </a:accent2>
        <a:accent3>
          <a:srgbClr val="FFFFFF"/>
        </a:accent3>
        <a:accent4>
          <a:srgbClr val="000000"/>
        </a:accent4>
        <a:accent5>
          <a:srgbClr val="AAACBD"/>
        </a:accent5>
        <a:accent6>
          <a:srgbClr val="84C000"/>
        </a:accent6>
        <a:hlink>
          <a:srgbClr val="00A1DE"/>
        </a:hlink>
        <a:folHlink>
          <a:srgbClr val="72C7E7"/>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3_CitiBanamex_corporate_template_091212">
  <a:themeElements>
    <a:clrScheme name="Citi_corporate_template20120814 4">
      <a:dk1>
        <a:srgbClr val="53565A"/>
      </a:dk1>
      <a:lt1>
        <a:srgbClr val="FFFFFF"/>
      </a:lt1>
      <a:dk2>
        <a:srgbClr val="002D72"/>
      </a:dk2>
      <a:lt2>
        <a:srgbClr val="97999B"/>
      </a:lt2>
      <a:accent1>
        <a:srgbClr val="00BDF2"/>
      </a:accent1>
      <a:accent2>
        <a:srgbClr val="FFAA11"/>
      </a:accent2>
      <a:accent3>
        <a:srgbClr val="FFFFFF"/>
      </a:accent3>
      <a:accent4>
        <a:srgbClr val="46484C"/>
      </a:accent4>
      <a:accent5>
        <a:srgbClr val="AADBF7"/>
      </a:accent5>
      <a:accent6>
        <a:srgbClr val="E79A0E"/>
      </a:accent6>
      <a:hlink>
        <a:srgbClr val="FF0000"/>
      </a:hlink>
      <a:folHlink>
        <a:srgbClr val="890C58"/>
      </a:folHlink>
    </a:clrScheme>
    <a:fontScheme name="cfin_v06">
      <a:majorFont>
        <a:latin typeface="Arial"/>
        <a:ea typeface="Geneva"/>
        <a:cs typeface=""/>
      </a:majorFont>
      <a:minorFont>
        <a:latin typeface="Arial"/>
        <a:ea typeface="Geneva"/>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tx2"/>
        </a:solidFill>
        <a:ln w="12700"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2400" b="0" i="0" u="none" strike="noStrike" cap="none" normalizeH="0" baseline="0">
            <a:ln>
              <a:noFill/>
            </a:ln>
            <a:solidFill>
              <a:srgbClr val="000000"/>
            </a:solidFill>
            <a:effectLst/>
            <a:latin typeface="Arial" charset="0"/>
            <a:ea typeface="Geneva" charset="0"/>
          </a:defRPr>
        </a:defPPr>
      </a:lstStyle>
    </a:spDef>
    <a:lnDef>
      <a:spPr bwMode="auto">
        <a:xfrm>
          <a:off x="0" y="0"/>
          <a:ext cx="1" cy="1"/>
        </a:xfrm>
        <a:custGeom>
          <a:avLst/>
          <a:gdLst/>
          <a:ahLst/>
          <a:cxnLst/>
          <a:rect l="0" t="0" r="0" b="0"/>
          <a:pathLst/>
        </a:custGeom>
        <a:solidFill>
          <a:schemeClr val="tx2"/>
        </a:solidFill>
        <a:ln w="12700"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2400" b="0" i="0" u="none" strike="noStrike" cap="none" normalizeH="0" baseline="0">
            <a:ln>
              <a:noFill/>
            </a:ln>
            <a:solidFill>
              <a:srgbClr val="000000"/>
            </a:solidFill>
            <a:effectLst/>
            <a:latin typeface="Arial" charset="0"/>
            <a:ea typeface="Geneva" charset="0"/>
          </a:defRPr>
        </a:defPPr>
      </a:lstStyle>
    </a:lnDef>
    <a:txDef>
      <a:spPr bwMode="black">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accent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a:spPr>
      <a:bodyPr lIns="0"/>
      <a:lstStyle>
        <a:defPPr algn="l" eaLnBrk="1" hangingPunct="1">
          <a:lnSpc>
            <a:spcPct val="95000"/>
          </a:lnSpc>
          <a:spcBef>
            <a:spcPct val="75000"/>
          </a:spcBef>
          <a:spcAft>
            <a:spcPct val="20000"/>
          </a:spcAft>
          <a:defRPr sz="3600" dirty="0">
            <a:solidFill>
              <a:schemeClr val="bg1"/>
            </a:solidFill>
            <a:ea typeface="Arial" charset="0"/>
            <a:cs typeface="Geneva" charset="0"/>
          </a:defRPr>
        </a:defPPr>
      </a:lstStyle>
    </a:txDef>
  </a:objectDefaults>
  <a:extraClrSchemeLst>
    <a:extraClrScheme>
      <a:clrScheme name="cfin_v06 1">
        <a:dk1>
          <a:srgbClr val="000000"/>
        </a:dk1>
        <a:lt1>
          <a:srgbClr val="FFFFFF"/>
        </a:lt1>
        <a:dk2>
          <a:srgbClr val="000000"/>
        </a:dk2>
        <a:lt2>
          <a:srgbClr val="838589"/>
        </a:lt2>
        <a:accent1>
          <a:srgbClr val="4B4B4B"/>
        </a:accent1>
        <a:accent2>
          <a:srgbClr val="3973AD"/>
        </a:accent2>
        <a:accent3>
          <a:srgbClr val="FFFFFF"/>
        </a:accent3>
        <a:accent4>
          <a:srgbClr val="000000"/>
        </a:accent4>
        <a:accent5>
          <a:srgbClr val="B1B1B1"/>
        </a:accent5>
        <a:accent6>
          <a:srgbClr val="33689C"/>
        </a:accent6>
        <a:hlink>
          <a:srgbClr val="C0C0C0"/>
        </a:hlink>
        <a:folHlink>
          <a:srgbClr val="008080"/>
        </a:folHlink>
      </a:clrScheme>
      <a:clrMap bg1="lt1" tx1="dk1" bg2="lt2" tx2="dk2" accent1="accent1" accent2="accent2" accent3="accent3" accent4="accent4" accent5="accent5" accent6="accent6" hlink="hlink" folHlink="folHlink"/>
    </a:extraClrScheme>
    <a:extraClrScheme>
      <a:clrScheme name="cfin_v06 2">
        <a:dk1>
          <a:srgbClr val="000000"/>
        </a:dk1>
        <a:lt1>
          <a:srgbClr val="FFFFFF"/>
        </a:lt1>
        <a:dk2>
          <a:srgbClr val="004785"/>
        </a:dk2>
        <a:lt2>
          <a:srgbClr val="838589"/>
        </a:lt2>
        <a:accent1>
          <a:srgbClr val="4B4B4B"/>
        </a:accent1>
        <a:accent2>
          <a:srgbClr val="FFA202"/>
        </a:accent2>
        <a:accent3>
          <a:srgbClr val="FFFFFF"/>
        </a:accent3>
        <a:accent4>
          <a:srgbClr val="000000"/>
        </a:accent4>
        <a:accent5>
          <a:srgbClr val="B1B1B1"/>
        </a:accent5>
        <a:accent6>
          <a:srgbClr val="E79202"/>
        </a:accent6>
        <a:hlink>
          <a:srgbClr val="D7D7D7"/>
        </a:hlink>
        <a:folHlink>
          <a:srgbClr val="008080"/>
        </a:folHlink>
      </a:clrScheme>
      <a:clrMap bg1="lt1" tx1="dk1" bg2="lt2" tx2="dk2" accent1="accent1" accent2="accent2" accent3="accent3" accent4="accent4" accent5="accent5" accent6="accent6" hlink="hlink" folHlink="folHlink"/>
    </a:extraClrScheme>
    <a:extraClrScheme>
      <a:clrScheme name="citi_corporate_white 1">
        <a:dk1>
          <a:srgbClr val="717073"/>
        </a:dk1>
        <a:lt1>
          <a:srgbClr val="FFFFFF"/>
        </a:lt1>
        <a:dk2>
          <a:srgbClr val="002D72"/>
        </a:dk2>
        <a:lt2>
          <a:srgbClr val="D7D7D7"/>
        </a:lt2>
        <a:accent1>
          <a:srgbClr val="00BDF2"/>
        </a:accent1>
        <a:accent2>
          <a:srgbClr val="FFA202"/>
        </a:accent2>
        <a:accent3>
          <a:srgbClr val="FFFFFF"/>
        </a:accent3>
        <a:accent4>
          <a:srgbClr val="5F5F61"/>
        </a:accent4>
        <a:accent5>
          <a:srgbClr val="AADBF7"/>
        </a:accent5>
        <a:accent6>
          <a:srgbClr val="E79202"/>
        </a:accent6>
        <a:hlink>
          <a:srgbClr val="FF0000"/>
        </a:hlink>
        <a:folHlink>
          <a:srgbClr val="890C58"/>
        </a:folHlink>
      </a:clrScheme>
      <a:clrMap bg1="lt1" tx1="dk1" bg2="lt2" tx2="dk2" accent1="accent1" accent2="accent2" accent3="accent3" accent4="accent4" accent5="accent5" accent6="accent6" hlink="hlink" folHlink="folHlink"/>
    </a:extraClrScheme>
    <a:extraClrScheme>
      <a:clrScheme name="Citi_corporate_template20120814 1">
        <a:dk1>
          <a:srgbClr val="000000"/>
        </a:dk1>
        <a:lt1>
          <a:srgbClr val="FFFFFF"/>
        </a:lt1>
        <a:dk2>
          <a:srgbClr val="000000"/>
        </a:dk2>
        <a:lt2>
          <a:srgbClr val="838589"/>
        </a:lt2>
        <a:accent1>
          <a:srgbClr val="4B4B4B"/>
        </a:accent1>
        <a:accent2>
          <a:srgbClr val="3973AD"/>
        </a:accent2>
        <a:accent3>
          <a:srgbClr val="FFFFFF"/>
        </a:accent3>
        <a:accent4>
          <a:srgbClr val="000000"/>
        </a:accent4>
        <a:accent5>
          <a:srgbClr val="B1B1B1"/>
        </a:accent5>
        <a:accent6>
          <a:srgbClr val="33689C"/>
        </a:accent6>
        <a:hlink>
          <a:srgbClr val="C0C0C0"/>
        </a:hlink>
        <a:folHlink>
          <a:srgbClr val="008080"/>
        </a:folHlink>
      </a:clrScheme>
      <a:clrMap bg1="lt1" tx1="dk1" bg2="lt2" tx2="dk2" accent1="accent1" accent2="accent2" accent3="accent3" accent4="accent4" accent5="accent5" accent6="accent6" hlink="hlink" folHlink="folHlink"/>
    </a:extraClrScheme>
    <a:extraClrScheme>
      <a:clrScheme name="Citi_corporate_template20120814 2">
        <a:dk1>
          <a:srgbClr val="000000"/>
        </a:dk1>
        <a:lt1>
          <a:srgbClr val="FFFFFF"/>
        </a:lt1>
        <a:dk2>
          <a:srgbClr val="004785"/>
        </a:dk2>
        <a:lt2>
          <a:srgbClr val="838589"/>
        </a:lt2>
        <a:accent1>
          <a:srgbClr val="4B4B4B"/>
        </a:accent1>
        <a:accent2>
          <a:srgbClr val="FFA202"/>
        </a:accent2>
        <a:accent3>
          <a:srgbClr val="FFFFFF"/>
        </a:accent3>
        <a:accent4>
          <a:srgbClr val="000000"/>
        </a:accent4>
        <a:accent5>
          <a:srgbClr val="B1B1B1"/>
        </a:accent5>
        <a:accent6>
          <a:srgbClr val="E79202"/>
        </a:accent6>
        <a:hlink>
          <a:srgbClr val="D7D7D7"/>
        </a:hlink>
        <a:folHlink>
          <a:srgbClr val="008080"/>
        </a:folHlink>
      </a:clrScheme>
      <a:clrMap bg1="lt1" tx1="dk1" bg2="lt2" tx2="dk2" accent1="accent1" accent2="accent2" accent3="accent3" accent4="accent4" accent5="accent5" accent6="accent6" hlink="hlink" folHlink="folHlink"/>
    </a:extraClrScheme>
    <a:extraClrScheme>
      <a:clrScheme name="Citi_corporate_template20120814 3">
        <a:dk1>
          <a:srgbClr val="717073"/>
        </a:dk1>
        <a:lt1>
          <a:srgbClr val="FFFFFF"/>
        </a:lt1>
        <a:dk2>
          <a:srgbClr val="002D72"/>
        </a:dk2>
        <a:lt2>
          <a:srgbClr val="D7D7D7"/>
        </a:lt2>
        <a:accent1>
          <a:srgbClr val="00BDF2"/>
        </a:accent1>
        <a:accent2>
          <a:srgbClr val="FFA202"/>
        </a:accent2>
        <a:accent3>
          <a:srgbClr val="FFFFFF"/>
        </a:accent3>
        <a:accent4>
          <a:srgbClr val="5F5F61"/>
        </a:accent4>
        <a:accent5>
          <a:srgbClr val="AADBF7"/>
        </a:accent5>
        <a:accent6>
          <a:srgbClr val="E79202"/>
        </a:accent6>
        <a:hlink>
          <a:srgbClr val="FF0000"/>
        </a:hlink>
        <a:folHlink>
          <a:srgbClr val="890C58"/>
        </a:folHlink>
      </a:clrScheme>
      <a:clrMap bg1="lt1" tx1="dk1" bg2="lt2" tx2="dk2" accent1="accent1" accent2="accent2" accent3="accent3" accent4="accent4" accent5="accent5" accent6="accent6" hlink="hlink" folHlink="folHlink"/>
    </a:extraClrScheme>
    <a:extraClrScheme>
      <a:clrScheme name="Citi_corporate_template20120814 4">
        <a:dk1>
          <a:srgbClr val="53565A"/>
        </a:dk1>
        <a:lt1>
          <a:srgbClr val="FFFFFF"/>
        </a:lt1>
        <a:dk2>
          <a:srgbClr val="002D72"/>
        </a:dk2>
        <a:lt2>
          <a:srgbClr val="97999B"/>
        </a:lt2>
        <a:accent1>
          <a:srgbClr val="00BDF2"/>
        </a:accent1>
        <a:accent2>
          <a:srgbClr val="FFAA11"/>
        </a:accent2>
        <a:accent3>
          <a:srgbClr val="FFFFFF"/>
        </a:accent3>
        <a:accent4>
          <a:srgbClr val="46484C"/>
        </a:accent4>
        <a:accent5>
          <a:srgbClr val="AADBF7"/>
        </a:accent5>
        <a:accent6>
          <a:srgbClr val="E79A0E"/>
        </a:accent6>
        <a:hlink>
          <a:srgbClr val="FF0000"/>
        </a:hlink>
        <a:folHlink>
          <a:srgbClr val="890C58"/>
        </a:folHlink>
      </a:clrScheme>
      <a:clrMap bg1="lt1" tx1="dk1" bg2="lt2" tx2="dk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4_CitiBanamex_corporate_template_091212">
  <a:themeElements>
    <a:clrScheme name="Citi_corporate_template20120814 4">
      <a:dk1>
        <a:srgbClr val="53565A"/>
      </a:dk1>
      <a:lt1>
        <a:srgbClr val="FFFFFF"/>
      </a:lt1>
      <a:dk2>
        <a:srgbClr val="002D72"/>
      </a:dk2>
      <a:lt2>
        <a:srgbClr val="97999B"/>
      </a:lt2>
      <a:accent1>
        <a:srgbClr val="00BDF2"/>
      </a:accent1>
      <a:accent2>
        <a:srgbClr val="FFAA11"/>
      </a:accent2>
      <a:accent3>
        <a:srgbClr val="FFFFFF"/>
      </a:accent3>
      <a:accent4>
        <a:srgbClr val="46484C"/>
      </a:accent4>
      <a:accent5>
        <a:srgbClr val="AADBF7"/>
      </a:accent5>
      <a:accent6>
        <a:srgbClr val="E79A0E"/>
      </a:accent6>
      <a:hlink>
        <a:srgbClr val="FF0000"/>
      </a:hlink>
      <a:folHlink>
        <a:srgbClr val="890C58"/>
      </a:folHlink>
    </a:clrScheme>
    <a:fontScheme name="cfin_v06">
      <a:majorFont>
        <a:latin typeface="Arial"/>
        <a:ea typeface="Geneva"/>
        <a:cs typeface=""/>
      </a:majorFont>
      <a:minorFont>
        <a:latin typeface="Arial"/>
        <a:ea typeface="Geneva"/>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tx2"/>
        </a:solidFill>
        <a:ln w="12700"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2400" b="0" i="0" u="none" strike="noStrike" cap="none" normalizeH="0" baseline="0">
            <a:ln>
              <a:noFill/>
            </a:ln>
            <a:solidFill>
              <a:srgbClr val="000000"/>
            </a:solidFill>
            <a:effectLst/>
            <a:latin typeface="Arial" charset="0"/>
            <a:ea typeface="Geneva" charset="0"/>
          </a:defRPr>
        </a:defPPr>
      </a:lstStyle>
    </a:spDef>
    <a:lnDef>
      <a:spPr bwMode="auto">
        <a:xfrm>
          <a:off x="0" y="0"/>
          <a:ext cx="1" cy="1"/>
        </a:xfrm>
        <a:custGeom>
          <a:avLst/>
          <a:gdLst/>
          <a:ahLst/>
          <a:cxnLst/>
          <a:rect l="0" t="0" r="0" b="0"/>
          <a:pathLst/>
        </a:custGeom>
        <a:solidFill>
          <a:schemeClr val="tx2"/>
        </a:solidFill>
        <a:ln w="12700"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2400" b="0" i="0" u="none" strike="noStrike" cap="none" normalizeH="0" baseline="0">
            <a:ln>
              <a:noFill/>
            </a:ln>
            <a:solidFill>
              <a:srgbClr val="000000"/>
            </a:solidFill>
            <a:effectLst/>
            <a:latin typeface="Arial" charset="0"/>
            <a:ea typeface="Geneva" charset="0"/>
          </a:defRPr>
        </a:defPPr>
      </a:lstStyle>
    </a:lnDef>
    <a:txDef>
      <a:spPr bwMode="black">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accent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a:spPr>
      <a:bodyPr lIns="0"/>
      <a:lstStyle>
        <a:defPPr algn="l" eaLnBrk="1" hangingPunct="1">
          <a:lnSpc>
            <a:spcPct val="95000"/>
          </a:lnSpc>
          <a:spcBef>
            <a:spcPct val="75000"/>
          </a:spcBef>
          <a:spcAft>
            <a:spcPct val="20000"/>
          </a:spcAft>
          <a:defRPr sz="3600" dirty="0">
            <a:solidFill>
              <a:schemeClr val="bg1"/>
            </a:solidFill>
            <a:ea typeface="Arial" charset="0"/>
            <a:cs typeface="Geneva" charset="0"/>
          </a:defRPr>
        </a:defPPr>
      </a:lstStyle>
    </a:txDef>
  </a:objectDefaults>
  <a:extraClrSchemeLst>
    <a:extraClrScheme>
      <a:clrScheme name="cfin_v06 1">
        <a:dk1>
          <a:srgbClr val="000000"/>
        </a:dk1>
        <a:lt1>
          <a:srgbClr val="FFFFFF"/>
        </a:lt1>
        <a:dk2>
          <a:srgbClr val="000000"/>
        </a:dk2>
        <a:lt2>
          <a:srgbClr val="838589"/>
        </a:lt2>
        <a:accent1>
          <a:srgbClr val="4B4B4B"/>
        </a:accent1>
        <a:accent2>
          <a:srgbClr val="3973AD"/>
        </a:accent2>
        <a:accent3>
          <a:srgbClr val="FFFFFF"/>
        </a:accent3>
        <a:accent4>
          <a:srgbClr val="000000"/>
        </a:accent4>
        <a:accent5>
          <a:srgbClr val="B1B1B1"/>
        </a:accent5>
        <a:accent6>
          <a:srgbClr val="33689C"/>
        </a:accent6>
        <a:hlink>
          <a:srgbClr val="C0C0C0"/>
        </a:hlink>
        <a:folHlink>
          <a:srgbClr val="008080"/>
        </a:folHlink>
      </a:clrScheme>
      <a:clrMap bg1="lt1" tx1="dk1" bg2="lt2" tx2="dk2" accent1="accent1" accent2="accent2" accent3="accent3" accent4="accent4" accent5="accent5" accent6="accent6" hlink="hlink" folHlink="folHlink"/>
    </a:extraClrScheme>
    <a:extraClrScheme>
      <a:clrScheme name="cfin_v06 2">
        <a:dk1>
          <a:srgbClr val="000000"/>
        </a:dk1>
        <a:lt1>
          <a:srgbClr val="FFFFFF"/>
        </a:lt1>
        <a:dk2>
          <a:srgbClr val="004785"/>
        </a:dk2>
        <a:lt2>
          <a:srgbClr val="838589"/>
        </a:lt2>
        <a:accent1>
          <a:srgbClr val="4B4B4B"/>
        </a:accent1>
        <a:accent2>
          <a:srgbClr val="FFA202"/>
        </a:accent2>
        <a:accent3>
          <a:srgbClr val="FFFFFF"/>
        </a:accent3>
        <a:accent4>
          <a:srgbClr val="000000"/>
        </a:accent4>
        <a:accent5>
          <a:srgbClr val="B1B1B1"/>
        </a:accent5>
        <a:accent6>
          <a:srgbClr val="E79202"/>
        </a:accent6>
        <a:hlink>
          <a:srgbClr val="D7D7D7"/>
        </a:hlink>
        <a:folHlink>
          <a:srgbClr val="008080"/>
        </a:folHlink>
      </a:clrScheme>
      <a:clrMap bg1="lt1" tx1="dk1" bg2="lt2" tx2="dk2" accent1="accent1" accent2="accent2" accent3="accent3" accent4="accent4" accent5="accent5" accent6="accent6" hlink="hlink" folHlink="folHlink"/>
    </a:extraClrScheme>
    <a:extraClrScheme>
      <a:clrScheme name="citi_corporate_white 1">
        <a:dk1>
          <a:srgbClr val="717073"/>
        </a:dk1>
        <a:lt1>
          <a:srgbClr val="FFFFFF"/>
        </a:lt1>
        <a:dk2>
          <a:srgbClr val="002D72"/>
        </a:dk2>
        <a:lt2>
          <a:srgbClr val="D7D7D7"/>
        </a:lt2>
        <a:accent1>
          <a:srgbClr val="00BDF2"/>
        </a:accent1>
        <a:accent2>
          <a:srgbClr val="FFA202"/>
        </a:accent2>
        <a:accent3>
          <a:srgbClr val="FFFFFF"/>
        </a:accent3>
        <a:accent4>
          <a:srgbClr val="5F5F61"/>
        </a:accent4>
        <a:accent5>
          <a:srgbClr val="AADBF7"/>
        </a:accent5>
        <a:accent6>
          <a:srgbClr val="E79202"/>
        </a:accent6>
        <a:hlink>
          <a:srgbClr val="FF0000"/>
        </a:hlink>
        <a:folHlink>
          <a:srgbClr val="890C58"/>
        </a:folHlink>
      </a:clrScheme>
      <a:clrMap bg1="lt1" tx1="dk1" bg2="lt2" tx2="dk2" accent1="accent1" accent2="accent2" accent3="accent3" accent4="accent4" accent5="accent5" accent6="accent6" hlink="hlink" folHlink="folHlink"/>
    </a:extraClrScheme>
    <a:extraClrScheme>
      <a:clrScheme name="Citi_corporate_template20120814 1">
        <a:dk1>
          <a:srgbClr val="000000"/>
        </a:dk1>
        <a:lt1>
          <a:srgbClr val="FFFFFF"/>
        </a:lt1>
        <a:dk2>
          <a:srgbClr val="000000"/>
        </a:dk2>
        <a:lt2>
          <a:srgbClr val="838589"/>
        </a:lt2>
        <a:accent1>
          <a:srgbClr val="4B4B4B"/>
        </a:accent1>
        <a:accent2>
          <a:srgbClr val="3973AD"/>
        </a:accent2>
        <a:accent3>
          <a:srgbClr val="FFFFFF"/>
        </a:accent3>
        <a:accent4>
          <a:srgbClr val="000000"/>
        </a:accent4>
        <a:accent5>
          <a:srgbClr val="B1B1B1"/>
        </a:accent5>
        <a:accent6>
          <a:srgbClr val="33689C"/>
        </a:accent6>
        <a:hlink>
          <a:srgbClr val="C0C0C0"/>
        </a:hlink>
        <a:folHlink>
          <a:srgbClr val="008080"/>
        </a:folHlink>
      </a:clrScheme>
      <a:clrMap bg1="lt1" tx1="dk1" bg2="lt2" tx2="dk2" accent1="accent1" accent2="accent2" accent3="accent3" accent4="accent4" accent5="accent5" accent6="accent6" hlink="hlink" folHlink="folHlink"/>
    </a:extraClrScheme>
    <a:extraClrScheme>
      <a:clrScheme name="Citi_corporate_template20120814 2">
        <a:dk1>
          <a:srgbClr val="000000"/>
        </a:dk1>
        <a:lt1>
          <a:srgbClr val="FFFFFF"/>
        </a:lt1>
        <a:dk2>
          <a:srgbClr val="004785"/>
        </a:dk2>
        <a:lt2>
          <a:srgbClr val="838589"/>
        </a:lt2>
        <a:accent1>
          <a:srgbClr val="4B4B4B"/>
        </a:accent1>
        <a:accent2>
          <a:srgbClr val="FFA202"/>
        </a:accent2>
        <a:accent3>
          <a:srgbClr val="FFFFFF"/>
        </a:accent3>
        <a:accent4>
          <a:srgbClr val="000000"/>
        </a:accent4>
        <a:accent5>
          <a:srgbClr val="B1B1B1"/>
        </a:accent5>
        <a:accent6>
          <a:srgbClr val="E79202"/>
        </a:accent6>
        <a:hlink>
          <a:srgbClr val="D7D7D7"/>
        </a:hlink>
        <a:folHlink>
          <a:srgbClr val="008080"/>
        </a:folHlink>
      </a:clrScheme>
      <a:clrMap bg1="lt1" tx1="dk1" bg2="lt2" tx2="dk2" accent1="accent1" accent2="accent2" accent3="accent3" accent4="accent4" accent5="accent5" accent6="accent6" hlink="hlink" folHlink="folHlink"/>
    </a:extraClrScheme>
    <a:extraClrScheme>
      <a:clrScheme name="Citi_corporate_template20120814 3">
        <a:dk1>
          <a:srgbClr val="717073"/>
        </a:dk1>
        <a:lt1>
          <a:srgbClr val="FFFFFF"/>
        </a:lt1>
        <a:dk2>
          <a:srgbClr val="002D72"/>
        </a:dk2>
        <a:lt2>
          <a:srgbClr val="D7D7D7"/>
        </a:lt2>
        <a:accent1>
          <a:srgbClr val="00BDF2"/>
        </a:accent1>
        <a:accent2>
          <a:srgbClr val="FFA202"/>
        </a:accent2>
        <a:accent3>
          <a:srgbClr val="FFFFFF"/>
        </a:accent3>
        <a:accent4>
          <a:srgbClr val="5F5F61"/>
        </a:accent4>
        <a:accent5>
          <a:srgbClr val="AADBF7"/>
        </a:accent5>
        <a:accent6>
          <a:srgbClr val="E79202"/>
        </a:accent6>
        <a:hlink>
          <a:srgbClr val="FF0000"/>
        </a:hlink>
        <a:folHlink>
          <a:srgbClr val="890C58"/>
        </a:folHlink>
      </a:clrScheme>
      <a:clrMap bg1="lt1" tx1="dk1" bg2="lt2" tx2="dk2" accent1="accent1" accent2="accent2" accent3="accent3" accent4="accent4" accent5="accent5" accent6="accent6" hlink="hlink" folHlink="folHlink"/>
    </a:extraClrScheme>
    <a:extraClrScheme>
      <a:clrScheme name="Citi_corporate_template20120814 4">
        <a:dk1>
          <a:srgbClr val="53565A"/>
        </a:dk1>
        <a:lt1>
          <a:srgbClr val="FFFFFF"/>
        </a:lt1>
        <a:dk2>
          <a:srgbClr val="002D72"/>
        </a:dk2>
        <a:lt2>
          <a:srgbClr val="97999B"/>
        </a:lt2>
        <a:accent1>
          <a:srgbClr val="00BDF2"/>
        </a:accent1>
        <a:accent2>
          <a:srgbClr val="FFAA11"/>
        </a:accent2>
        <a:accent3>
          <a:srgbClr val="FFFFFF"/>
        </a:accent3>
        <a:accent4>
          <a:srgbClr val="46484C"/>
        </a:accent4>
        <a:accent5>
          <a:srgbClr val="AADBF7"/>
        </a:accent5>
        <a:accent6>
          <a:srgbClr val="E79A0E"/>
        </a:accent6>
        <a:hlink>
          <a:srgbClr val="FF0000"/>
        </a:hlink>
        <a:folHlink>
          <a:srgbClr val="890C58"/>
        </a:folHlink>
      </a:clrScheme>
      <a:clrMap bg1="lt1" tx1="dk1" bg2="lt2" tx2="dk2" accent1="accent1" accent2="accent2" accent3="accent3" accent4="accent4" accent5="accent5" accent6="accent6" hlink="hlink" folHlink="folHlink"/>
    </a:extraClrScheme>
  </a:extraClrSchemeLst>
</a:theme>
</file>

<file path=ppt/theme/theme6.xml><?xml version="1.0" encoding="utf-8"?>
<a:theme xmlns:a="http://schemas.openxmlformats.org/drawingml/2006/main" name="2_Blank">
  <a:themeElements>
    <a:clrScheme name="Citi">
      <a:dk1>
        <a:srgbClr val="002D72"/>
      </a:dk1>
      <a:lt1>
        <a:srgbClr val="FFFFFF"/>
      </a:lt1>
      <a:dk2>
        <a:srgbClr val="002060"/>
      </a:dk2>
      <a:lt2>
        <a:srgbClr val="808080"/>
      </a:lt2>
      <a:accent1>
        <a:srgbClr val="E2E2E2"/>
      </a:accent1>
      <a:accent2>
        <a:srgbClr val="43D2FF"/>
      </a:accent2>
      <a:accent3>
        <a:srgbClr val="FFFFFF"/>
      </a:accent3>
      <a:accent4>
        <a:srgbClr val="004683"/>
      </a:accent4>
      <a:accent5>
        <a:srgbClr val="D2E0E6"/>
      </a:accent5>
      <a:accent6>
        <a:srgbClr val="79A2B3"/>
      </a:accent6>
      <a:hlink>
        <a:srgbClr val="007BB4"/>
      </a:hlink>
      <a:folHlink>
        <a:srgbClr val="00ADE3"/>
      </a:folHlink>
    </a:clrScheme>
    <a:fontScheme name="Cit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E2E2E2"/>
        </a:solidFill>
        <a:ln w="9525">
          <a:solidFill>
            <a:srgbClr val="E2E2E2"/>
          </a:solidFill>
        </a:ln>
        <a:effectLst/>
      </a:spPr>
      <a:bodyPr tIns="90000" bIns="90000" rtlCol="0" anchor="ctr" anchorCtr="0"/>
      <a:lstStyle>
        <a:defPPr algn="ctr">
          <a:defRPr sz="1400" dirty="0" smtClean="0">
            <a:solidFill>
              <a:srgbClr val="002D72"/>
            </a:solidFill>
            <a:latin typeface="Arial" pitchFamily="34" charset="0"/>
            <a:cs typeface="Arial"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rgbClr val="808080"/>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tIns="90000" bIns="90000" rtlCol="0" anchor="t">
        <a:spAutoFit/>
      </a:bodyPr>
      <a:lstStyle>
        <a:defPPr algn="ctr">
          <a:defRPr sz="1400" dirty="0" err="1" smtClean="0">
            <a:solidFill>
              <a:srgbClr val="002D72"/>
            </a:solidFill>
            <a:latin typeface="Arial" pitchFamily="34" charset="0"/>
            <a:cs typeface="Arial" pitchFamily="34" charset="0"/>
          </a:defRPr>
        </a:defPPr>
      </a:lstStyle>
    </a:txDef>
  </a:objectDefaults>
  <a:extraClrSchemeLst/>
  <a:extLst>
    <a:ext uri="{05A4C25C-085E-4340-85A3-A5531E510DB2}">
      <thm15:themeFamily xmlns:thm15="http://schemas.microsoft.com/office/thememl/2012/main" name="Blank.potx" id="{57687F4B-2F1E-4114-B07A-640C069C128D}" vid="{E45BA0F0-7C25-449F-9B63-63C3B641F0FE}"/>
    </a:ext>
  </a:extLst>
</a:theme>
</file>

<file path=ppt/theme/theme7.xml><?xml version="1.0" encoding="utf-8"?>
<a:theme xmlns:a="http://schemas.openxmlformats.org/drawingml/2006/main" name="6_CitiBanamex_corporate_template_091212">
  <a:themeElements>
    <a:clrScheme name="Citi_corporate_template20120814 4">
      <a:dk1>
        <a:srgbClr val="53565A"/>
      </a:dk1>
      <a:lt1>
        <a:srgbClr val="FFFFFF"/>
      </a:lt1>
      <a:dk2>
        <a:srgbClr val="002D72"/>
      </a:dk2>
      <a:lt2>
        <a:srgbClr val="97999B"/>
      </a:lt2>
      <a:accent1>
        <a:srgbClr val="00BDF2"/>
      </a:accent1>
      <a:accent2>
        <a:srgbClr val="FFAA11"/>
      </a:accent2>
      <a:accent3>
        <a:srgbClr val="FFFFFF"/>
      </a:accent3>
      <a:accent4>
        <a:srgbClr val="46484C"/>
      </a:accent4>
      <a:accent5>
        <a:srgbClr val="AADBF7"/>
      </a:accent5>
      <a:accent6>
        <a:srgbClr val="E79A0E"/>
      </a:accent6>
      <a:hlink>
        <a:srgbClr val="FF0000"/>
      </a:hlink>
      <a:folHlink>
        <a:srgbClr val="890C58"/>
      </a:folHlink>
    </a:clrScheme>
    <a:fontScheme name="cfin_v06">
      <a:majorFont>
        <a:latin typeface="Arial"/>
        <a:ea typeface="Geneva"/>
        <a:cs typeface=""/>
      </a:majorFont>
      <a:minorFont>
        <a:latin typeface="Arial"/>
        <a:ea typeface="Geneva"/>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tx2"/>
        </a:solidFill>
        <a:ln w="12700"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2400" b="0" i="0" u="none" strike="noStrike" cap="none" normalizeH="0" baseline="0">
            <a:ln>
              <a:noFill/>
            </a:ln>
            <a:solidFill>
              <a:srgbClr val="000000"/>
            </a:solidFill>
            <a:effectLst/>
            <a:latin typeface="Arial" charset="0"/>
            <a:ea typeface="Geneva" charset="0"/>
          </a:defRPr>
        </a:defPPr>
      </a:lstStyle>
    </a:spDef>
    <a:lnDef>
      <a:spPr bwMode="auto">
        <a:xfrm>
          <a:off x="0" y="0"/>
          <a:ext cx="1" cy="1"/>
        </a:xfrm>
        <a:custGeom>
          <a:avLst/>
          <a:gdLst/>
          <a:ahLst/>
          <a:cxnLst/>
          <a:rect l="0" t="0" r="0" b="0"/>
          <a:pathLst/>
        </a:custGeom>
        <a:solidFill>
          <a:schemeClr val="tx2"/>
        </a:solidFill>
        <a:ln w="12700"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2400" b="0" i="0" u="none" strike="noStrike" cap="none" normalizeH="0" baseline="0">
            <a:ln>
              <a:noFill/>
            </a:ln>
            <a:solidFill>
              <a:srgbClr val="000000"/>
            </a:solidFill>
            <a:effectLst/>
            <a:latin typeface="Arial" charset="0"/>
            <a:ea typeface="Geneva" charset="0"/>
          </a:defRPr>
        </a:defPPr>
      </a:lstStyle>
    </a:lnDef>
    <a:txDef>
      <a:spPr bwMode="black">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accent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a:spPr>
      <a:bodyPr lIns="0"/>
      <a:lstStyle>
        <a:defPPr algn="l" eaLnBrk="1" hangingPunct="1">
          <a:lnSpc>
            <a:spcPct val="95000"/>
          </a:lnSpc>
          <a:spcBef>
            <a:spcPct val="75000"/>
          </a:spcBef>
          <a:spcAft>
            <a:spcPct val="20000"/>
          </a:spcAft>
          <a:defRPr sz="3600" dirty="0">
            <a:solidFill>
              <a:schemeClr val="bg1"/>
            </a:solidFill>
            <a:ea typeface="Arial" charset="0"/>
            <a:cs typeface="Geneva" charset="0"/>
          </a:defRPr>
        </a:defPPr>
      </a:lstStyle>
    </a:txDef>
  </a:objectDefaults>
  <a:extraClrSchemeLst>
    <a:extraClrScheme>
      <a:clrScheme name="cfin_v06 1">
        <a:dk1>
          <a:srgbClr val="000000"/>
        </a:dk1>
        <a:lt1>
          <a:srgbClr val="FFFFFF"/>
        </a:lt1>
        <a:dk2>
          <a:srgbClr val="000000"/>
        </a:dk2>
        <a:lt2>
          <a:srgbClr val="838589"/>
        </a:lt2>
        <a:accent1>
          <a:srgbClr val="4B4B4B"/>
        </a:accent1>
        <a:accent2>
          <a:srgbClr val="3973AD"/>
        </a:accent2>
        <a:accent3>
          <a:srgbClr val="FFFFFF"/>
        </a:accent3>
        <a:accent4>
          <a:srgbClr val="000000"/>
        </a:accent4>
        <a:accent5>
          <a:srgbClr val="B1B1B1"/>
        </a:accent5>
        <a:accent6>
          <a:srgbClr val="33689C"/>
        </a:accent6>
        <a:hlink>
          <a:srgbClr val="C0C0C0"/>
        </a:hlink>
        <a:folHlink>
          <a:srgbClr val="008080"/>
        </a:folHlink>
      </a:clrScheme>
      <a:clrMap bg1="lt1" tx1="dk1" bg2="lt2" tx2="dk2" accent1="accent1" accent2="accent2" accent3="accent3" accent4="accent4" accent5="accent5" accent6="accent6" hlink="hlink" folHlink="folHlink"/>
    </a:extraClrScheme>
    <a:extraClrScheme>
      <a:clrScheme name="cfin_v06 2">
        <a:dk1>
          <a:srgbClr val="000000"/>
        </a:dk1>
        <a:lt1>
          <a:srgbClr val="FFFFFF"/>
        </a:lt1>
        <a:dk2>
          <a:srgbClr val="004785"/>
        </a:dk2>
        <a:lt2>
          <a:srgbClr val="838589"/>
        </a:lt2>
        <a:accent1>
          <a:srgbClr val="4B4B4B"/>
        </a:accent1>
        <a:accent2>
          <a:srgbClr val="FFA202"/>
        </a:accent2>
        <a:accent3>
          <a:srgbClr val="FFFFFF"/>
        </a:accent3>
        <a:accent4>
          <a:srgbClr val="000000"/>
        </a:accent4>
        <a:accent5>
          <a:srgbClr val="B1B1B1"/>
        </a:accent5>
        <a:accent6>
          <a:srgbClr val="E79202"/>
        </a:accent6>
        <a:hlink>
          <a:srgbClr val="D7D7D7"/>
        </a:hlink>
        <a:folHlink>
          <a:srgbClr val="008080"/>
        </a:folHlink>
      </a:clrScheme>
      <a:clrMap bg1="lt1" tx1="dk1" bg2="lt2" tx2="dk2" accent1="accent1" accent2="accent2" accent3="accent3" accent4="accent4" accent5="accent5" accent6="accent6" hlink="hlink" folHlink="folHlink"/>
    </a:extraClrScheme>
    <a:extraClrScheme>
      <a:clrScheme name="citi_corporate_white 1">
        <a:dk1>
          <a:srgbClr val="717073"/>
        </a:dk1>
        <a:lt1>
          <a:srgbClr val="FFFFFF"/>
        </a:lt1>
        <a:dk2>
          <a:srgbClr val="002D72"/>
        </a:dk2>
        <a:lt2>
          <a:srgbClr val="D7D7D7"/>
        </a:lt2>
        <a:accent1>
          <a:srgbClr val="00BDF2"/>
        </a:accent1>
        <a:accent2>
          <a:srgbClr val="FFA202"/>
        </a:accent2>
        <a:accent3>
          <a:srgbClr val="FFFFFF"/>
        </a:accent3>
        <a:accent4>
          <a:srgbClr val="5F5F61"/>
        </a:accent4>
        <a:accent5>
          <a:srgbClr val="AADBF7"/>
        </a:accent5>
        <a:accent6>
          <a:srgbClr val="E79202"/>
        </a:accent6>
        <a:hlink>
          <a:srgbClr val="FF0000"/>
        </a:hlink>
        <a:folHlink>
          <a:srgbClr val="890C58"/>
        </a:folHlink>
      </a:clrScheme>
      <a:clrMap bg1="lt1" tx1="dk1" bg2="lt2" tx2="dk2" accent1="accent1" accent2="accent2" accent3="accent3" accent4="accent4" accent5="accent5" accent6="accent6" hlink="hlink" folHlink="folHlink"/>
    </a:extraClrScheme>
    <a:extraClrScheme>
      <a:clrScheme name="Citi_corporate_template20120814 1">
        <a:dk1>
          <a:srgbClr val="000000"/>
        </a:dk1>
        <a:lt1>
          <a:srgbClr val="FFFFFF"/>
        </a:lt1>
        <a:dk2>
          <a:srgbClr val="000000"/>
        </a:dk2>
        <a:lt2>
          <a:srgbClr val="838589"/>
        </a:lt2>
        <a:accent1>
          <a:srgbClr val="4B4B4B"/>
        </a:accent1>
        <a:accent2>
          <a:srgbClr val="3973AD"/>
        </a:accent2>
        <a:accent3>
          <a:srgbClr val="FFFFFF"/>
        </a:accent3>
        <a:accent4>
          <a:srgbClr val="000000"/>
        </a:accent4>
        <a:accent5>
          <a:srgbClr val="B1B1B1"/>
        </a:accent5>
        <a:accent6>
          <a:srgbClr val="33689C"/>
        </a:accent6>
        <a:hlink>
          <a:srgbClr val="C0C0C0"/>
        </a:hlink>
        <a:folHlink>
          <a:srgbClr val="008080"/>
        </a:folHlink>
      </a:clrScheme>
      <a:clrMap bg1="lt1" tx1="dk1" bg2="lt2" tx2="dk2" accent1="accent1" accent2="accent2" accent3="accent3" accent4="accent4" accent5="accent5" accent6="accent6" hlink="hlink" folHlink="folHlink"/>
    </a:extraClrScheme>
    <a:extraClrScheme>
      <a:clrScheme name="Citi_corporate_template20120814 2">
        <a:dk1>
          <a:srgbClr val="000000"/>
        </a:dk1>
        <a:lt1>
          <a:srgbClr val="FFFFFF"/>
        </a:lt1>
        <a:dk2>
          <a:srgbClr val="004785"/>
        </a:dk2>
        <a:lt2>
          <a:srgbClr val="838589"/>
        </a:lt2>
        <a:accent1>
          <a:srgbClr val="4B4B4B"/>
        </a:accent1>
        <a:accent2>
          <a:srgbClr val="FFA202"/>
        </a:accent2>
        <a:accent3>
          <a:srgbClr val="FFFFFF"/>
        </a:accent3>
        <a:accent4>
          <a:srgbClr val="000000"/>
        </a:accent4>
        <a:accent5>
          <a:srgbClr val="B1B1B1"/>
        </a:accent5>
        <a:accent6>
          <a:srgbClr val="E79202"/>
        </a:accent6>
        <a:hlink>
          <a:srgbClr val="D7D7D7"/>
        </a:hlink>
        <a:folHlink>
          <a:srgbClr val="008080"/>
        </a:folHlink>
      </a:clrScheme>
      <a:clrMap bg1="lt1" tx1="dk1" bg2="lt2" tx2="dk2" accent1="accent1" accent2="accent2" accent3="accent3" accent4="accent4" accent5="accent5" accent6="accent6" hlink="hlink" folHlink="folHlink"/>
    </a:extraClrScheme>
    <a:extraClrScheme>
      <a:clrScheme name="Citi_corporate_template20120814 3">
        <a:dk1>
          <a:srgbClr val="717073"/>
        </a:dk1>
        <a:lt1>
          <a:srgbClr val="FFFFFF"/>
        </a:lt1>
        <a:dk2>
          <a:srgbClr val="002D72"/>
        </a:dk2>
        <a:lt2>
          <a:srgbClr val="D7D7D7"/>
        </a:lt2>
        <a:accent1>
          <a:srgbClr val="00BDF2"/>
        </a:accent1>
        <a:accent2>
          <a:srgbClr val="FFA202"/>
        </a:accent2>
        <a:accent3>
          <a:srgbClr val="FFFFFF"/>
        </a:accent3>
        <a:accent4>
          <a:srgbClr val="5F5F61"/>
        </a:accent4>
        <a:accent5>
          <a:srgbClr val="AADBF7"/>
        </a:accent5>
        <a:accent6>
          <a:srgbClr val="E79202"/>
        </a:accent6>
        <a:hlink>
          <a:srgbClr val="FF0000"/>
        </a:hlink>
        <a:folHlink>
          <a:srgbClr val="890C58"/>
        </a:folHlink>
      </a:clrScheme>
      <a:clrMap bg1="lt1" tx1="dk1" bg2="lt2" tx2="dk2" accent1="accent1" accent2="accent2" accent3="accent3" accent4="accent4" accent5="accent5" accent6="accent6" hlink="hlink" folHlink="folHlink"/>
    </a:extraClrScheme>
    <a:extraClrScheme>
      <a:clrScheme name="Citi_corporate_template20120814 4">
        <a:dk1>
          <a:srgbClr val="53565A"/>
        </a:dk1>
        <a:lt1>
          <a:srgbClr val="FFFFFF"/>
        </a:lt1>
        <a:dk2>
          <a:srgbClr val="002D72"/>
        </a:dk2>
        <a:lt2>
          <a:srgbClr val="97999B"/>
        </a:lt2>
        <a:accent1>
          <a:srgbClr val="00BDF2"/>
        </a:accent1>
        <a:accent2>
          <a:srgbClr val="FFAA11"/>
        </a:accent2>
        <a:accent3>
          <a:srgbClr val="FFFFFF"/>
        </a:accent3>
        <a:accent4>
          <a:srgbClr val="46484C"/>
        </a:accent4>
        <a:accent5>
          <a:srgbClr val="AADBF7"/>
        </a:accent5>
        <a:accent6>
          <a:srgbClr val="E79A0E"/>
        </a:accent6>
        <a:hlink>
          <a:srgbClr val="FF0000"/>
        </a:hlink>
        <a:folHlink>
          <a:srgbClr val="890C58"/>
        </a:folHlink>
      </a:clrScheme>
      <a:clrMap bg1="lt1" tx1="dk1" bg2="lt2" tx2="dk2" accent1="accent1" accent2="accent2" accent3="accent3" accent4="accent4" accent5="accent5" accent6="accent6" hlink="hlink" folHlink="folHlink"/>
    </a:extraClrScheme>
  </a:extraClrSchemeLst>
</a:theme>
</file>

<file path=ppt/theme/theme8.xml><?xml version="1.0" encoding="utf-8"?>
<a:theme xmlns:a="http://schemas.openxmlformats.org/drawingml/2006/main" name="10_CitiBanamex_corporate_template_091212">
  <a:themeElements>
    <a:clrScheme name="Citi_corporate_template20120814 4">
      <a:dk1>
        <a:srgbClr val="53565A"/>
      </a:dk1>
      <a:lt1>
        <a:srgbClr val="FFFFFF"/>
      </a:lt1>
      <a:dk2>
        <a:srgbClr val="002D72"/>
      </a:dk2>
      <a:lt2>
        <a:srgbClr val="97999B"/>
      </a:lt2>
      <a:accent1>
        <a:srgbClr val="00BDF2"/>
      </a:accent1>
      <a:accent2>
        <a:srgbClr val="FFAA11"/>
      </a:accent2>
      <a:accent3>
        <a:srgbClr val="FFFFFF"/>
      </a:accent3>
      <a:accent4>
        <a:srgbClr val="46484C"/>
      </a:accent4>
      <a:accent5>
        <a:srgbClr val="AADBF7"/>
      </a:accent5>
      <a:accent6>
        <a:srgbClr val="E79A0E"/>
      </a:accent6>
      <a:hlink>
        <a:srgbClr val="FF0000"/>
      </a:hlink>
      <a:folHlink>
        <a:srgbClr val="890C58"/>
      </a:folHlink>
    </a:clrScheme>
    <a:fontScheme name="cfin_v06">
      <a:majorFont>
        <a:latin typeface="Arial"/>
        <a:ea typeface="Geneva"/>
        <a:cs typeface=""/>
      </a:majorFont>
      <a:minorFont>
        <a:latin typeface="Arial"/>
        <a:ea typeface="Geneva"/>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tx2"/>
        </a:solidFill>
        <a:ln w="12700"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2400" b="0" i="0" u="none" strike="noStrike" cap="none" normalizeH="0" baseline="0">
            <a:ln>
              <a:noFill/>
            </a:ln>
            <a:solidFill>
              <a:srgbClr val="000000"/>
            </a:solidFill>
            <a:effectLst/>
            <a:latin typeface="Arial" charset="0"/>
            <a:ea typeface="Geneva" charset="0"/>
          </a:defRPr>
        </a:defPPr>
      </a:lstStyle>
    </a:spDef>
    <a:lnDef>
      <a:spPr bwMode="auto">
        <a:xfrm>
          <a:off x="0" y="0"/>
          <a:ext cx="1" cy="1"/>
        </a:xfrm>
        <a:custGeom>
          <a:avLst/>
          <a:gdLst/>
          <a:ahLst/>
          <a:cxnLst/>
          <a:rect l="0" t="0" r="0" b="0"/>
          <a:pathLst/>
        </a:custGeom>
        <a:solidFill>
          <a:schemeClr val="tx2"/>
        </a:solidFill>
        <a:ln w="12700"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2400" b="0" i="0" u="none" strike="noStrike" cap="none" normalizeH="0" baseline="0">
            <a:ln>
              <a:noFill/>
            </a:ln>
            <a:solidFill>
              <a:srgbClr val="000000"/>
            </a:solidFill>
            <a:effectLst/>
            <a:latin typeface="Arial" charset="0"/>
            <a:ea typeface="Geneva" charset="0"/>
          </a:defRPr>
        </a:defPPr>
      </a:lstStyle>
    </a:lnDef>
    <a:txDef>
      <a:spPr bwMode="black">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accent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a:spPr>
      <a:bodyPr lIns="0"/>
      <a:lstStyle>
        <a:defPPr algn="l" eaLnBrk="1" hangingPunct="1">
          <a:lnSpc>
            <a:spcPct val="95000"/>
          </a:lnSpc>
          <a:spcBef>
            <a:spcPct val="75000"/>
          </a:spcBef>
          <a:spcAft>
            <a:spcPct val="20000"/>
          </a:spcAft>
          <a:defRPr sz="3600" dirty="0">
            <a:solidFill>
              <a:schemeClr val="bg1"/>
            </a:solidFill>
            <a:ea typeface="Arial" charset="0"/>
            <a:cs typeface="Geneva" charset="0"/>
          </a:defRPr>
        </a:defPPr>
      </a:lstStyle>
    </a:txDef>
  </a:objectDefaults>
  <a:extraClrSchemeLst>
    <a:extraClrScheme>
      <a:clrScheme name="cfin_v06 1">
        <a:dk1>
          <a:srgbClr val="000000"/>
        </a:dk1>
        <a:lt1>
          <a:srgbClr val="FFFFFF"/>
        </a:lt1>
        <a:dk2>
          <a:srgbClr val="000000"/>
        </a:dk2>
        <a:lt2>
          <a:srgbClr val="838589"/>
        </a:lt2>
        <a:accent1>
          <a:srgbClr val="4B4B4B"/>
        </a:accent1>
        <a:accent2>
          <a:srgbClr val="3973AD"/>
        </a:accent2>
        <a:accent3>
          <a:srgbClr val="FFFFFF"/>
        </a:accent3>
        <a:accent4>
          <a:srgbClr val="000000"/>
        </a:accent4>
        <a:accent5>
          <a:srgbClr val="B1B1B1"/>
        </a:accent5>
        <a:accent6>
          <a:srgbClr val="33689C"/>
        </a:accent6>
        <a:hlink>
          <a:srgbClr val="C0C0C0"/>
        </a:hlink>
        <a:folHlink>
          <a:srgbClr val="008080"/>
        </a:folHlink>
      </a:clrScheme>
      <a:clrMap bg1="lt1" tx1="dk1" bg2="lt2" tx2="dk2" accent1="accent1" accent2="accent2" accent3="accent3" accent4="accent4" accent5="accent5" accent6="accent6" hlink="hlink" folHlink="folHlink"/>
    </a:extraClrScheme>
    <a:extraClrScheme>
      <a:clrScheme name="cfin_v06 2">
        <a:dk1>
          <a:srgbClr val="000000"/>
        </a:dk1>
        <a:lt1>
          <a:srgbClr val="FFFFFF"/>
        </a:lt1>
        <a:dk2>
          <a:srgbClr val="004785"/>
        </a:dk2>
        <a:lt2>
          <a:srgbClr val="838589"/>
        </a:lt2>
        <a:accent1>
          <a:srgbClr val="4B4B4B"/>
        </a:accent1>
        <a:accent2>
          <a:srgbClr val="FFA202"/>
        </a:accent2>
        <a:accent3>
          <a:srgbClr val="FFFFFF"/>
        </a:accent3>
        <a:accent4>
          <a:srgbClr val="000000"/>
        </a:accent4>
        <a:accent5>
          <a:srgbClr val="B1B1B1"/>
        </a:accent5>
        <a:accent6>
          <a:srgbClr val="E79202"/>
        </a:accent6>
        <a:hlink>
          <a:srgbClr val="D7D7D7"/>
        </a:hlink>
        <a:folHlink>
          <a:srgbClr val="008080"/>
        </a:folHlink>
      </a:clrScheme>
      <a:clrMap bg1="lt1" tx1="dk1" bg2="lt2" tx2="dk2" accent1="accent1" accent2="accent2" accent3="accent3" accent4="accent4" accent5="accent5" accent6="accent6" hlink="hlink" folHlink="folHlink"/>
    </a:extraClrScheme>
    <a:extraClrScheme>
      <a:clrScheme name="citi_corporate_white 1">
        <a:dk1>
          <a:srgbClr val="717073"/>
        </a:dk1>
        <a:lt1>
          <a:srgbClr val="FFFFFF"/>
        </a:lt1>
        <a:dk2>
          <a:srgbClr val="002D72"/>
        </a:dk2>
        <a:lt2>
          <a:srgbClr val="D7D7D7"/>
        </a:lt2>
        <a:accent1>
          <a:srgbClr val="00BDF2"/>
        </a:accent1>
        <a:accent2>
          <a:srgbClr val="FFA202"/>
        </a:accent2>
        <a:accent3>
          <a:srgbClr val="FFFFFF"/>
        </a:accent3>
        <a:accent4>
          <a:srgbClr val="5F5F61"/>
        </a:accent4>
        <a:accent5>
          <a:srgbClr val="AADBF7"/>
        </a:accent5>
        <a:accent6>
          <a:srgbClr val="E79202"/>
        </a:accent6>
        <a:hlink>
          <a:srgbClr val="FF0000"/>
        </a:hlink>
        <a:folHlink>
          <a:srgbClr val="890C58"/>
        </a:folHlink>
      </a:clrScheme>
      <a:clrMap bg1="lt1" tx1="dk1" bg2="lt2" tx2="dk2" accent1="accent1" accent2="accent2" accent3="accent3" accent4="accent4" accent5="accent5" accent6="accent6" hlink="hlink" folHlink="folHlink"/>
    </a:extraClrScheme>
    <a:extraClrScheme>
      <a:clrScheme name="Citi_corporate_template20120814 1">
        <a:dk1>
          <a:srgbClr val="000000"/>
        </a:dk1>
        <a:lt1>
          <a:srgbClr val="FFFFFF"/>
        </a:lt1>
        <a:dk2>
          <a:srgbClr val="000000"/>
        </a:dk2>
        <a:lt2>
          <a:srgbClr val="838589"/>
        </a:lt2>
        <a:accent1>
          <a:srgbClr val="4B4B4B"/>
        </a:accent1>
        <a:accent2>
          <a:srgbClr val="3973AD"/>
        </a:accent2>
        <a:accent3>
          <a:srgbClr val="FFFFFF"/>
        </a:accent3>
        <a:accent4>
          <a:srgbClr val="000000"/>
        </a:accent4>
        <a:accent5>
          <a:srgbClr val="B1B1B1"/>
        </a:accent5>
        <a:accent6>
          <a:srgbClr val="33689C"/>
        </a:accent6>
        <a:hlink>
          <a:srgbClr val="C0C0C0"/>
        </a:hlink>
        <a:folHlink>
          <a:srgbClr val="008080"/>
        </a:folHlink>
      </a:clrScheme>
      <a:clrMap bg1="lt1" tx1="dk1" bg2="lt2" tx2="dk2" accent1="accent1" accent2="accent2" accent3="accent3" accent4="accent4" accent5="accent5" accent6="accent6" hlink="hlink" folHlink="folHlink"/>
    </a:extraClrScheme>
    <a:extraClrScheme>
      <a:clrScheme name="Citi_corporate_template20120814 2">
        <a:dk1>
          <a:srgbClr val="000000"/>
        </a:dk1>
        <a:lt1>
          <a:srgbClr val="FFFFFF"/>
        </a:lt1>
        <a:dk2>
          <a:srgbClr val="004785"/>
        </a:dk2>
        <a:lt2>
          <a:srgbClr val="838589"/>
        </a:lt2>
        <a:accent1>
          <a:srgbClr val="4B4B4B"/>
        </a:accent1>
        <a:accent2>
          <a:srgbClr val="FFA202"/>
        </a:accent2>
        <a:accent3>
          <a:srgbClr val="FFFFFF"/>
        </a:accent3>
        <a:accent4>
          <a:srgbClr val="000000"/>
        </a:accent4>
        <a:accent5>
          <a:srgbClr val="B1B1B1"/>
        </a:accent5>
        <a:accent6>
          <a:srgbClr val="E79202"/>
        </a:accent6>
        <a:hlink>
          <a:srgbClr val="D7D7D7"/>
        </a:hlink>
        <a:folHlink>
          <a:srgbClr val="008080"/>
        </a:folHlink>
      </a:clrScheme>
      <a:clrMap bg1="lt1" tx1="dk1" bg2="lt2" tx2="dk2" accent1="accent1" accent2="accent2" accent3="accent3" accent4="accent4" accent5="accent5" accent6="accent6" hlink="hlink" folHlink="folHlink"/>
    </a:extraClrScheme>
    <a:extraClrScheme>
      <a:clrScheme name="Citi_corporate_template20120814 3">
        <a:dk1>
          <a:srgbClr val="717073"/>
        </a:dk1>
        <a:lt1>
          <a:srgbClr val="FFFFFF"/>
        </a:lt1>
        <a:dk2>
          <a:srgbClr val="002D72"/>
        </a:dk2>
        <a:lt2>
          <a:srgbClr val="D7D7D7"/>
        </a:lt2>
        <a:accent1>
          <a:srgbClr val="00BDF2"/>
        </a:accent1>
        <a:accent2>
          <a:srgbClr val="FFA202"/>
        </a:accent2>
        <a:accent3>
          <a:srgbClr val="FFFFFF"/>
        </a:accent3>
        <a:accent4>
          <a:srgbClr val="5F5F61"/>
        </a:accent4>
        <a:accent5>
          <a:srgbClr val="AADBF7"/>
        </a:accent5>
        <a:accent6>
          <a:srgbClr val="E79202"/>
        </a:accent6>
        <a:hlink>
          <a:srgbClr val="FF0000"/>
        </a:hlink>
        <a:folHlink>
          <a:srgbClr val="890C58"/>
        </a:folHlink>
      </a:clrScheme>
      <a:clrMap bg1="lt1" tx1="dk1" bg2="lt2" tx2="dk2" accent1="accent1" accent2="accent2" accent3="accent3" accent4="accent4" accent5="accent5" accent6="accent6" hlink="hlink" folHlink="folHlink"/>
    </a:extraClrScheme>
    <a:extraClrScheme>
      <a:clrScheme name="Citi_corporate_template20120814 4">
        <a:dk1>
          <a:srgbClr val="53565A"/>
        </a:dk1>
        <a:lt1>
          <a:srgbClr val="FFFFFF"/>
        </a:lt1>
        <a:dk2>
          <a:srgbClr val="002D72"/>
        </a:dk2>
        <a:lt2>
          <a:srgbClr val="97999B"/>
        </a:lt2>
        <a:accent1>
          <a:srgbClr val="00BDF2"/>
        </a:accent1>
        <a:accent2>
          <a:srgbClr val="FFAA11"/>
        </a:accent2>
        <a:accent3>
          <a:srgbClr val="FFFFFF"/>
        </a:accent3>
        <a:accent4>
          <a:srgbClr val="46484C"/>
        </a:accent4>
        <a:accent5>
          <a:srgbClr val="AADBF7"/>
        </a:accent5>
        <a:accent6>
          <a:srgbClr val="E79A0E"/>
        </a:accent6>
        <a:hlink>
          <a:srgbClr val="FF0000"/>
        </a:hlink>
        <a:folHlink>
          <a:srgbClr val="890C58"/>
        </a:folHlink>
      </a:clrScheme>
      <a:clrMap bg1="lt1" tx1="dk1" bg2="lt2" tx2="dk2" accent1="accent1" accent2="accent2" accent3="accent3" accent4="accent4" accent5="accent5" accent6="accent6" hlink="hlink" folHlink="folHlink"/>
    </a:extraClrScheme>
  </a:extraClrSchemeLst>
</a:theme>
</file>

<file path=ppt/theme/theme9.xml><?xml version="1.0" encoding="utf-8"?>
<a:theme xmlns:a="http://schemas.openxmlformats.org/drawingml/2006/main" name="11_CitiBanamex_corporate_template_091212">
  <a:themeElements>
    <a:clrScheme name="Citi_corporate_template20120814 4">
      <a:dk1>
        <a:srgbClr val="53565A"/>
      </a:dk1>
      <a:lt1>
        <a:srgbClr val="FFFFFF"/>
      </a:lt1>
      <a:dk2>
        <a:srgbClr val="002D72"/>
      </a:dk2>
      <a:lt2>
        <a:srgbClr val="97999B"/>
      </a:lt2>
      <a:accent1>
        <a:srgbClr val="00BDF2"/>
      </a:accent1>
      <a:accent2>
        <a:srgbClr val="FFAA11"/>
      </a:accent2>
      <a:accent3>
        <a:srgbClr val="FFFFFF"/>
      </a:accent3>
      <a:accent4>
        <a:srgbClr val="46484C"/>
      </a:accent4>
      <a:accent5>
        <a:srgbClr val="AADBF7"/>
      </a:accent5>
      <a:accent6>
        <a:srgbClr val="E79A0E"/>
      </a:accent6>
      <a:hlink>
        <a:srgbClr val="FF0000"/>
      </a:hlink>
      <a:folHlink>
        <a:srgbClr val="890C58"/>
      </a:folHlink>
    </a:clrScheme>
    <a:fontScheme name="cfin_v06">
      <a:majorFont>
        <a:latin typeface="Arial"/>
        <a:ea typeface="Geneva"/>
        <a:cs typeface=""/>
      </a:majorFont>
      <a:minorFont>
        <a:latin typeface="Arial"/>
        <a:ea typeface="Geneva"/>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tx2"/>
        </a:solidFill>
        <a:ln w="12700"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2400" b="0" i="0" u="none" strike="noStrike" cap="none" normalizeH="0" baseline="0">
            <a:ln>
              <a:noFill/>
            </a:ln>
            <a:solidFill>
              <a:srgbClr val="000000"/>
            </a:solidFill>
            <a:effectLst/>
            <a:latin typeface="Arial" charset="0"/>
            <a:ea typeface="Geneva" charset="0"/>
          </a:defRPr>
        </a:defPPr>
      </a:lstStyle>
    </a:spDef>
    <a:lnDef>
      <a:spPr bwMode="auto">
        <a:xfrm>
          <a:off x="0" y="0"/>
          <a:ext cx="1" cy="1"/>
        </a:xfrm>
        <a:custGeom>
          <a:avLst/>
          <a:gdLst/>
          <a:ahLst/>
          <a:cxnLst/>
          <a:rect l="0" t="0" r="0" b="0"/>
          <a:pathLst/>
        </a:custGeom>
        <a:solidFill>
          <a:schemeClr val="tx2"/>
        </a:solidFill>
        <a:ln w="12700"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2400" b="0" i="0" u="none" strike="noStrike" cap="none" normalizeH="0" baseline="0">
            <a:ln>
              <a:noFill/>
            </a:ln>
            <a:solidFill>
              <a:srgbClr val="000000"/>
            </a:solidFill>
            <a:effectLst/>
            <a:latin typeface="Arial" charset="0"/>
            <a:ea typeface="Geneva" charset="0"/>
          </a:defRPr>
        </a:defPPr>
      </a:lstStyle>
    </a:lnDef>
    <a:txDef>
      <a:spPr bwMode="black">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accent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a:spPr>
      <a:bodyPr lIns="0"/>
      <a:lstStyle>
        <a:defPPr algn="l" eaLnBrk="1" hangingPunct="1">
          <a:lnSpc>
            <a:spcPct val="95000"/>
          </a:lnSpc>
          <a:spcBef>
            <a:spcPct val="75000"/>
          </a:spcBef>
          <a:spcAft>
            <a:spcPct val="20000"/>
          </a:spcAft>
          <a:defRPr sz="3600" dirty="0">
            <a:solidFill>
              <a:schemeClr val="bg1"/>
            </a:solidFill>
            <a:ea typeface="Arial" charset="0"/>
            <a:cs typeface="Geneva" charset="0"/>
          </a:defRPr>
        </a:defPPr>
      </a:lstStyle>
    </a:txDef>
  </a:objectDefaults>
  <a:extraClrSchemeLst>
    <a:extraClrScheme>
      <a:clrScheme name="cfin_v06 1">
        <a:dk1>
          <a:srgbClr val="000000"/>
        </a:dk1>
        <a:lt1>
          <a:srgbClr val="FFFFFF"/>
        </a:lt1>
        <a:dk2>
          <a:srgbClr val="000000"/>
        </a:dk2>
        <a:lt2>
          <a:srgbClr val="838589"/>
        </a:lt2>
        <a:accent1>
          <a:srgbClr val="4B4B4B"/>
        </a:accent1>
        <a:accent2>
          <a:srgbClr val="3973AD"/>
        </a:accent2>
        <a:accent3>
          <a:srgbClr val="FFFFFF"/>
        </a:accent3>
        <a:accent4>
          <a:srgbClr val="000000"/>
        </a:accent4>
        <a:accent5>
          <a:srgbClr val="B1B1B1"/>
        </a:accent5>
        <a:accent6>
          <a:srgbClr val="33689C"/>
        </a:accent6>
        <a:hlink>
          <a:srgbClr val="C0C0C0"/>
        </a:hlink>
        <a:folHlink>
          <a:srgbClr val="008080"/>
        </a:folHlink>
      </a:clrScheme>
      <a:clrMap bg1="lt1" tx1="dk1" bg2="lt2" tx2="dk2" accent1="accent1" accent2="accent2" accent3="accent3" accent4="accent4" accent5="accent5" accent6="accent6" hlink="hlink" folHlink="folHlink"/>
    </a:extraClrScheme>
    <a:extraClrScheme>
      <a:clrScheme name="cfin_v06 2">
        <a:dk1>
          <a:srgbClr val="000000"/>
        </a:dk1>
        <a:lt1>
          <a:srgbClr val="FFFFFF"/>
        </a:lt1>
        <a:dk2>
          <a:srgbClr val="004785"/>
        </a:dk2>
        <a:lt2>
          <a:srgbClr val="838589"/>
        </a:lt2>
        <a:accent1>
          <a:srgbClr val="4B4B4B"/>
        </a:accent1>
        <a:accent2>
          <a:srgbClr val="FFA202"/>
        </a:accent2>
        <a:accent3>
          <a:srgbClr val="FFFFFF"/>
        </a:accent3>
        <a:accent4>
          <a:srgbClr val="000000"/>
        </a:accent4>
        <a:accent5>
          <a:srgbClr val="B1B1B1"/>
        </a:accent5>
        <a:accent6>
          <a:srgbClr val="E79202"/>
        </a:accent6>
        <a:hlink>
          <a:srgbClr val="D7D7D7"/>
        </a:hlink>
        <a:folHlink>
          <a:srgbClr val="008080"/>
        </a:folHlink>
      </a:clrScheme>
      <a:clrMap bg1="lt1" tx1="dk1" bg2="lt2" tx2="dk2" accent1="accent1" accent2="accent2" accent3="accent3" accent4="accent4" accent5="accent5" accent6="accent6" hlink="hlink" folHlink="folHlink"/>
    </a:extraClrScheme>
    <a:extraClrScheme>
      <a:clrScheme name="citi_corporate_white 1">
        <a:dk1>
          <a:srgbClr val="717073"/>
        </a:dk1>
        <a:lt1>
          <a:srgbClr val="FFFFFF"/>
        </a:lt1>
        <a:dk2>
          <a:srgbClr val="002D72"/>
        </a:dk2>
        <a:lt2>
          <a:srgbClr val="D7D7D7"/>
        </a:lt2>
        <a:accent1>
          <a:srgbClr val="00BDF2"/>
        </a:accent1>
        <a:accent2>
          <a:srgbClr val="FFA202"/>
        </a:accent2>
        <a:accent3>
          <a:srgbClr val="FFFFFF"/>
        </a:accent3>
        <a:accent4>
          <a:srgbClr val="5F5F61"/>
        </a:accent4>
        <a:accent5>
          <a:srgbClr val="AADBF7"/>
        </a:accent5>
        <a:accent6>
          <a:srgbClr val="E79202"/>
        </a:accent6>
        <a:hlink>
          <a:srgbClr val="FF0000"/>
        </a:hlink>
        <a:folHlink>
          <a:srgbClr val="890C58"/>
        </a:folHlink>
      </a:clrScheme>
      <a:clrMap bg1="lt1" tx1="dk1" bg2="lt2" tx2="dk2" accent1="accent1" accent2="accent2" accent3="accent3" accent4="accent4" accent5="accent5" accent6="accent6" hlink="hlink" folHlink="folHlink"/>
    </a:extraClrScheme>
    <a:extraClrScheme>
      <a:clrScheme name="Citi_corporate_template20120814 1">
        <a:dk1>
          <a:srgbClr val="000000"/>
        </a:dk1>
        <a:lt1>
          <a:srgbClr val="FFFFFF"/>
        </a:lt1>
        <a:dk2>
          <a:srgbClr val="000000"/>
        </a:dk2>
        <a:lt2>
          <a:srgbClr val="838589"/>
        </a:lt2>
        <a:accent1>
          <a:srgbClr val="4B4B4B"/>
        </a:accent1>
        <a:accent2>
          <a:srgbClr val="3973AD"/>
        </a:accent2>
        <a:accent3>
          <a:srgbClr val="FFFFFF"/>
        </a:accent3>
        <a:accent4>
          <a:srgbClr val="000000"/>
        </a:accent4>
        <a:accent5>
          <a:srgbClr val="B1B1B1"/>
        </a:accent5>
        <a:accent6>
          <a:srgbClr val="33689C"/>
        </a:accent6>
        <a:hlink>
          <a:srgbClr val="C0C0C0"/>
        </a:hlink>
        <a:folHlink>
          <a:srgbClr val="008080"/>
        </a:folHlink>
      </a:clrScheme>
      <a:clrMap bg1="lt1" tx1="dk1" bg2="lt2" tx2="dk2" accent1="accent1" accent2="accent2" accent3="accent3" accent4="accent4" accent5="accent5" accent6="accent6" hlink="hlink" folHlink="folHlink"/>
    </a:extraClrScheme>
    <a:extraClrScheme>
      <a:clrScheme name="Citi_corporate_template20120814 2">
        <a:dk1>
          <a:srgbClr val="000000"/>
        </a:dk1>
        <a:lt1>
          <a:srgbClr val="FFFFFF"/>
        </a:lt1>
        <a:dk2>
          <a:srgbClr val="004785"/>
        </a:dk2>
        <a:lt2>
          <a:srgbClr val="838589"/>
        </a:lt2>
        <a:accent1>
          <a:srgbClr val="4B4B4B"/>
        </a:accent1>
        <a:accent2>
          <a:srgbClr val="FFA202"/>
        </a:accent2>
        <a:accent3>
          <a:srgbClr val="FFFFFF"/>
        </a:accent3>
        <a:accent4>
          <a:srgbClr val="000000"/>
        </a:accent4>
        <a:accent5>
          <a:srgbClr val="B1B1B1"/>
        </a:accent5>
        <a:accent6>
          <a:srgbClr val="E79202"/>
        </a:accent6>
        <a:hlink>
          <a:srgbClr val="D7D7D7"/>
        </a:hlink>
        <a:folHlink>
          <a:srgbClr val="008080"/>
        </a:folHlink>
      </a:clrScheme>
      <a:clrMap bg1="lt1" tx1="dk1" bg2="lt2" tx2="dk2" accent1="accent1" accent2="accent2" accent3="accent3" accent4="accent4" accent5="accent5" accent6="accent6" hlink="hlink" folHlink="folHlink"/>
    </a:extraClrScheme>
    <a:extraClrScheme>
      <a:clrScheme name="Citi_corporate_template20120814 3">
        <a:dk1>
          <a:srgbClr val="717073"/>
        </a:dk1>
        <a:lt1>
          <a:srgbClr val="FFFFFF"/>
        </a:lt1>
        <a:dk2>
          <a:srgbClr val="002D72"/>
        </a:dk2>
        <a:lt2>
          <a:srgbClr val="D7D7D7"/>
        </a:lt2>
        <a:accent1>
          <a:srgbClr val="00BDF2"/>
        </a:accent1>
        <a:accent2>
          <a:srgbClr val="FFA202"/>
        </a:accent2>
        <a:accent3>
          <a:srgbClr val="FFFFFF"/>
        </a:accent3>
        <a:accent4>
          <a:srgbClr val="5F5F61"/>
        </a:accent4>
        <a:accent5>
          <a:srgbClr val="AADBF7"/>
        </a:accent5>
        <a:accent6>
          <a:srgbClr val="E79202"/>
        </a:accent6>
        <a:hlink>
          <a:srgbClr val="FF0000"/>
        </a:hlink>
        <a:folHlink>
          <a:srgbClr val="890C58"/>
        </a:folHlink>
      </a:clrScheme>
      <a:clrMap bg1="lt1" tx1="dk1" bg2="lt2" tx2="dk2" accent1="accent1" accent2="accent2" accent3="accent3" accent4="accent4" accent5="accent5" accent6="accent6" hlink="hlink" folHlink="folHlink"/>
    </a:extraClrScheme>
    <a:extraClrScheme>
      <a:clrScheme name="Citi_corporate_template20120814 4">
        <a:dk1>
          <a:srgbClr val="53565A"/>
        </a:dk1>
        <a:lt1>
          <a:srgbClr val="FFFFFF"/>
        </a:lt1>
        <a:dk2>
          <a:srgbClr val="002D72"/>
        </a:dk2>
        <a:lt2>
          <a:srgbClr val="97999B"/>
        </a:lt2>
        <a:accent1>
          <a:srgbClr val="00BDF2"/>
        </a:accent1>
        <a:accent2>
          <a:srgbClr val="FFAA11"/>
        </a:accent2>
        <a:accent3>
          <a:srgbClr val="FFFFFF"/>
        </a:accent3>
        <a:accent4>
          <a:srgbClr val="46484C"/>
        </a:accent4>
        <a:accent5>
          <a:srgbClr val="AADBF7"/>
        </a:accent5>
        <a:accent6>
          <a:srgbClr val="E79A0E"/>
        </a:accent6>
        <a:hlink>
          <a:srgbClr val="FF0000"/>
        </a:hlink>
        <a:folHlink>
          <a:srgbClr val="890C58"/>
        </a:folHlink>
      </a:clrScheme>
      <a:clrMap bg1="lt1" tx1="dk1" bg2="lt2" tx2="dk2" accent1="accent1" accent2="accent2" accent3="accent3" accent4="accent4" accent5="accent5" accent6="accent6" hlink="hlink" folHlink="folHlink"/>
    </a:extraClrScheme>
  </a:extraClrSchemeLst>
</a:theme>
</file>

<file path=ppt/theme/themeOverride1.xml><?xml version="1.0" encoding="utf-8"?>
<a:themeOverride xmlns:a="http://schemas.openxmlformats.org/drawingml/2006/main">
  <a:clrScheme name="Custom 14">
    <a:dk1>
      <a:srgbClr val="53565A"/>
    </a:dk1>
    <a:lt1>
      <a:srgbClr val="FFFFFF"/>
    </a:lt1>
    <a:dk2>
      <a:srgbClr val="002D72"/>
    </a:dk2>
    <a:lt2>
      <a:srgbClr val="97999B"/>
    </a:lt2>
    <a:accent1>
      <a:srgbClr val="00BDF2"/>
    </a:accent1>
    <a:accent2>
      <a:srgbClr val="FFA202"/>
    </a:accent2>
    <a:accent3>
      <a:srgbClr val="FFFFFF"/>
    </a:accent3>
    <a:accent4>
      <a:srgbClr val="5F5F61"/>
    </a:accent4>
    <a:accent5>
      <a:srgbClr val="AADBF7"/>
    </a:accent5>
    <a:accent6>
      <a:srgbClr val="E79202"/>
    </a:accent6>
    <a:hlink>
      <a:srgbClr val="FF0000"/>
    </a:hlink>
    <a:folHlink>
      <a:srgbClr val="890C58"/>
    </a:folHlink>
  </a:clrScheme>
</a:themeOverride>
</file>

<file path=ppt/theme/themeOverride10.xml><?xml version="1.0" encoding="utf-8"?>
<a:themeOverride xmlns:a="http://schemas.openxmlformats.org/drawingml/2006/main">
  <a:clrScheme name="Custom 12">
    <a:dk1>
      <a:srgbClr val="53565A"/>
    </a:dk1>
    <a:lt1>
      <a:srgbClr val="FFFFFF"/>
    </a:lt1>
    <a:dk2>
      <a:srgbClr val="002D72"/>
    </a:dk2>
    <a:lt2>
      <a:srgbClr val="97999B"/>
    </a:lt2>
    <a:accent1>
      <a:srgbClr val="00BDF2"/>
    </a:accent1>
    <a:accent2>
      <a:srgbClr val="FFA202"/>
    </a:accent2>
    <a:accent3>
      <a:srgbClr val="FFFFFF"/>
    </a:accent3>
    <a:accent4>
      <a:srgbClr val="5F5F61"/>
    </a:accent4>
    <a:accent5>
      <a:srgbClr val="AADBF7"/>
    </a:accent5>
    <a:accent6>
      <a:srgbClr val="E79202"/>
    </a:accent6>
    <a:hlink>
      <a:srgbClr val="FF0000"/>
    </a:hlink>
    <a:folHlink>
      <a:srgbClr val="890C58"/>
    </a:folHlink>
  </a:clrScheme>
</a:themeOverride>
</file>

<file path=ppt/theme/themeOverride11.xml><?xml version="1.0" encoding="utf-8"?>
<a:themeOverride xmlns:a="http://schemas.openxmlformats.org/drawingml/2006/main">
  <a:clrScheme name="Custom 12">
    <a:dk1>
      <a:srgbClr val="53565A"/>
    </a:dk1>
    <a:lt1>
      <a:srgbClr val="FFFFFF"/>
    </a:lt1>
    <a:dk2>
      <a:srgbClr val="002D72"/>
    </a:dk2>
    <a:lt2>
      <a:srgbClr val="97999B"/>
    </a:lt2>
    <a:accent1>
      <a:srgbClr val="00BDF2"/>
    </a:accent1>
    <a:accent2>
      <a:srgbClr val="FFA202"/>
    </a:accent2>
    <a:accent3>
      <a:srgbClr val="FFFFFF"/>
    </a:accent3>
    <a:accent4>
      <a:srgbClr val="5F5F61"/>
    </a:accent4>
    <a:accent5>
      <a:srgbClr val="AADBF7"/>
    </a:accent5>
    <a:accent6>
      <a:srgbClr val="E79202"/>
    </a:accent6>
    <a:hlink>
      <a:srgbClr val="FF0000"/>
    </a:hlink>
    <a:folHlink>
      <a:srgbClr val="890C58"/>
    </a:folHlink>
  </a:clrScheme>
</a:themeOverride>
</file>

<file path=ppt/theme/themeOverride2.xml><?xml version="1.0" encoding="utf-8"?>
<a:themeOverride xmlns:a="http://schemas.openxmlformats.org/drawingml/2006/main">
  <a:clrScheme name="Custom 12">
    <a:dk1>
      <a:srgbClr val="53565A"/>
    </a:dk1>
    <a:lt1>
      <a:srgbClr val="FFFFFF"/>
    </a:lt1>
    <a:dk2>
      <a:srgbClr val="002D72"/>
    </a:dk2>
    <a:lt2>
      <a:srgbClr val="97999B"/>
    </a:lt2>
    <a:accent1>
      <a:srgbClr val="00BDF2"/>
    </a:accent1>
    <a:accent2>
      <a:srgbClr val="FFA202"/>
    </a:accent2>
    <a:accent3>
      <a:srgbClr val="FFFFFF"/>
    </a:accent3>
    <a:accent4>
      <a:srgbClr val="5F5F61"/>
    </a:accent4>
    <a:accent5>
      <a:srgbClr val="AADBF7"/>
    </a:accent5>
    <a:accent6>
      <a:srgbClr val="E79202"/>
    </a:accent6>
    <a:hlink>
      <a:srgbClr val="FF0000"/>
    </a:hlink>
    <a:folHlink>
      <a:srgbClr val="890C58"/>
    </a:folHlink>
  </a:clrScheme>
</a:themeOverride>
</file>

<file path=ppt/theme/themeOverride3.xml><?xml version="1.0" encoding="utf-8"?>
<a:themeOverride xmlns:a="http://schemas.openxmlformats.org/drawingml/2006/main">
  <a:clrScheme name="Custom 12">
    <a:dk1>
      <a:srgbClr val="53565A"/>
    </a:dk1>
    <a:lt1>
      <a:srgbClr val="FFFFFF"/>
    </a:lt1>
    <a:dk2>
      <a:srgbClr val="002D72"/>
    </a:dk2>
    <a:lt2>
      <a:srgbClr val="97999B"/>
    </a:lt2>
    <a:accent1>
      <a:srgbClr val="00BDF2"/>
    </a:accent1>
    <a:accent2>
      <a:srgbClr val="FFA202"/>
    </a:accent2>
    <a:accent3>
      <a:srgbClr val="FFFFFF"/>
    </a:accent3>
    <a:accent4>
      <a:srgbClr val="5F5F61"/>
    </a:accent4>
    <a:accent5>
      <a:srgbClr val="AADBF7"/>
    </a:accent5>
    <a:accent6>
      <a:srgbClr val="E79202"/>
    </a:accent6>
    <a:hlink>
      <a:srgbClr val="FF0000"/>
    </a:hlink>
    <a:folHlink>
      <a:srgbClr val="890C58"/>
    </a:folHlink>
  </a:clrScheme>
</a:themeOverride>
</file>

<file path=ppt/theme/themeOverride4.xml><?xml version="1.0" encoding="utf-8"?>
<a:themeOverride xmlns:a="http://schemas.openxmlformats.org/drawingml/2006/main">
  <a:clrScheme name="Custom 14">
    <a:dk1>
      <a:srgbClr val="53565A"/>
    </a:dk1>
    <a:lt1>
      <a:srgbClr val="FFFFFF"/>
    </a:lt1>
    <a:dk2>
      <a:srgbClr val="002D72"/>
    </a:dk2>
    <a:lt2>
      <a:srgbClr val="97999B"/>
    </a:lt2>
    <a:accent1>
      <a:srgbClr val="00BDF2"/>
    </a:accent1>
    <a:accent2>
      <a:srgbClr val="FFA202"/>
    </a:accent2>
    <a:accent3>
      <a:srgbClr val="FFFFFF"/>
    </a:accent3>
    <a:accent4>
      <a:srgbClr val="5F5F61"/>
    </a:accent4>
    <a:accent5>
      <a:srgbClr val="AADBF7"/>
    </a:accent5>
    <a:accent6>
      <a:srgbClr val="E79202"/>
    </a:accent6>
    <a:hlink>
      <a:srgbClr val="FF0000"/>
    </a:hlink>
    <a:folHlink>
      <a:srgbClr val="890C58"/>
    </a:folHlink>
  </a:clrScheme>
</a:themeOverride>
</file>

<file path=ppt/theme/themeOverride5.xml><?xml version="1.0" encoding="utf-8"?>
<a:themeOverride xmlns:a="http://schemas.openxmlformats.org/drawingml/2006/main">
  <a:clrScheme name="Custom 14">
    <a:dk1>
      <a:srgbClr val="53565A"/>
    </a:dk1>
    <a:lt1>
      <a:srgbClr val="FFFFFF"/>
    </a:lt1>
    <a:dk2>
      <a:srgbClr val="002D72"/>
    </a:dk2>
    <a:lt2>
      <a:srgbClr val="97999B"/>
    </a:lt2>
    <a:accent1>
      <a:srgbClr val="00BDF2"/>
    </a:accent1>
    <a:accent2>
      <a:srgbClr val="FFA202"/>
    </a:accent2>
    <a:accent3>
      <a:srgbClr val="FFFFFF"/>
    </a:accent3>
    <a:accent4>
      <a:srgbClr val="5F5F61"/>
    </a:accent4>
    <a:accent5>
      <a:srgbClr val="AADBF7"/>
    </a:accent5>
    <a:accent6>
      <a:srgbClr val="E79202"/>
    </a:accent6>
    <a:hlink>
      <a:srgbClr val="FF0000"/>
    </a:hlink>
    <a:folHlink>
      <a:srgbClr val="890C58"/>
    </a:folHlink>
  </a:clrScheme>
</a:themeOverride>
</file>

<file path=ppt/theme/themeOverride6.xml><?xml version="1.0" encoding="utf-8"?>
<a:themeOverride xmlns:a="http://schemas.openxmlformats.org/drawingml/2006/main">
  <a:clrScheme name="Custom 14">
    <a:dk1>
      <a:srgbClr val="53565A"/>
    </a:dk1>
    <a:lt1>
      <a:srgbClr val="FFFFFF"/>
    </a:lt1>
    <a:dk2>
      <a:srgbClr val="002D72"/>
    </a:dk2>
    <a:lt2>
      <a:srgbClr val="97999B"/>
    </a:lt2>
    <a:accent1>
      <a:srgbClr val="00BDF2"/>
    </a:accent1>
    <a:accent2>
      <a:srgbClr val="FFA202"/>
    </a:accent2>
    <a:accent3>
      <a:srgbClr val="FFFFFF"/>
    </a:accent3>
    <a:accent4>
      <a:srgbClr val="5F5F61"/>
    </a:accent4>
    <a:accent5>
      <a:srgbClr val="AADBF7"/>
    </a:accent5>
    <a:accent6>
      <a:srgbClr val="E79202"/>
    </a:accent6>
    <a:hlink>
      <a:srgbClr val="FF0000"/>
    </a:hlink>
    <a:folHlink>
      <a:srgbClr val="890C58"/>
    </a:folHlink>
  </a:clrScheme>
</a:themeOverride>
</file>

<file path=ppt/theme/themeOverride7.xml><?xml version="1.0" encoding="utf-8"?>
<a:themeOverride xmlns:a="http://schemas.openxmlformats.org/drawingml/2006/main">
  <a:clrScheme name="Custom 14">
    <a:dk1>
      <a:srgbClr val="53565A"/>
    </a:dk1>
    <a:lt1>
      <a:srgbClr val="FFFFFF"/>
    </a:lt1>
    <a:dk2>
      <a:srgbClr val="002D72"/>
    </a:dk2>
    <a:lt2>
      <a:srgbClr val="97999B"/>
    </a:lt2>
    <a:accent1>
      <a:srgbClr val="00BDF2"/>
    </a:accent1>
    <a:accent2>
      <a:srgbClr val="FFA202"/>
    </a:accent2>
    <a:accent3>
      <a:srgbClr val="FFFFFF"/>
    </a:accent3>
    <a:accent4>
      <a:srgbClr val="5F5F61"/>
    </a:accent4>
    <a:accent5>
      <a:srgbClr val="AADBF7"/>
    </a:accent5>
    <a:accent6>
      <a:srgbClr val="E79202"/>
    </a:accent6>
    <a:hlink>
      <a:srgbClr val="FF0000"/>
    </a:hlink>
    <a:folHlink>
      <a:srgbClr val="890C58"/>
    </a:folHlink>
  </a:clrScheme>
</a:themeOverride>
</file>

<file path=ppt/theme/themeOverride8.xml><?xml version="1.0" encoding="utf-8"?>
<a:themeOverride xmlns:a="http://schemas.openxmlformats.org/drawingml/2006/main">
  <a:clrScheme name="Custom 14">
    <a:dk1>
      <a:srgbClr val="53565A"/>
    </a:dk1>
    <a:lt1>
      <a:srgbClr val="FFFFFF"/>
    </a:lt1>
    <a:dk2>
      <a:srgbClr val="002D72"/>
    </a:dk2>
    <a:lt2>
      <a:srgbClr val="97999B"/>
    </a:lt2>
    <a:accent1>
      <a:srgbClr val="00BDF2"/>
    </a:accent1>
    <a:accent2>
      <a:srgbClr val="FFA202"/>
    </a:accent2>
    <a:accent3>
      <a:srgbClr val="FFFFFF"/>
    </a:accent3>
    <a:accent4>
      <a:srgbClr val="5F5F61"/>
    </a:accent4>
    <a:accent5>
      <a:srgbClr val="AADBF7"/>
    </a:accent5>
    <a:accent6>
      <a:srgbClr val="E79202"/>
    </a:accent6>
    <a:hlink>
      <a:srgbClr val="FF0000"/>
    </a:hlink>
    <a:folHlink>
      <a:srgbClr val="890C58"/>
    </a:folHlink>
  </a:clrScheme>
</a:themeOverride>
</file>

<file path=ppt/theme/themeOverride9.xml><?xml version="1.0" encoding="utf-8"?>
<a:themeOverride xmlns:a="http://schemas.openxmlformats.org/drawingml/2006/main">
  <a:clrScheme name="Custom 12">
    <a:dk1>
      <a:srgbClr val="53565A"/>
    </a:dk1>
    <a:lt1>
      <a:srgbClr val="FFFFFF"/>
    </a:lt1>
    <a:dk2>
      <a:srgbClr val="002D72"/>
    </a:dk2>
    <a:lt2>
      <a:srgbClr val="97999B"/>
    </a:lt2>
    <a:accent1>
      <a:srgbClr val="00BDF2"/>
    </a:accent1>
    <a:accent2>
      <a:srgbClr val="FFA202"/>
    </a:accent2>
    <a:accent3>
      <a:srgbClr val="FFFFFF"/>
    </a:accent3>
    <a:accent4>
      <a:srgbClr val="5F5F61"/>
    </a:accent4>
    <a:accent5>
      <a:srgbClr val="AADBF7"/>
    </a:accent5>
    <a:accent6>
      <a:srgbClr val="E79202"/>
    </a:accent6>
    <a:hlink>
      <a:srgbClr val="FF0000"/>
    </a:hlink>
    <a:folHlink>
      <a:srgbClr val="890C58"/>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7BB6DAF26F1FA34C9968937CFA030B63" ma:contentTypeVersion="0" ma:contentTypeDescription="Create a new document." ma:contentTypeScope="" ma:versionID="a5cc2eeeccbe52524a27b47f4d13028f">
  <xsd:schema xmlns:xsd="http://www.w3.org/2001/XMLSchema" xmlns:xs="http://www.w3.org/2001/XMLSchema" xmlns:p="http://schemas.microsoft.com/office/2006/metadata/properties" targetNamespace="http://schemas.microsoft.com/office/2006/metadata/properties" ma:root="true" ma:fieldsID="1b05d82d297216baf5b26c55225140df">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59979982-5A80-4893-AE82-91CBA895396A}">
  <ds:schemaRefs>
    <ds:schemaRef ds:uri="http://schemas.microsoft.com/sharepoint/v3/contenttype/forms"/>
  </ds:schemaRefs>
</ds:datastoreItem>
</file>

<file path=customXml/itemProps2.xml><?xml version="1.0" encoding="utf-8"?>
<ds:datastoreItem xmlns:ds="http://schemas.openxmlformats.org/officeDocument/2006/customXml" ds:itemID="{EA4F180F-7220-4F05-B300-DD118256FEC8}">
  <ds:schemaRefs>
    <ds:schemaRef ds:uri="http://schemas.microsoft.com/office/2006/documentManagement/types"/>
    <ds:schemaRef ds:uri="http://purl.org/dc/elements/1.1/"/>
    <ds:schemaRef ds:uri="http://schemas.openxmlformats.org/package/2006/metadata/core-properties"/>
    <ds:schemaRef ds:uri="http://purl.org/dc/dcmitype/"/>
    <ds:schemaRef ds:uri="http://schemas.microsoft.com/office/infopath/2007/PartnerControls"/>
    <ds:schemaRef ds:uri="http://schemas.microsoft.com/office/2006/metadata/properties"/>
    <ds:schemaRef ds:uri="http://www.w3.org/XML/1998/namespace"/>
    <ds:schemaRef ds:uri="http://purl.org/dc/terms/"/>
  </ds:schemaRefs>
</ds:datastoreItem>
</file>

<file path=customXml/itemProps3.xml><?xml version="1.0" encoding="utf-8"?>
<ds:datastoreItem xmlns:ds="http://schemas.openxmlformats.org/officeDocument/2006/customXml" ds:itemID="{C9E2C78B-494A-455D-B35E-0545BB93E9D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docProps/app.xml><?xml version="1.0" encoding="utf-8"?>
<Properties xmlns="http://schemas.openxmlformats.org/officeDocument/2006/extended-properties" xmlns:vt="http://schemas.openxmlformats.org/officeDocument/2006/docPropsVTypes">
  <Template/>
  <TotalTime>104364</TotalTime>
  <Words>9725</Words>
  <Application>Microsoft Macintosh PowerPoint</Application>
  <PresentationFormat>Widescreen</PresentationFormat>
  <Paragraphs>2242</Paragraphs>
  <Slides>70</Slides>
  <Notes>0</Notes>
  <HiddenSlides>0</HiddenSlides>
  <MMClips>0</MMClips>
  <ScaleCrop>false</ScaleCrop>
  <HeadingPairs>
    <vt:vector size="8" baseType="variant">
      <vt:variant>
        <vt:lpstr>Fonts Used</vt:lpstr>
      </vt:variant>
      <vt:variant>
        <vt:i4>12</vt:i4>
      </vt:variant>
      <vt:variant>
        <vt:lpstr>Theme</vt:lpstr>
      </vt:variant>
      <vt:variant>
        <vt:i4>24</vt:i4>
      </vt:variant>
      <vt:variant>
        <vt:lpstr>Embedded OLE Servers</vt:lpstr>
      </vt:variant>
      <vt:variant>
        <vt:i4>1</vt:i4>
      </vt:variant>
      <vt:variant>
        <vt:lpstr>Slide Titles</vt:lpstr>
      </vt:variant>
      <vt:variant>
        <vt:i4>70</vt:i4>
      </vt:variant>
    </vt:vector>
  </HeadingPairs>
  <TitlesOfParts>
    <vt:vector size="107" baseType="lpstr">
      <vt:lpstr>Nanum Brush Script</vt:lpstr>
      <vt:lpstr>Nanum Pen Script</vt:lpstr>
      <vt:lpstr>Algerian</vt:lpstr>
      <vt:lpstr>Arial</vt:lpstr>
      <vt:lpstr>Calibri</vt:lpstr>
      <vt:lpstr>Comic Sans MS</vt:lpstr>
      <vt:lpstr>Courier</vt:lpstr>
      <vt:lpstr>Courier New</vt:lpstr>
      <vt:lpstr>Times</vt:lpstr>
      <vt:lpstr>Times New Roman</vt:lpstr>
      <vt:lpstr>Trebuchet MS</vt:lpstr>
      <vt:lpstr>Wingdings</vt:lpstr>
      <vt:lpstr>CitiBanamex_corporate_template_091212</vt:lpstr>
      <vt:lpstr>Blank</vt:lpstr>
      <vt:lpstr>1_Blank</vt:lpstr>
      <vt:lpstr>3_CitiBanamex_corporate_template_091212</vt:lpstr>
      <vt:lpstr>4_CitiBanamex_corporate_template_091212</vt:lpstr>
      <vt:lpstr>2_Blank</vt:lpstr>
      <vt:lpstr>6_CitiBanamex_corporate_template_091212</vt:lpstr>
      <vt:lpstr>10_CitiBanamex_corporate_template_091212</vt:lpstr>
      <vt:lpstr>11_CitiBanamex_corporate_template_091212</vt:lpstr>
      <vt:lpstr>CITIBanamex-MX2020 Grid 16:9</vt:lpstr>
      <vt:lpstr>4_Blank</vt:lpstr>
      <vt:lpstr>5_Blank</vt:lpstr>
      <vt:lpstr>Citi Consumer PPT Template</vt:lpstr>
      <vt:lpstr>2_Citi Consumer PPT Template</vt:lpstr>
      <vt:lpstr>3_Citi Consumer PPT Template</vt:lpstr>
      <vt:lpstr>6_Blank</vt:lpstr>
      <vt:lpstr>9_Blank</vt:lpstr>
      <vt:lpstr>1_CITIBanamex-MX2020 Grid 16:9</vt:lpstr>
      <vt:lpstr>7_Blank</vt:lpstr>
      <vt:lpstr>10_Blank</vt:lpstr>
      <vt:lpstr>14_Blank</vt:lpstr>
      <vt:lpstr>16_Blank</vt:lpstr>
      <vt:lpstr>20_Blank</vt:lpstr>
      <vt:lpstr>22_Blank</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Gascon, Gerardo</dc:creator>
  <cp:lastModifiedBy>Susana Edith Barrientos</cp:lastModifiedBy>
  <cp:revision>3346</cp:revision>
  <cp:lastPrinted>2019-07-10T17:41:46Z</cp:lastPrinted>
  <dcterms:created xsi:type="dcterms:W3CDTF">2017-07-20T18:35:30Z</dcterms:created>
  <dcterms:modified xsi:type="dcterms:W3CDTF">2019-09-06T14:34:4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BB6DAF26F1FA34C9968937CFA030B63</vt:lpwstr>
  </property>
</Properties>
</file>